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5" r:id="rId2"/>
    <p:sldMasterId id="2147483753" r:id="rId3"/>
  </p:sldMasterIdLst>
  <p:notesMasterIdLst>
    <p:notesMasterId r:id="rId35"/>
  </p:notesMasterIdLst>
  <p:handoutMasterIdLst>
    <p:handoutMasterId r:id="rId36"/>
  </p:handoutMasterIdLst>
  <p:sldIdLst>
    <p:sldId id="256" r:id="rId4"/>
    <p:sldId id="2134804713" r:id="rId5"/>
    <p:sldId id="2134804689" r:id="rId6"/>
    <p:sldId id="2147378297" r:id="rId7"/>
    <p:sldId id="2147378384" r:id="rId8"/>
    <p:sldId id="2147378275" r:id="rId9"/>
    <p:sldId id="2147378290" r:id="rId10"/>
    <p:sldId id="2147378387" r:id="rId11"/>
    <p:sldId id="450" r:id="rId12"/>
    <p:sldId id="2147378599" r:id="rId13"/>
    <p:sldId id="2147378365" r:id="rId14"/>
    <p:sldId id="2147378592" r:id="rId15"/>
    <p:sldId id="2147378404" r:id="rId16"/>
    <p:sldId id="2147377535" r:id="rId17"/>
    <p:sldId id="2147378298" r:id="rId18"/>
    <p:sldId id="2147378597" r:id="rId19"/>
    <p:sldId id="2147378405" r:id="rId20"/>
    <p:sldId id="2147378397" r:id="rId21"/>
    <p:sldId id="2147378400" r:id="rId22"/>
    <p:sldId id="2147378398" r:id="rId23"/>
    <p:sldId id="2147378399" r:id="rId24"/>
    <p:sldId id="2147378331" r:id="rId25"/>
    <p:sldId id="2147378408" r:id="rId26"/>
    <p:sldId id="2147378410" r:id="rId27"/>
    <p:sldId id="2147377744" r:id="rId28"/>
    <p:sldId id="2147377747" r:id="rId29"/>
    <p:sldId id="2147377750" r:id="rId30"/>
    <p:sldId id="2147377751" r:id="rId31"/>
    <p:sldId id="2147377752" r:id="rId32"/>
    <p:sldId id="2147378600" r:id="rId33"/>
    <p:sldId id="278" r:id="rId34"/>
  </p:sldIdLst>
  <p:sldSz cx="12192000" cy="6858000"/>
  <p:notesSz cx="6858000" cy="9144000"/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97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B38F04-5D82-4EBB-A503-DBECE81F9224}" v="44" dt="2023-09-25T23:19:46.1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">
    <a:wholeTbl>
      <a:tcTxStyle>
        <a:font>
          <a:latin typeface="+mn-lt"/>
          <a:ea typeface="+mn-ea"/>
          <a:cs typeface="+mn-cs"/>
        </a:font>
        <a:srgbClr val="28231F"/>
      </a:tcTxStyle>
      <a:tcStyle>
        <a:tcBdr>
          <a:lef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FCE7E7"/>
          </a:solidFill>
        </a:fill>
      </a:tcStyle>
    </a:wholeTbl>
    <a:band1H>
      <a:tcStyle>
        <a:tcBdr/>
        <a:fill>
          <a:solidFill>
            <a:srgbClr val="F8CBCB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F8CBCB"/>
          </a:solidFill>
        </a:fill>
      </a:tcStyle>
    </a:band1V>
    <a:band2V>
      <a:tcStyle>
        <a:tcBdr/>
      </a:tcStyle>
    </a:band2V>
    <a:la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EE0000"/>
          </a:solidFill>
        </a:fill>
      </a:tcStyle>
    </a:lastCol>
    <a:fir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EE0000"/>
          </a:solidFill>
        </a:fill>
      </a:tcStyle>
    </a:firstCol>
    <a:la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top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rgbClr val="EE0000"/>
          </a:solidFill>
        </a:fill>
      </a:tcStyle>
    </a:lastRow>
    <a:fir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bottom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EE0000"/>
          </a:solidFill>
        </a:fill>
      </a:tcStyle>
    </a:firstRow>
  </a:tblStyle>
  <a:tblStyle styleId="{F5AB1C69-6EDB-4FF4-983F-18BD219EF322}" styleName="">
    <a:wholeTbl>
      <a:tcTxStyle>
        <a:font>
          <a:latin typeface="+mn-lt"/>
          <a:ea typeface="+mn-ea"/>
          <a:cs typeface="+mn-cs"/>
        </a:font>
        <a:srgbClr val="28231F"/>
      </a:tcTxStyle>
      <a:tcStyle>
        <a:tcBdr>
          <a:lef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EAEEF8"/>
          </a:solidFill>
        </a:fill>
      </a:tcStyle>
    </a:wholeTbl>
    <a:band1H>
      <a:tcStyle>
        <a:tcBdr/>
        <a:fill>
          <a:solidFill>
            <a:srgbClr val="D2DBF0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D2DBF0"/>
          </a:solidFill>
        </a:fill>
      </a:tcStyle>
    </a:band1V>
    <a:band2V>
      <a:tcStyle>
        <a:tcBdr/>
      </a:tcStyle>
    </a:band2V>
    <a:la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5E8ED6"/>
          </a:solidFill>
        </a:fill>
      </a:tcStyle>
    </a:lastCol>
    <a:fir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5E8ED6"/>
          </a:solidFill>
        </a:fill>
      </a:tcStyle>
    </a:firstCol>
    <a:la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top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rgbClr val="5E8ED6"/>
          </a:solidFill>
        </a:fill>
      </a:tcStyle>
    </a:lastRow>
    <a:fir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bottom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5E8ED6"/>
          </a:solidFill>
        </a:fill>
      </a:tcStyle>
    </a:firstRow>
  </a:tblStyle>
  <a:tblStyle styleId="{306799F8-075E-4A3A-A7F6-7FBC6576F1A4}" styleName="">
    <a:wholeTbl>
      <a:tcTxStyle>
        <a:font>
          <a:latin typeface="+mn-lt"/>
          <a:ea typeface="+mn-ea"/>
          <a:cs typeface="+mn-cs"/>
        </a:font>
        <a:srgbClr val="FFFFFF"/>
      </a:tcTxStyle>
      <a:tcStyle>
        <a:tcBdr>
          <a:left>
            <a:ln w="3172" cap="flat" cmpd="sng" algn="ctr">
              <a:solidFill>
                <a:srgbClr val="C5D1EC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3172" cap="flat" cmpd="sng" algn="ctr">
              <a:solidFill>
                <a:srgbClr val="C5D1EC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3172" cap="flat" cmpd="sng" algn="ctr">
              <a:solidFill>
                <a:srgbClr val="C5D1EC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3172" cap="flat" cmpd="sng" algn="ctr">
              <a:solidFill>
                <a:srgbClr val="C5D1EC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5E8ED6"/>
          </a:solidFill>
        </a:fill>
      </a:tcStyle>
    </a:wholeTbl>
    <a:band1H>
      <a:tcStyle>
        <a:tcBdr/>
        <a:fill>
          <a:solidFill>
            <a:srgbClr val="FFFFFF"/>
          </a:solidFill>
        </a:fill>
      </a:tcStyle>
    </a:band1H>
    <a:band1V>
      <a:tcStyle>
        <a:tcBdr/>
        <a:fill>
          <a:solidFill>
            <a:srgbClr val="FFFFFF"/>
          </a:solidFill>
        </a:fill>
      </a:tcStyle>
    </a:band1V>
    <a:lastCol>
      <a:tcTxStyle b="on">
        <a:font>
          <a:latin typeface=""/>
          <a:ea typeface=""/>
          <a:cs typeface=""/>
        </a:font>
      </a:tcTxStyle>
      <a:tcStyle>
        <a:tcBdr>
          <a:left>
            <a:ln w="3172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left>
        </a:tcBdr>
        <a:fill>
          <a:solidFill>
            <a:srgbClr val="5E8ED6"/>
          </a:solidFill>
        </a:fill>
      </a:tcStyle>
    </a:lastCol>
    <a:firstCol>
      <a:tcTxStyle b="on">
        <a:font>
          <a:latin typeface=""/>
          <a:ea typeface=""/>
          <a:cs typeface=""/>
        </a:font>
      </a:tcTxStyle>
      <a:tcStyle>
        <a:tcBdr>
          <a:right>
            <a:ln w="3172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right>
        </a:tcBdr>
        <a:fill>
          <a:solidFill>
            <a:srgbClr val="5E8ED6"/>
          </a:solidFill>
        </a:fill>
      </a:tcStyle>
    </a:firstCol>
    <a:lastRow>
      <a:tcTxStyle b="on">
        <a:font>
          <a:latin typeface=""/>
          <a:ea typeface=""/>
          <a:cs typeface=""/>
        </a:font>
      </a:tcTxStyle>
      <a:tcStyle>
        <a:tcBdr>
          <a:top>
            <a:ln w="3172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rgbClr val="5E8ED6"/>
          </a:solidFill>
        </a:fill>
      </a:tcStyle>
    </a:lastRow>
    <a:firstRow>
      <a:tcTxStyle b="on">
        <a:font>
          <a:latin typeface=""/>
          <a:ea typeface=""/>
          <a:cs typeface=""/>
        </a:font>
      </a:tcTxStyle>
      <a:tcStyle>
        <a:tcBdr>
          <a:bottom>
            <a:ln w="3172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5E8ED6"/>
          </a:solidFill>
        </a:fill>
      </a:tcStyle>
    </a:firstRow>
  </a:tblStyle>
  <a:tblStyle styleId="{C083E6E3-FA7D-4D7B-A595-EF9225AFEA82}" styleName="">
    <a:wholeTbl>
      <a:tcTxStyle>
        <a:font>
          <a:latin typeface="+mn-lt"/>
          <a:ea typeface="+mn-ea"/>
          <a:cs typeface="+mn-cs"/>
        </a:font>
        <a:srgbClr val="28231F"/>
      </a:tcTxStyle>
      <a:tcStyle>
        <a:tcBdr>
          <a:top>
            <a:ln w="12701" cap="flat" cmpd="sng" algn="ctr">
              <a:solidFill>
                <a:srgbClr val="5E8ED6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1" cap="flat" cmpd="sng" algn="ctr">
              <a:solidFill>
                <a:srgbClr val="5E8ED6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wholeTbl>
    <a:band1H>
      <a:tcStyle>
        <a:tcBdr/>
        <a:fill>
          <a:solidFill>
            <a:srgbClr val="5E8ED6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E8ED6"/>
          </a:solidFill>
        </a:fill>
      </a:tcStyle>
    </a:band1V>
    <a:lastCol>
      <a:tcTxStyle b="on">
        <a:font>
          <a:latin typeface=""/>
          <a:ea typeface=""/>
          <a:cs typeface=""/>
        </a:font>
      </a:tcTxStyle>
      <a:tcStyle>
        <a:tcBdr/>
      </a:tcStyle>
    </a:lastCol>
    <a:firstCol>
      <a:tcTxStyle b="on">
        <a:font>
          <a:latin typeface=""/>
          <a:ea typeface=""/>
          <a:cs typeface=""/>
        </a:font>
      </a:tcTxStyle>
      <a:tcStyle>
        <a:tcBdr/>
      </a:tcStyle>
    </a:firstCol>
    <a:lastRow>
      <a:tcTxStyle b="on">
        <a:font>
          <a:latin typeface=""/>
          <a:ea typeface=""/>
          <a:cs typeface=""/>
        </a:font>
      </a:tcTxStyle>
      <a:tcStyle>
        <a:tcBdr>
          <a:top>
            <a:ln w="12701" cap="flat" cmpd="sng" algn="ctr">
              <a:solidFill>
                <a:srgbClr val="5E8ED6"/>
              </a:solidFill>
              <a:prstDash val="solid"/>
              <a:round/>
              <a:headEnd type="none" w="med" len="med"/>
              <a:tailEnd type="none" w="med" len="med"/>
            </a:ln>
          </a:top>
        </a:tcBdr>
      </a:tcStyle>
    </a:lastRow>
    <a:firstRow>
      <a:tcTxStyle b="on">
        <a:font>
          <a:latin typeface=""/>
          <a:ea typeface=""/>
          <a:cs typeface=""/>
        </a:font>
      </a:tcTxStyle>
      <a:tcStyle>
        <a:tcBdr>
          <a:bottom>
            <a:ln w="12701" cap="flat" cmpd="sng" algn="ctr">
              <a:solidFill>
                <a:srgbClr val="5E8ED6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firstRow>
  </a:tblStyle>
  <a:tblStyle styleId="{21E4AEA4-8DFA-4A89-87EB-49C32662AFE0}" styleName="">
    <a:wholeTbl>
      <a:tcTxStyle>
        <a:font>
          <a:latin typeface="+mn-lt"/>
          <a:ea typeface="+mn-ea"/>
          <a:cs typeface="+mn-cs"/>
        </a:font>
        <a:srgbClr val="28231F"/>
      </a:tcTxStyle>
      <a:tcStyle>
        <a:tcBdr>
          <a:lef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F5F4F3"/>
          </a:solidFill>
        </a:fill>
      </a:tcStyle>
    </a:wholeTbl>
    <a:band1H>
      <a:tcStyle>
        <a:tcBdr/>
        <a:fill>
          <a:solidFill>
            <a:srgbClr val="EAE8E6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EAE8E6"/>
          </a:solidFill>
        </a:fill>
      </a:tcStyle>
    </a:band1V>
    <a:band2V>
      <a:tcStyle>
        <a:tcBdr/>
      </a:tcStyle>
    </a:band2V>
    <a:la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C6BFB7"/>
          </a:solidFill>
        </a:fill>
      </a:tcStyle>
    </a:lastCol>
    <a:fir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C6BFB7"/>
          </a:solidFill>
        </a:fill>
      </a:tcStyle>
    </a:firstCol>
    <a:la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top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rgbClr val="C6BFB7"/>
          </a:solidFill>
        </a:fill>
      </a:tcStyle>
    </a:lastRow>
    <a:fir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bottom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C6BFB7"/>
          </a:solidFill>
        </a:fill>
      </a:tcStyle>
    </a:firstRow>
  </a:tblStyle>
  <a:tblStyle styleId="{69012ECD-51FC-41F1-AA8D-1B2483CD663E}" styleName="">
    <a:wholeTbl>
      <a:tcTxStyle>
        <a:font>
          <a:latin typeface="+mn-lt"/>
          <a:ea typeface="+mn-ea"/>
          <a:cs typeface="+mn-cs"/>
        </a:font>
        <a:srgbClr val="28231F"/>
      </a:tcTxStyle>
      <a:tcStyle>
        <a:tcBdr>
          <a:left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wholeTbl>
    <a:band1H>
      <a:tcStyle>
        <a:tcBdr>
          <a:top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band1H>
    <a:band1V>
      <a:tcStyle>
        <a:tcBdr>
          <a:left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1V>
    <a:band2V>
      <a:tcStyle>
        <a:tcBdr>
          <a:left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3172" cap="flat" cmpd="sng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2V>
    <a:lastCol>
      <a:tcTxStyle b="on">
        <a:font>
          <a:latin typeface=""/>
          <a:ea typeface=""/>
          <a:cs typeface=""/>
        </a:font>
      </a:tcTxStyle>
      <a:tcStyle>
        <a:tcBdr/>
      </a:tcStyle>
    </a:lastCol>
    <a:firstCol>
      <a:tcTxStyle b="on">
        <a:font>
          <a:latin typeface=""/>
          <a:ea typeface=""/>
          <a:cs typeface=""/>
        </a:font>
      </a:tcTxStyle>
      <a:tcStyle>
        <a:tcBdr/>
      </a:tcStyle>
    </a:firstCol>
    <a:lastRow>
      <a:tcTxStyle b="on">
        <a:font>
          <a:latin typeface=""/>
          <a:ea typeface=""/>
          <a:cs typeface=""/>
        </a:font>
      </a:tcTxStyle>
      <a:tcStyle>
        <a:tcBdr>
          <a:top>
            <a:ln w="50804" cap="flat" cmpd="dbl" algn="ctr">
              <a:solidFill>
                <a:srgbClr val="EE0000"/>
              </a:solidFill>
              <a:prstDash val="solid"/>
              <a:round/>
              <a:headEnd type="none" w="med" len="med"/>
              <a:tailEnd type="none" w="med" len="med"/>
            </a:ln>
          </a:top>
        </a:tcBdr>
      </a:tcStyle>
    </a:lastRow>
    <a:firstRow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EE0000"/>
          </a:solidFill>
        </a:fill>
      </a:tcStyle>
    </a:firstRow>
  </a:tblStyle>
  <a:tblStyle styleId="{2D5ABB26-0587-4C30-8999-92F81FD0307C}" styleName="">
    <a:wholeTbl>
      <a:tcTxStyle>
        <a:font>
          <a:latin typeface="+mn-lt"/>
          <a:ea typeface="+mn-ea"/>
          <a:cs typeface="+mn-cs"/>
        </a:font>
        <a:srgbClr val="28231F"/>
      </a:tcTxStyle>
      <a:tcStyle>
        <a:tcBdr/>
      </a:tcStyle>
    </a:wholeTbl>
  </a:tblStyle>
  <a:tblStyle styleId="{5940675A-B579-460E-94D1-54222C63F5DA}" styleName="">
    <a:wholeTbl>
      <a:tcTxStyle>
        <a:font>
          <a:latin typeface="+mn-lt"/>
          <a:ea typeface="+mn-ea"/>
          <a:cs typeface="+mn-cs"/>
        </a:font>
        <a:srgbClr val="28231F"/>
      </a:tcTxStyle>
      <a:tcStyle>
        <a:tcBdr>
          <a:left>
            <a:ln w="12701" cap="flat" cmpd="sng" algn="ctr">
              <a:solidFill>
                <a:srgbClr val="28231F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1" cap="flat" cmpd="sng" algn="ctr">
              <a:solidFill>
                <a:srgbClr val="28231F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1" cap="flat" cmpd="sng" algn="ctr">
              <a:solidFill>
                <a:srgbClr val="28231F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1" cap="flat" cmpd="sng" algn="ctr">
              <a:solidFill>
                <a:srgbClr val="28231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wholeTbl>
  </a:tblStyle>
  <a:tblStyle styleId="{6E25E649-3F16-4E02-A733-19D2CDBF48F0}" styleName="">
    <a:wholeTbl>
      <a:tcTxStyle>
        <a:font>
          <a:latin typeface="+mn-lt"/>
          <a:ea typeface="+mn-ea"/>
          <a:cs typeface="+mn-cs"/>
        </a:font>
        <a:srgbClr val="28231F"/>
      </a:tcTxStyle>
      <a:tcStyle>
        <a:tcBdr>
          <a:top>
            <a:ln w="25402" cap="flat" cmpd="sng" algn="ctr">
              <a:solidFill>
                <a:srgbClr val="28231F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25402" cap="flat" cmpd="sng" algn="ctr">
              <a:solidFill>
                <a:srgbClr val="28231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FFFFFF"/>
          </a:solidFill>
        </a:fill>
      </a:tcStyle>
    </a:wholeTbl>
    <a:band1H>
      <a:tcStyle>
        <a:tcBdr/>
        <a:fill>
          <a:solidFill>
            <a:srgbClr val="E8E8E7"/>
          </a:solidFill>
        </a:fill>
      </a:tcStyle>
    </a:band1H>
    <a:band1V>
      <a:tcStyle>
        <a:tcBdr/>
        <a:fill>
          <a:solidFill>
            <a:srgbClr val="E8E8E7"/>
          </a:solidFill>
        </a:fill>
      </a:tcStyle>
    </a:band1V>
    <a:la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EE0000"/>
          </a:solidFill>
        </a:fill>
      </a:tcStyle>
    </a:lastCol>
    <a:fir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EE0000"/>
          </a:solidFill>
        </a:fill>
      </a:tcStyle>
    </a:firstCol>
    <a:lastRow>
      <a:tcTxStyle b="on">
        <a:font>
          <a:latin typeface=""/>
          <a:ea typeface=""/>
          <a:cs typeface=""/>
        </a:font>
      </a:tcTxStyle>
      <a:tcStyle>
        <a:tcBdr>
          <a:top>
            <a:ln w="50804" cap="flat" cmpd="dbl" algn="ctr">
              <a:solidFill>
                <a:srgbClr val="28231F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rgbClr val="FFFFFF"/>
          </a:solidFill>
        </a:fill>
      </a:tcStyle>
    </a:lastRow>
    <a:fir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bottom>
            <a:ln w="25402" cap="flat" cmpd="sng" algn="ctr">
              <a:solidFill>
                <a:srgbClr val="28231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EE0000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44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microsoft.com/office/2015/10/relationships/revisionInfo" Target="revisionInfo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bra Guglietti" userId="199c4909-bac5-4657-93e7-0969fd853821" providerId="ADAL" clId="{11B38F04-5D82-4EBB-A503-DBECE81F9224}"/>
    <pc:docChg chg="undo custSel addSld delSld modSld sldOrd">
      <pc:chgData name="Ambra Guglietti" userId="199c4909-bac5-4657-93e7-0969fd853821" providerId="ADAL" clId="{11B38F04-5D82-4EBB-A503-DBECE81F9224}" dt="2023-09-25T23:32:57.768" v="1656" actId="20577"/>
      <pc:docMkLst>
        <pc:docMk/>
      </pc:docMkLst>
      <pc:sldChg chg="delSp modSp mod">
        <pc:chgData name="Ambra Guglietti" userId="199c4909-bac5-4657-93e7-0969fd853821" providerId="ADAL" clId="{11B38F04-5D82-4EBB-A503-DBECE81F9224}" dt="2023-09-25T23:10:14.933" v="1580" actId="404"/>
        <pc:sldMkLst>
          <pc:docMk/>
          <pc:sldMk cId="0" sldId="278"/>
        </pc:sldMkLst>
        <pc:spChg chg="mod">
          <ac:chgData name="Ambra Guglietti" userId="199c4909-bac5-4657-93e7-0969fd853821" providerId="ADAL" clId="{11B38F04-5D82-4EBB-A503-DBECE81F9224}" dt="2023-09-25T23:10:14.933" v="1580" actId="404"/>
          <ac:spMkLst>
            <pc:docMk/>
            <pc:sldMk cId="0" sldId="278"/>
            <ac:spMk id="4" creationId="{589E7B57-A716-F8C3-FF89-085AC5E27143}"/>
          </ac:spMkLst>
        </pc:spChg>
        <pc:spChg chg="del">
          <ac:chgData name="Ambra Guglietti" userId="199c4909-bac5-4657-93e7-0969fd853821" providerId="ADAL" clId="{11B38F04-5D82-4EBB-A503-DBECE81F9224}" dt="2023-09-25T23:10:09.121" v="1576" actId="478"/>
          <ac:spMkLst>
            <pc:docMk/>
            <pc:sldMk cId="0" sldId="278"/>
            <ac:spMk id="5" creationId="{C4FFB961-2161-CC4B-E74F-F52F6125CCDE}"/>
          </ac:spMkLst>
        </pc:spChg>
        <pc:spChg chg="del">
          <ac:chgData name="Ambra Guglietti" userId="199c4909-bac5-4657-93e7-0969fd853821" providerId="ADAL" clId="{11B38F04-5D82-4EBB-A503-DBECE81F9224}" dt="2023-09-25T23:10:09.121" v="1576" actId="478"/>
          <ac:spMkLst>
            <pc:docMk/>
            <pc:sldMk cId="0" sldId="278"/>
            <ac:spMk id="6" creationId="{0E128875-C8EF-CF3A-DFC3-C06917DE2469}"/>
          </ac:spMkLst>
        </pc:spChg>
        <pc:spChg chg="del">
          <ac:chgData name="Ambra Guglietti" userId="199c4909-bac5-4657-93e7-0969fd853821" providerId="ADAL" clId="{11B38F04-5D82-4EBB-A503-DBECE81F9224}" dt="2023-09-25T23:10:09.121" v="1576" actId="478"/>
          <ac:spMkLst>
            <pc:docMk/>
            <pc:sldMk cId="0" sldId="278"/>
            <ac:spMk id="7" creationId="{962AE74E-C8E1-CD3B-78C4-0A788D349A02}"/>
          </ac:spMkLst>
        </pc:spChg>
      </pc:sldChg>
      <pc:sldChg chg="modSp del">
        <pc:chgData name="Ambra Guglietti" userId="199c4909-bac5-4657-93e7-0969fd853821" providerId="ADAL" clId="{11B38F04-5D82-4EBB-A503-DBECE81F9224}" dt="2023-09-20T21:07:00.864" v="329" actId="47"/>
        <pc:sldMkLst>
          <pc:docMk/>
          <pc:sldMk cId="0" sldId="279"/>
        </pc:sldMkLst>
        <pc:graphicFrameChg chg="mod">
          <ac:chgData name="Ambra Guglietti" userId="199c4909-bac5-4657-93e7-0969fd853821" providerId="ADAL" clId="{11B38F04-5D82-4EBB-A503-DBECE81F9224}" dt="2023-09-20T20:21:33.259" v="4"/>
          <ac:graphicFrameMkLst>
            <pc:docMk/>
            <pc:sldMk cId="0" sldId="279"/>
            <ac:graphicFrameMk id="7" creationId="{4FE60089-D575-2247-D525-A353D41840BC}"/>
          </ac:graphicFrameMkLst>
        </pc:graphicFrameChg>
      </pc:sldChg>
      <pc:sldChg chg="del ord">
        <pc:chgData name="Ambra Guglietti" userId="199c4909-bac5-4657-93e7-0969fd853821" providerId="ADAL" clId="{11B38F04-5D82-4EBB-A503-DBECE81F9224}" dt="2023-09-20T20:59:58.226" v="208" actId="47"/>
        <pc:sldMkLst>
          <pc:docMk/>
          <pc:sldMk cId="0" sldId="2147377323"/>
        </pc:sldMkLst>
      </pc:sldChg>
      <pc:sldChg chg="modSp mod modShow">
        <pc:chgData name="Ambra Guglietti" userId="199c4909-bac5-4657-93e7-0969fd853821" providerId="ADAL" clId="{11B38F04-5D82-4EBB-A503-DBECE81F9224}" dt="2023-09-25T22:52:11.724" v="1525" actId="20577"/>
        <pc:sldMkLst>
          <pc:docMk/>
          <pc:sldMk cId="0" sldId="2147377535"/>
        </pc:sldMkLst>
        <pc:spChg chg="mod">
          <ac:chgData name="Ambra Guglietti" userId="199c4909-bac5-4657-93e7-0969fd853821" providerId="ADAL" clId="{11B38F04-5D82-4EBB-A503-DBECE81F9224}" dt="2023-09-25T16:38:40.240" v="1474" actId="1076"/>
          <ac:spMkLst>
            <pc:docMk/>
            <pc:sldMk cId="0" sldId="2147377535"/>
            <ac:spMk id="5" creationId="{9E3C88BE-3076-65E2-7FB7-88E7B50FD6BA}"/>
          </ac:spMkLst>
        </pc:spChg>
        <pc:spChg chg="mod">
          <ac:chgData name="Ambra Guglietti" userId="199c4909-bac5-4657-93e7-0969fd853821" providerId="ADAL" clId="{11B38F04-5D82-4EBB-A503-DBECE81F9224}" dt="2023-09-25T22:52:11.724" v="1525" actId="20577"/>
          <ac:spMkLst>
            <pc:docMk/>
            <pc:sldMk cId="0" sldId="2147377535"/>
            <ac:spMk id="6" creationId="{F2B90A88-E0FE-4CEC-7C2C-CFC1EF409CFC}"/>
          </ac:spMkLst>
        </pc:spChg>
        <pc:spChg chg="mod">
          <ac:chgData name="Ambra Guglietti" userId="199c4909-bac5-4657-93e7-0969fd853821" providerId="ADAL" clId="{11B38F04-5D82-4EBB-A503-DBECE81F9224}" dt="2023-09-20T20:56:18.183" v="139" actId="255"/>
          <ac:spMkLst>
            <pc:docMk/>
            <pc:sldMk cId="0" sldId="2147377535"/>
            <ac:spMk id="7" creationId="{54D6A7E1-0359-C596-776A-2F31C42E26E3}"/>
          </ac:spMkLst>
        </pc:spChg>
        <pc:picChg chg="mod">
          <ac:chgData name="Ambra Guglietti" userId="199c4909-bac5-4657-93e7-0969fd853821" providerId="ADAL" clId="{11B38F04-5D82-4EBB-A503-DBECE81F9224}" dt="2023-09-20T20:45:55.653" v="84" actId="1076"/>
          <ac:picMkLst>
            <pc:docMk/>
            <pc:sldMk cId="0" sldId="2147377535"/>
            <ac:picMk id="2" creationId="{3A27FF71-5119-BC4A-6435-5A899C83BD38}"/>
          </ac:picMkLst>
        </pc:picChg>
        <pc:picChg chg="mod">
          <ac:chgData name="Ambra Guglietti" userId="199c4909-bac5-4657-93e7-0969fd853821" providerId="ADAL" clId="{11B38F04-5D82-4EBB-A503-DBECE81F9224}" dt="2023-09-20T20:33:56.378" v="29" actId="14100"/>
          <ac:picMkLst>
            <pc:docMk/>
            <pc:sldMk cId="0" sldId="2147377535"/>
            <ac:picMk id="3" creationId="{A63DCE2A-66AE-BBC3-48BC-319587F8ED6A}"/>
          </ac:picMkLst>
        </pc:picChg>
      </pc:sldChg>
      <pc:sldChg chg="addSp delSp modSp add del mod">
        <pc:chgData name="Ambra Guglietti" userId="199c4909-bac5-4657-93e7-0969fd853821" providerId="ADAL" clId="{11B38F04-5D82-4EBB-A503-DBECE81F9224}" dt="2023-09-23T08:25:16.490" v="703" actId="1037"/>
        <pc:sldMkLst>
          <pc:docMk/>
          <pc:sldMk cId="763040053" sldId="2147377744"/>
        </pc:sldMkLst>
        <pc:spChg chg="del mod">
          <ac:chgData name="Ambra Guglietti" userId="199c4909-bac5-4657-93e7-0969fd853821" providerId="ADAL" clId="{11B38F04-5D82-4EBB-A503-DBECE81F9224}" dt="2023-09-23T08:06:02.648" v="582" actId="478"/>
          <ac:spMkLst>
            <pc:docMk/>
            <pc:sldMk cId="763040053" sldId="2147377744"/>
            <ac:spMk id="2" creationId="{81B919C8-4E85-D3E6-273D-B67653621601}"/>
          </ac:spMkLst>
        </pc:spChg>
        <pc:spChg chg="mod">
          <ac:chgData name="Ambra Guglietti" userId="199c4909-bac5-4657-93e7-0969fd853821" providerId="ADAL" clId="{11B38F04-5D82-4EBB-A503-DBECE81F9224}" dt="2023-09-23T08:25:16.490" v="703" actId="1037"/>
          <ac:spMkLst>
            <pc:docMk/>
            <pc:sldMk cId="763040053" sldId="2147377744"/>
            <ac:spMk id="3" creationId="{ADCB7155-F323-33FF-AB94-E8D4B8DC94F3}"/>
          </ac:spMkLst>
        </pc:spChg>
        <pc:spChg chg="add mod">
          <ac:chgData name="Ambra Guglietti" userId="199c4909-bac5-4657-93e7-0969fd853821" providerId="ADAL" clId="{11B38F04-5D82-4EBB-A503-DBECE81F9224}" dt="2023-09-23T08:04:28.371" v="511" actId="478"/>
          <ac:spMkLst>
            <pc:docMk/>
            <pc:sldMk cId="763040053" sldId="2147377744"/>
            <ac:spMk id="5" creationId="{21BD525A-EC2E-749E-0B67-41B8CF2CB5D6}"/>
          </ac:spMkLst>
        </pc:spChg>
        <pc:spChg chg="add del mod">
          <ac:chgData name="Ambra Guglietti" userId="199c4909-bac5-4657-93e7-0969fd853821" providerId="ADAL" clId="{11B38F04-5D82-4EBB-A503-DBECE81F9224}" dt="2023-09-23T08:06:12.910" v="584"/>
          <ac:spMkLst>
            <pc:docMk/>
            <pc:sldMk cId="763040053" sldId="2147377744"/>
            <ac:spMk id="6" creationId="{7B415E0E-F6EF-39EF-1EB2-90A2CF4938E5}"/>
          </ac:spMkLst>
        </pc:spChg>
        <pc:spChg chg="mod">
          <ac:chgData name="Ambra Guglietti" userId="199c4909-bac5-4657-93e7-0969fd853821" providerId="ADAL" clId="{11B38F04-5D82-4EBB-A503-DBECE81F9224}" dt="2023-09-23T08:03:47.810" v="509"/>
          <ac:spMkLst>
            <pc:docMk/>
            <pc:sldMk cId="763040053" sldId="2147377744"/>
            <ac:spMk id="7" creationId="{5FD1240B-F5B6-32CF-FB3D-443899A8F8C7}"/>
          </ac:spMkLst>
        </pc:spChg>
        <pc:spChg chg="mod">
          <ac:chgData name="Ambra Guglietti" userId="199c4909-bac5-4657-93e7-0969fd853821" providerId="ADAL" clId="{11B38F04-5D82-4EBB-A503-DBECE81F9224}" dt="2023-09-23T08:03:47.810" v="509"/>
          <ac:spMkLst>
            <pc:docMk/>
            <pc:sldMk cId="763040053" sldId="2147377744"/>
            <ac:spMk id="8" creationId="{F9FFA649-B073-A14C-99B5-642E800D4344}"/>
          </ac:spMkLst>
        </pc:spChg>
        <pc:spChg chg="mod">
          <ac:chgData name="Ambra Guglietti" userId="199c4909-bac5-4657-93e7-0969fd853821" providerId="ADAL" clId="{11B38F04-5D82-4EBB-A503-DBECE81F9224}" dt="2023-09-23T08:03:47.810" v="509"/>
          <ac:spMkLst>
            <pc:docMk/>
            <pc:sldMk cId="763040053" sldId="2147377744"/>
            <ac:spMk id="9" creationId="{0F23B98A-8C2C-55F3-C38B-9E8F48799EBB}"/>
          </ac:spMkLst>
        </pc:spChg>
        <pc:spChg chg="del mod">
          <ac:chgData name="Ambra Guglietti" userId="199c4909-bac5-4657-93e7-0969fd853821" providerId="ADAL" clId="{11B38F04-5D82-4EBB-A503-DBECE81F9224}" dt="2023-09-23T08:04:28.371" v="511" actId="478"/>
          <ac:spMkLst>
            <pc:docMk/>
            <pc:sldMk cId="763040053" sldId="2147377744"/>
            <ac:spMk id="10" creationId="{CD740BD7-65FB-9A1E-290F-A04A2081EB58}"/>
          </ac:spMkLst>
        </pc:spChg>
        <pc:spChg chg="add mod">
          <ac:chgData name="Ambra Guglietti" userId="199c4909-bac5-4657-93e7-0969fd853821" providerId="ADAL" clId="{11B38F04-5D82-4EBB-A503-DBECE81F9224}" dt="2023-09-23T08:06:29.728" v="610" actId="1076"/>
          <ac:spMkLst>
            <pc:docMk/>
            <pc:sldMk cId="763040053" sldId="2147377744"/>
            <ac:spMk id="11" creationId="{D3C3DD7E-D818-32AE-14A2-A0758420080B}"/>
          </ac:spMkLst>
        </pc:spChg>
        <pc:spChg chg="add mod">
          <ac:chgData name="Ambra Guglietti" userId="199c4909-bac5-4657-93e7-0969fd853821" providerId="ADAL" clId="{11B38F04-5D82-4EBB-A503-DBECE81F9224}" dt="2023-09-23T08:25:04.353" v="685" actId="1038"/>
          <ac:spMkLst>
            <pc:docMk/>
            <pc:sldMk cId="763040053" sldId="2147377744"/>
            <ac:spMk id="15" creationId="{892E4B0A-F54B-F3F4-6C70-F8B972B01BC3}"/>
          </ac:spMkLst>
        </pc:spChg>
        <pc:grpChg chg="mod">
          <ac:chgData name="Ambra Guglietti" userId="199c4909-bac5-4657-93e7-0969fd853821" providerId="ADAL" clId="{11B38F04-5D82-4EBB-A503-DBECE81F9224}" dt="2023-09-23T08:25:04.353" v="685" actId="1038"/>
          <ac:grpSpMkLst>
            <pc:docMk/>
            <pc:sldMk cId="763040053" sldId="2147377744"/>
            <ac:grpSpMk id="17" creationId="{3C0E1723-116A-3361-3C6C-62B039632D81}"/>
          </ac:grpSpMkLst>
        </pc:grpChg>
        <pc:picChg chg="mod">
          <ac:chgData name="Ambra Guglietti" userId="199c4909-bac5-4657-93e7-0969fd853821" providerId="ADAL" clId="{11B38F04-5D82-4EBB-A503-DBECE81F9224}" dt="2023-09-23T08:25:16.490" v="703" actId="1037"/>
          <ac:picMkLst>
            <pc:docMk/>
            <pc:sldMk cId="763040053" sldId="2147377744"/>
            <ac:picMk id="12" creationId="{65EF6CBE-F029-03FA-E8FF-389612C6E085}"/>
          </ac:picMkLst>
        </pc:picChg>
        <pc:picChg chg="add mod">
          <ac:chgData name="Ambra Guglietti" userId="199c4909-bac5-4657-93e7-0969fd853821" providerId="ADAL" clId="{11B38F04-5D82-4EBB-A503-DBECE81F9224}" dt="2023-09-23T08:25:04.353" v="685" actId="1038"/>
          <ac:picMkLst>
            <pc:docMk/>
            <pc:sldMk cId="763040053" sldId="2147377744"/>
            <ac:picMk id="14" creationId="{D82EB1E0-9FAC-BAE9-A397-A511BC6AE025}"/>
          </ac:picMkLst>
        </pc:picChg>
      </pc:sldChg>
      <pc:sldChg chg="addSp delSp modSp mod">
        <pc:chgData name="Ambra Guglietti" userId="199c4909-bac5-4657-93e7-0969fd853821" providerId="ADAL" clId="{11B38F04-5D82-4EBB-A503-DBECE81F9224}" dt="2023-09-20T21:11:31.798" v="332" actId="478"/>
        <pc:sldMkLst>
          <pc:docMk/>
          <pc:sldMk cId="0" sldId="2147377747"/>
        </pc:sldMkLst>
        <pc:spChg chg="mod">
          <ac:chgData name="Ambra Guglietti" userId="199c4909-bac5-4657-93e7-0969fd853821" providerId="ADAL" clId="{11B38F04-5D82-4EBB-A503-DBECE81F9224}" dt="2023-09-20T21:04:07.082" v="232" actId="403"/>
          <ac:spMkLst>
            <pc:docMk/>
            <pc:sldMk cId="0" sldId="2147377747"/>
            <ac:spMk id="2" creationId="{CD57096A-D3E9-7920-AA7D-78EEF41B606D}"/>
          </ac:spMkLst>
        </pc:spChg>
        <pc:spChg chg="del">
          <ac:chgData name="Ambra Guglietti" userId="199c4909-bac5-4657-93e7-0969fd853821" providerId="ADAL" clId="{11B38F04-5D82-4EBB-A503-DBECE81F9224}" dt="2023-09-20T21:00:33.763" v="215" actId="478"/>
          <ac:spMkLst>
            <pc:docMk/>
            <pc:sldMk cId="0" sldId="2147377747"/>
            <ac:spMk id="3" creationId="{2A1B3349-403B-2580-EDF4-61745124EE63}"/>
          </ac:spMkLst>
        </pc:spChg>
        <pc:spChg chg="del">
          <ac:chgData name="Ambra Guglietti" userId="199c4909-bac5-4657-93e7-0969fd853821" providerId="ADAL" clId="{11B38F04-5D82-4EBB-A503-DBECE81F9224}" dt="2023-09-20T21:11:31.798" v="332" actId="478"/>
          <ac:spMkLst>
            <pc:docMk/>
            <pc:sldMk cId="0" sldId="2147377747"/>
            <ac:spMk id="6" creationId="{603E3C36-B132-BED9-9DAB-F10A7E01799A}"/>
          </ac:spMkLst>
        </pc:spChg>
        <pc:spChg chg="add mod">
          <ac:chgData name="Ambra Guglietti" userId="199c4909-bac5-4657-93e7-0969fd853821" providerId="ADAL" clId="{11B38F04-5D82-4EBB-A503-DBECE81F9224}" dt="2023-09-20T20:59:30.083" v="203"/>
          <ac:spMkLst>
            <pc:docMk/>
            <pc:sldMk cId="0" sldId="2147377747"/>
            <ac:spMk id="10" creationId="{A7E98906-771C-2ADD-87DB-05D6B9C695A9}"/>
          </ac:spMkLst>
        </pc:spChg>
      </pc:sldChg>
      <pc:sldChg chg="addSp delSp modSp mod">
        <pc:chgData name="Ambra Guglietti" userId="199c4909-bac5-4657-93e7-0969fd853821" providerId="ADAL" clId="{11B38F04-5D82-4EBB-A503-DBECE81F9224}" dt="2023-09-25T23:10:43.325" v="1590" actId="20577"/>
        <pc:sldMkLst>
          <pc:docMk/>
          <pc:sldMk cId="0" sldId="2147377750"/>
        </pc:sldMkLst>
        <pc:spChg chg="mod">
          <ac:chgData name="Ambra Guglietti" userId="199c4909-bac5-4657-93e7-0969fd853821" providerId="ADAL" clId="{11B38F04-5D82-4EBB-A503-DBECE81F9224}" dt="2023-09-25T23:10:43.325" v="1590" actId="20577"/>
          <ac:spMkLst>
            <pc:docMk/>
            <pc:sldMk cId="0" sldId="2147377750"/>
            <ac:spMk id="2" creationId="{9E0F79C7-26E6-1508-7531-9E38DD14046F}"/>
          </ac:spMkLst>
        </pc:spChg>
        <pc:spChg chg="del">
          <ac:chgData name="Ambra Guglietti" userId="199c4909-bac5-4657-93e7-0969fd853821" providerId="ADAL" clId="{11B38F04-5D82-4EBB-A503-DBECE81F9224}" dt="2023-09-20T21:00:25.096" v="214" actId="478"/>
          <ac:spMkLst>
            <pc:docMk/>
            <pc:sldMk cId="0" sldId="2147377750"/>
            <ac:spMk id="3" creationId="{99FDBD12-1DB7-00E9-6C73-35AABFDA185A}"/>
          </ac:spMkLst>
        </pc:spChg>
        <pc:spChg chg="del">
          <ac:chgData name="Ambra Guglietti" userId="199c4909-bac5-4657-93e7-0969fd853821" providerId="ADAL" clId="{11B38F04-5D82-4EBB-A503-DBECE81F9224}" dt="2023-09-20T21:11:28.068" v="331" actId="478"/>
          <ac:spMkLst>
            <pc:docMk/>
            <pc:sldMk cId="0" sldId="2147377750"/>
            <ac:spMk id="6" creationId="{7D723117-4BDB-B2E1-6475-D9FCA6353295}"/>
          </ac:spMkLst>
        </pc:spChg>
        <pc:spChg chg="add mod">
          <ac:chgData name="Ambra Guglietti" userId="199c4909-bac5-4657-93e7-0969fd853821" providerId="ADAL" clId="{11B38F04-5D82-4EBB-A503-DBECE81F9224}" dt="2023-09-20T21:00:21.162" v="213"/>
          <ac:spMkLst>
            <pc:docMk/>
            <pc:sldMk cId="0" sldId="2147377750"/>
            <ac:spMk id="13" creationId="{A55D3CD7-16CA-2417-A746-EFEC907C4B3C}"/>
          </ac:spMkLst>
        </pc:spChg>
      </pc:sldChg>
      <pc:sldChg chg="addSp delSp modSp mod">
        <pc:chgData name="Ambra Guglietti" userId="199c4909-bac5-4657-93e7-0969fd853821" providerId="ADAL" clId="{11B38F04-5D82-4EBB-A503-DBECE81F9224}" dt="2023-09-25T23:10:50.104" v="1600" actId="20577"/>
        <pc:sldMkLst>
          <pc:docMk/>
          <pc:sldMk cId="0" sldId="2147377751"/>
        </pc:sldMkLst>
        <pc:spChg chg="mod">
          <ac:chgData name="Ambra Guglietti" userId="199c4909-bac5-4657-93e7-0969fd853821" providerId="ADAL" clId="{11B38F04-5D82-4EBB-A503-DBECE81F9224}" dt="2023-09-25T23:10:50.104" v="1600" actId="20577"/>
          <ac:spMkLst>
            <pc:docMk/>
            <pc:sldMk cId="0" sldId="2147377751"/>
            <ac:spMk id="2" creationId="{B5250A0A-6802-2625-85F7-72006374761A}"/>
          </ac:spMkLst>
        </pc:spChg>
        <pc:spChg chg="del">
          <ac:chgData name="Ambra Guglietti" userId="199c4909-bac5-4657-93e7-0969fd853821" providerId="ADAL" clId="{11B38F04-5D82-4EBB-A503-DBECE81F9224}" dt="2023-09-20T21:00:16.688" v="211" actId="478"/>
          <ac:spMkLst>
            <pc:docMk/>
            <pc:sldMk cId="0" sldId="2147377751"/>
            <ac:spMk id="3" creationId="{26912150-3CE9-B77D-2D60-3C030C953B8C}"/>
          </ac:spMkLst>
        </pc:spChg>
        <pc:spChg chg="del">
          <ac:chgData name="Ambra Guglietti" userId="199c4909-bac5-4657-93e7-0969fd853821" providerId="ADAL" clId="{11B38F04-5D82-4EBB-A503-DBECE81F9224}" dt="2023-09-20T21:11:24.224" v="330" actId="478"/>
          <ac:spMkLst>
            <pc:docMk/>
            <pc:sldMk cId="0" sldId="2147377751"/>
            <ac:spMk id="6" creationId="{D487C397-B8F0-D7B7-F29D-AB00B50D07BB}"/>
          </ac:spMkLst>
        </pc:spChg>
        <pc:spChg chg="add mod">
          <ac:chgData name="Ambra Guglietti" userId="199c4909-bac5-4657-93e7-0969fd853821" providerId="ADAL" clId="{11B38F04-5D82-4EBB-A503-DBECE81F9224}" dt="2023-09-20T21:00:18.309" v="212"/>
          <ac:spMkLst>
            <pc:docMk/>
            <pc:sldMk cId="0" sldId="2147377751"/>
            <ac:spMk id="12" creationId="{3AB27EF3-3F4C-0F03-3A48-03E9BD513ABF}"/>
          </ac:spMkLst>
        </pc:spChg>
      </pc:sldChg>
      <pc:sldChg chg="addSp delSp modSp mod">
        <pc:chgData name="Ambra Guglietti" userId="199c4909-bac5-4657-93e7-0969fd853821" providerId="ADAL" clId="{11B38F04-5D82-4EBB-A503-DBECE81F9224}" dt="2023-09-25T23:32:57.768" v="1656" actId="20577"/>
        <pc:sldMkLst>
          <pc:docMk/>
          <pc:sldMk cId="0" sldId="2147377752"/>
        </pc:sldMkLst>
        <pc:spChg chg="mod">
          <ac:chgData name="Ambra Guglietti" userId="199c4909-bac5-4657-93e7-0969fd853821" providerId="ADAL" clId="{11B38F04-5D82-4EBB-A503-DBECE81F9224}" dt="2023-09-25T23:32:57.768" v="1656" actId="20577"/>
          <ac:spMkLst>
            <pc:docMk/>
            <pc:sldMk cId="0" sldId="2147377752"/>
            <ac:spMk id="2" creationId="{8B1A0FB4-E573-AEEE-B155-43887ABBACC9}"/>
          </ac:spMkLst>
        </pc:spChg>
        <pc:spChg chg="del">
          <ac:chgData name="Ambra Guglietti" userId="199c4909-bac5-4657-93e7-0969fd853821" providerId="ADAL" clId="{11B38F04-5D82-4EBB-A503-DBECE81F9224}" dt="2023-09-20T21:00:12.502" v="210" actId="478"/>
          <ac:spMkLst>
            <pc:docMk/>
            <pc:sldMk cId="0" sldId="2147377752"/>
            <ac:spMk id="3" creationId="{99CD30DC-4685-C856-3FBD-72624E2EB0EE}"/>
          </ac:spMkLst>
        </pc:spChg>
        <pc:spChg chg="del">
          <ac:chgData name="Ambra Guglietti" userId="199c4909-bac5-4657-93e7-0969fd853821" providerId="ADAL" clId="{11B38F04-5D82-4EBB-A503-DBECE81F9224}" dt="2023-09-20T21:11:36.599" v="333" actId="478"/>
          <ac:spMkLst>
            <pc:docMk/>
            <pc:sldMk cId="0" sldId="2147377752"/>
            <ac:spMk id="6" creationId="{72ADDEAF-F7B1-6B6A-37FD-635E440087CE}"/>
          </ac:spMkLst>
        </pc:spChg>
        <pc:spChg chg="mod">
          <ac:chgData name="Ambra Guglietti" userId="199c4909-bac5-4657-93e7-0969fd853821" providerId="ADAL" clId="{11B38F04-5D82-4EBB-A503-DBECE81F9224}" dt="2023-09-20T21:02:50.260" v="227" actId="2711"/>
          <ac:spMkLst>
            <pc:docMk/>
            <pc:sldMk cId="0" sldId="2147377752"/>
            <ac:spMk id="9" creationId="{3AD6439F-DD30-D32F-FFA3-2F74A812DDBF}"/>
          </ac:spMkLst>
        </pc:spChg>
        <pc:spChg chg="add mod">
          <ac:chgData name="Ambra Guglietti" userId="199c4909-bac5-4657-93e7-0969fd853821" providerId="ADAL" clId="{11B38F04-5D82-4EBB-A503-DBECE81F9224}" dt="2023-09-20T21:00:09.918" v="209"/>
          <ac:spMkLst>
            <pc:docMk/>
            <pc:sldMk cId="0" sldId="2147377752"/>
            <ac:spMk id="10" creationId="{E1BE4C32-D044-6BDB-08BF-DB819D9D95A7}"/>
          </ac:spMkLst>
        </pc:spChg>
      </pc:sldChg>
      <pc:sldChg chg="del">
        <pc:chgData name="Ambra Guglietti" userId="199c4909-bac5-4657-93e7-0969fd853821" providerId="ADAL" clId="{11B38F04-5D82-4EBB-A503-DBECE81F9224}" dt="2023-09-20T20:23:57.886" v="8" actId="47"/>
        <pc:sldMkLst>
          <pc:docMk/>
          <pc:sldMk cId="0" sldId="2147377886"/>
        </pc:sldMkLst>
      </pc:sldChg>
      <pc:sldChg chg="ord modNotes">
        <pc:chgData name="Ambra Guglietti" userId="199c4909-bac5-4657-93e7-0969fd853821" providerId="ADAL" clId="{11B38F04-5D82-4EBB-A503-DBECE81F9224}" dt="2023-09-25T16:31:16.149" v="1427"/>
        <pc:sldMkLst>
          <pc:docMk/>
          <pc:sldMk cId="0" sldId="2147378275"/>
        </pc:sldMkLst>
      </pc:sldChg>
      <pc:sldChg chg="modSp mod">
        <pc:chgData name="Ambra Guglietti" userId="199c4909-bac5-4657-93e7-0969fd853821" providerId="ADAL" clId="{11B38F04-5D82-4EBB-A503-DBECE81F9224}" dt="2023-09-23T07:50:35.409" v="508" actId="20577"/>
        <pc:sldMkLst>
          <pc:docMk/>
          <pc:sldMk cId="3895523881" sldId="2147378290"/>
        </pc:sldMkLst>
        <pc:spChg chg="mod">
          <ac:chgData name="Ambra Guglietti" userId="199c4909-bac5-4657-93e7-0969fd853821" providerId="ADAL" clId="{11B38F04-5D82-4EBB-A503-DBECE81F9224}" dt="2023-09-23T07:50:35.409" v="508" actId="20577"/>
          <ac:spMkLst>
            <pc:docMk/>
            <pc:sldMk cId="3895523881" sldId="2147378290"/>
            <ac:spMk id="66" creationId="{00000000-0000-0000-0000-000000000000}"/>
          </ac:spMkLst>
        </pc:spChg>
      </pc:sldChg>
      <pc:sldChg chg="addSp delSp modSp mod">
        <pc:chgData name="Ambra Guglietti" userId="199c4909-bac5-4657-93e7-0969fd853821" providerId="ADAL" clId="{11B38F04-5D82-4EBB-A503-DBECE81F9224}" dt="2023-09-25T16:30:57.890" v="1425"/>
        <pc:sldMkLst>
          <pc:docMk/>
          <pc:sldMk cId="0" sldId="2147378297"/>
        </pc:sldMkLst>
        <pc:spChg chg="del mod">
          <ac:chgData name="Ambra Guglietti" userId="199c4909-bac5-4657-93e7-0969fd853821" providerId="ADAL" clId="{11B38F04-5D82-4EBB-A503-DBECE81F9224}" dt="2023-09-25T16:30:56.713" v="1424" actId="478"/>
          <ac:spMkLst>
            <pc:docMk/>
            <pc:sldMk cId="0" sldId="2147378297"/>
            <ac:spMk id="5" creationId="{30757EAD-037E-740F-FFC2-E5521C06A19E}"/>
          </ac:spMkLst>
        </pc:spChg>
        <pc:spChg chg="add mod">
          <ac:chgData name="Ambra Guglietti" userId="199c4909-bac5-4657-93e7-0969fd853821" providerId="ADAL" clId="{11B38F04-5D82-4EBB-A503-DBECE81F9224}" dt="2023-09-25T16:30:57.890" v="1425"/>
          <ac:spMkLst>
            <pc:docMk/>
            <pc:sldMk cId="0" sldId="2147378297"/>
            <ac:spMk id="6" creationId="{C8D18E72-4944-1030-21D0-7E9071C5D8F6}"/>
          </ac:spMkLst>
        </pc:spChg>
        <pc:spChg chg="add mod">
          <ac:chgData name="Ambra Guglietti" userId="199c4909-bac5-4657-93e7-0969fd853821" providerId="ADAL" clId="{11B38F04-5D82-4EBB-A503-DBECE81F9224}" dt="2023-09-25T16:30:57.890" v="1425"/>
          <ac:spMkLst>
            <pc:docMk/>
            <pc:sldMk cId="0" sldId="2147378297"/>
            <ac:spMk id="7" creationId="{786D49F9-60FE-B2AA-462C-4CAAD8FB2193}"/>
          </ac:spMkLst>
        </pc:spChg>
      </pc:sldChg>
      <pc:sldChg chg="mod ord modShow">
        <pc:chgData name="Ambra Guglietti" userId="199c4909-bac5-4657-93e7-0969fd853821" providerId="ADAL" clId="{11B38F04-5D82-4EBB-A503-DBECE81F9224}" dt="2023-09-25T16:37:26.417" v="1447" actId="729"/>
        <pc:sldMkLst>
          <pc:docMk/>
          <pc:sldMk cId="0" sldId="2147378298"/>
        </pc:sldMkLst>
      </pc:sldChg>
      <pc:sldChg chg="addSp delSp modSp mod">
        <pc:chgData name="Ambra Guglietti" userId="199c4909-bac5-4657-93e7-0969fd853821" providerId="ADAL" clId="{11B38F04-5D82-4EBB-A503-DBECE81F9224}" dt="2023-09-23T08:46:41.910" v="1351" actId="1076"/>
        <pc:sldMkLst>
          <pc:docMk/>
          <pc:sldMk cId="0" sldId="2147378331"/>
        </pc:sldMkLst>
        <pc:spChg chg="mod">
          <ac:chgData name="Ambra Guglietti" userId="199c4909-bac5-4657-93e7-0969fd853821" providerId="ADAL" clId="{11B38F04-5D82-4EBB-A503-DBECE81F9224}" dt="2023-09-20T21:04:28.569" v="234" actId="404"/>
          <ac:spMkLst>
            <pc:docMk/>
            <pc:sldMk cId="0" sldId="2147378331"/>
            <ac:spMk id="2" creationId="{17AF338D-0398-3FF6-2056-1BB6B71EA901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3" creationId="{9C745BEE-4564-CD46-3BEB-BD73A9FC96D8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" creationId="{69F68F26-5C14-7B70-750E-28287B0AA679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5" creationId="{46430EF1-A4DE-4B09-9F29-685D53D1A224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6" creationId="{A58C581B-491C-BA31-122D-831FEE7EEC5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7" creationId="{5AE61A86-E299-349E-59A7-51F8404C9783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8" creationId="{11783C6F-167A-FDAC-2125-1F8E5F5AE73F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9" creationId="{2602BD14-9BF9-F83C-7E73-EB6379D8262F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0" creationId="{3330C597-E172-7128-01E8-AE568F7B31C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1" creationId="{70C1BBA9-5447-837E-C13E-80E669A3AB38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2" creationId="{02B2AC5F-F027-E154-782C-E1BACB131D58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3" creationId="{9FD99D40-EEC7-7A56-0A78-641EC6A033C2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4" creationId="{AD739CAE-D720-BC48-CD62-16AB68390A9F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5" creationId="{E557CCFA-C6B3-900F-A5FB-E7499C2B281E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6" creationId="{DFF44885-E93F-698F-17CC-FC16DD471096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7" creationId="{C54F3D5D-DBC1-0E7E-AD24-ADD0FF814912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8" creationId="{D43CB4C6-8265-037B-C350-878255A5F9B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19" creationId="{7707F583-9346-AF2C-9075-53EF0D7371A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0" creationId="{0C3A5B2C-6030-22E4-6C2C-D33AC8D6A263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1" creationId="{8BD2E947-9208-0638-6AC7-C7A3F08C9D01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2" creationId="{B8C941E6-9C29-2298-2174-54F46AFB565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3" creationId="{50C57823-56D0-7956-06E1-0EAC0D5137A0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4" creationId="{1F2EE2D0-4ABA-A542-4FDE-D7FCD76CC86A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5" creationId="{240754C2-D6DD-55A1-10F2-02C5C0C47A54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6" creationId="{5125ABAC-69E9-F327-27DD-C5F4B803364D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7" creationId="{596169AD-A3AB-D2E3-2552-4CD8B397710A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8" creationId="{489894E1-6652-A586-1E20-1C0564A90365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29" creationId="{853A2705-E500-39AF-96F3-597D1C8FF9EE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30" creationId="{69A57ADB-C719-A241-B1BC-E8AA373E2946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31" creationId="{3D09EDE1-F3D8-AF52-6130-A7CE75F35175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32" creationId="{C9440BA3-06BF-3000-36B1-0DD9211257EA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33" creationId="{B4534853-8A04-63EB-F800-E724AFAD0603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34" creationId="{327B288C-DB70-F830-1788-335AA2B453D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35" creationId="{9412346E-D458-1EC3-BF1F-BA3959390D6A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36" creationId="{4B8DCE4B-07FB-8340-5D55-C87E198EE77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1" creationId="{6EB2E9E6-1202-642D-23D2-9BBB33B3E3F6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2" creationId="{89AB3770-FBBA-6346-0B98-47E0EB05A8D6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3" creationId="{F2FC7DAE-1A7A-55BD-4736-5073B9E8728E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4" creationId="{217354B0-11DB-CD97-9FD7-123CD33AEDE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5" creationId="{F6AB55BA-46BF-FA44-FF45-18395339DB5F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6" creationId="{151C48E5-9F4E-2B22-1923-92B05C5643AB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7" creationId="{C4DA95A3-7973-406F-7AD1-F87C7864B444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8" creationId="{49219A1F-53A2-4E39-DF38-04B469668AFB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49" creationId="{FB8D004C-6B91-947B-EF24-28015660C7F2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50" creationId="{0C330462-ECA3-560F-21FE-41C91B4AB2C5}"/>
          </ac:spMkLst>
        </pc:spChg>
        <pc:spChg chg="mod">
          <ac:chgData name="Ambra Guglietti" userId="199c4909-bac5-4657-93e7-0969fd853821" providerId="ADAL" clId="{11B38F04-5D82-4EBB-A503-DBECE81F9224}" dt="2023-09-23T08:46:26.916" v="1349" actId="207"/>
          <ac:spMkLst>
            <pc:docMk/>
            <pc:sldMk cId="0" sldId="2147378331"/>
            <ac:spMk id="51" creationId="{7E1780FD-B153-CBD1-52CB-147F19A080C3}"/>
          </ac:spMkLst>
        </pc:spChg>
        <pc:spChg chg="mod">
          <ac:chgData name="Ambra Guglietti" userId="199c4909-bac5-4657-93e7-0969fd853821" providerId="ADAL" clId="{11B38F04-5D82-4EBB-A503-DBECE81F9224}" dt="2023-09-23T08:46:41.910" v="1351" actId="1076"/>
          <ac:spMkLst>
            <pc:docMk/>
            <pc:sldMk cId="0" sldId="2147378331"/>
            <ac:spMk id="52" creationId="{D57241D9-B3C0-8781-E030-D9ED97BFF46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53" creationId="{F12A10D9-EF6E-D668-91B4-4C9ED5410ECE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59" creationId="{10C510AB-CBE6-4A3A-9476-B2FF21C59E2E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60" creationId="{A15D7892-AB56-16C9-EA0E-427783F8C507}"/>
          </ac:spMkLst>
        </pc:spChg>
        <pc:spChg chg="mod">
          <ac:chgData name="Ambra Guglietti" userId="199c4909-bac5-4657-93e7-0969fd853821" providerId="ADAL" clId="{11B38F04-5D82-4EBB-A503-DBECE81F9224}" dt="2023-09-23T08:42:29.301" v="1269" actId="1035"/>
          <ac:spMkLst>
            <pc:docMk/>
            <pc:sldMk cId="0" sldId="2147378331"/>
            <ac:spMk id="61" creationId="{AE5C1158-72F0-166D-5F72-11DF140CC85D}"/>
          </ac:spMkLst>
        </pc:spChg>
        <pc:spChg chg="mod">
          <ac:chgData name="Ambra Guglietti" userId="199c4909-bac5-4657-93e7-0969fd853821" providerId="ADAL" clId="{11B38F04-5D82-4EBB-A503-DBECE81F9224}" dt="2023-09-23T08:43:24.659" v="1277" actId="122"/>
          <ac:spMkLst>
            <pc:docMk/>
            <pc:sldMk cId="0" sldId="2147378331"/>
            <ac:spMk id="62" creationId="{65E8A4CA-2A0F-410C-B265-C96421EFE8D9}"/>
          </ac:spMkLst>
        </pc:spChg>
        <pc:spChg chg="mod">
          <ac:chgData name="Ambra Guglietti" userId="199c4909-bac5-4657-93e7-0969fd853821" providerId="ADAL" clId="{11B38F04-5D82-4EBB-A503-DBECE81F9224}" dt="2023-09-23T08:43:39.688" v="1281" actId="179"/>
          <ac:spMkLst>
            <pc:docMk/>
            <pc:sldMk cId="0" sldId="2147378331"/>
            <ac:spMk id="63" creationId="{C5FAA903-8947-36EA-866D-9B846467D24F}"/>
          </ac:spMkLst>
        </pc:spChg>
        <pc:spChg chg="mod">
          <ac:chgData name="Ambra Guglietti" userId="199c4909-bac5-4657-93e7-0969fd853821" providerId="ADAL" clId="{11B38F04-5D82-4EBB-A503-DBECE81F9224}" dt="2023-09-23T08:43:48.146" v="1283" actId="179"/>
          <ac:spMkLst>
            <pc:docMk/>
            <pc:sldMk cId="0" sldId="2147378331"/>
            <ac:spMk id="64" creationId="{F80F8A26-A815-5122-B659-FE817D60920A}"/>
          </ac:spMkLst>
        </pc:spChg>
        <pc:spChg chg="mod">
          <ac:chgData name="Ambra Guglietti" userId="199c4909-bac5-4657-93e7-0969fd853821" providerId="ADAL" clId="{11B38F04-5D82-4EBB-A503-DBECE81F9224}" dt="2023-09-23T08:42:32.577" v="1270" actId="1076"/>
          <ac:spMkLst>
            <pc:docMk/>
            <pc:sldMk cId="0" sldId="2147378331"/>
            <ac:spMk id="65" creationId="{E32DFC6B-D093-20C7-A1B5-981E0BFF1786}"/>
          </ac:spMkLst>
        </pc:spChg>
        <pc:spChg chg="del">
          <ac:chgData name="Ambra Guglietti" userId="199c4909-bac5-4657-93e7-0969fd853821" providerId="ADAL" clId="{11B38F04-5D82-4EBB-A503-DBECE81F9224}" dt="2023-09-20T20:57:33.097" v="151" actId="478"/>
          <ac:spMkLst>
            <pc:docMk/>
            <pc:sldMk cId="0" sldId="2147378331"/>
            <ac:spMk id="66" creationId="{49FDB9A9-4E01-F9D6-A6B7-085E8BF99B8C}"/>
          </ac:spMkLst>
        </pc:spChg>
        <pc:spChg chg="add del mod">
          <ac:chgData name="Ambra Guglietti" userId="199c4909-bac5-4657-93e7-0969fd853821" providerId="ADAL" clId="{11B38F04-5D82-4EBB-A503-DBECE81F9224}" dt="2023-09-23T08:44:50.203" v="1291" actId="478"/>
          <ac:spMkLst>
            <pc:docMk/>
            <pc:sldMk cId="0" sldId="2147378331"/>
            <ac:spMk id="66" creationId="{EBFC9131-EEBB-A392-1538-0B74A713B463}"/>
          </ac:spMkLst>
        </pc:spChg>
        <pc:spChg chg="del mod">
          <ac:chgData name="Ambra Guglietti" userId="199c4909-bac5-4657-93e7-0969fd853821" providerId="ADAL" clId="{11B38F04-5D82-4EBB-A503-DBECE81F9224}" dt="2023-09-23T08:39:44.467" v="1165" actId="478"/>
          <ac:spMkLst>
            <pc:docMk/>
            <pc:sldMk cId="0" sldId="2147378331"/>
            <ac:spMk id="67" creationId="{5FFE48C3-DC45-20D4-FC60-5BBF9F337E14}"/>
          </ac:spMkLst>
        </pc:spChg>
        <pc:spChg chg="add mod">
          <ac:chgData name="Ambra Guglietti" userId="199c4909-bac5-4657-93e7-0969fd853821" providerId="ADAL" clId="{11B38F04-5D82-4EBB-A503-DBECE81F9224}" dt="2023-09-20T20:57:36.117" v="152"/>
          <ac:spMkLst>
            <pc:docMk/>
            <pc:sldMk cId="0" sldId="2147378331"/>
            <ac:spMk id="68" creationId="{06DE444C-7BC4-9F1A-49D3-CCFDF304792B}"/>
          </ac:spMkLst>
        </pc:spChg>
        <pc:spChg chg="add mod ord">
          <ac:chgData name="Ambra Guglietti" userId="199c4909-bac5-4657-93e7-0969fd853821" providerId="ADAL" clId="{11B38F04-5D82-4EBB-A503-DBECE81F9224}" dt="2023-09-23T08:46:30.406" v="1350" actId="207"/>
          <ac:spMkLst>
            <pc:docMk/>
            <pc:sldMk cId="0" sldId="2147378331"/>
            <ac:spMk id="69" creationId="{70C09D63-3BD8-B54E-9D0B-7B2FB06559A0}"/>
          </ac:spMkLst>
        </pc:spChg>
        <pc:grpChg chg="mod">
          <ac:chgData name="Ambra Guglietti" userId="199c4909-bac5-4657-93e7-0969fd853821" providerId="ADAL" clId="{11B38F04-5D82-4EBB-A503-DBECE81F9224}" dt="2023-09-23T08:42:29.301" v="1269" actId="1035"/>
          <ac:grpSpMkLst>
            <pc:docMk/>
            <pc:sldMk cId="0" sldId="2147378331"/>
            <ac:grpSpMk id="37" creationId="{E0F300AF-C19C-BCAD-0D36-30525388772B}"/>
          </ac:grpSpMkLst>
        </pc:grpChg>
        <pc:grpChg chg="mod">
          <ac:chgData name="Ambra Guglietti" userId="199c4909-bac5-4657-93e7-0969fd853821" providerId="ADAL" clId="{11B38F04-5D82-4EBB-A503-DBECE81F9224}" dt="2023-09-23T08:42:29.301" v="1269" actId="1035"/>
          <ac:grpSpMkLst>
            <pc:docMk/>
            <pc:sldMk cId="0" sldId="2147378331"/>
            <ac:grpSpMk id="54" creationId="{19A60A6D-24CE-B8E2-0C7C-714E040A6955}"/>
          </ac:grpSpMkLst>
        </pc:grpChg>
      </pc:sldChg>
      <pc:sldChg chg="modSp mod">
        <pc:chgData name="Ambra Guglietti" userId="199c4909-bac5-4657-93e7-0969fd853821" providerId="ADAL" clId="{11B38F04-5D82-4EBB-A503-DBECE81F9224}" dt="2023-09-20T21:04:35.101" v="235" actId="313"/>
        <pc:sldMkLst>
          <pc:docMk/>
          <pc:sldMk cId="0" sldId="2147378365"/>
        </pc:sldMkLst>
        <pc:spChg chg="mod">
          <ac:chgData name="Ambra Guglietti" userId="199c4909-bac5-4657-93e7-0969fd853821" providerId="ADAL" clId="{11B38F04-5D82-4EBB-A503-DBECE81F9224}" dt="2023-09-20T20:26:32.507" v="26" actId="1038"/>
          <ac:spMkLst>
            <pc:docMk/>
            <pc:sldMk cId="0" sldId="2147378365"/>
            <ac:spMk id="4" creationId="{FFA8D441-FF35-FECC-FD89-7FCF5F863D19}"/>
          </ac:spMkLst>
        </pc:spChg>
        <pc:spChg chg="mod">
          <ac:chgData name="Ambra Guglietti" userId="199c4909-bac5-4657-93e7-0969fd853821" providerId="ADAL" clId="{11B38F04-5D82-4EBB-A503-DBECE81F9224}" dt="2023-09-20T20:55:34.981" v="131" actId="255"/>
          <ac:spMkLst>
            <pc:docMk/>
            <pc:sldMk cId="0" sldId="2147378365"/>
            <ac:spMk id="6" creationId="{E9864384-81D4-0A7E-78E8-48263505ECB3}"/>
          </ac:spMkLst>
        </pc:spChg>
        <pc:spChg chg="mod">
          <ac:chgData name="Ambra Guglietti" userId="199c4909-bac5-4657-93e7-0969fd853821" providerId="ADAL" clId="{11B38F04-5D82-4EBB-A503-DBECE81F9224}" dt="2023-09-20T21:04:35.101" v="235" actId="313"/>
          <ac:spMkLst>
            <pc:docMk/>
            <pc:sldMk cId="0" sldId="2147378365"/>
            <ac:spMk id="10" creationId="{EF4F2AA6-CAE7-2E33-B9C3-08810446CAA4}"/>
          </ac:spMkLst>
        </pc:spChg>
      </pc:sldChg>
      <pc:sldChg chg="modSp mod">
        <pc:chgData name="Ambra Guglietti" userId="199c4909-bac5-4657-93e7-0969fd853821" providerId="ADAL" clId="{11B38F04-5D82-4EBB-A503-DBECE81F9224}" dt="2023-09-20T20:45:14.088" v="77" actId="1076"/>
        <pc:sldMkLst>
          <pc:docMk/>
          <pc:sldMk cId="0" sldId="2147378387"/>
        </pc:sldMkLst>
        <pc:spChg chg="mod">
          <ac:chgData name="Ambra Guglietti" userId="199c4909-bac5-4657-93e7-0969fd853821" providerId="ADAL" clId="{11B38F04-5D82-4EBB-A503-DBECE81F9224}" dt="2023-09-20T20:21:26.673" v="3" actId="27636"/>
          <ac:spMkLst>
            <pc:docMk/>
            <pc:sldMk cId="0" sldId="2147378387"/>
            <ac:spMk id="20" creationId="{F3A1EEEE-404B-3BDD-52E8-53A67F23409D}"/>
          </ac:spMkLst>
        </pc:spChg>
        <pc:spChg chg="mod">
          <ac:chgData name="Ambra Guglietti" userId="199c4909-bac5-4657-93e7-0969fd853821" providerId="ADAL" clId="{11B38F04-5D82-4EBB-A503-DBECE81F9224}" dt="2023-09-20T20:45:01.656" v="76" actId="404"/>
          <ac:spMkLst>
            <pc:docMk/>
            <pc:sldMk cId="0" sldId="2147378387"/>
            <ac:spMk id="24" creationId="{F47B4B8F-3469-44F2-96B3-42D0D3B19387}"/>
          </ac:spMkLst>
        </pc:spChg>
        <pc:spChg chg="mod">
          <ac:chgData name="Ambra Guglietti" userId="199c4909-bac5-4657-93e7-0969fd853821" providerId="ADAL" clId="{11B38F04-5D82-4EBB-A503-DBECE81F9224}" dt="2023-09-20T20:45:14.088" v="77" actId="1076"/>
          <ac:spMkLst>
            <pc:docMk/>
            <pc:sldMk cId="0" sldId="2147378387"/>
            <ac:spMk id="25" creationId="{0793DFCC-5ECD-BD07-938C-20054C88FD80}"/>
          </ac:spMkLst>
        </pc:spChg>
      </pc:sldChg>
      <pc:sldChg chg="addSp delSp modSp mod">
        <pc:chgData name="Ambra Guglietti" userId="199c4909-bac5-4657-93e7-0969fd853821" providerId="ADAL" clId="{11B38F04-5D82-4EBB-A503-DBECE81F9224}" dt="2023-09-25T23:05:50.654" v="1543"/>
        <pc:sldMkLst>
          <pc:docMk/>
          <pc:sldMk cId="0" sldId="2147378397"/>
        </pc:sldMkLst>
        <pc:spChg chg="mod">
          <ac:chgData name="Ambra Guglietti" userId="199c4909-bac5-4657-93e7-0969fd853821" providerId="ADAL" clId="{11B38F04-5D82-4EBB-A503-DBECE81F9224}" dt="2023-09-20T20:56:42.086" v="145" actId="255"/>
          <ac:spMkLst>
            <pc:docMk/>
            <pc:sldMk cId="0" sldId="2147378397"/>
            <ac:spMk id="2015" creationId="{7371C13C-3FC1-BF7C-8828-CF28BB22696F}"/>
          </ac:spMkLst>
        </pc:spChg>
        <pc:spChg chg="mod">
          <ac:chgData name="Ambra Guglietti" userId="199c4909-bac5-4657-93e7-0969fd853821" providerId="ADAL" clId="{11B38F04-5D82-4EBB-A503-DBECE81F9224}" dt="2023-09-20T20:46:21.567" v="86" actId="404"/>
          <ac:spMkLst>
            <pc:docMk/>
            <pc:sldMk cId="0" sldId="2147378397"/>
            <ac:spMk id="2071" creationId="{CCFD1901-EEC2-B52A-135D-A6B0179A131C}"/>
          </ac:spMkLst>
        </pc:spChg>
        <pc:spChg chg="mod">
          <ac:chgData name="Ambra Guglietti" userId="199c4909-bac5-4657-93e7-0969fd853821" providerId="ADAL" clId="{11B38F04-5D82-4EBB-A503-DBECE81F9224}" dt="2023-09-20T20:35:59.314" v="44" actId="255"/>
          <ac:spMkLst>
            <pc:docMk/>
            <pc:sldMk cId="0" sldId="2147378397"/>
            <ac:spMk id="2072" creationId="{46E1BCC1-EA99-EA34-DC24-04ADFF2EB3EA}"/>
          </ac:spMkLst>
        </pc:spChg>
        <pc:graphicFrameChg chg="del mod modGraphic">
          <ac:chgData name="Ambra Guglietti" userId="199c4909-bac5-4657-93e7-0969fd853821" providerId="ADAL" clId="{11B38F04-5D82-4EBB-A503-DBECE81F9224}" dt="2023-09-25T23:05:50.115" v="1542" actId="478"/>
          <ac:graphicFrameMkLst>
            <pc:docMk/>
            <pc:sldMk cId="0" sldId="2147378397"/>
            <ac:graphicFrameMk id="2074" creationId="{B5660C3B-C270-7406-2F63-0011C3F012E9}"/>
          </ac:graphicFrameMkLst>
        </pc:graphicFrameChg>
        <pc:graphicFrameChg chg="add mod">
          <ac:chgData name="Ambra Guglietti" userId="199c4909-bac5-4657-93e7-0969fd853821" providerId="ADAL" clId="{11B38F04-5D82-4EBB-A503-DBECE81F9224}" dt="2023-09-25T23:05:50.654" v="1543"/>
          <ac:graphicFrameMkLst>
            <pc:docMk/>
            <pc:sldMk cId="0" sldId="2147378397"/>
            <ac:graphicFrameMk id="2075" creationId="{7EA05BCC-48A3-60A9-86F9-576E998E2DAB}"/>
          </ac:graphicFrameMkLst>
        </pc:graphicFrameChg>
      </pc:sldChg>
      <pc:sldChg chg="addSp delSp modSp mod">
        <pc:chgData name="Ambra Guglietti" userId="199c4909-bac5-4657-93e7-0969fd853821" providerId="ADAL" clId="{11B38F04-5D82-4EBB-A503-DBECE81F9224}" dt="2023-09-20T20:57:14.597" v="148"/>
        <pc:sldMkLst>
          <pc:docMk/>
          <pc:sldMk cId="0" sldId="2147378398"/>
        </pc:sldMkLst>
        <pc:spChg chg="del">
          <ac:chgData name="Ambra Guglietti" userId="199c4909-bac5-4657-93e7-0969fd853821" providerId="ADAL" clId="{11B38F04-5D82-4EBB-A503-DBECE81F9224}" dt="2023-09-20T20:53:31.001" v="125" actId="478"/>
          <ac:spMkLst>
            <pc:docMk/>
            <pc:sldMk cId="0" sldId="2147378398"/>
            <ac:spMk id="2048" creationId="{122D0067-DCA7-F890-961C-3EE01185B2CF}"/>
          </ac:spMkLst>
        </pc:spChg>
        <pc:spChg chg="mod">
          <ac:chgData name="Ambra Guglietti" userId="199c4909-bac5-4657-93e7-0969fd853821" providerId="ADAL" clId="{11B38F04-5D82-4EBB-A503-DBECE81F9224}" dt="2023-09-20T20:43:05.057" v="64" actId="14100"/>
          <ac:spMkLst>
            <pc:docMk/>
            <pc:sldMk cId="0" sldId="2147378398"/>
            <ac:spMk id="2049" creationId="{10DB7B32-DE47-D7A1-925B-4D3CB7DEA917}"/>
          </ac:spMkLst>
        </pc:spChg>
        <pc:spChg chg="mod">
          <ac:chgData name="Ambra Guglietti" userId="199c4909-bac5-4657-93e7-0969fd853821" providerId="ADAL" clId="{11B38F04-5D82-4EBB-A503-DBECE81F9224}" dt="2023-09-20T20:43:13.020" v="66" actId="255"/>
          <ac:spMkLst>
            <pc:docMk/>
            <pc:sldMk cId="0" sldId="2147378398"/>
            <ac:spMk id="2050" creationId="{31BD944F-7A16-28D6-BD06-3D018B7461A4}"/>
          </ac:spMkLst>
        </pc:spChg>
        <pc:spChg chg="add mod">
          <ac:chgData name="Ambra Guglietti" userId="199c4909-bac5-4657-93e7-0969fd853821" providerId="ADAL" clId="{11B38F04-5D82-4EBB-A503-DBECE81F9224}" dt="2023-09-20T20:57:14.597" v="148"/>
          <ac:spMkLst>
            <pc:docMk/>
            <pc:sldMk cId="0" sldId="2147378398"/>
            <ac:spMk id="2051" creationId="{F569276E-7B1A-B0FF-5E9D-4CD7E2E0FB27}"/>
          </ac:spMkLst>
        </pc:spChg>
        <pc:graphicFrameChg chg="mod">
          <ac:chgData name="Ambra Guglietti" userId="199c4909-bac5-4657-93e7-0969fd853821" providerId="ADAL" clId="{11B38F04-5D82-4EBB-A503-DBECE81F9224}" dt="2023-09-20T20:36:26.667" v="47"/>
          <ac:graphicFrameMkLst>
            <pc:docMk/>
            <pc:sldMk cId="0" sldId="2147378398"/>
            <ac:graphicFrameMk id="2034" creationId="{A5C74D02-FFF7-33EF-546B-D57F1763C811}"/>
          </ac:graphicFrameMkLst>
        </pc:graphicFrameChg>
      </pc:sldChg>
      <pc:sldChg chg="modSp mod">
        <pc:chgData name="Ambra Guglietti" userId="199c4909-bac5-4657-93e7-0969fd853821" providerId="ADAL" clId="{11B38F04-5D82-4EBB-A503-DBECE81F9224}" dt="2023-09-20T20:57:26.113" v="150" actId="255"/>
        <pc:sldMkLst>
          <pc:docMk/>
          <pc:sldMk cId="0" sldId="2147378399"/>
        </pc:sldMkLst>
        <pc:spChg chg="mod">
          <ac:chgData name="Ambra Guglietti" userId="199c4909-bac5-4657-93e7-0969fd853821" providerId="ADAL" clId="{11B38F04-5D82-4EBB-A503-DBECE81F9224}" dt="2023-09-20T20:42:36.083" v="58" actId="20577"/>
          <ac:spMkLst>
            <pc:docMk/>
            <pc:sldMk cId="0" sldId="2147378399"/>
            <ac:spMk id="2032" creationId="{E6B8BB8C-4F47-40F1-00FD-F64C6D511F93}"/>
          </ac:spMkLst>
        </pc:spChg>
        <pc:spChg chg="mod">
          <ac:chgData name="Ambra Guglietti" userId="199c4909-bac5-4657-93e7-0969fd853821" providerId="ADAL" clId="{11B38F04-5D82-4EBB-A503-DBECE81F9224}" dt="2023-09-20T20:42:43.267" v="59" actId="255"/>
          <ac:spMkLst>
            <pc:docMk/>
            <pc:sldMk cId="0" sldId="2147378399"/>
            <ac:spMk id="2033" creationId="{986EC9DB-9675-074B-4EC0-FFCEC9A4288C}"/>
          </ac:spMkLst>
        </pc:spChg>
        <pc:spChg chg="mod">
          <ac:chgData name="Ambra Guglietti" userId="199c4909-bac5-4657-93e7-0969fd853821" providerId="ADAL" clId="{11B38F04-5D82-4EBB-A503-DBECE81F9224}" dt="2023-09-20T20:57:26.113" v="150" actId="255"/>
          <ac:spMkLst>
            <pc:docMk/>
            <pc:sldMk cId="0" sldId="2147378399"/>
            <ac:spMk id="2047" creationId="{49E21DD1-2559-A87C-9266-37C131E71254}"/>
          </ac:spMkLst>
        </pc:spChg>
        <pc:graphicFrameChg chg="mod modGraphic">
          <ac:chgData name="Ambra Guglietti" userId="199c4909-bac5-4657-93e7-0969fd853821" providerId="ADAL" clId="{11B38F04-5D82-4EBB-A503-DBECE81F9224}" dt="2023-09-20T20:36:52.001" v="49" actId="122"/>
          <ac:graphicFrameMkLst>
            <pc:docMk/>
            <pc:sldMk cId="0" sldId="2147378399"/>
            <ac:graphicFrameMk id="2048" creationId="{610C3BDC-7BA5-E8EF-2AA7-BE84598A03DF}"/>
          </ac:graphicFrameMkLst>
        </pc:graphicFrameChg>
      </pc:sldChg>
      <pc:sldChg chg="modSp mod">
        <pc:chgData name="Ambra Guglietti" userId="199c4909-bac5-4657-93e7-0969fd853821" providerId="ADAL" clId="{11B38F04-5D82-4EBB-A503-DBECE81F9224}" dt="2023-09-20T20:57:02.617" v="147" actId="255"/>
        <pc:sldMkLst>
          <pc:docMk/>
          <pc:sldMk cId="0" sldId="2147378400"/>
        </pc:sldMkLst>
        <pc:spChg chg="mod">
          <ac:chgData name="Ambra Guglietti" userId="199c4909-bac5-4657-93e7-0969fd853821" providerId="ADAL" clId="{11B38F04-5D82-4EBB-A503-DBECE81F9224}" dt="2023-09-20T20:35:37.433" v="39" actId="14100"/>
          <ac:spMkLst>
            <pc:docMk/>
            <pc:sldMk cId="0" sldId="2147378400"/>
            <ac:spMk id="2021" creationId="{18FBCB3F-3314-6C12-D0D5-CDE4742A298F}"/>
          </ac:spMkLst>
        </pc:spChg>
        <pc:spChg chg="mod">
          <ac:chgData name="Ambra Guglietti" userId="199c4909-bac5-4657-93e7-0969fd853821" providerId="ADAL" clId="{11B38F04-5D82-4EBB-A503-DBECE81F9224}" dt="2023-09-20T20:57:02.617" v="147" actId="255"/>
          <ac:spMkLst>
            <pc:docMk/>
            <pc:sldMk cId="0" sldId="2147378400"/>
            <ac:spMk id="2032" creationId="{A24A3EA8-8C36-E411-8C68-B6A5F5705857}"/>
          </ac:spMkLst>
        </pc:spChg>
        <pc:spChg chg="mod">
          <ac:chgData name="Ambra Guglietti" userId="199c4909-bac5-4657-93e7-0969fd853821" providerId="ADAL" clId="{11B38F04-5D82-4EBB-A503-DBECE81F9224}" dt="2023-09-20T20:35:44.143" v="43" actId="403"/>
          <ac:spMkLst>
            <pc:docMk/>
            <pc:sldMk cId="0" sldId="2147378400"/>
            <ac:spMk id="2033" creationId="{6D76E963-55A2-C27B-CC6E-200C335EB95F}"/>
          </ac:spMkLst>
        </pc:spChg>
        <pc:graphicFrameChg chg="mod">
          <ac:chgData name="Ambra Guglietti" userId="199c4909-bac5-4657-93e7-0969fd853821" providerId="ADAL" clId="{11B38F04-5D82-4EBB-A503-DBECE81F9224}" dt="2023-09-20T20:36:20.290" v="46"/>
          <ac:graphicFrameMkLst>
            <pc:docMk/>
            <pc:sldMk cId="0" sldId="2147378400"/>
            <ac:graphicFrameMk id="2036" creationId="{87A4DBE3-ECBC-64E0-EEE9-B25D696F4E60}"/>
          </ac:graphicFrameMkLst>
        </pc:graphicFrameChg>
      </pc:sldChg>
      <pc:sldChg chg="del">
        <pc:chgData name="Ambra Guglietti" userId="199c4909-bac5-4657-93e7-0969fd853821" providerId="ADAL" clId="{11B38F04-5D82-4EBB-A503-DBECE81F9224}" dt="2023-09-20T20:21:16.041" v="0" actId="47"/>
        <pc:sldMkLst>
          <pc:docMk/>
          <pc:sldMk cId="0" sldId="2147378403"/>
        </pc:sldMkLst>
      </pc:sldChg>
      <pc:sldChg chg="modSp mod modShow">
        <pc:chgData name="Ambra Guglietti" userId="199c4909-bac5-4657-93e7-0969fd853821" providerId="ADAL" clId="{11B38F04-5D82-4EBB-A503-DBECE81F9224}" dt="2023-09-20T21:04:42.553" v="236" actId="403"/>
        <pc:sldMkLst>
          <pc:docMk/>
          <pc:sldMk cId="0" sldId="2147378404"/>
        </pc:sldMkLst>
        <pc:spChg chg="mod">
          <ac:chgData name="Ambra Guglietti" userId="199c4909-bac5-4657-93e7-0969fd853821" providerId="ADAL" clId="{11B38F04-5D82-4EBB-A503-DBECE81F9224}" dt="2023-09-20T21:04:42.553" v="236" actId="403"/>
          <ac:spMkLst>
            <pc:docMk/>
            <pc:sldMk cId="0" sldId="2147378404"/>
            <ac:spMk id="12" creationId="{48CFC437-72BE-D657-B19A-001A4437B642}"/>
          </ac:spMkLst>
        </pc:spChg>
        <pc:spChg chg="mod">
          <ac:chgData name="Ambra Guglietti" userId="199c4909-bac5-4657-93e7-0969fd853821" providerId="ADAL" clId="{11B38F04-5D82-4EBB-A503-DBECE81F9224}" dt="2023-09-20T20:55:59.938" v="136" actId="207"/>
          <ac:spMkLst>
            <pc:docMk/>
            <pc:sldMk cId="0" sldId="2147378404"/>
            <ac:spMk id="13" creationId="{775A6AAE-C901-32B2-9436-4BC354DB581A}"/>
          </ac:spMkLst>
        </pc:spChg>
      </pc:sldChg>
      <pc:sldChg chg="addSp delSp modSp mod">
        <pc:chgData name="Ambra Guglietti" userId="199c4909-bac5-4657-93e7-0969fd853821" providerId="ADAL" clId="{11B38F04-5D82-4EBB-A503-DBECE81F9224}" dt="2023-09-24T09:18:50.371" v="1414" actId="20577"/>
        <pc:sldMkLst>
          <pc:docMk/>
          <pc:sldMk cId="0" sldId="2147378405"/>
        </pc:sldMkLst>
        <pc:spChg chg="del">
          <ac:chgData name="Ambra Guglietti" userId="199c4909-bac5-4657-93e7-0969fd853821" providerId="ADAL" clId="{11B38F04-5D82-4EBB-A503-DBECE81F9224}" dt="2023-09-20T21:28:35.986" v="340" actId="478"/>
          <ac:spMkLst>
            <pc:docMk/>
            <pc:sldMk cId="0" sldId="2147378405"/>
            <ac:spMk id="2" creationId="{81BDE3D4-156C-D961-2CA1-1583618B54BB}"/>
          </ac:spMkLst>
        </pc:spChg>
        <pc:spChg chg="mod">
          <ac:chgData name="Ambra Guglietti" userId="199c4909-bac5-4657-93e7-0969fd853821" providerId="ADAL" clId="{11B38F04-5D82-4EBB-A503-DBECE81F9224}" dt="2023-09-20T20:56:30.139" v="142" actId="255"/>
          <ac:spMkLst>
            <pc:docMk/>
            <pc:sldMk cId="0" sldId="2147378405"/>
            <ac:spMk id="4" creationId="{F6EA4E21-7F88-BFA9-0CB1-8808D00AEFE3}"/>
          </ac:spMkLst>
        </pc:spChg>
        <pc:spChg chg="add mod">
          <ac:chgData name="Ambra Guglietti" userId="199c4909-bac5-4657-93e7-0969fd853821" providerId="ADAL" clId="{11B38F04-5D82-4EBB-A503-DBECE81F9224}" dt="2023-09-24T09:18:50.371" v="1414" actId="20577"/>
          <ac:spMkLst>
            <pc:docMk/>
            <pc:sldMk cId="0" sldId="2147378405"/>
            <ac:spMk id="9" creationId="{58DAA838-BAB1-FECF-154A-423083C82753}"/>
          </ac:spMkLst>
        </pc:spChg>
        <pc:spChg chg="add mod">
          <ac:chgData name="Ambra Guglietti" userId="199c4909-bac5-4657-93e7-0969fd853821" providerId="ADAL" clId="{11B38F04-5D82-4EBB-A503-DBECE81F9224}" dt="2023-09-20T21:31:24.165" v="484" actId="14100"/>
          <ac:spMkLst>
            <pc:docMk/>
            <pc:sldMk cId="0" sldId="2147378405"/>
            <ac:spMk id="10" creationId="{3DB4028C-A4BE-F37F-4CFB-C5A85EF25A78}"/>
          </ac:spMkLst>
        </pc:spChg>
        <pc:picChg chg="add del">
          <ac:chgData name="Ambra Guglietti" userId="199c4909-bac5-4657-93e7-0969fd853821" providerId="ADAL" clId="{11B38F04-5D82-4EBB-A503-DBECE81F9224}" dt="2023-09-20T21:28:29.703" v="338" actId="478"/>
          <ac:picMkLst>
            <pc:docMk/>
            <pc:sldMk cId="0" sldId="2147378405"/>
            <ac:picMk id="3" creationId="{4F5DC47F-FB78-4A80-417C-08762BB78942}"/>
          </ac:picMkLst>
        </pc:picChg>
        <pc:picChg chg="add del">
          <ac:chgData name="Ambra Guglietti" userId="199c4909-bac5-4657-93e7-0969fd853821" providerId="ADAL" clId="{11B38F04-5D82-4EBB-A503-DBECE81F9224}" dt="2023-09-20T21:28:23.644" v="336" actId="22"/>
          <ac:picMkLst>
            <pc:docMk/>
            <pc:sldMk cId="0" sldId="2147378405"/>
            <ac:picMk id="6" creationId="{6C013855-F1E7-DD7A-233B-076C070F4DAA}"/>
          </ac:picMkLst>
        </pc:picChg>
        <pc:picChg chg="add mod ord">
          <ac:chgData name="Ambra Guglietti" userId="199c4909-bac5-4657-93e7-0969fd853821" providerId="ADAL" clId="{11B38F04-5D82-4EBB-A503-DBECE81F9224}" dt="2023-09-20T21:28:42.282" v="342" actId="167"/>
          <ac:picMkLst>
            <pc:docMk/>
            <pc:sldMk cId="0" sldId="2147378405"/>
            <ac:picMk id="8" creationId="{F313EAF8-558A-4A94-1726-5A1A46A6B58A}"/>
          </ac:picMkLst>
        </pc:picChg>
      </pc:sldChg>
      <pc:sldChg chg="del">
        <pc:chgData name="Ambra Guglietti" userId="199c4909-bac5-4657-93e7-0969fd853821" providerId="ADAL" clId="{11B38F04-5D82-4EBB-A503-DBECE81F9224}" dt="2023-09-20T20:58:05.260" v="155" actId="47"/>
        <pc:sldMkLst>
          <pc:docMk/>
          <pc:sldMk cId="0" sldId="2147378407"/>
        </pc:sldMkLst>
      </pc:sldChg>
      <pc:sldChg chg="addSp delSp modSp mod">
        <pc:chgData name="Ambra Guglietti" userId="199c4909-bac5-4657-93e7-0969fd853821" providerId="ADAL" clId="{11B38F04-5D82-4EBB-A503-DBECE81F9224}" dt="2023-09-20T21:04:22.820" v="233" actId="404"/>
        <pc:sldMkLst>
          <pc:docMk/>
          <pc:sldMk cId="0" sldId="2147378408"/>
        </pc:sldMkLst>
        <pc:spChg chg="mod">
          <ac:chgData name="Ambra Guglietti" userId="199c4909-bac5-4657-93e7-0969fd853821" providerId="ADAL" clId="{11B38F04-5D82-4EBB-A503-DBECE81F9224}" dt="2023-09-20T20:44:06.988" v="69" actId="1076"/>
          <ac:spMkLst>
            <pc:docMk/>
            <pc:sldMk cId="0" sldId="2147378408"/>
            <ac:spMk id="5" creationId="{052C8111-1A8C-604F-9054-FB90F7892E2C}"/>
          </ac:spMkLst>
        </pc:spChg>
        <pc:spChg chg="mod">
          <ac:chgData name="Ambra Guglietti" userId="199c4909-bac5-4657-93e7-0969fd853821" providerId="ADAL" clId="{11B38F04-5D82-4EBB-A503-DBECE81F9224}" dt="2023-09-20T21:04:22.820" v="233" actId="404"/>
          <ac:spMkLst>
            <pc:docMk/>
            <pc:sldMk cId="0" sldId="2147378408"/>
            <ac:spMk id="129" creationId="{94C70EEB-DFDC-D372-AA85-D500E213BD87}"/>
          </ac:spMkLst>
        </pc:spChg>
        <pc:spChg chg="mod">
          <ac:chgData name="Ambra Guglietti" userId="199c4909-bac5-4657-93e7-0969fd853821" providerId="ADAL" clId="{11B38F04-5D82-4EBB-A503-DBECE81F9224}" dt="2023-09-20T20:44:20.683" v="71" actId="1076"/>
          <ac:spMkLst>
            <pc:docMk/>
            <pc:sldMk cId="0" sldId="2147378408"/>
            <ac:spMk id="147" creationId="{3C41BE14-2D63-E2B1-B9A8-807461A6AA41}"/>
          </ac:spMkLst>
        </pc:spChg>
        <pc:spChg chg="del">
          <ac:chgData name="Ambra Guglietti" userId="199c4909-bac5-4657-93e7-0969fd853821" providerId="ADAL" clId="{11B38F04-5D82-4EBB-A503-DBECE81F9224}" dt="2023-09-20T20:57:43.209" v="153" actId="478"/>
          <ac:spMkLst>
            <pc:docMk/>
            <pc:sldMk cId="0" sldId="2147378408"/>
            <ac:spMk id="153" creationId="{C5688FAF-A94A-7412-CFA3-83058129827A}"/>
          </ac:spMkLst>
        </pc:spChg>
        <pc:spChg chg="add mod">
          <ac:chgData name="Ambra Guglietti" userId="199c4909-bac5-4657-93e7-0969fd853821" providerId="ADAL" clId="{11B38F04-5D82-4EBB-A503-DBECE81F9224}" dt="2023-09-20T20:57:44.733" v="154"/>
          <ac:spMkLst>
            <pc:docMk/>
            <pc:sldMk cId="0" sldId="2147378408"/>
            <ac:spMk id="154" creationId="{C6D92C21-014A-683F-E8C9-543E6D3D94AF}"/>
          </ac:spMkLst>
        </pc:spChg>
      </pc:sldChg>
      <pc:sldChg chg="addSp delSp modSp mod modShow">
        <pc:chgData name="Ambra Guglietti" userId="199c4909-bac5-4657-93e7-0969fd853821" providerId="ADAL" clId="{11B38F04-5D82-4EBB-A503-DBECE81F9224}" dt="2023-09-20T20:59:35.944" v="205"/>
        <pc:sldMkLst>
          <pc:docMk/>
          <pc:sldMk cId="0" sldId="2147378410"/>
        </pc:sldMkLst>
        <pc:spChg chg="mod">
          <ac:chgData name="Ambra Guglietti" userId="199c4909-bac5-4657-93e7-0969fd853821" providerId="ADAL" clId="{11B38F04-5D82-4EBB-A503-DBECE81F9224}" dt="2023-09-20T20:48:03.590" v="113" actId="113"/>
          <ac:spMkLst>
            <pc:docMk/>
            <pc:sldMk cId="0" sldId="2147378410"/>
            <ac:spMk id="2" creationId="{CD5CDA4A-7A52-C783-0AF5-1297E0AE4CE2}"/>
          </ac:spMkLst>
        </pc:spChg>
        <pc:spChg chg="del">
          <ac:chgData name="Ambra Guglietti" userId="199c4909-bac5-4657-93e7-0969fd853821" providerId="ADAL" clId="{11B38F04-5D82-4EBB-A503-DBECE81F9224}" dt="2023-09-20T20:51:07.960" v="124" actId="478"/>
          <ac:spMkLst>
            <pc:docMk/>
            <pc:sldMk cId="0" sldId="2147378410"/>
            <ac:spMk id="3" creationId="{5BDB0B64-412C-5CF2-2968-EE71D65577A9}"/>
          </ac:spMkLst>
        </pc:spChg>
        <pc:spChg chg="mod">
          <ac:chgData name="Ambra Guglietti" userId="199c4909-bac5-4657-93e7-0969fd853821" providerId="ADAL" clId="{11B38F04-5D82-4EBB-A503-DBECE81F9224}" dt="2023-09-20T20:48:26.513" v="115" actId="14100"/>
          <ac:spMkLst>
            <pc:docMk/>
            <pc:sldMk cId="0" sldId="2147378410"/>
            <ac:spMk id="4" creationId="{0A488F0B-1A44-873F-40C2-9456029A1C76}"/>
          </ac:spMkLst>
        </pc:spChg>
        <pc:spChg chg="mod">
          <ac:chgData name="Ambra Guglietti" userId="199c4909-bac5-4657-93e7-0969fd853821" providerId="ADAL" clId="{11B38F04-5D82-4EBB-A503-DBECE81F9224}" dt="2023-09-20T20:49:18.418" v="121" actId="6549"/>
          <ac:spMkLst>
            <pc:docMk/>
            <pc:sldMk cId="0" sldId="2147378410"/>
            <ac:spMk id="5" creationId="{7E34E45F-E556-38EE-A979-84ED273B2269}"/>
          </ac:spMkLst>
        </pc:spChg>
        <pc:spChg chg="mod">
          <ac:chgData name="Ambra Guglietti" userId="199c4909-bac5-4657-93e7-0969fd853821" providerId="ADAL" clId="{11B38F04-5D82-4EBB-A503-DBECE81F9224}" dt="2023-09-20T20:48:40.208" v="117" actId="1076"/>
          <ac:spMkLst>
            <pc:docMk/>
            <pc:sldMk cId="0" sldId="2147378410"/>
            <ac:spMk id="6" creationId="{4E1CC723-EA2C-34C5-88D1-1F8525ACB817}"/>
          </ac:spMkLst>
        </pc:spChg>
        <pc:spChg chg="add mod">
          <ac:chgData name="Ambra Guglietti" userId="199c4909-bac5-4657-93e7-0969fd853821" providerId="ADAL" clId="{11B38F04-5D82-4EBB-A503-DBECE81F9224}" dt="2023-09-20T20:59:35.944" v="205"/>
          <ac:spMkLst>
            <pc:docMk/>
            <pc:sldMk cId="0" sldId="2147378410"/>
            <ac:spMk id="29" creationId="{F1F03551-E079-CBC1-CEA2-24DA3EB34C28}"/>
          </ac:spMkLst>
        </pc:spChg>
      </pc:sldChg>
      <pc:sldChg chg="addSp delSp modSp mod">
        <pc:chgData name="Ambra Guglietti" userId="199c4909-bac5-4657-93e7-0969fd853821" providerId="ADAL" clId="{11B38F04-5D82-4EBB-A503-DBECE81F9224}" dt="2023-09-25T16:35:19.896" v="1443" actId="1076"/>
        <pc:sldMkLst>
          <pc:docMk/>
          <pc:sldMk cId="0" sldId="2147378592"/>
        </pc:sldMkLst>
        <pc:spChg chg="mod">
          <ac:chgData name="Ambra Guglietti" userId="199c4909-bac5-4657-93e7-0969fd853821" providerId="ADAL" clId="{11B38F04-5D82-4EBB-A503-DBECE81F9224}" dt="2023-09-20T20:44:55.304" v="75" actId="403"/>
          <ac:spMkLst>
            <pc:docMk/>
            <pc:sldMk cId="0" sldId="2147378592"/>
            <ac:spMk id="4" creationId="{B46D1B55-C08E-C741-9B41-29B982F3D81C}"/>
          </ac:spMkLst>
        </pc:spChg>
        <pc:spChg chg="mod">
          <ac:chgData name="Ambra Guglietti" userId="199c4909-bac5-4657-93e7-0969fd853821" providerId="ADAL" clId="{11B38F04-5D82-4EBB-A503-DBECE81F9224}" dt="2023-09-20T20:55:44.151" v="133" actId="255"/>
          <ac:spMkLst>
            <pc:docMk/>
            <pc:sldMk cId="0" sldId="2147378592"/>
            <ac:spMk id="5" creationId="{9CFF36BE-D8EB-0553-5E97-A3A52C3246BE}"/>
          </ac:spMkLst>
        </pc:spChg>
        <pc:picChg chg="del">
          <ac:chgData name="Ambra Guglietti" userId="199c4909-bac5-4657-93e7-0969fd853821" providerId="ADAL" clId="{11B38F04-5D82-4EBB-A503-DBECE81F9224}" dt="2023-09-25T16:35:12.641" v="1441" actId="478"/>
          <ac:picMkLst>
            <pc:docMk/>
            <pc:sldMk cId="0" sldId="2147378592"/>
            <ac:picMk id="3" creationId="{09DA06EF-E93E-59F2-906A-46A1508241F6}"/>
          </ac:picMkLst>
        </pc:picChg>
        <pc:picChg chg="add mod modCrop">
          <ac:chgData name="Ambra Guglietti" userId="199c4909-bac5-4657-93e7-0969fd853821" providerId="ADAL" clId="{11B38F04-5D82-4EBB-A503-DBECE81F9224}" dt="2023-09-25T16:35:19.896" v="1443" actId="1076"/>
          <ac:picMkLst>
            <pc:docMk/>
            <pc:sldMk cId="0" sldId="2147378592"/>
            <ac:picMk id="7" creationId="{BAA98149-A792-2319-19C4-6ED694D389B7}"/>
          </ac:picMkLst>
        </pc:picChg>
      </pc:sldChg>
      <pc:sldChg chg="modSp del">
        <pc:chgData name="Ambra Guglietti" userId="199c4909-bac5-4657-93e7-0969fd853821" providerId="ADAL" clId="{11B38F04-5D82-4EBB-A503-DBECE81F9224}" dt="2023-09-20T20:25:01.329" v="11" actId="47"/>
        <pc:sldMkLst>
          <pc:docMk/>
          <pc:sldMk cId="0" sldId="2147378593"/>
        </pc:sldMkLst>
        <pc:graphicFrameChg chg="mod">
          <ac:chgData name="Ambra Guglietti" userId="199c4909-bac5-4657-93e7-0969fd853821" providerId="ADAL" clId="{11B38F04-5D82-4EBB-A503-DBECE81F9224}" dt="2023-09-20T20:21:39.445" v="5"/>
          <ac:graphicFrameMkLst>
            <pc:docMk/>
            <pc:sldMk cId="0" sldId="2147378593"/>
            <ac:graphicFrameMk id="7" creationId="{B5BBC42D-FB94-759C-F60A-A70AF129BB5F}"/>
          </ac:graphicFrameMkLst>
        </pc:graphicFrameChg>
      </pc:sldChg>
      <pc:sldChg chg="modSp del">
        <pc:chgData name="Ambra Guglietti" userId="199c4909-bac5-4657-93e7-0969fd853821" providerId="ADAL" clId="{11B38F04-5D82-4EBB-A503-DBECE81F9224}" dt="2023-09-20T20:24:58.463" v="10" actId="47"/>
        <pc:sldMkLst>
          <pc:docMk/>
          <pc:sldMk cId="0" sldId="2147378594"/>
        </pc:sldMkLst>
        <pc:graphicFrameChg chg="mod">
          <ac:chgData name="Ambra Guglietti" userId="199c4909-bac5-4657-93e7-0969fd853821" providerId="ADAL" clId="{11B38F04-5D82-4EBB-A503-DBECE81F9224}" dt="2023-09-20T20:24:52.119" v="9"/>
          <ac:graphicFrameMkLst>
            <pc:docMk/>
            <pc:sldMk cId="0" sldId="2147378594"/>
            <ac:graphicFrameMk id="7" creationId="{532E0C9B-BE03-F128-5CF0-C6241C5E010E}"/>
          </ac:graphicFrameMkLst>
        </pc:graphicFrameChg>
      </pc:sldChg>
      <pc:sldChg chg="del">
        <pc:chgData name="Ambra Guglietti" userId="199c4909-bac5-4657-93e7-0969fd853821" providerId="ADAL" clId="{11B38F04-5D82-4EBB-A503-DBECE81F9224}" dt="2023-09-20T21:03:23.292" v="228" actId="47"/>
        <pc:sldMkLst>
          <pc:docMk/>
          <pc:sldMk cId="0" sldId="2147378595"/>
        </pc:sldMkLst>
      </pc:sldChg>
      <pc:sldChg chg="addSp modSp new del mod">
        <pc:chgData name="Ambra Guglietti" userId="199c4909-bac5-4657-93e7-0969fd853821" providerId="ADAL" clId="{11B38F04-5D82-4EBB-A503-DBECE81F9224}" dt="2023-09-23T08:07:01.238" v="614" actId="47"/>
        <pc:sldMkLst>
          <pc:docMk/>
          <pc:sldMk cId="25616890" sldId="2147378596"/>
        </pc:sldMkLst>
        <pc:spChg chg="mod">
          <ac:chgData name="Ambra Guglietti" userId="199c4909-bac5-4657-93e7-0969fd853821" providerId="ADAL" clId="{11B38F04-5D82-4EBB-A503-DBECE81F9224}" dt="2023-09-20T20:58:45.927" v="195" actId="20577"/>
          <ac:spMkLst>
            <pc:docMk/>
            <pc:sldMk cId="25616890" sldId="2147378596"/>
            <ac:spMk id="3" creationId="{6D67EA8E-592A-069E-5EEB-054BC59316E5}"/>
          </ac:spMkLst>
        </pc:spChg>
        <pc:spChg chg="add mod">
          <ac:chgData name="Ambra Guglietti" userId="199c4909-bac5-4657-93e7-0969fd853821" providerId="ADAL" clId="{11B38F04-5D82-4EBB-A503-DBECE81F9224}" dt="2023-09-20T20:59:32.505" v="204"/>
          <ac:spMkLst>
            <pc:docMk/>
            <pc:sldMk cId="25616890" sldId="2147378596"/>
            <ac:spMk id="8" creationId="{F6F5466C-21A5-53F6-B2D5-68B0F46B45F7}"/>
          </ac:spMkLst>
        </pc:spChg>
        <pc:spChg chg="add mod">
          <ac:chgData name="Ambra Guglietti" userId="199c4909-bac5-4657-93e7-0969fd853821" providerId="ADAL" clId="{11B38F04-5D82-4EBB-A503-DBECE81F9224}" dt="2023-09-20T21:06:24.038" v="328" actId="20577"/>
          <ac:spMkLst>
            <pc:docMk/>
            <pc:sldMk cId="25616890" sldId="2147378596"/>
            <ac:spMk id="9" creationId="{41BD1FF0-D34F-89AB-874C-DA5BC6451068}"/>
          </ac:spMkLst>
        </pc:spChg>
      </pc:sldChg>
      <pc:sldChg chg="addSp delSp modSp new mod modShow">
        <pc:chgData name="Ambra Guglietti" userId="199c4909-bac5-4657-93e7-0969fd853821" providerId="ADAL" clId="{11B38F04-5D82-4EBB-A503-DBECE81F9224}" dt="2023-09-25T17:16:52.961" v="1480" actId="478"/>
        <pc:sldMkLst>
          <pc:docMk/>
          <pc:sldMk cId="3244306031" sldId="2147378597"/>
        </pc:sldMkLst>
        <pc:spChg chg="add del mod">
          <ac:chgData name="Ambra Guglietti" userId="199c4909-bac5-4657-93e7-0969fd853821" providerId="ADAL" clId="{11B38F04-5D82-4EBB-A503-DBECE81F9224}" dt="2023-09-24T09:17:17.935" v="1359" actId="478"/>
          <ac:spMkLst>
            <pc:docMk/>
            <pc:sldMk cId="3244306031" sldId="2147378597"/>
            <ac:spMk id="2" creationId="{47FB1589-1D46-67DC-9D6B-230588506BC6}"/>
          </ac:spMkLst>
        </pc:spChg>
        <pc:spChg chg="add mod">
          <ac:chgData name="Ambra Guglietti" userId="199c4909-bac5-4657-93e7-0969fd853821" providerId="ADAL" clId="{11B38F04-5D82-4EBB-A503-DBECE81F9224}" dt="2023-09-24T09:18:42.291" v="1394" actId="20577"/>
          <ac:spMkLst>
            <pc:docMk/>
            <pc:sldMk cId="3244306031" sldId="2147378597"/>
            <ac:spMk id="7" creationId="{B42AC6B9-4392-A614-71F2-F3920D52930F}"/>
          </ac:spMkLst>
        </pc:spChg>
        <pc:picChg chg="add mod">
          <ac:chgData name="Ambra Guglietti" userId="199c4909-bac5-4657-93e7-0969fd853821" providerId="ADAL" clId="{11B38F04-5D82-4EBB-A503-DBECE81F9224}" dt="2023-09-24T09:17:31.483" v="1364" actId="1076"/>
          <ac:picMkLst>
            <pc:docMk/>
            <pc:sldMk cId="3244306031" sldId="2147378597"/>
            <ac:picMk id="4" creationId="{F368FB04-0D52-5E92-A61C-4B779E71BB18}"/>
          </ac:picMkLst>
        </pc:picChg>
        <pc:picChg chg="add mod">
          <ac:chgData name="Ambra Guglietti" userId="199c4909-bac5-4657-93e7-0969fd853821" providerId="ADAL" clId="{11B38F04-5D82-4EBB-A503-DBECE81F9224}" dt="2023-09-24T09:17:24.864" v="1362" actId="1076"/>
          <ac:picMkLst>
            <pc:docMk/>
            <pc:sldMk cId="3244306031" sldId="2147378597"/>
            <ac:picMk id="6" creationId="{DC58C674-4ADF-95F6-4F9B-76524D98C126}"/>
          </ac:picMkLst>
        </pc:picChg>
        <pc:picChg chg="add del mod">
          <ac:chgData name="Ambra Guglietti" userId="199c4909-bac5-4657-93e7-0969fd853821" providerId="ADAL" clId="{11B38F04-5D82-4EBB-A503-DBECE81F9224}" dt="2023-09-25T17:16:52.961" v="1480" actId="478"/>
          <ac:picMkLst>
            <pc:docMk/>
            <pc:sldMk cId="3244306031" sldId="2147378597"/>
            <ac:picMk id="9" creationId="{451A3EBB-CEC5-DBD2-40F3-4C9A5F5174A0}"/>
          </ac:picMkLst>
        </pc:picChg>
        <pc:picChg chg="add del mod">
          <ac:chgData name="Ambra Guglietti" userId="199c4909-bac5-4657-93e7-0969fd853821" providerId="ADAL" clId="{11B38F04-5D82-4EBB-A503-DBECE81F9224}" dt="2023-09-25T17:15:31.057" v="1475" actId="478"/>
          <ac:picMkLst>
            <pc:docMk/>
            <pc:sldMk cId="3244306031" sldId="2147378597"/>
            <ac:picMk id="11" creationId="{EB1C709E-C25B-81E1-AF55-A1E719ECB111}"/>
          </ac:picMkLst>
        </pc:picChg>
      </pc:sldChg>
      <pc:sldChg chg="addSp modSp new del mod modShow">
        <pc:chgData name="Ambra Guglietti" userId="199c4909-bac5-4657-93e7-0969fd853821" providerId="ADAL" clId="{11B38F04-5D82-4EBB-A503-DBECE81F9224}" dt="2023-09-25T23:02:12.918" v="1526" actId="47"/>
        <pc:sldMkLst>
          <pc:docMk/>
          <pc:sldMk cId="2951403986" sldId="2147378598"/>
        </pc:sldMkLst>
        <pc:picChg chg="add mod">
          <ac:chgData name="Ambra Guglietti" userId="199c4909-bac5-4657-93e7-0969fd853821" providerId="ADAL" clId="{11B38F04-5D82-4EBB-A503-DBECE81F9224}" dt="2023-09-25T16:32:39.002" v="1433" actId="14100"/>
          <ac:picMkLst>
            <pc:docMk/>
            <pc:sldMk cId="2951403986" sldId="2147378598"/>
            <ac:picMk id="3" creationId="{859A0689-41FC-66EB-14B4-4D2B1CCBC3D9}"/>
          </ac:picMkLst>
        </pc:picChg>
      </pc:sldChg>
      <pc:sldChg chg="addSp delSp modSp new mod">
        <pc:chgData name="Ambra Guglietti" userId="199c4909-bac5-4657-93e7-0969fd853821" providerId="ADAL" clId="{11B38F04-5D82-4EBB-A503-DBECE81F9224}" dt="2023-09-25T23:20:10.186" v="1646" actId="1076"/>
        <pc:sldMkLst>
          <pc:docMk/>
          <pc:sldMk cId="2899951211" sldId="2147378599"/>
        </pc:sldMkLst>
        <pc:spChg chg="add mod">
          <ac:chgData name="Ambra Guglietti" userId="199c4909-bac5-4657-93e7-0969fd853821" providerId="ADAL" clId="{11B38F04-5D82-4EBB-A503-DBECE81F9224}" dt="2023-09-25T22:51:16.977" v="1517" actId="20577"/>
          <ac:spMkLst>
            <pc:docMk/>
            <pc:sldMk cId="2899951211" sldId="2147378599"/>
            <ac:spMk id="4" creationId="{EE90523F-AD0F-94AC-D16F-DF7087B14026}"/>
          </ac:spMkLst>
        </pc:spChg>
        <pc:graphicFrameChg chg="add del mod">
          <ac:chgData name="Ambra Guglietti" userId="199c4909-bac5-4657-93e7-0969fd853821" providerId="ADAL" clId="{11B38F04-5D82-4EBB-A503-DBECE81F9224}" dt="2023-09-25T23:18:03.707" v="1622" actId="478"/>
          <ac:graphicFrameMkLst>
            <pc:docMk/>
            <pc:sldMk cId="2899951211" sldId="2147378599"/>
            <ac:graphicFrameMk id="7" creationId="{ED13EB9F-B940-2535-5465-8AD7EBCC53EA}"/>
          </ac:graphicFrameMkLst>
        </pc:graphicFrameChg>
        <pc:graphicFrameChg chg="add mod">
          <ac:chgData name="Ambra Guglietti" userId="199c4909-bac5-4657-93e7-0969fd853821" providerId="ADAL" clId="{11B38F04-5D82-4EBB-A503-DBECE81F9224}" dt="2023-09-25T23:18:51.679" v="1634" actId="14100"/>
          <ac:graphicFrameMkLst>
            <pc:docMk/>
            <pc:sldMk cId="2899951211" sldId="2147378599"/>
            <ac:graphicFrameMk id="10" creationId="{3C4B6658-891C-FC0D-F2F2-2B9EB14C0A33}"/>
          </ac:graphicFrameMkLst>
        </pc:graphicFrameChg>
        <pc:picChg chg="add mod">
          <ac:chgData name="Ambra Guglietti" userId="199c4909-bac5-4657-93e7-0969fd853821" providerId="ADAL" clId="{11B38F04-5D82-4EBB-A503-DBECE81F9224}" dt="2023-09-25T23:20:10.186" v="1646" actId="1076"/>
          <ac:picMkLst>
            <pc:docMk/>
            <pc:sldMk cId="2899951211" sldId="2147378599"/>
            <ac:picMk id="3" creationId="{D8945C56-2241-773D-1140-A1158D00F230}"/>
          </ac:picMkLst>
        </pc:picChg>
        <pc:picChg chg="add del mod modCrop">
          <ac:chgData name="Ambra Guglietti" userId="199c4909-bac5-4657-93e7-0969fd853821" providerId="ADAL" clId="{11B38F04-5D82-4EBB-A503-DBECE81F9224}" dt="2023-09-25T23:18:18.308" v="1629" actId="478"/>
          <ac:picMkLst>
            <pc:docMk/>
            <pc:sldMk cId="2899951211" sldId="2147378599"/>
            <ac:picMk id="6" creationId="{40042BE4-D0E8-AF43-587F-BFECB32EBDDD}"/>
          </ac:picMkLst>
        </pc:picChg>
        <pc:picChg chg="add mod">
          <ac:chgData name="Ambra Guglietti" userId="199c4909-bac5-4657-93e7-0969fd853821" providerId="ADAL" clId="{11B38F04-5D82-4EBB-A503-DBECE81F9224}" dt="2023-09-25T23:18:55.374" v="1636" actId="14100"/>
          <ac:picMkLst>
            <pc:docMk/>
            <pc:sldMk cId="2899951211" sldId="2147378599"/>
            <ac:picMk id="9" creationId="{4CC2BF6E-0FB1-AC73-7587-9E405F66C263}"/>
          </ac:picMkLst>
        </pc:picChg>
        <pc:picChg chg="add mod">
          <ac:chgData name="Ambra Guglietti" userId="199c4909-bac5-4657-93e7-0969fd853821" providerId="ADAL" clId="{11B38F04-5D82-4EBB-A503-DBECE81F9224}" dt="2023-09-25T23:19:26.777" v="1639" actId="1076"/>
          <ac:picMkLst>
            <pc:docMk/>
            <pc:sldMk cId="2899951211" sldId="2147378599"/>
            <ac:picMk id="11" creationId="{9EE9C3E1-BC04-4CB6-E008-43E719E88EB0}"/>
          </ac:picMkLst>
        </pc:picChg>
        <pc:picChg chg="add mod">
          <ac:chgData name="Ambra Guglietti" userId="199c4909-bac5-4657-93e7-0969fd853821" providerId="ADAL" clId="{11B38F04-5D82-4EBB-A503-DBECE81F9224}" dt="2023-09-25T23:19:59.360" v="1644" actId="1076"/>
          <ac:picMkLst>
            <pc:docMk/>
            <pc:sldMk cId="2899951211" sldId="2147378599"/>
            <ac:picMk id="12" creationId="{416D9ABC-FC31-BA7F-1EB8-C1716870DD26}"/>
          </ac:picMkLst>
        </pc:picChg>
      </pc:sldChg>
      <pc:sldChg chg="addSp new mod">
        <pc:chgData name="Ambra Guglietti" userId="199c4909-bac5-4657-93e7-0969fd853821" providerId="ADAL" clId="{11B38F04-5D82-4EBB-A503-DBECE81F9224}" dt="2023-09-25T23:15:50.703" v="1606" actId="22"/>
        <pc:sldMkLst>
          <pc:docMk/>
          <pc:sldMk cId="3202640105" sldId="2147378600"/>
        </pc:sldMkLst>
        <pc:picChg chg="add">
          <ac:chgData name="Ambra Guglietti" userId="199c4909-bac5-4657-93e7-0969fd853821" providerId="ADAL" clId="{11B38F04-5D82-4EBB-A503-DBECE81F9224}" dt="2023-09-25T23:15:50.703" v="1606" actId="22"/>
          <ac:picMkLst>
            <pc:docMk/>
            <pc:sldMk cId="3202640105" sldId="2147378600"/>
            <ac:picMk id="6" creationId="{3CB4D4A9-10D6-FA9A-6FB0-96D01FDB76C8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B0CA519-A2D6-2813-C8DE-080C07214506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2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B56B94-286E-B92D-7B13-919E11ABF95E}"/>
              </a:ext>
            </a:extLst>
          </p:cNvPr>
          <p:cNvSpPr txBox="1">
            <a:spLocks noGrp="1"/>
          </p:cNvSpPr>
          <p:nvPr>
            <p:ph type="dt" sz="quarter" idx="1"/>
          </p:nvPr>
        </p:nvSpPr>
        <p:spPr>
          <a:xfrm>
            <a:off x="3884608" y="0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0A35D89-8FF6-430E-BA5F-B4C09DC5926B}" type="datetime1">
              <a:rPr lang="en-DK" sz="12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rPr>
              <a:pPr marL="0" marR="0" lvl="0" indent="0" algn="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5/09/2023</a:t>
            </a:fld>
            <a:endParaRPr lang="en-DK" sz="12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7BC5DE-0607-76FF-D603-3ED54F62F76E}"/>
              </a:ext>
            </a:extLst>
          </p:cNvPr>
          <p:cNvSpPr txBox="1">
            <a:spLocks noGrp="1"/>
          </p:cNvSpPr>
          <p:nvPr>
            <p:ph type="ftr" sz="quarter" idx="2"/>
          </p:nvPr>
        </p:nvSpPr>
        <p:spPr>
          <a:xfrm>
            <a:off x="0" y="8685208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2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2E85CA-383B-7CD0-A4C6-2F7C57E35DED}"/>
              </a:ext>
            </a:extLst>
          </p:cNvPr>
          <p:cNvSpPr txBox="1">
            <a:spLocks noGrp="1"/>
          </p:cNvSpPr>
          <p:nvPr>
            <p:ph type="sldNum" sz="quarter" idx="3"/>
          </p:nvPr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95C96AE-5B1E-4B32-AD96-14DB820021D1}" type="slidenum">
              <a:t>‹#›</a:t>
            </a:fld>
            <a:endParaRPr lang="en-DK" sz="12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</a:endParaRPr>
          </a:p>
        </p:txBody>
      </p:sp>
    </p:spTree>
    <p:extLst>
      <p:ext uri="{BB962C8B-B14F-4D97-AF65-F5344CB8AC3E}">
        <p14:creationId xmlns:p14="http://schemas.microsoft.com/office/powerpoint/2010/main" val="39702478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16262FC-F497-C59F-0B4E-92566E195847}"/>
              </a:ext>
            </a:extLst>
          </p:cNvPr>
          <p:cNvSpPr txBox="1">
            <a:spLocks noGrp="1"/>
          </p:cNvSpPr>
          <p:nvPr>
            <p:ph type="hdr" sz="quarter"/>
          </p:nvPr>
        </p:nvSpPr>
        <p:spPr>
          <a:xfrm>
            <a:off x="0" y="0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2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defRPr>
            </a:lvl1pPr>
          </a:lstStyle>
          <a:p>
            <a:pPr lvl="0"/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BB4E0C-F7E1-C3CC-BA15-DC0A2669F9F9}"/>
              </a:ext>
            </a:extLst>
          </p:cNvPr>
          <p:cNvSpPr txBox="1">
            <a:spLocks noGrp="1"/>
          </p:cNvSpPr>
          <p:nvPr>
            <p:ph type="dt" idx="1"/>
          </p:nvPr>
        </p:nvSpPr>
        <p:spPr>
          <a:xfrm>
            <a:off x="3884608" y="0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2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defRPr>
            </a:lvl1pPr>
          </a:lstStyle>
          <a:p>
            <a:pPr lvl="0"/>
            <a:fld id="{2E9979EC-0B7B-4E18-8D84-34BD822C1F2E}" type="datetime1">
              <a:rPr lang="en-GB"/>
              <a:pPr lvl="0"/>
              <a:t>25/09/2023</a:t>
            </a:fld>
            <a:endParaRPr lang="en-GB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4FDE083-BE96-4DE3-3BE0-AE1EFA875F5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099"/>
          </a:xfrm>
          <a:prstGeom prst="rect">
            <a:avLst/>
          </a:prstGeom>
          <a:noFill/>
          <a:ln w="12701">
            <a:solidFill>
              <a:srgbClr val="000000"/>
            </a:solidFill>
            <a:prstDash val="solid"/>
          </a:ln>
        </p:spPr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2FD7791-3A24-C11C-3211-DA9D9374F3D3}"/>
              </a:ext>
            </a:extLst>
          </p:cNvPr>
          <p:cNvSpPr txBox="1">
            <a:spLocks noGrp="1"/>
          </p:cNvSpPr>
          <p:nvPr>
            <p:ph type="body" sz="quarter" idx="3"/>
          </p:nvPr>
        </p:nvSpPr>
        <p:spPr>
          <a:xfrm>
            <a:off x="685800" y="4400549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C8917A-72DD-C800-5896-5772D57538C5}"/>
              </a:ext>
            </a:extLst>
          </p:cNvPr>
          <p:cNvSpPr txBox="1">
            <a:spLocks noGrp="1"/>
          </p:cNvSpPr>
          <p:nvPr>
            <p:ph type="ftr" sz="quarter" idx="4"/>
          </p:nvPr>
        </p:nvSpPr>
        <p:spPr>
          <a:xfrm>
            <a:off x="0" y="8685208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2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defRPr>
            </a:lvl1pPr>
          </a:lstStyle>
          <a:p>
            <a:pPr lvl="0"/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ED814A-D80E-3276-61EE-80B6F0C5659C}"/>
              </a:ext>
            </a:extLst>
          </p:cNvPr>
          <p:cNvSpPr txBox="1">
            <a:spLocks noGrp="1"/>
          </p:cNvSpPr>
          <p:nvPr>
            <p:ph type="sldNum" sz="quarter" idx="5"/>
          </p:nvPr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2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defRPr>
            </a:lvl1pPr>
          </a:lstStyle>
          <a:p>
            <a:pPr lvl="0"/>
            <a:fld id="{F2286BC6-CE84-4A8A-8B51-2F0E845C9B95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49099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lvl="0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200" b="0" i="0" u="none" strike="noStrike" kern="1200" cap="none" spc="0" baseline="0">
        <a:solidFill>
          <a:srgbClr val="28231F"/>
        </a:solidFill>
        <a:uFillTx/>
        <a:latin typeface="VELUX Transform Office"/>
      </a:defRPr>
    </a:lvl1pPr>
    <a:lvl2pPr marL="457200" marR="0" lvl="1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200" b="0" i="0" u="none" strike="noStrike" kern="1200" cap="none" spc="0" baseline="0">
        <a:solidFill>
          <a:srgbClr val="28231F"/>
        </a:solidFill>
        <a:uFillTx/>
        <a:latin typeface="VELUX Transform Office"/>
      </a:defRPr>
    </a:lvl2pPr>
    <a:lvl3pPr marL="914400" marR="0" lvl="2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200" b="0" i="0" u="none" strike="noStrike" kern="1200" cap="none" spc="0" baseline="0">
        <a:solidFill>
          <a:srgbClr val="28231F"/>
        </a:solidFill>
        <a:uFillTx/>
        <a:latin typeface="VELUX Transform Office"/>
      </a:defRPr>
    </a:lvl3pPr>
    <a:lvl4pPr marL="1371600" marR="0" lvl="3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200" b="0" i="0" u="none" strike="noStrike" kern="1200" cap="none" spc="0" baseline="0">
        <a:solidFill>
          <a:srgbClr val="28231F"/>
        </a:solidFill>
        <a:uFillTx/>
        <a:latin typeface="VELUX Transform Office"/>
      </a:defRPr>
    </a:lvl4pPr>
    <a:lvl5pPr marL="1828800" marR="0" lvl="4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en-US" sz="1200" b="0" i="0" u="none" strike="noStrike" kern="1200" cap="none" spc="0" baseline="0">
        <a:solidFill>
          <a:srgbClr val="28231F"/>
        </a:solidFill>
        <a:uFillTx/>
        <a:latin typeface="VELUX Transform Office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velux.com/what-we-do/healthy-buildings-focus/demonstration-buildings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04EC44-7D66-A11B-3C03-DF6CDD505F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947A41-84FA-63BB-3A5E-AF10955B29E9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da-DK" sz="1400">
                <a:latin typeface="VELUXforOffice" pitchFamily="2"/>
              </a:rPr>
              <a:t>We call our strategy ‘It’s our nature’. </a:t>
            </a:r>
          </a:p>
          <a:p>
            <a:pPr lvl="0"/>
            <a:endParaRPr lang="da-DK" sz="1400">
              <a:latin typeface="VELUXforOffice" pitchFamily="2"/>
            </a:endParaRPr>
          </a:p>
          <a:p>
            <a:pPr lvl="0"/>
            <a:r>
              <a:rPr lang="en-GB" sz="1400">
                <a:latin typeface="VELUXforOffice" pitchFamily="2"/>
              </a:rPr>
              <a:t>Its meaning is twofold:</a:t>
            </a:r>
            <a:endParaRPr lang="en-US" sz="1400">
              <a:latin typeface="VELUXforOffice" pitchFamily="2"/>
            </a:endParaRPr>
          </a:p>
          <a:p>
            <a:pPr lvl="0"/>
            <a:endParaRPr lang="en-GB" sz="1400">
              <a:latin typeface="VELUXforOffice" pitchFamily="2"/>
            </a:endParaRPr>
          </a:p>
          <a:p>
            <a:pPr marL="413381" lvl="0" indent="-413381">
              <a:buSzPct val="100000"/>
              <a:buAutoNum type="arabicPeriod"/>
            </a:pPr>
            <a:r>
              <a:rPr lang="en-GB" sz="1400">
                <a:latin typeface="VELUXforOffice" pitchFamily="2"/>
              </a:rPr>
              <a:t>Firstly, It is ‘our’ nature to have sustainability at the heart of our business </a:t>
            </a:r>
            <a:endParaRPr lang="en-GB" sz="1400">
              <a:latin typeface="VELUXforOffice" pitchFamily="2"/>
              <a:cs typeface="Calibri"/>
            </a:endParaRPr>
          </a:p>
          <a:p>
            <a:pPr marL="413381" lvl="0" indent="-413381">
              <a:buSzPct val="100000"/>
              <a:buAutoNum type="arabicPeriod"/>
            </a:pPr>
            <a:r>
              <a:rPr lang="en-GB" sz="1400">
                <a:latin typeface="VELUXforOffice" pitchFamily="2"/>
              </a:rPr>
              <a:t>And secondly, we want to do our part to alleviate climate change and support the nature that we – and all life on earth – rely upon. </a:t>
            </a:r>
            <a:endParaRPr lang="en-GB" sz="1400">
              <a:latin typeface="VELUXforOffice" pitchFamily="2"/>
              <a:cs typeface="Calibri"/>
            </a:endParaRPr>
          </a:p>
          <a:p>
            <a:pPr lvl="0" defTabSz="1653518"/>
            <a:endParaRPr lang="da-DK" sz="1100">
              <a:latin typeface="VELUXforOffice" pitchFamily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553CE4-15F2-A28F-426B-9D1852CB1865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F81D5FE-4591-4D4E-B00C-F2AE83BE64E2}" type="slidenum">
              <a:t>2</a:t>
            </a:fld>
            <a:endParaRPr lang="en-DK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41557B-4142-F51C-849E-4E44AD466A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FA1B41-1772-B9CB-B48B-6D2070F5E6EB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en-GB"/>
              <a:t>We have formulated our strategy as a house. It has three levels, which I will go through now.</a:t>
            </a:r>
          </a:p>
          <a:p>
            <a:pPr lvl="0"/>
            <a:br>
              <a:rPr lang="en-GB">
                <a:cs typeface="Calibri"/>
              </a:rPr>
            </a:br>
            <a:r>
              <a:rPr lang="en-GB"/>
              <a:t>Just like when you build a house, I will start with the foundation and end in the attic.</a:t>
            </a:r>
            <a:endParaRPr lang="en-GB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73F989-D12C-918B-F680-E16055D0E769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62078F92-32AD-466D-9EFC-9DDCBDA7E569}" type="slidenum">
              <a:t>3</a:t>
            </a:fld>
            <a:endParaRPr lang="en-DK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1E641D2-29A0-B7D6-AC91-3EA889932D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7A5C53-F8E8-E1B9-B3BE-6EE2ED36D06D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da-DK">
                <a:latin typeface="VELUXforOffice" pitchFamily="2"/>
              </a:rPr>
              <a:t>We have set t</a:t>
            </a:r>
            <a:r>
              <a:rPr lang="en-DK">
                <a:latin typeface="VELUXforOffice" pitchFamily="2"/>
              </a:rPr>
              <a:t>hree</a:t>
            </a:r>
            <a:r>
              <a:rPr lang="da-DK">
                <a:latin typeface="VELUXforOffice" pitchFamily="2"/>
              </a:rPr>
              <a:t> targets for 2030</a:t>
            </a:r>
            <a:r>
              <a:rPr lang="en-DK">
                <a:latin typeface="VELUXforOffice" pitchFamily="2"/>
              </a:rPr>
              <a:t>:</a:t>
            </a:r>
            <a:br>
              <a:rPr lang="da-DK">
                <a:latin typeface="VELUXforOffice" pitchFamily="2"/>
                <a:cs typeface="Calibri"/>
              </a:rPr>
            </a:br>
            <a:endParaRPr lang="en-DK">
              <a:latin typeface="VELUXforOffice" pitchFamily="2"/>
            </a:endParaRPr>
          </a:p>
          <a:p>
            <a:pPr lvl="0" defTabSz="1653518"/>
            <a:r>
              <a:rPr lang="da-DK">
                <a:latin typeface="VELUXforOffice" pitchFamily="2"/>
              </a:rPr>
              <a:t>-</a:t>
            </a:r>
            <a:r>
              <a:rPr lang="en-DK">
                <a:latin typeface="VELUXforOffice" pitchFamily="2"/>
              </a:rPr>
              <a:t>Show how to build sustainably</a:t>
            </a:r>
            <a:endParaRPr lang="en-DK">
              <a:latin typeface="VELUXforOffice" pitchFamily="2"/>
              <a:cs typeface="Calibri"/>
            </a:endParaRPr>
          </a:p>
          <a:p>
            <a:pPr lvl="0" defTabSz="1653518"/>
            <a:r>
              <a:rPr lang="en-DK">
                <a:latin typeface="VELUXforOffice" pitchFamily="2"/>
              </a:rPr>
              <a:t>-Reduce our future carbon footprint</a:t>
            </a:r>
            <a:endParaRPr lang="da-DK">
              <a:latin typeface="VELUXforOffice" pitchFamily="2"/>
              <a:cs typeface="Calibri"/>
            </a:endParaRPr>
          </a:p>
          <a:p>
            <a:pPr lvl="0" defTabSz="1653518"/>
            <a:r>
              <a:rPr lang="en-GB">
                <a:latin typeface="VELUXforOffice" pitchFamily="2"/>
              </a:rPr>
              <a:t>-Capture our historical carbon footprint</a:t>
            </a:r>
          </a:p>
          <a:p>
            <a:pPr lvl="0" defTabSz="1653518"/>
            <a:endParaRPr lang="en-GB">
              <a:latin typeface="VELUXforOffice" pitchFamily="2"/>
              <a:cs typeface="Calibri"/>
            </a:endParaRPr>
          </a:p>
          <a:p>
            <a:pPr lvl="0" defTabSz="1653518"/>
            <a:r>
              <a:rPr lang="en-GB">
                <a:latin typeface="VELUXforOffice" pitchFamily="2"/>
                <a:cs typeface="Calibri"/>
              </a:rPr>
              <a:t>Let me elaborate.</a:t>
            </a:r>
          </a:p>
          <a:p>
            <a:pPr marL="171450" lvl="0" indent="-171450">
              <a:buSzPct val="100000"/>
              <a:buChar char="-"/>
            </a:pPr>
            <a:endParaRPr lang="en-GB">
              <a:latin typeface="VELUXforOffice" pitchFamily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0BFA1C-4EDD-D91B-9701-350997327759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4B45557-A544-4CB1-90A0-97528EE07C43}" type="slidenum">
              <a:t>4</a:t>
            </a:fld>
            <a:endParaRPr lang="en-DK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93DF34-E89B-721B-214A-7E1A336C88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B75EFF-F52E-C8B9-028E-8FA4121E8000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en-GB">
                <a:latin typeface="VELUXforOffice" pitchFamily="2"/>
              </a:rPr>
              <a:t>We started to focus on sustainable buildings almost two decades ago. </a:t>
            </a:r>
          </a:p>
          <a:p>
            <a:pPr lvl="0"/>
            <a:endParaRPr lang="en-GB">
              <a:latin typeface="VELUXforOffice" pitchFamily="2"/>
            </a:endParaRPr>
          </a:p>
          <a:p>
            <a:pPr lvl="0"/>
            <a:r>
              <a:rPr lang="en-GB">
                <a:latin typeface="VELUXforOffice" pitchFamily="2"/>
              </a:rPr>
              <a:t>Through advocacy, demonstration buildings, research and marketing, we have established a strong position, but there's more to be done. </a:t>
            </a:r>
            <a:r>
              <a:rPr lang="en-US">
                <a:latin typeface="VELUXforOffice" pitchFamily="2"/>
              </a:rPr>
              <a:t>​</a:t>
            </a:r>
          </a:p>
          <a:p>
            <a:pPr lvl="0"/>
            <a:r>
              <a:rPr lang="en-GB">
                <a:latin typeface="VELUXforOffice" pitchFamily="2"/>
              </a:rPr>
              <a:t>​</a:t>
            </a:r>
            <a:endParaRPr lang="en-US">
              <a:latin typeface="VELUXforOffice" pitchFamily="2"/>
            </a:endParaRPr>
          </a:p>
          <a:p>
            <a:pPr lvl="0"/>
            <a:r>
              <a:rPr lang="en-GB">
                <a:latin typeface="VELUXforOffice" pitchFamily="2"/>
              </a:rPr>
              <a:t>With this target we will continue to showcase sustainable buildings and communities to ensure a strong influence on the buildings of tomorrow.</a:t>
            </a:r>
          </a:p>
          <a:p>
            <a:pPr lvl="0"/>
            <a:endParaRPr lang="en-GB">
              <a:latin typeface="VELUXforOffice" pitchFamily="2"/>
            </a:endParaRPr>
          </a:p>
          <a:p>
            <a:pPr lvl="0"/>
            <a:r>
              <a:rPr lang="en-GB">
                <a:latin typeface="VELUXforOffice" pitchFamily="2"/>
              </a:rPr>
              <a:t>In doing so, we</a:t>
            </a:r>
            <a:r>
              <a:rPr lang="en-US">
                <a:latin typeface="VELUXforOffice" pitchFamily="2"/>
              </a:rPr>
              <a:t> will strengthen the long-term relevancy of our products.</a:t>
            </a:r>
            <a:endParaRPr lang="en-GB">
              <a:latin typeface="VELUXforOffice" pitchFamily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2540B-A8B6-B7E1-DDBD-A9C425CCF49E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291EB2FC-AADB-42FC-A96E-35579661C411}" type="slidenum">
              <a:t>5</a:t>
            </a:fld>
            <a:endParaRPr lang="en-DK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994D3E-1DC0-0349-5F7F-4B94CE4CDF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BCE91E-1BE2-CB5E-F340-A0C1ECD0A457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 defTabSz="1653518"/>
            <a:r>
              <a:rPr lang="en-GB"/>
              <a:t>For our future carbon reductions, we are aligning our targets with climate science as stipulated by the UN’s Climate Panel. </a:t>
            </a:r>
          </a:p>
          <a:p>
            <a:pPr lvl="0" defTabSz="1653518"/>
            <a:endParaRPr lang="en-GB"/>
          </a:p>
          <a:p>
            <a:pPr lvl="0" defTabSz="1653518"/>
            <a:r>
              <a:rPr lang="en-GB"/>
              <a:t>We will commit to the most ambitious reduction pathway of 1.5 degrees for global warming. This is the path set out in the Paris Agreement. </a:t>
            </a:r>
          </a:p>
          <a:p>
            <a:pPr lvl="0"/>
            <a:endParaRPr lang="da-DK"/>
          </a:p>
          <a:p>
            <a:pPr lvl="0"/>
            <a:r>
              <a:rPr lang="da-DK"/>
              <a:t>That means we will become a 100% carbon neutral company and reduce the CO</a:t>
            </a:r>
            <a:r>
              <a:rPr lang="en-GB" baseline="-25000"/>
              <a:t>2</a:t>
            </a:r>
            <a:r>
              <a:rPr lang="da-DK"/>
              <a:t> from our value chain with 50% by 2030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291CB0-B322-5BBE-326A-68FBCA93D80A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7F1F4C8-160F-4250-8D21-3A5EE57CA836}" type="slidenum">
              <a:t>6</a:t>
            </a:fld>
            <a:endParaRPr lang="en-DK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200" b="1" dirty="0">
                <a:effectLst/>
                <a:latin typeface="VELUX Transform Office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in script:</a:t>
            </a:r>
            <a:endParaRPr lang="en-GB" sz="1200" dirty="0">
              <a:effectLst/>
              <a:latin typeface="VELUX Transform Office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b="0" i="0" dirty="0">
                <a:solidFill>
                  <a:srgbClr val="333333"/>
                </a:solidFill>
                <a:effectLst/>
                <a:latin typeface="VELUX Transform Office"/>
              </a:rPr>
              <a:t>Experimenting is in the DNA of the VELUX Group and conclusions from our full-scale building experiments show that </a:t>
            </a:r>
            <a:r>
              <a:rPr lang="en-GB" dirty="0">
                <a:solidFill>
                  <a:srgbClr val="333333"/>
                </a:solidFill>
                <a:latin typeface="VELUX Transform Office"/>
              </a:rPr>
              <a:t>it's</a:t>
            </a:r>
            <a:r>
              <a:rPr lang="en-GB" b="0" i="0" dirty="0">
                <a:solidFill>
                  <a:srgbClr val="333333"/>
                </a:solidFill>
                <a:effectLst/>
                <a:latin typeface="VELUX Transform Office"/>
              </a:rPr>
              <a:t> possible to build sustainable and healthy buildings using the standard materials, methods and technologies that are available today </a:t>
            </a:r>
            <a:r>
              <a:rPr lang="en-GB" sz="1200" dirty="0">
                <a:effectLst/>
                <a:latin typeface="VELUX Transform Office"/>
                <a:ea typeface="Calibri" panose="020F0502020204030204" pitchFamily="34" charset="0"/>
                <a:cs typeface="Times New Roman" panose="02020603050405020304" pitchFamily="18" charset="0"/>
              </a:rPr>
              <a:t>– proving that energy efficiency and quality of life can go hand in hand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200" dirty="0">
              <a:effectLst/>
              <a:latin typeface="VELUX Transform Office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200" b="1" dirty="0">
                <a:effectLst/>
                <a:latin typeface="VELUX Transform Office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dditional information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200" dirty="0">
                <a:effectLst/>
                <a:latin typeface="VELUX Transform Office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www.velux.com/what-we-do/healthy-buildings-focus/demonstration-buildings</a:t>
            </a:r>
            <a:endParaRPr lang="en-GB" sz="1200" dirty="0">
              <a:effectLst/>
              <a:latin typeface="VELUX Transform Office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200" dirty="0">
              <a:effectLst/>
              <a:latin typeface="VELUX Transform Office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2D5656-607A-4D7D-BA5C-D07045B5FEE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LUX Transform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72872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C97751-B151-9010-1574-C84A2AB5D7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2AB3B8-7FBD-C776-3B76-04D9D2EEB0D8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1A50C8-5A91-D95A-7A19-D69B6DFB71DD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ADB8F359-125C-4CCD-8956-9EBA05037C15}" type="slidenum">
              <a:t>8</a:t>
            </a:fld>
            <a:endParaRPr lang="en-GB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16856E-4CD0-2913-819B-60B6A74080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CA353D-AC7A-8323-E252-DECA11658CCD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/>
            <a:r>
              <a:rPr lang="en-US"/>
              <a:t>We developed five key principles:</a:t>
            </a:r>
          </a:p>
          <a:p>
            <a:pPr lvl="0"/>
            <a:endParaRPr lang="en-US"/>
          </a:p>
          <a:p>
            <a:pPr lvl="0"/>
            <a:r>
              <a:rPr lang="en-US"/>
              <a:t>HEALTHY</a:t>
            </a:r>
          </a:p>
          <a:p>
            <a:pPr lvl="0"/>
            <a:endParaRPr lang="en-US"/>
          </a:p>
          <a:p>
            <a:pPr lvl="0"/>
            <a:r>
              <a:rPr lang="en-US"/>
              <a:t>SHARED</a:t>
            </a:r>
          </a:p>
          <a:p>
            <a:pPr lvl="0"/>
            <a:endParaRPr lang="en-US"/>
          </a:p>
          <a:p>
            <a:pPr lvl="0"/>
            <a:r>
              <a:rPr lang="en-US"/>
              <a:t>SIMPLE</a:t>
            </a:r>
          </a:p>
          <a:p>
            <a:pPr lvl="0"/>
            <a:endParaRPr lang="en-US"/>
          </a:p>
          <a:p>
            <a:pPr lvl="0"/>
            <a:r>
              <a:rPr lang="en-US"/>
              <a:t>ADAPTIVE</a:t>
            </a:r>
          </a:p>
          <a:p>
            <a:pPr lvl="0"/>
            <a:endParaRPr lang="en-US"/>
          </a:p>
          <a:p>
            <a:pPr lvl="0"/>
            <a:r>
              <a:rPr lang="en-US"/>
              <a:t>SCALABLE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969B7-C034-E24D-DBE2-AE06F93E1C82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DAA6034-81CC-498F-A733-04EFF4948E6A}" type="slidenum">
              <a:t>12</a:t>
            </a:fld>
            <a:endParaRPr lang="en-DK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file:///U:\Velux\WORK\Logo%20red255.emf" TargetMode="External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7" Type="http://schemas.openxmlformats.org/officeDocument/2006/relationships/image" Target="../media/image15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2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png"/><Relationship Id="rId11" Type="http://schemas.openxmlformats.org/officeDocument/2006/relationships/image" Target="../media/image25.png"/><Relationship Id="rId5" Type="http://schemas.openxmlformats.org/officeDocument/2006/relationships/image" Target="../media/image7.png"/><Relationship Id="rId10" Type="http://schemas.openxmlformats.org/officeDocument/2006/relationships/image" Target="../media/image24.png"/><Relationship Id="rId4" Type="http://schemas.openxmlformats.org/officeDocument/2006/relationships/image" Target="../media/image22.png"/><Relationship Id="rId9" Type="http://schemas.openxmlformats.org/officeDocument/2006/relationships/image" Target="../media/image11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5D4030DF-6502-704A-14CD-ED7F7C8E3644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12191996" cy="6858000"/>
          </a:xfrm>
        </p:spPr>
        <p:txBody>
          <a:bodyPr lIns="5471998" tIns="35999"/>
          <a:lstStyle>
            <a:lvl1pPr>
              <a:buNone/>
              <a:tabLst>
                <a:tab pos="1162046" algn="l"/>
              </a:tabLst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FE5140C-0F80-1B0B-2693-39BC9F2DDC2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0"/>
            <a:ext cx="5374797" cy="6858000"/>
          </a:xfrm>
          <a:solidFill>
            <a:srgbClr val="EBE6DE"/>
          </a:solidFill>
        </p:spPr>
        <p:txBody>
          <a:bodyPr lIns="359999" tIns="1216801" rIns="179999" bIns="3621600" anchor="b"/>
          <a:lstStyle>
            <a:lvl1pPr>
              <a:defRPr lang="en-GB" sz="3900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Rectangle 21" hidden="1">
            <a:extLst>
              <a:ext uri="{FF2B5EF4-FFF2-40B4-BE49-F238E27FC236}">
                <a16:creationId xmlns:a16="http://schemas.microsoft.com/office/drawing/2014/main" id="{5428FA4B-0FF5-04DA-A32F-67E55EC05FD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358874" y="7004221"/>
            <a:ext cx="489277" cy="241200"/>
          </a:xfrm>
        </p:spPr>
        <p:txBody>
          <a:bodyPr/>
          <a:lstStyle>
            <a:lvl1pPr>
              <a:defRPr sz="100"/>
            </a:lvl1pPr>
          </a:lstStyle>
          <a:p>
            <a:pPr lvl="0"/>
            <a:fld id="{4605B41F-67A6-4343-9EC5-2A040F125EA1}" type="slidenum">
              <a:t>‹#›</a:t>
            </a:fld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83F92942-B495-46F7-F505-E30C8307140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294799" y="5409791"/>
            <a:ext cx="2159995" cy="72562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4B22F696-821A-03C2-55D2-6FBA6F9B865B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84982"/>
            <a:ext cx="4874401" cy="1113410"/>
          </a:xfrm>
        </p:spPr>
        <p:txBody>
          <a:bodyPr/>
          <a:lstStyle>
            <a:lvl1pPr>
              <a:buNone/>
              <a:defRPr lang="en-GB" sz="3200"/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7" name="Date Placeholder" hidden="1">
            <a:extLst>
              <a:ext uri="{FF2B5EF4-FFF2-40B4-BE49-F238E27FC236}">
                <a16:creationId xmlns:a16="http://schemas.microsoft.com/office/drawing/2014/main" id="{7A964A9F-2D61-5038-C6CB-9D44E0FBD53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912004"/>
            <a:ext cx="0" cy="0"/>
          </a:xfrm>
        </p:spPr>
        <p:txBody>
          <a:bodyPr/>
          <a:lstStyle>
            <a:lvl1pPr>
              <a:defRPr sz="1500"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EADA47AE-185A-97A0-6D94-D01B109AD40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5519921" y="6361197"/>
            <a:ext cx="6309680" cy="2412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FLD_Presenter_Place">
            <a:extLst>
              <a:ext uri="{FF2B5EF4-FFF2-40B4-BE49-F238E27FC236}">
                <a16:creationId xmlns:a16="http://schemas.microsoft.com/office/drawing/2014/main" id="{9BBFF40C-EE92-92F0-1D0F-90C86EFA3F3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233290"/>
            <a:ext cx="4874401" cy="310731"/>
          </a:xfrm>
        </p:spPr>
        <p:txBody>
          <a:bodyPr anchor="b"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Click to add presenter / place</a:t>
            </a:r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72DDB6-4AEB-006B-F290-E10E2D1E3FC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581979"/>
            <a:ext cx="4874401" cy="263383"/>
          </a:xfrm>
        </p:spPr>
        <p:txBody>
          <a:bodyPr/>
          <a:lstStyle>
            <a:lvl1pPr>
              <a:buNone/>
              <a:defRPr lang="en-GB" sz="1500"/>
            </a:lvl1pPr>
          </a:lstStyle>
          <a:p>
            <a:pPr lvl="0"/>
            <a:r>
              <a:rPr lang="en-GB"/>
              <a:t>Click to add date</a:t>
            </a:r>
          </a:p>
        </p:txBody>
      </p:sp>
      <p:sp>
        <p:nvSpPr>
          <p:cNvPr id="11" name="Slide Number Placeholder 2" hidden="1">
            <a:extLst>
              <a:ext uri="{FF2B5EF4-FFF2-40B4-BE49-F238E27FC236}">
                <a16:creationId xmlns:a16="http://schemas.microsoft.com/office/drawing/2014/main" id="{6C5B2EB4-F055-8D77-0DEC-CC22480C38AD}"/>
              </a:ext>
            </a:extLst>
          </p:cNvPr>
          <p:cNvSpPr txBox="1"/>
          <p:nvPr/>
        </p:nvSpPr>
        <p:spPr>
          <a:xfrm>
            <a:off x="0" y="6858000"/>
            <a:ext cx="0" cy="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BCE3F775-40B1-4847-B3E6-497EEE6A2E55}" type="slidenum">
              <a:t>‹#›</a:t>
            </a:fld>
            <a:endParaRPr lang="en-DK" sz="133" b="0" i="0" u="none" strike="noStrike" kern="1200" cap="none" spc="0" baseline="0">
              <a:solidFill>
                <a:srgbClr val="000000"/>
              </a:solidFill>
              <a:uFillTx/>
              <a:latin typeface="VELUX Transform Office"/>
            </a:endParaRPr>
          </a:p>
        </p:txBody>
      </p:sp>
    </p:spTree>
    <p:extLst>
      <p:ext uri="{BB962C8B-B14F-4D97-AF65-F5344CB8AC3E}">
        <p14:creationId xmlns:p14="http://schemas.microsoft.com/office/powerpoint/2010/main" val="851635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hapter">
    <p:bg>
      <p:bgPr>
        <a:solidFill>
          <a:srgbClr val="F9E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75690AE7-6D73-E7E1-190A-D9FFC02E895C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6FC8FED-861E-E2B1-33EE-E9E33FE18B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58874" y="758823"/>
            <a:ext cx="9507446" cy="3389424"/>
          </a:xfrm>
        </p:spPr>
        <p:txBody>
          <a:bodyPr>
            <a:normAutofit/>
          </a:bodyPr>
          <a:lstStyle>
            <a:lvl1pPr>
              <a:defRPr lang="en-GB" sz="5500"/>
            </a:lvl1pPr>
          </a:lstStyle>
          <a:p>
            <a:pPr lvl="0"/>
            <a:r>
              <a:rPr lang="en-GB"/>
              <a:t>Click to add chapter title</a:t>
            </a:r>
          </a:p>
        </p:txBody>
      </p:sp>
      <p:sp>
        <p:nvSpPr>
          <p:cNvPr id="4" name="FLD_Presentation">
            <a:extLst>
              <a:ext uri="{FF2B5EF4-FFF2-40B4-BE49-F238E27FC236}">
                <a16:creationId xmlns:a16="http://schemas.microsoft.com/office/drawing/2014/main" id="{024A5F79-F458-88D4-AF2C-93935B7F802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4DE7315F-015D-D7FC-9E62-E44CF604C0B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A4B3EDC-6327-4DC8-BC31-E68F92ED353A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0B4450CC-35C0-7B0D-D9D4-7ADF6B9F3708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B4CECADA-C821-0506-C39B-8FE5E9EDEA7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572130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E37024-1A91-81A4-7A8A-1350AE55C5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384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E37024-1A91-81A4-7A8A-1350AE55C5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029" name="Rectangle 21" hidden="1"/>
          <p:cNvSpPr>
            <a:spLocks noGrp="1" noChangeArrowheads="1"/>
          </p:cNvSpPr>
          <p:nvPr>
            <p:ph type="sldNum" sz="quarter" idx="4"/>
          </p:nvPr>
        </p:nvSpPr>
        <p:spPr>
          <a:xfrm>
            <a:off x="358870" y="7004224"/>
            <a:ext cx="489281" cy="241200"/>
          </a:xfrm>
        </p:spPr>
        <p:txBody>
          <a:bodyPr/>
          <a:lstStyle>
            <a:lvl1pPr>
              <a:defRPr sz="100"/>
            </a:lvl1pPr>
          </a:lstStyle>
          <a:p>
            <a:fld id="{1A17C83B-5FE3-4737-A842-C0492A7A61F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1262040" y="212908"/>
            <a:ext cx="718959" cy="243947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3" name="Date Placeholder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500">
                <a:noFill/>
              </a:defRPr>
            </a:lvl1pPr>
          </a:lstStyle>
          <a:p>
            <a:endParaRPr lang="en-GB"/>
          </a:p>
        </p:txBody>
      </p:sp>
      <p:sp>
        <p:nvSpPr>
          <p:cNvPr id="14" name="FLD_Presentation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VELUX LIVING PLACES INTRO I 0703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53383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VELUX LIVING PLACES INTRO I 070323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598420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wo Content">
    <p:bg>
      <p:bgPr>
        <a:solidFill>
          <a:srgbClr val="D9E1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>
            <a:extLst>
              <a:ext uri="{FF2B5EF4-FFF2-40B4-BE49-F238E27FC236}">
                <a16:creationId xmlns:a16="http://schemas.microsoft.com/office/drawing/2014/main" id="{E9FB5085-59AC-F4C3-CFDE-779B1026418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8870" y="323426"/>
            <a:ext cx="550080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b="0" i="0" cap="none" baseline="0">
                <a:latin typeface="VELUX Transform Office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AAD172D-417E-1949-A9AE-1DA2E5DB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759600"/>
            <a:ext cx="5510470" cy="457200"/>
          </a:xfrm>
        </p:spPr>
        <p:txBody>
          <a:bodyPr/>
          <a:lstStyle>
            <a:lvl1pPr>
              <a:defRPr b="0" i="0">
                <a:latin typeface="VELUX Transform Office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70" y="1663701"/>
            <a:ext cx="5500800" cy="45648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b="0" i="0">
                <a:latin typeface="VELUX Transform Office" pitchFamily="2" charset="0"/>
              </a:defRPr>
            </a:lvl1pPr>
            <a:lvl2pPr>
              <a:defRPr b="0" i="0">
                <a:latin typeface="VELUX Transform Office" pitchFamily="2" charset="0"/>
              </a:defRPr>
            </a:lvl2pPr>
            <a:lvl3pPr>
              <a:defRPr b="0" i="0">
                <a:latin typeface="VELUX Transform Office" pitchFamily="2" charset="0"/>
              </a:defRPr>
            </a:lvl3pPr>
            <a:lvl4pPr>
              <a:defRPr b="0" i="0">
                <a:latin typeface="VELUX Transform Office" pitchFamily="2" charset="0"/>
              </a:defRPr>
            </a:lvl4pPr>
            <a:lvl5pPr>
              <a:defRPr b="0" i="0">
                <a:latin typeface="VELUX Transform Office" pitchFamily="2" charset="0"/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 dirty="0"/>
              <a:t>Use TAB and SHIFT+TAB to jump between text- and bullet-levels. Click ENTER and TAB for n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F1344C-87E7-8976-FD97-AD217E0F9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400" b="0" i="0">
                <a:latin typeface="VELUX Transform Office" pitchFamily="2" charset="0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VELUX Transform Office" pitchFamily="2" charset="0"/>
              </a:defRPr>
            </a:lvl1pPr>
          </a:lstStyle>
          <a:p>
            <a:fld id="{02B5E496-C20A-4259-82D6-EE90691934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b="0" i="0">
                <a:latin typeface="VELUX Transform Office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5"/>
          </p:nvPr>
        </p:nvSpPr>
        <p:spPr>
          <a:xfrm>
            <a:off x="6166800" y="6361200"/>
            <a:ext cx="5662800" cy="241200"/>
          </a:xfrm>
        </p:spPr>
        <p:txBody>
          <a:bodyPr/>
          <a:lstStyle>
            <a:lvl1pPr>
              <a:defRPr b="0" i="0">
                <a:latin typeface="VELUX Transform Office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7665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19138" y="248400"/>
            <a:ext cx="8424000" cy="98240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19138" y="1418400"/>
            <a:ext cx="10752862" cy="331935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19138" y="1864800"/>
            <a:ext cx="10752862" cy="4094543"/>
          </a:xfrm>
        </p:spPr>
        <p:txBody>
          <a:bodyPr/>
          <a:lstStyle>
            <a:lvl6pPr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3680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Click to add </a:t>
            </a:r>
            <a:r>
              <a:rPr lang="en-GB" noProof="0" dirty="0"/>
              <a:t>text, chart or tab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7"/>
            <a:r>
              <a:rPr lang="en-GB" noProof="0" dirty="0"/>
              <a:t>9</a:t>
            </a:r>
          </a:p>
          <a:p>
            <a:pPr lvl="8"/>
            <a:endParaRPr lang="en-GB" noProof="0" dirty="0"/>
          </a:p>
          <a:p>
            <a:pPr lvl="5"/>
            <a:endParaRPr lang="en-GB" noProof="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588" y="5702300"/>
            <a:ext cx="325438" cy="1155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dirty="0" err="1">
              <a:ln>
                <a:noFill/>
              </a:ln>
            </a:endParaRPr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2053431" y="4484143"/>
            <a:ext cx="325438" cy="4432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dirty="0" err="1">
              <a:ln>
                <a:noFill/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3089105818"/>
      </p:ext>
    </p:extLst>
  </p:cSld>
  <p:clrMapOvr>
    <a:masterClrMapping/>
  </p:clrMapOvr>
  <p:hf hdr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  <a:noFill/>
        </p:spPr>
        <p:txBody>
          <a:bodyPr tIns="2628000" anchor="ctr" anchorCtr="0">
            <a:normAutofit/>
          </a:bodyPr>
          <a:lstStyle>
            <a:lvl1pPr marL="0" indent="0" algn="ctr">
              <a:buFontTx/>
              <a:buNone/>
              <a:defRPr sz="2100" baseline="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58870" y="2105026"/>
            <a:ext cx="9521128" cy="1127133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900" b="1" i="0" baseline="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3029" name="Rectangle 21" hidden="1"/>
          <p:cNvSpPr>
            <a:spLocks noGrp="1" noChangeArrowheads="1"/>
          </p:cNvSpPr>
          <p:nvPr>
            <p:ph type="sldNum" sz="quarter" idx="4"/>
          </p:nvPr>
        </p:nvSpPr>
        <p:spPr>
          <a:xfrm>
            <a:off x="358870" y="7004224"/>
            <a:ext cx="489281" cy="241200"/>
          </a:xfrm>
        </p:spPr>
        <p:txBody>
          <a:bodyPr/>
          <a:lstStyle>
            <a:lvl1pPr>
              <a:defRPr sz="100"/>
            </a:lvl1pPr>
          </a:lstStyle>
          <a:p>
            <a:fld id="{1A17C83B-5FE3-4737-A842-C0492A7A61F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656000" y="360000"/>
            <a:ext cx="1188309" cy="403200"/>
          </a:xfrm>
          <a:blipFill>
            <a:blip r:embed="rId2"/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84984"/>
            <a:ext cx="9521128" cy="1113408"/>
          </a:xfrm>
        </p:spPr>
        <p:txBody>
          <a:bodyPr anchor="t" anchorCtr="0"/>
          <a:lstStyle>
            <a:lvl1pPr marL="0" indent="0" algn="l">
              <a:buNone/>
              <a:defRPr sz="3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FLD_Presenter_Place"/>
          <p:cNvSpPr>
            <a:spLocks noGrp="1"/>
          </p:cNvSpPr>
          <p:nvPr>
            <p:ph type="body" sz="quarter" idx="16" hasCustomPrompt="1"/>
          </p:nvPr>
        </p:nvSpPr>
        <p:spPr>
          <a:xfrm>
            <a:off x="358869" y="233293"/>
            <a:ext cx="9521129" cy="310731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500" i="0" cap="all" baseline="0"/>
            </a:lvl1pPr>
            <a:lvl2pPr marL="0" indent="0">
              <a:buFont typeface="Arial" panose="020B0604020202020204" pitchFamily="34" charset="0"/>
              <a:buNone/>
              <a:defRPr sz="1500" cap="all" baseline="0"/>
            </a:lvl2pPr>
            <a:lvl3pPr marL="0" indent="0">
              <a:buFont typeface="Arial" panose="020B0604020202020204" pitchFamily="34" charset="0"/>
              <a:buNone/>
              <a:defRPr sz="1500" cap="all" baseline="0"/>
            </a:lvl3pPr>
            <a:lvl4pPr marL="0" indent="0">
              <a:buFont typeface="Arial" panose="020B0604020202020204" pitchFamily="34" charset="0"/>
              <a:buNone/>
              <a:defRPr sz="1500" cap="all" baseline="0"/>
            </a:lvl4pPr>
            <a:lvl5pPr marL="0" indent="0">
              <a:buFont typeface="Arial" panose="020B0604020202020204" pitchFamily="34" charset="0"/>
              <a:buNone/>
              <a:defRPr sz="1500" cap="all" baseline="0"/>
            </a:lvl5pPr>
          </a:lstStyle>
          <a:p>
            <a:pPr lvl="0"/>
            <a:r>
              <a:rPr lang="en-GB"/>
              <a:t>Click to add Presenter / Place</a:t>
            </a:r>
          </a:p>
        </p:txBody>
      </p:sp>
      <p:sp>
        <p:nvSpPr>
          <p:cNvPr id="6" name="Date_DateCustomA"/>
          <p:cNvSpPr>
            <a:spLocks noGrp="1"/>
          </p:cNvSpPr>
          <p:nvPr>
            <p:ph type="body" sz="quarter" idx="17" hasCustomPrompt="1"/>
          </p:nvPr>
        </p:nvSpPr>
        <p:spPr>
          <a:xfrm>
            <a:off x="358869" y="581978"/>
            <a:ext cx="9521129" cy="263383"/>
          </a:xfrm>
        </p:spPr>
        <p:txBody>
          <a:bodyPr anchor="t" anchorCtr="0"/>
          <a:lstStyle>
            <a:lvl1pPr marL="0" indent="0">
              <a:buFont typeface="Arial" panose="020B0604020202020204" pitchFamily="34" charset="0"/>
              <a:buNone/>
              <a:defRPr sz="1500" i="0" cap="all" baseline="0"/>
            </a:lvl1pPr>
            <a:lvl2pPr marL="0" indent="0">
              <a:buFont typeface="Arial" panose="020B0604020202020204" pitchFamily="34" charset="0"/>
              <a:buNone/>
              <a:defRPr sz="1500"/>
            </a:lvl2pPr>
            <a:lvl3pPr marL="0" indent="0">
              <a:buFont typeface="Arial" panose="020B0604020202020204" pitchFamily="34" charset="0"/>
              <a:buNone/>
              <a:defRPr sz="1500"/>
            </a:lvl3pPr>
            <a:lvl4pPr marL="0" indent="0">
              <a:buFont typeface="Arial" panose="020B0604020202020204" pitchFamily="34" charset="0"/>
              <a:buNone/>
              <a:defRPr sz="1500"/>
            </a:lvl4pPr>
            <a:lvl5pPr marL="0" indent="0">
              <a:buFont typeface="Arial" panose="020B0604020202020204" pitchFamily="34" charset="0"/>
              <a:buNone/>
              <a:defRPr sz="1500"/>
            </a:lvl5pPr>
          </a:lstStyle>
          <a:p>
            <a:pPr lvl="0"/>
            <a:r>
              <a:rPr lang="en-GB"/>
              <a:t>click to Add date</a:t>
            </a:r>
          </a:p>
        </p:txBody>
      </p:sp>
      <p:sp>
        <p:nvSpPr>
          <p:cNvPr id="13" name="Date Placeholder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500">
                <a:noFill/>
              </a:defRPr>
            </a:lvl1pPr>
          </a:lstStyle>
          <a:p>
            <a:endParaRPr lang="en-GB"/>
          </a:p>
        </p:txBody>
      </p:sp>
      <p:sp>
        <p:nvSpPr>
          <p:cNvPr id="14" name="FLD_Presentation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00278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upto 11 subjec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Agenda tit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21128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5" hasCustomPrompt="1"/>
          </p:nvPr>
        </p:nvSpPr>
        <p:spPr>
          <a:xfrm>
            <a:off x="358870" y="1663699"/>
            <a:ext cx="9521128" cy="4545013"/>
          </a:xfrm>
        </p:spPr>
        <p:txBody>
          <a:bodyPr/>
          <a:lstStyle>
            <a:lvl1pPr>
              <a:defRPr sz="2400" baseline="0">
                <a:solidFill>
                  <a:srgbClr val="B0B0B0"/>
                </a:solidFill>
              </a:defRPr>
            </a:lvl1pPr>
            <a:lvl2pPr>
              <a:defRPr sz="2400">
                <a:solidFill>
                  <a:srgbClr val="B0B0B0"/>
                </a:solidFill>
              </a:defRPr>
            </a:lvl2pPr>
            <a:lvl3pPr>
              <a:defRPr sz="2000">
                <a:solidFill>
                  <a:srgbClr val="B0B0B0"/>
                </a:solidFill>
              </a:defRPr>
            </a:lvl3pPr>
            <a:lvl4pPr>
              <a:defRPr sz="1600">
                <a:solidFill>
                  <a:srgbClr val="B0B0B0"/>
                </a:solidFill>
              </a:defRPr>
            </a:lvl4pPr>
            <a:lvl5pPr>
              <a:defRPr sz="1400">
                <a:solidFill>
                  <a:srgbClr val="B0B0B0"/>
                </a:solidFill>
              </a:defRPr>
            </a:lvl5pPr>
          </a:lstStyle>
          <a:p>
            <a:pPr lvl="0"/>
            <a:r>
              <a:rPr lang="en-GB"/>
              <a:t>Click to table icon to insert a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2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7" name="FLD_Presentation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-602489" y="5876384"/>
            <a:ext cx="540201" cy="322485"/>
          </a:xfrm>
          <a:prstGeom prst="rect">
            <a:avLst/>
          </a:prstGeom>
          <a:solidFill>
            <a:srgbClr val="B0B0B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6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5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-710529" y="5566650"/>
            <a:ext cx="648241" cy="3097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6000"/>
              </a:lnSpc>
              <a:spcBef>
                <a:spcPts val="0"/>
              </a:spcBef>
            </a:pPr>
            <a:r>
              <a:rPr lang="en-GB" sz="600">
                <a:latin typeface="+mn-lt"/>
              </a:rPr>
              <a:t>Light grey, use eyedropper to</a:t>
            </a:r>
            <a:r>
              <a:rPr lang="en-GB" sz="600" baseline="0">
                <a:latin typeface="+mn-lt"/>
              </a:rPr>
              <a:t> change text colour</a:t>
            </a:r>
            <a:endParaRPr lang="en-GB" sz="6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591365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58870" y="2105026"/>
            <a:ext cx="9521128" cy="1127133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900" b="0" i="0"/>
            </a:lvl1pPr>
          </a:lstStyle>
          <a:p>
            <a:r>
              <a:rPr lang="en-GB"/>
              <a:t>Click to add Chapter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84984"/>
            <a:ext cx="9521128" cy="1113408"/>
          </a:xfrm>
        </p:spPr>
        <p:txBody>
          <a:bodyPr anchor="t" anchorCtr="0"/>
          <a:lstStyle>
            <a:lvl1pPr marL="0" indent="0" algn="l">
              <a:buNone/>
              <a:defRPr sz="3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chapter subtitle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4" name="FLD_Presentation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77105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dia Placeholder 2"/>
          <p:cNvSpPr>
            <a:spLocks noGrp="1"/>
          </p:cNvSpPr>
          <p:nvPr>
            <p:ph type="media" sz="quarter" idx="13" hasCustomPrompt="1"/>
          </p:nvPr>
        </p:nvSpPr>
        <p:spPr>
          <a:xfrm>
            <a:off x="-1" y="0"/>
            <a:ext cx="12192000" cy="6858000"/>
          </a:xfrm>
          <a:solidFill>
            <a:schemeClr val="bg1"/>
          </a:solidFill>
        </p:spPr>
        <p:txBody>
          <a:bodyPr tIns="2844000" anchor="ctr" anchorCtr="0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 sz="21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/>
              <a:t>Click here and insert media via ribbon Insert - Video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58870" y="2105026"/>
            <a:ext cx="9521128" cy="1127133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3900" b="0" i="0"/>
            </a:lvl1pPr>
          </a:lstStyle>
          <a:p>
            <a:r>
              <a:rPr lang="en-GB"/>
              <a:t>Click to add Chapter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84984"/>
            <a:ext cx="9521128" cy="1113408"/>
          </a:xfrm>
        </p:spPr>
        <p:txBody>
          <a:bodyPr anchor="t" anchorCtr="0"/>
          <a:lstStyle>
            <a:lvl1pPr marL="0" indent="0" algn="l">
              <a:buNone/>
              <a:defRPr sz="3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chapter subtitle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4" name="FLD_Presentation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656000" y="360000"/>
            <a:ext cx="1188309" cy="403200"/>
          </a:xfrm>
          <a:blipFill>
            <a:blip r:embed="rId2"/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333870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69" y="1663700"/>
            <a:ext cx="11476472" cy="456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aseline="0"/>
            </a:lvl1pPr>
            <a:lvl2pPr marL="180000">
              <a:defRPr sz="2800"/>
            </a:lvl2pPr>
            <a:lvl3pPr marL="360000">
              <a:defRPr sz="2100"/>
            </a:lvl3pPr>
            <a:lvl4pPr>
              <a:defRPr sz="1800"/>
            </a:lvl4pPr>
          </a:lstStyle>
          <a:p>
            <a:pPr lvl="0"/>
            <a:r>
              <a:rPr lang="en-GB" noProof="0"/>
              <a:t>Use TAB and SHIFT+TAB to jump between text- and bullet-levels. Click ENTER and TAB for next level   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ubtitle 2"/>
          <p:cNvSpPr>
            <a:spLocks noGrp="1"/>
          </p:cNvSpPr>
          <p:nvPr>
            <p:ph type="subTitle" idx="15" hasCustomPrompt="1"/>
          </p:nvPr>
        </p:nvSpPr>
        <p:spPr>
          <a:xfrm>
            <a:off x="358870" y="316800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116024649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4270454" y="1663700"/>
            <a:ext cx="7561088" cy="4541839"/>
          </a:xfrm>
        </p:spPr>
        <p:txBody>
          <a:bodyPr/>
          <a:lstStyle>
            <a:lvl1pPr>
              <a:defRPr sz="20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GB"/>
              <a:t>Insert picture,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868" y="1663700"/>
            <a:ext cx="3666493" cy="45648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SzPct val="100000"/>
              <a:buFont typeface="Arial" panose="020B0604020202020204" pitchFamily="34" charset="0"/>
              <a:buChar char="​"/>
              <a:defRPr sz="2100"/>
            </a:lvl1pPr>
            <a:lvl2pPr marL="180000">
              <a:defRPr sz="2100" i="1"/>
            </a:lvl2pPr>
            <a:lvl3pPr marL="360000">
              <a:defRPr sz="1800" i="1"/>
            </a:lvl3pPr>
            <a:lvl4pPr marL="540000">
              <a:defRPr sz="1600" i="1"/>
            </a:lvl4pPr>
            <a:lvl5pPr>
              <a:defRPr sz="1400" i="1"/>
            </a:lvl5pPr>
          </a:lstStyle>
          <a:p>
            <a:pPr lvl="0"/>
            <a:r>
              <a:rPr lang="en-GB" noProof="0"/>
              <a:t>Use TAB and SHIFT+TAB to jump between text- and bullet-levels. Click ENTER and TAB for next level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1431060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Chapter">
    <p:bg>
      <p:bgPr>
        <a:solidFill>
          <a:srgbClr val="E3E2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6B73D481-EC9D-A012-32B3-8FEFA1FDDECA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8B594E4-6AA9-E535-ED05-F5053CF5AA3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58874" y="758823"/>
            <a:ext cx="9507446" cy="3389424"/>
          </a:xfrm>
        </p:spPr>
        <p:txBody>
          <a:bodyPr>
            <a:normAutofit/>
          </a:bodyPr>
          <a:lstStyle>
            <a:lvl1pPr>
              <a:defRPr lang="en-GB" sz="5500"/>
            </a:lvl1pPr>
          </a:lstStyle>
          <a:p>
            <a:pPr lvl="0"/>
            <a:r>
              <a:rPr lang="en-GB"/>
              <a:t>Click to add chapter title</a:t>
            </a:r>
          </a:p>
        </p:txBody>
      </p:sp>
      <p:sp>
        <p:nvSpPr>
          <p:cNvPr id="4" name="FLD_Presentation">
            <a:extLst>
              <a:ext uri="{FF2B5EF4-FFF2-40B4-BE49-F238E27FC236}">
                <a16:creationId xmlns:a16="http://schemas.microsoft.com/office/drawing/2014/main" id="{C42B861B-AC4E-E1A1-F5DE-2C32CFD6BE8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1B2C63BD-69BA-3470-E0D8-32E344DBB73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8E36226-5205-44C5-AFD3-8123541EFDBE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16CA6C3C-3B23-48B0-BD35-4D526B6C6F24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90A41F1-6DBF-8BDD-9BB5-64007EAAD51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1464882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60094" y="1663700"/>
            <a:ext cx="7561088" cy="4541838"/>
          </a:xfrm>
        </p:spPr>
        <p:txBody>
          <a:bodyPr/>
          <a:lstStyle>
            <a:lvl1pPr>
              <a:defRPr sz="20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GB"/>
              <a:t>Insert picture,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183634" y="1663700"/>
            <a:ext cx="3666493" cy="45648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SzPct val="100000"/>
              <a:buFont typeface="Arial" panose="020B0604020202020204" pitchFamily="34" charset="0"/>
              <a:buChar char="​"/>
              <a:defRPr sz="2100"/>
            </a:lvl1pPr>
            <a:lvl2pPr marL="180000">
              <a:defRPr sz="2100" i="1"/>
            </a:lvl2pPr>
            <a:lvl3pPr marL="360000">
              <a:defRPr sz="1800" i="1"/>
            </a:lvl3pPr>
            <a:lvl4pPr marL="540000">
              <a:defRPr sz="1600" i="1"/>
            </a:lvl4pPr>
            <a:lvl5pPr>
              <a:defRPr sz="1400" i="1"/>
            </a:lvl5pPr>
          </a:lstStyle>
          <a:p>
            <a:pPr lvl="0"/>
            <a:r>
              <a:rPr lang="en-GB" noProof="0"/>
              <a:t>Use TAB and SHIFT+TAB to jump between text- and bullet-levels. Click ENTER and TAB for next level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07443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307685590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868" y="1663700"/>
            <a:ext cx="3666494" cy="4564800"/>
          </a:xfrm>
        </p:spPr>
        <p:txBody>
          <a:bodyPr numCol="1" spcCol="237600">
            <a:noAutofit/>
          </a:bodyPr>
          <a:lstStyle>
            <a:lvl1pPr marL="0" indent="0">
              <a:lnSpc>
                <a:spcPct val="90000"/>
              </a:lnSpc>
              <a:buSzPct val="100000"/>
              <a:buFont typeface="Arial" panose="020B0604020202020204" pitchFamily="34" charset="0"/>
              <a:buChar char="​"/>
              <a:defRPr sz="2100"/>
            </a:lvl1pPr>
            <a:lvl2pPr marL="180000">
              <a:defRPr sz="2100" i="1"/>
            </a:lvl2pPr>
            <a:lvl3pPr marL="360000">
              <a:defRPr sz="1800" i="1"/>
            </a:lvl3pPr>
            <a:lvl4pPr marL="540000">
              <a:defRPr sz="1600" i="1"/>
            </a:lvl4pPr>
            <a:lvl5pPr>
              <a:defRPr sz="1400" i="1"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/>
              <a:t>Use TAB and SHIFT+TAB to jump between text- and bullet-levels. Click ENTER and TAB for next level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262400" y="1663700"/>
            <a:ext cx="3666053" cy="4564800"/>
          </a:xfrm>
        </p:spPr>
        <p:txBody>
          <a:bodyPr/>
          <a:lstStyle>
            <a:lvl1pPr>
              <a:defRPr sz="21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/>
              <a:t>Use TAB and SHIFT+TAB to jump between text- and bullet-levels. Click ENTER and TAB for next level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9141618" y="1663701"/>
            <a:ext cx="2689923" cy="2224075"/>
          </a:xfrm>
        </p:spPr>
        <p:txBody>
          <a:bodyPr tIns="1008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141616" y="3948588"/>
            <a:ext cx="2689926" cy="948851"/>
          </a:xfrm>
        </p:spPr>
        <p:txBody>
          <a:bodyPr anchor="t" anchorCtr="0"/>
          <a:lstStyle>
            <a:lvl1pPr marL="0" indent="0">
              <a:buFont typeface="Arial" panose="020B0604020202020204" pitchFamily="34" charset="0"/>
              <a:buNone/>
              <a:defRPr sz="1100" i="0" baseline="0"/>
            </a:lvl1pPr>
          </a:lstStyle>
          <a:p>
            <a:pPr lvl="0"/>
            <a:r>
              <a:rPr lang="en-GB"/>
              <a:t>Click to add caption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11212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8030060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+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8870" y="1663700"/>
            <a:ext cx="6593016" cy="456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180000">
              <a:defRPr sz="3200"/>
            </a:lvl2pPr>
            <a:lvl3pPr marL="360000">
              <a:defRPr sz="2100"/>
            </a:lvl3pPr>
            <a:lvl4pPr marL="540000">
              <a:defRPr sz="1800"/>
            </a:lvl4pPr>
          </a:lstStyle>
          <a:p>
            <a:pPr lvl="0"/>
            <a:r>
              <a:rPr lang="en-GB" noProof="0"/>
              <a:t>Use TAB and SHIFT+TAB to jump between text- and bullet-levels. Click ENTER and TAB for next level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7190072" y="1663700"/>
            <a:ext cx="4641472" cy="2149200"/>
          </a:xfrm>
          <a:prstGeom prst="rect">
            <a:avLst/>
          </a:prstGeom>
        </p:spPr>
        <p:txBody>
          <a:bodyPr lIns="0" tIns="90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7190074" y="4059513"/>
            <a:ext cx="2202435" cy="2149200"/>
          </a:xfrm>
          <a:prstGeom prst="rect">
            <a:avLst/>
          </a:prstGeom>
        </p:spPr>
        <p:txBody>
          <a:bodyPr lIns="0" tIns="1044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1" hasCustomPrompt="1"/>
          </p:nvPr>
        </p:nvSpPr>
        <p:spPr>
          <a:xfrm>
            <a:off x="9629106" y="4059513"/>
            <a:ext cx="2202438" cy="2149200"/>
          </a:xfrm>
          <a:prstGeom prst="rect">
            <a:avLst/>
          </a:prstGeom>
        </p:spPr>
        <p:txBody>
          <a:bodyPr lIns="0" tIns="1044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LD_Presentation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10014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213560046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501" y="1663699"/>
            <a:ext cx="6594385" cy="456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180000">
              <a:defRPr sz="3200"/>
            </a:lvl2pPr>
            <a:lvl3pPr marL="360000">
              <a:defRPr sz="2100"/>
            </a:lvl3pPr>
            <a:lvl4pPr marL="540000">
              <a:defRPr sz="1800"/>
            </a:lvl4pPr>
          </a:lstStyle>
          <a:p>
            <a:pPr lvl="0"/>
            <a:r>
              <a:rPr lang="en-GB" noProof="0"/>
              <a:t>Use TAB and SHIFT+TAB to jump between text- and bullet-levels. Click ENTER and TAB for next level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7190073" y="1663700"/>
            <a:ext cx="4641472" cy="2149200"/>
          </a:xfrm>
          <a:prstGeom prst="rect">
            <a:avLst/>
          </a:prstGeom>
        </p:spPr>
        <p:txBody>
          <a:bodyPr lIns="0" tIns="90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7190073" y="4060800"/>
            <a:ext cx="4641471" cy="2149200"/>
          </a:xfrm>
          <a:prstGeom prst="rect">
            <a:avLst/>
          </a:prstGeom>
        </p:spPr>
        <p:txBody>
          <a:bodyPr lIns="0" tIns="90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LD_Presentation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10014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41376107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+1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57502" y="1663699"/>
            <a:ext cx="6594384" cy="456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180000">
              <a:defRPr sz="3200"/>
            </a:lvl2pPr>
            <a:lvl3pPr marL="360000">
              <a:defRPr sz="2100"/>
            </a:lvl3pPr>
            <a:lvl4pPr marL="540000">
              <a:defRPr sz="1800"/>
            </a:lvl4pPr>
          </a:lstStyle>
          <a:p>
            <a:pPr lvl="0"/>
            <a:r>
              <a:rPr lang="en-GB" noProof="0"/>
              <a:t>Use TAB and SHIFT+TAB to jump between text- and bullet-levels. Click ENTER and TAB for next level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7190073" y="1663700"/>
            <a:ext cx="2202436" cy="2149200"/>
          </a:xfrm>
          <a:prstGeom prst="rect">
            <a:avLst/>
          </a:prstGeom>
        </p:spPr>
        <p:txBody>
          <a:bodyPr lIns="0" tIns="1044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9629106" y="1663700"/>
            <a:ext cx="2202438" cy="2149200"/>
          </a:xfrm>
          <a:prstGeom prst="rect">
            <a:avLst/>
          </a:prstGeom>
        </p:spPr>
        <p:txBody>
          <a:bodyPr lIns="0" tIns="1044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7190073" y="4059513"/>
            <a:ext cx="4641471" cy="2149200"/>
          </a:xfrm>
          <a:prstGeom prst="rect">
            <a:avLst/>
          </a:prstGeom>
        </p:spPr>
        <p:txBody>
          <a:bodyPr lIns="0" tIns="90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LD_Presentation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10014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280016089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5238527" y="1663700"/>
            <a:ext cx="6593018" cy="456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180000">
              <a:defRPr sz="3200"/>
            </a:lvl2pPr>
            <a:lvl3pPr marL="360000">
              <a:defRPr sz="2100"/>
            </a:lvl3pPr>
            <a:lvl4pPr marL="540000">
              <a:defRPr sz="1800"/>
            </a:lvl4pPr>
          </a:lstStyle>
          <a:p>
            <a:pPr lvl="0"/>
            <a:r>
              <a:rPr lang="en-GB" noProof="0"/>
              <a:t>Use TAB and SHIFT+TAB to jump between text- and bullet-levels. Click ENTER and TAB for next level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358869" y="1663700"/>
            <a:ext cx="4641472" cy="4541839"/>
          </a:xfrm>
          <a:prstGeom prst="rect">
            <a:avLst/>
          </a:prstGeom>
        </p:spPr>
        <p:txBody>
          <a:bodyPr lIns="0" tIns="900000" anchor="ctr" anchorCtr="0"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LD_Presentation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11213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271549707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70" y="1663701"/>
            <a:ext cx="5623132" cy="454183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/>
              <a:t>Use TAB and SHIFT+TAB to jump between text- and bullet-levels. Click ENTER and TAB for nex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idx="13" hasCustomPrompt="1"/>
          </p:nvPr>
        </p:nvSpPr>
        <p:spPr>
          <a:xfrm>
            <a:off x="6215093" y="1663701"/>
            <a:ext cx="5616451" cy="454183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/>
              <a:t>Use TAB and SHIFT+TAB to jump between text- and bullet-levels. Click ENTER and TAB for nex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ubtitle 2"/>
          <p:cNvSpPr>
            <a:spLocks noGrp="1"/>
          </p:cNvSpPr>
          <p:nvPr>
            <p:ph type="subTitle" idx="16" hasCustomPrompt="1"/>
          </p:nvPr>
        </p:nvSpPr>
        <p:spPr>
          <a:xfrm>
            <a:off x="358870" y="316800"/>
            <a:ext cx="9507443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425203692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34356" y="1663699"/>
            <a:ext cx="8035727" cy="4545013"/>
          </a:xfrm>
        </p:spPr>
        <p:txBody>
          <a:bodyPr/>
          <a:lstStyle>
            <a:lvl1pPr>
              <a:defRPr/>
            </a:lvl1pPr>
            <a:lvl2pPr marL="180000" indent="-180000" algn="r">
              <a:buFont typeface="Arial" panose="020B0604020202020204" pitchFamily="34" charset="0"/>
              <a:buChar char="​"/>
              <a:defRPr sz="2000" b="0" i="0"/>
            </a:lvl2pPr>
          </a:lstStyle>
          <a:p>
            <a:pPr lvl="0"/>
            <a:r>
              <a:rPr lang="en-GB"/>
              <a:t>Click to add Quotation text, click ENTER and then TAB to insert name of source</a:t>
            </a:r>
          </a:p>
          <a:p>
            <a:pPr lvl="1"/>
            <a:r>
              <a:rPr lang="en-GB"/>
              <a:t>Second level</a:t>
            </a:r>
          </a:p>
        </p:txBody>
      </p:sp>
      <p:grpSp>
        <p:nvGrpSpPr>
          <p:cNvPr id="12" name="Quotation"/>
          <p:cNvGrpSpPr/>
          <p:nvPr userDrawn="1"/>
        </p:nvGrpSpPr>
        <p:grpSpPr>
          <a:xfrm>
            <a:off x="363104" y="1692322"/>
            <a:ext cx="1237312" cy="1052540"/>
            <a:chOff x="363009" y="1692322"/>
            <a:chExt cx="1236990" cy="1052540"/>
          </a:xfrm>
        </p:grpSpPr>
        <p:sp>
          <p:nvSpPr>
            <p:cNvPr id="9" name="Trapezoid 8"/>
            <p:cNvSpPr/>
            <p:nvPr userDrawn="1"/>
          </p:nvSpPr>
          <p:spPr bwMode="auto">
            <a:xfrm rot="10800000">
              <a:off x="363009" y="1692322"/>
              <a:ext cx="501555" cy="1044054"/>
            </a:xfrm>
            <a:prstGeom prst="trapezoid">
              <a:avLst/>
            </a:prstGeom>
            <a:solidFill>
              <a:srgbClr val="B0B0B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6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5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  <p:sp>
          <p:nvSpPr>
            <p:cNvPr id="10" name="Trapezoid 9"/>
            <p:cNvSpPr/>
            <p:nvPr userDrawn="1"/>
          </p:nvSpPr>
          <p:spPr bwMode="auto">
            <a:xfrm rot="10800000">
              <a:off x="1098444" y="1700808"/>
              <a:ext cx="501555" cy="1044054"/>
            </a:xfrm>
            <a:prstGeom prst="trapezoid">
              <a:avLst/>
            </a:prstGeom>
            <a:solidFill>
              <a:srgbClr val="B0B0B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6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5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21128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350996675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2"/>
          <p:cNvSpPr>
            <a:spLocks noGrp="1"/>
          </p:cNvSpPr>
          <p:nvPr>
            <p:ph type="media" sz="quarter" idx="13"/>
          </p:nvPr>
        </p:nvSpPr>
        <p:spPr>
          <a:xfrm>
            <a:off x="-10800" y="-3600"/>
            <a:ext cx="12200400" cy="6865200"/>
          </a:xfrm>
        </p:spPr>
        <p:txBody>
          <a:bodyPr tIns="900000" anchor="ctr" anchorCtr="0">
            <a:normAutofit/>
          </a:bodyPr>
          <a:lstStyle>
            <a:lvl1pPr marL="0" indent="0" algn="ctr">
              <a:buFontTx/>
              <a:buNone/>
              <a:defRPr sz="2100"/>
            </a:lvl1pPr>
          </a:lstStyle>
          <a:p>
            <a:r>
              <a:rPr lang="en-GB"/>
              <a:t>Click icon to add medi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869" y="5596837"/>
            <a:ext cx="11472674" cy="739317"/>
          </a:xfrm>
        </p:spPr>
        <p:txBody>
          <a:bodyPr anchor="b" anchorCtr="0">
            <a:normAutofit/>
          </a:bodyPr>
          <a:lstStyle>
            <a:lvl1pPr>
              <a:defRPr sz="3900" b="0" i="1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656000" y="360000"/>
            <a:ext cx="1188309" cy="403200"/>
          </a:xfrm>
          <a:blipFill>
            <a:blip r:embed="rId2"/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21128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25626979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2"/>
          <p:cNvSpPr>
            <a:spLocks noGrp="1"/>
          </p:cNvSpPr>
          <p:nvPr>
            <p:ph type="media" sz="quarter" idx="13"/>
          </p:nvPr>
        </p:nvSpPr>
        <p:spPr>
          <a:xfrm>
            <a:off x="-10800" y="-3600"/>
            <a:ext cx="12200400" cy="6865200"/>
          </a:xfrm>
        </p:spPr>
        <p:txBody>
          <a:bodyPr tIns="900000" anchor="ctr" anchorCtr="0">
            <a:normAutofit/>
          </a:bodyPr>
          <a:lstStyle>
            <a:lvl1pPr marL="0" indent="0" algn="ctr">
              <a:buFontTx/>
              <a:buNone/>
              <a:defRPr sz="2100"/>
            </a:lvl1pPr>
          </a:lstStyle>
          <a:p>
            <a:r>
              <a:rPr lang="en-GB"/>
              <a:t>Click icon to add media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656000" y="360000"/>
            <a:ext cx="1188309" cy="403200"/>
          </a:xfrm>
          <a:blipFill>
            <a:blip r:embed="rId2" r:link="rId3"/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21128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38516147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BCC71D23-3420-44D7-F9F9-9CF28B1CF975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64EC6C5-D1F7-2ABA-0652-729DBDC9981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9518401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D4519E7-C8EA-5DC6-232D-3E8BF7F5E972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65" y="1663695"/>
            <a:ext cx="11476469" cy="4564803"/>
          </a:xfrm>
        </p:spPr>
        <p:txBody>
          <a:bodyPr/>
          <a:lstStyle>
            <a:lvl1pPr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   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ECE8E40-033E-EEC8-83E7-D9C1F32487F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97C2944-67D8-48AB-B56B-A7FC048F3317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6B1E540E-5AD5-99A8-92EA-5E204666556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EF764E77-E733-D763-615A-2FB6C449C6B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2293397"/>
      </p:ext>
    </p:extLst>
  </p:cSld>
  <p:clrMapOvr>
    <a:masterClrMapping/>
  </p:clrMapOvr>
  <p:hf sldNum="0"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  <a:noFill/>
        </p:spPr>
        <p:txBody>
          <a:bodyPr lIns="6444000" tIns="0" anchor="ctr" anchorCtr="0">
            <a:normAutofit/>
          </a:bodyPr>
          <a:lstStyle>
            <a:lvl1pPr marL="0" indent="0" algn="l">
              <a:buFontTx/>
              <a:buNone/>
              <a:defRPr sz="2100"/>
            </a:lvl1pPr>
          </a:lstStyle>
          <a:p>
            <a:r>
              <a:rPr lang="en-GB"/>
              <a:t>Add photo via “Insert” tab and “Pictures” butt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8869" y="1663700"/>
            <a:ext cx="5618038" cy="4621750"/>
          </a:xfrm>
        </p:spPr>
        <p:txBody>
          <a:bodyPr/>
          <a:lstStyle>
            <a:lvl1pPr marL="0" indent="0">
              <a:buSzPct val="100000"/>
              <a:buFont typeface="Arial" panose="020B0604020202020204" pitchFamily="34" charset="0"/>
              <a:buChar char="​"/>
              <a:defRPr sz="3200"/>
            </a:lvl1pPr>
            <a:lvl2pPr marL="180000">
              <a:defRPr sz="3200"/>
            </a:lvl2pPr>
            <a:lvl3pPr marL="360000">
              <a:defRPr sz="2100"/>
            </a:lvl3pPr>
            <a:lvl4pPr marL="540000">
              <a:defRPr sz="1800"/>
            </a:lvl4pPr>
          </a:lstStyle>
          <a:p>
            <a:pPr lvl="0"/>
            <a:r>
              <a:rPr lang="en-GB" noProof="0"/>
              <a:t>Use TAB and SHIFT+TAB to jump between text- and bullet-levels. Click ENTER and TAB for next level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Date_DateCustomA" hidden="1"/>
          <p:cNvSpPr>
            <a:spLocks noGrp="1"/>
          </p:cNvSpPr>
          <p:nvPr>
            <p:ph type="dt" sz="half" idx="26"/>
          </p:nvPr>
        </p:nvSpPr>
        <p:spPr>
          <a:xfrm>
            <a:off x="848152" y="6361200"/>
            <a:ext cx="2200643" cy="240868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656000" y="360000"/>
            <a:ext cx="1188309" cy="403200"/>
          </a:xfrm>
          <a:blipFill>
            <a:blip r:embed="rId2"/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21128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14910756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869" y="1203592"/>
            <a:ext cx="9521128" cy="714586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SzPct val="100000"/>
              <a:buFont typeface="Arial" panose="020B0604020202020204" pitchFamily="34" charset="0"/>
              <a:buChar char="​"/>
              <a:defRPr sz="2100" i="0"/>
            </a:lvl1pPr>
            <a:lvl2pPr marL="180000">
              <a:lnSpc>
                <a:spcPct val="100000"/>
              </a:lnSpc>
              <a:defRPr sz="2100"/>
            </a:lvl2pPr>
            <a:lvl3pPr marL="360000">
              <a:lnSpc>
                <a:spcPct val="100000"/>
              </a:lnSpc>
              <a:defRPr sz="1800"/>
            </a:lvl3pPr>
            <a:lvl4pPr marL="540000"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358870" y="2105026"/>
            <a:ext cx="3672956" cy="1936043"/>
          </a:xfrm>
          <a:solidFill>
            <a:schemeClr val="accent3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358869" y="4269496"/>
            <a:ext cx="3672956" cy="1936043"/>
          </a:xfrm>
          <a:solidFill>
            <a:schemeClr val="accent3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4263547" y="2105026"/>
            <a:ext cx="3672956" cy="1936043"/>
          </a:xfrm>
          <a:solidFill>
            <a:schemeClr val="accent3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21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4263549" y="4269496"/>
            <a:ext cx="3673678" cy="1936043"/>
          </a:xfrm>
          <a:solidFill>
            <a:schemeClr val="accent3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8166640" y="2105026"/>
            <a:ext cx="3672956" cy="1936043"/>
          </a:xfrm>
          <a:solidFill>
            <a:schemeClr val="accent3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25" name="Content Placeholder 8"/>
          <p:cNvSpPr>
            <a:spLocks noGrp="1"/>
          </p:cNvSpPr>
          <p:nvPr>
            <p:ph sz="quarter" idx="23" hasCustomPrompt="1"/>
          </p:nvPr>
        </p:nvSpPr>
        <p:spPr>
          <a:xfrm>
            <a:off x="8166642" y="4269496"/>
            <a:ext cx="3673678" cy="1936043"/>
          </a:xfrm>
          <a:solidFill>
            <a:schemeClr val="accent3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58868" y="2105026"/>
            <a:ext cx="3672956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8869" y="4269496"/>
            <a:ext cx="3672956" cy="387871"/>
          </a:xfrm>
        </p:spPr>
        <p:txBody>
          <a:bodyPr lIns="90000" tIns="90000" rIns="36000" anchor="t" anchorCtr="0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0"/>
            <a:endParaRPr lang="en-GB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263546" y="2105026"/>
            <a:ext cx="3673679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4261960" y="4269496"/>
            <a:ext cx="3675266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8165053" y="2105026"/>
            <a:ext cx="3674543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8166640" y="4269496"/>
            <a:ext cx="367368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6" name="Date_DateCustomA" hidden="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LD_Presentation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21128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27003457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358774" y="2105025"/>
            <a:ext cx="3673049" cy="1936043"/>
          </a:xfrm>
          <a:solidFill>
            <a:schemeClr val="accent3"/>
          </a:solidFill>
        </p:spPr>
        <p:txBody>
          <a:bodyPr tIns="1044000" anchor="ctr" anchorCtr="0"/>
          <a:lstStyle>
            <a:lvl1pPr algn="ctr"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0" hasCustomPrompt="1"/>
          </p:nvPr>
        </p:nvSpPr>
        <p:spPr>
          <a:xfrm>
            <a:off x="358773" y="4270100"/>
            <a:ext cx="3673049" cy="1936043"/>
          </a:xfrm>
          <a:solidFill>
            <a:schemeClr val="accent3"/>
          </a:solidFill>
        </p:spPr>
        <p:txBody>
          <a:bodyPr tIns="1044000" anchor="ctr" anchorCtr="0"/>
          <a:lstStyle>
            <a:lvl1pPr algn="ctr"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4264176" y="2107764"/>
            <a:ext cx="3673049" cy="1936043"/>
          </a:xfrm>
          <a:solidFill>
            <a:schemeClr val="accent3"/>
          </a:solidFill>
        </p:spPr>
        <p:txBody>
          <a:bodyPr tIns="1044000" anchor="ctr" anchorCtr="0"/>
          <a:lstStyle>
            <a:lvl1pPr algn="ctr"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31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4264175" y="4272839"/>
            <a:ext cx="3673049" cy="1936043"/>
          </a:xfrm>
          <a:solidFill>
            <a:schemeClr val="accent3"/>
          </a:solidFill>
        </p:spPr>
        <p:txBody>
          <a:bodyPr tIns="1044000" anchor="ctr" anchorCtr="0"/>
          <a:lstStyle>
            <a:lvl1pPr algn="ctr"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8166547" y="2105025"/>
            <a:ext cx="3673049" cy="1936043"/>
          </a:xfrm>
          <a:solidFill>
            <a:schemeClr val="accent3"/>
          </a:solidFill>
        </p:spPr>
        <p:txBody>
          <a:bodyPr tIns="1044000" anchor="ctr" anchorCtr="0"/>
          <a:lstStyle>
            <a:lvl1pPr algn="ctr"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33" name="Picture Placeholder 7"/>
          <p:cNvSpPr>
            <a:spLocks noGrp="1"/>
          </p:cNvSpPr>
          <p:nvPr>
            <p:ph type="pic" sz="quarter" idx="34" hasCustomPrompt="1"/>
          </p:nvPr>
        </p:nvSpPr>
        <p:spPr>
          <a:xfrm>
            <a:off x="8166546" y="4270100"/>
            <a:ext cx="3673049" cy="1936043"/>
          </a:xfrm>
          <a:solidFill>
            <a:schemeClr val="accent3"/>
          </a:solidFill>
        </p:spPr>
        <p:txBody>
          <a:bodyPr tIns="1044000" anchor="ctr" anchorCtr="0"/>
          <a:lstStyle>
            <a:lvl1pPr algn="ctr">
              <a:defRPr sz="1400" b="1" i="0"/>
            </a:lvl1pPr>
          </a:lstStyle>
          <a:p>
            <a:r>
              <a:rPr lang="en-GB"/>
              <a:t>Add photo via “Insert” tab </a:t>
            </a:r>
            <a:br>
              <a:rPr lang="en-GB"/>
            </a:br>
            <a:r>
              <a:rPr lang="en-GB"/>
              <a:t>and “Pictures” butto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869" y="1203592"/>
            <a:ext cx="9521128" cy="714586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SzPct val="100000"/>
              <a:buFont typeface="Arial" panose="020B0604020202020204" pitchFamily="34" charset="0"/>
              <a:buChar char="​"/>
              <a:defRPr sz="2100" i="0"/>
            </a:lvl1pPr>
            <a:lvl2pPr marL="180000">
              <a:lnSpc>
                <a:spcPct val="100000"/>
              </a:lnSpc>
              <a:defRPr sz="2100"/>
            </a:lvl2pPr>
            <a:lvl3pPr marL="360000">
              <a:lnSpc>
                <a:spcPct val="100000"/>
              </a:lnSpc>
              <a:defRPr sz="1800"/>
            </a:lvl3pPr>
            <a:lvl4pPr marL="540000"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58868" y="2105026"/>
            <a:ext cx="3672956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8869" y="4269496"/>
            <a:ext cx="3672956" cy="387871"/>
          </a:xfrm>
        </p:spPr>
        <p:txBody>
          <a:bodyPr lIns="90000" tIns="90000" rIns="36000" anchor="t" anchorCtr="0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1400" b="1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0"/>
            <a:endParaRPr lang="en-GB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263546" y="2105026"/>
            <a:ext cx="3673679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4261960" y="4269496"/>
            <a:ext cx="3675266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8165053" y="2105026"/>
            <a:ext cx="3674543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8166640" y="4269496"/>
            <a:ext cx="367368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6" name="Date_DateCustomA" hidden="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LD_Presentation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21128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23289102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3A9F1D-818C-492D-8052-E644F8D8612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LD_Presentation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16800"/>
            <a:ext cx="9510014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500" i="0" cap="all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241444403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330FF1-E4C2-4104-B14B-6F8AA031F6C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LD_Presentation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30833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red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 249x3"/>
          <p:cNvSpPr/>
          <p:nvPr userDrawn="1"/>
        </p:nvSpPr>
        <p:spPr bwMode="auto">
          <a:xfrm>
            <a:off x="2" y="0"/>
            <a:ext cx="12192774" cy="6858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981" tIns="71981" rIns="71981" bIns="71981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171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luxForOffice" panose="02000506030000020004" pitchFamily="2" charset="0"/>
            </a:endParaRPr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/>
          </a:p>
        </p:txBody>
      </p:sp>
      <p:sp>
        <p:nvSpPr>
          <p:cNvPr id="5" name="FLD_Presentation" hidden="1"/>
          <p:cNvSpPr>
            <a:spLocks noGrp="1"/>
          </p:cNvSpPr>
          <p:nvPr>
            <p:ph type="ftr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/>
          </a:p>
        </p:txBody>
      </p:sp>
      <p:pic>
        <p:nvPicPr>
          <p:cNvPr id="31" name="Picture Printerest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879" y="6268549"/>
            <a:ext cx="262868" cy="257842"/>
          </a:xfrm>
          <a:prstGeom prst="rect">
            <a:avLst/>
          </a:prstGeom>
        </p:spPr>
      </p:pic>
      <p:sp>
        <p:nvSpPr>
          <p:cNvPr id="40" name="Text Placeholder Printerest"/>
          <p:cNvSpPr>
            <a:spLocks noGrp="1"/>
          </p:cNvSpPr>
          <p:nvPr>
            <p:ph type="body" sz="quarter" idx="32" hasCustomPrompt="1"/>
          </p:nvPr>
        </p:nvSpPr>
        <p:spPr>
          <a:xfrm>
            <a:off x="9534723" y="6271470"/>
            <a:ext cx="2300360" cy="252000"/>
          </a:xfrm>
        </p:spPr>
        <p:txBody>
          <a:bodyPr anchor="ctr" anchorCtr="0"/>
          <a:lstStyle>
            <a:lvl1pPr marL="0" indent="0">
              <a:lnSpc>
                <a:spcPct val="106000"/>
              </a:lnSpc>
              <a:spcBef>
                <a:spcPts val="0"/>
              </a:spcBef>
              <a:buFontTx/>
              <a:buNone/>
              <a:defRPr sz="1400" b="0" i="0" cap="none"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06000"/>
              </a:lnSpc>
              <a:spcBef>
                <a:spcPts val="0"/>
              </a:spcBef>
            </a:pPr>
            <a:r>
              <a:rPr lang="en-GB" sz="1400" b="0" i="0" cap="none" baseline="0" noProof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pinterest.com/VELUXGroup/</a:t>
            </a:r>
          </a:p>
        </p:txBody>
      </p:sp>
      <p:pic>
        <p:nvPicPr>
          <p:cNvPr id="18" name="Picture Linkedin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879" y="5891097"/>
            <a:ext cx="264000" cy="264000"/>
          </a:xfrm>
          <a:prstGeom prst="rect">
            <a:avLst/>
          </a:prstGeom>
        </p:spPr>
      </p:pic>
      <p:sp>
        <p:nvSpPr>
          <p:cNvPr id="39" name="Text Placeholder Linkedin"/>
          <p:cNvSpPr>
            <a:spLocks noGrp="1"/>
          </p:cNvSpPr>
          <p:nvPr>
            <p:ph type="body" sz="quarter" idx="31" hasCustomPrompt="1"/>
          </p:nvPr>
        </p:nvSpPr>
        <p:spPr>
          <a:xfrm>
            <a:off x="9534722" y="5894787"/>
            <a:ext cx="2303535" cy="252000"/>
          </a:xfrm>
        </p:spPr>
        <p:txBody>
          <a:bodyPr anchor="ctr" anchorCtr="0"/>
          <a:lstStyle>
            <a:lvl1pPr marL="0" indent="0">
              <a:lnSpc>
                <a:spcPct val="106000"/>
              </a:lnSpc>
              <a:spcBef>
                <a:spcPts val="0"/>
              </a:spcBef>
              <a:buFontTx/>
              <a:buNone/>
              <a:defRPr sz="1400" b="0" i="0" cap="none"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06000"/>
              </a:lnSpc>
              <a:spcBef>
                <a:spcPts val="0"/>
              </a:spcBef>
            </a:pPr>
            <a:r>
              <a:rPr lang="en-GB" sz="1400" b="0" i="0" cap="none" baseline="0" noProof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linkedin.com/company/VELUX</a:t>
            </a:r>
          </a:p>
        </p:txBody>
      </p:sp>
      <p:pic>
        <p:nvPicPr>
          <p:cNvPr id="20" name="Picture YouTube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879" y="5513643"/>
            <a:ext cx="264000" cy="264000"/>
          </a:xfrm>
          <a:prstGeom prst="rect">
            <a:avLst/>
          </a:prstGeom>
        </p:spPr>
      </p:pic>
      <p:sp>
        <p:nvSpPr>
          <p:cNvPr id="38" name="Text Placeholder YouTube"/>
          <p:cNvSpPr>
            <a:spLocks noGrp="1"/>
          </p:cNvSpPr>
          <p:nvPr>
            <p:ph type="body" sz="quarter" idx="30" hasCustomPrompt="1"/>
          </p:nvPr>
        </p:nvSpPr>
        <p:spPr>
          <a:xfrm>
            <a:off x="9534723" y="5518103"/>
            <a:ext cx="2300360" cy="252000"/>
          </a:xfrm>
        </p:spPr>
        <p:txBody>
          <a:bodyPr anchor="ctr" anchorCtr="0"/>
          <a:lstStyle>
            <a:lvl1pPr marL="0" indent="0">
              <a:lnSpc>
                <a:spcPct val="106000"/>
              </a:lnSpc>
              <a:spcBef>
                <a:spcPts val="0"/>
              </a:spcBef>
              <a:buFontTx/>
              <a:buNone/>
              <a:defRPr sz="1400" b="0" i="0" cap="none"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06000"/>
              </a:lnSpc>
              <a:spcBef>
                <a:spcPts val="0"/>
              </a:spcBef>
            </a:pPr>
            <a:r>
              <a:rPr lang="en-GB" sz="1400" b="0" i="0" cap="none" baseline="0" noProof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youtube.com/user/VELUX</a:t>
            </a:r>
          </a:p>
        </p:txBody>
      </p:sp>
      <p:pic>
        <p:nvPicPr>
          <p:cNvPr id="17" name="Picture Facebook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879" y="5136189"/>
            <a:ext cx="264000" cy="264000"/>
          </a:xfrm>
          <a:prstGeom prst="rect">
            <a:avLst/>
          </a:prstGeom>
        </p:spPr>
      </p:pic>
      <p:sp>
        <p:nvSpPr>
          <p:cNvPr id="37" name="Text Placeholder Facebook"/>
          <p:cNvSpPr>
            <a:spLocks noGrp="1"/>
          </p:cNvSpPr>
          <p:nvPr>
            <p:ph type="body" sz="quarter" idx="29" hasCustomPrompt="1"/>
          </p:nvPr>
        </p:nvSpPr>
        <p:spPr>
          <a:xfrm>
            <a:off x="9534723" y="5141419"/>
            <a:ext cx="2300360" cy="252000"/>
          </a:xfrm>
        </p:spPr>
        <p:txBody>
          <a:bodyPr anchor="ctr" anchorCtr="0"/>
          <a:lstStyle>
            <a:lvl1pPr marL="0" indent="0">
              <a:lnSpc>
                <a:spcPct val="106000"/>
              </a:lnSpc>
              <a:spcBef>
                <a:spcPts val="0"/>
              </a:spcBef>
              <a:buFontTx/>
              <a:buNone/>
              <a:defRPr sz="1400" b="0" i="0" cap="none"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06000"/>
              </a:lnSpc>
              <a:spcBef>
                <a:spcPts val="0"/>
              </a:spcBef>
            </a:pPr>
            <a:r>
              <a:rPr lang="en-GB" sz="1400" b="0" i="0" cap="none" baseline="0" noProof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cebook.com/VELUX</a:t>
            </a:r>
          </a:p>
        </p:txBody>
      </p:sp>
      <p:pic>
        <p:nvPicPr>
          <p:cNvPr id="19" name="Picture Twitter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879" y="4758735"/>
            <a:ext cx="264000" cy="264000"/>
          </a:xfrm>
          <a:prstGeom prst="rect">
            <a:avLst/>
          </a:prstGeom>
        </p:spPr>
      </p:pic>
      <p:sp>
        <p:nvSpPr>
          <p:cNvPr id="35" name="Text Placeholder Twitter"/>
          <p:cNvSpPr>
            <a:spLocks noGrp="1"/>
          </p:cNvSpPr>
          <p:nvPr>
            <p:ph type="body" sz="quarter" idx="28" hasCustomPrompt="1"/>
          </p:nvPr>
        </p:nvSpPr>
        <p:spPr>
          <a:xfrm>
            <a:off x="9534723" y="4764735"/>
            <a:ext cx="2300360" cy="252000"/>
          </a:xfrm>
        </p:spPr>
        <p:txBody>
          <a:bodyPr anchor="ctr" anchorCtr="0"/>
          <a:lstStyle>
            <a:lvl1pPr marL="0" indent="0">
              <a:lnSpc>
                <a:spcPct val="106000"/>
              </a:lnSpc>
              <a:spcBef>
                <a:spcPts val="0"/>
              </a:spcBef>
              <a:buFontTx/>
              <a:buNone/>
              <a:defRPr sz="1400" b="0" i="0" cap="none" baseline="0">
                <a:solidFill>
                  <a:schemeClr val="bg1"/>
                </a:solidFill>
              </a:defRPr>
            </a:lvl1pPr>
          </a:lstStyle>
          <a:p>
            <a:pPr>
              <a:lnSpc>
                <a:spcPct val="106000"/>
              </a:lnSpc>
              <a:spcBef>
                <a:spcPts val="0"/>
              </a:spcBef>
            </a:pPr>
            <a:r>
              <a:rPr lang="en-GB" sz="1400" b="0" i="0" cap="none" baseline="0" noProof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twitter.com/VELUX</a:t>
            </a:r>
          </a:p>
        </p:txBody>
      </p:sp>
      <p:sp>
        <p:nvSpPr>
          <p:cNvPr id="26" name="Text Placeholder name"/>
          <p:cNvSpPr>
            <a:spLocks noGrp="1"/>
          </p:cNvSpPr>
          <p:nvPr>
            <p:ph type="body" sz="quarter" idx="23" hasCustomPrompt="1"/>
          </p:nvPr>
        </p:nvSpPr>
        <p:spPr>
          <a:xfrm>
            <a:off x="366267" y="5595437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400" b="0" i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1400">
                <a:solidFill>
                  <a:schemeClr val="bg1"/>
                </a:solidFill>
                <a:latin typeface="+mn-lt"/>
              </a:rPr>
              <a:t>[a</a:t>
            </a:r>
            <a:r>
              <a:rPr lang="en-GB"/>
              <a:t>dd name</a:t>
            </a:r>
            <a:r>
              <a:rPr lang="en-GB" sz="1400">
                <a:solidFill>
                  <a:schemeClr val="bg1"/>
                </a:solidFill>
                <a:latin typeface="+mn-lt"/>
              </a:rPr>
              <a:t>]</a:t>
            </a:r>
            <a:endParaRPr lang="en-GB"/>
          </a:p>
        </p:txBody>
      </p:sp>
      <p:sp>
        <p:nvSpPr>
          <p:cNvPr id="27" name="LAN_Contact"/>
          <p:cNvSpPr txBox="1"/>
          <p:nvPr userDrawn="1"/>
        </p:nvSpPr>
        <p:spPr>
          <a:xfrm>
            <a:off x="366268" y="5346525"/>
            <a:ext cx="183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cap="all" baseline="0">
                <a:solidFill>
                  <a:schemeClr val="bg1"/>
                </a:solidFill>
                <a:latin typeface="+mj-lt"/>
              </a:rPr>
              <a:t>Contact info</a:t>
            </a:r>
          </a:p>
        </p:txBody>
      </p:sp>
      <p:sp>
        <p:nvSpPr>
          <p:cNvPr id="28" name="Text Placeholder email"/>
          <p:cNvSpPr>
            <a:spLocks noGrp="1"/>
          </p:cNvSpPr>
          <p:nvPr>
            <p:ph type="body" sz="quarter" idx="24" hasCustomPrompt="1"/>
          </p:nvPr>
        </p:nvSpPr>
        <p:spPr>
          <a:xfrm>
            <a:off x="366268" y="5831117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400" b="0" i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1400" noProof="1">
                <a:solidFill>
                  <a:schemeClr val="bg1"/>
                </a:solidFill>
                <a:latin typeface="+mn-lt"/>
              </a:rPr>
              <a:t>[a</a:t>
            </a:r>
            <a:r>
              <a:rPr lang="en-GB" noProof="1"/>
              <a:t>dd email@VELUX.com</a:t>
            </a:r>
            <a:r>
              <a:rPr lang="en-GB" sz="1400" noProof="1">
                <a:solidFill>
                  <a:schemeClr val="bg1"/>
                </a:solidFill>
                <a:latin typeface="+mn-lt"/>
              </a:rPr>
              <a:t>]</a:t>
            </a:r>
            <a:endParaRPr lang="en-GB" noProof="1"/>
          </a:p>
        </p:txBody>
      </p:sp>
      <p:sp>
        <p:nvSpPr>
          <p:cNvPr id="29" name="Text Placeholder company"/>
          <p:cNvSpPr>
            <a:spLocks noGrp="1"/>
          </p:cNvSpPr>
          <p:nvPr>
            <p:ph type="body" sz="quarter" idx="25" hasCustomPrompt="1"/>
          </p:nvPr>
        </p:nvSpPr>
        <p:spPr>
          <a:xfrm>
            <a:off x="366268" y="6066797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400" b="0" i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1400">
                <a:solidFill>
                  <a:schemeClr val="bg1"/>
                </a:solidFill>
                <a:latin typeface="+mn-lt"/>
              </a:rPr>
              <a:t>[a</a:t>
            </a:r>
            <a:r>
              <a:rPr lang="en-GB"/>
              <a:t>dd VELUX company</a:t>
            </a:r>
            <a:r>
              <a:rPr lang="en-GB" sz="1400">
                <a:solidFill>
                  <a:schemeClr val="bg1"/>
                </a:solidFill>
                <a:latin typeface="+mn-lt"/>
              </a:rPr>
              <a:t>]</a:t>
            </a:r>
            <a:endParaRPr lang="en-GB"/>
          </a:p>
        </p:txBody>
      </p:sp>
      <p:sp>
        <p:nvSpPr>
          <p:cNvPr id="30" name="Text Placeholder website"/>
          <p:cNvSpPr>
            <a:spLocks noGrp="1"/>
          </p:cNvSpPr>
          <p:nvPr>
            <p:ph type="body" sz="quarter" idx="26" hasCustomPrompt="1"/>
          </p:nvPr>
        </p:nvSpPr>
        <p:spPr>
          <a:xfrm>
            <a:off x="366268" y="6302475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400" b="0" i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1400" noProof="1">
                <a:solidFill>
                  <a:schemeClr val="bg1"/>
                </a:solidFill>
                <a:latin typeface="+mn-lt"/>
              </a:rPr>
              <a:t>[a</a:t>
            </a:r>
            <a:r>
              <a:rPr lang="en-GB" noProof="1"/>
              <a:t>dd VELUX website</a:t>
            </a:r>
            <a:r>
              <a:rPr lang="en-GB" sz="1400" noProof="1">
                <a:solidFill>
                  <a:schemeClr val="bg1"/>
                </a:solidFill>
                <a:latin typeface="+mn-lt"/>
              </a:rPr>
              <a:t>]</a:t>
            </a:r>
            <a:endParaRPr lang="en-GB" noProof="1"/>
          </a:p>
        </p:txBody>
      </p:sp>
      <p:sp>
        <p:nvSpPr>
          <p:cNvPr id="36" name="LAN_Find"/>
          <p:cNvSpPr txBox="1"/>
          <p:nvPr userDrawn="1"/>
        </p:nvSpPr>
        <p:spPr>
          <a:xfrm>
            <a:off x="9171879" y="4449351"/>
            <a:ext cx="183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find us here</a:t>
            </a:r>
          </a:p>
        </p:txBody>
      </p:sp>
      <p:pic>
        <p:nvPicPr>
          <p:cNvPr id="24" name="Logo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6000" y="358776"/>
            <a:ext cx="1189606" cy="4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28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 249x3"/>
          <p:cNvSpPr/>
          <p:nvPr userDrawn="1"/>
        </p:nvSpPr>
        <p:spPr bwMode="auto">
          <a:xfrm>
            <a:off x="0" y="0"/>
            <a:ext cx="12192775" cy="6858000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luxForOffice" panose="02000506030000020004" pitchFamily="2" charset="0"/>
            </a:endParaRPr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5" name="FLD_Presentation" hidden="1"/>
          <p:cNvSpPr>
            <a:spLocks noGrp="1"/>
          </p:cNvSpPr>
          <p:nvPr>
            <p:ph type="ftr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55" y="4450016"/>
            <a:ext cx="9521128" cy="186346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6000" y="358776"/>
            <a:ext cx="1189606" cy="4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98551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 249x3"/>
          <p:cNvSpPr/>
          <p:nvPr userDrawn="1"/>
        </p:nvSpPr>
        <p:spPr bwMode="auto">
          <a:xfrm>
            <a:off x="0" y="0"/>
            <a:ext cx="12192775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luxForOffice" panose="02000506030000020004" pitchFamily="2" charset="0"/>
            </a:endParaRPr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5" name="FLD_Presentation" hidden="1"/>
          <p:cNvSpPr>
            <a:spLocks noGrp="1"/>
          </p:cNvSpPr>
          <p:nvPr>
            <p:ph type="ftr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55" y="4449600"/>
            <a:ext cx="9521128" cy="186346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6000" y="358776"/>
            <a:ext cx="1189606" cy="4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05663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 249x3"/>
          <p:cNvSpPr/>
          <p:nvPr userDrawn="1"/>
        </p:nvSpPr>
        <p:spPr bwMode="auto">
          <a:xfrm>
            <a:off x="0" y="0"/>
            <a:ext cx="12192775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luxForOffice" panose="02000506030000020004" pitchFamily="2" charset="0"/>
            </a:endParaRPr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5" name="FLD_Presentation" hidden="1"/>
          <p:cNvSpPr>
            <a:spLocks noGrp="1"/>
          </p:cNvSpPr>
          <p:nvPr>
            <p:ph type="ftr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55" y="4449600"/>
            <a:ext cx="9521128" cy="186346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6000" y="358776"/>
            <a:ext cx="1189606" cy="4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62763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 249x3"/>
          <p:cNvSpPr/>
          <p:nvPr userDrawn="1"/>
        </p:nvSpPr>
        <p:spPr bwMode="auto">
          <a:xfrm>
            <a:off x="0" y="0"/>
            <a:ext cx="12192775" cy="6858000"/>
          </a:xfrm>
          <a:prstGeom prst="rect">
            <a:avLst/>
          </a:prstGeom>
          <a:solidFill>
            <a:srgbClr val="B0B0B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luxForOffice" panose="02000506030000020004" pitchFamily="2" charset="0"/>
            </a:endParaRPr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B0B0B0"/>
                </a:solidFill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955" y="4449600"/>
            <a:ext cx="9521128" cy="186346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8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6000" y="358776"/>
            <a:ext cx="1189606" cy="40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68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of text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B69EB07A-0655-AABF-3E88-8D074B7DF71D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FFF63EE-8822-03BE-D648-B8D3350CAD8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9518401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521F8D0-3EFD-0215-CD9F-49B4A0727AC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7BC6415-D084-42C8-A295-D1F0041689C4}" type="slidenum">
              <a:t>‹#›</a:t>
            </a:fld>
            <a:endParaRPr lang="en-GB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24D3B56B-0854-AC52-BF82-009381D04347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6" name="FLD_Presentation">
            <a:extLst>
              <a:ext uri="{FF2B5EF4-FFF2-40B4-BE49-F238E27FC236}">
                <a16:creationId xmlns:a16="http://schemas.microsoft.com/office/drawing/2014/main" id="{5B340241-C28B-2D0A-FB64-EC61BDF9772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B453258-F781-7186-9B60-DFB0AD3F4A4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663695"/>
            <a:ext cx="11476469" cy="4564803"/>
          </a:xfrm>
        </p:spPr>
        <p:txBody>
          <a:bodyPr/>
          <a:lstStyle>
            <a:lvl1pPr>
              <a:defRPr lang="en-GB" sz="2100"/>
            </a:lvl1pPr>
            <a:lvl2pPr>
              <a:defRPr lang="en-GB" sz="2100" i="1"/>
            </a:lvl2pPr>
            <a:lvl3pPr>
              <a:defRPr lang="en-GB" sz="1800" i="1"/>
            </a:lvl3pPr>
            <a:lvl4pPr>
              <a:defRPr lang="en-GB" sz="1600" i="1"/>
            </a:lvl4pPr>
            <a:lvl5pPr>
              <a:defRPr lang="en-GB" sz="1400" i="1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023380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utoShape 4"/>
          <p:cNvSpPr>
            <a:spLocks/>
          </p:cNvSpPr>
          <p:nvPr userDrawn="1"/>
        </p:nvSpPr>
        <p:spPr bwMode="gray">
          <a:xfrm>
            <a:off x="359050" y="1073195"/>
            <a:ext cx="3159234" cy="523220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nts</a:t>
            </a:r>
            <a:r>
              <a:rPr lang="en-GB" sz="1100" b="1" i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used in the template</a:t>
            </a:r>
            <a:endParaRPr lang="en-GB" sz="1100" b="1" i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is </a:t>
            </a:r>
            <a:r>
              <a:rPr lang="en-GB" sz="1100" b="1" i="1" cap="non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ForOffice</a:t>
            </a:r>
            <a:r>
              <a:rPr lang="en-GB" sz="1100" b="1" i="1" cap="all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Bold CAPS </a:t>
            </a:r>
            <a:r>
              <a:rPr lang="en-GB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sz="1100" i="0" cap="non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ForOffice</a:t>
            </a:r>
            <a:r>
              <a:rPr lang="en-GB" sz="1100" i="0" cap="all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Regular CAPS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he body text is in Velux ForOffice Light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commended body text size:</a:t>
            </a:r>
            <a:r>
              <a:rPr lang="en-GB" sz="1100" b="1" i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12-32</a:t>
            </a: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endParaRPr lang="en-GB" sz="1100" b="1" i="1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font type using the following commands:</a:t>
            </a: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r>
              <a:rPr lang="en-GB" sz="1100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forOffice Regular (default type)</a:t>
            </a: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forOffice Light: italic command</a:t>
            </a: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r>
              <a:rPr lang="en-GB" sz="1100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forOffice Bold: bold command</a:t>
            </a: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forOffice Black: bold + italic commands</a:t>
            </a: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endParaRPr lang="en-GB" sz="1100" b="1" i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 styles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to jump through levels. </a:t>
            </a:r>
            <a:b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</a:t>
            </a:r>
            <a:b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 to the next level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endParaRPr lang="en-GB" sz="1100" b="0" i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new slide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</a:t>
            </a:r>
            <a:b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 from the "drop down" menu </a:t>
            </a:r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58869" y="365127"/>
            <a:ext cx="11266394" cy="61458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199" b="0" i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3199" b="0" i="1" baseline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3199" b="0" i="1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8166641" y="1092231"/>
            <a:ext cx="3619473" cy="4302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3963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footer, slide number, date</a:t>
            </a:r>
          </a:p>
          <a:p>
            <a:pPr marL="0" marR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0" i="1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all the </a:t>
            </a:r>
            <a:br>
              <a:rPr lang="en-GB" sz="1100" b="0" i="1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1100" b="0" i="1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rrections with you</a:t>
            </a:r>
          </a:p>
          <a:p>
            <a:pPr eaLnBrk="1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1100" i="1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altLang="da-DK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on</a:t>
            </a:r>
            <a:r>
              <a:rPr lang="en-GB" altLang="da-DK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br>
              <a:rPr lang="en-GB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1100" b="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1100" b="0" i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Gui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To view drawing gui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1.</a:t>
            </a: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 Click the </a:t>
            </a: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View</a:t>
            </a: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 tab, set tick mark next to </a:t>
            </a: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Gui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en-GB" sz="1100" b="0" i="1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luxForOffice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Hint: Alt + F9 </a:t>
            </a: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for quick viewing of guid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en-GB" sz="1100" b="0" i="1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luxForOffice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Manual guid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Make manual guides, right-click on the page choose </a:t>
            </a:r>
            <a:b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</a:b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Grid and Guides – Add xxx Guide </a:t>
            </a: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they will then </a:t>
            </a:r>
            <a:b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</a:b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appear on all </a:t>
            </a:r>
            <a:b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</a:b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your sl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1100" b="0" i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4263549" y="1073195"/>
            <a:ext cx="2567190" cy="44550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</a:t>
            </a:r>
            <a:br>
              <a:rPr lang="en-GB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</a:t>
            </a:r>
            <a:r>
              <a:rPr lang="en-GB" sz="1100" i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hoose </a:t>
            </a:r>
            <a:r>
              <a:rPr lang="en-GB" sz="1100" b="1" i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1100" b="1" i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Change pictur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1. </a:t>
            </a: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Click </a:t>
            </a: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Crop </a:t>
            </a: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to change size or focus</a:t>
            </a:r>
            <a:b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</a:br>
            <a:r>
              <a:rPr kumimoji="0" lang="en-GB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of the picture</a:t>
            </a:r>
            <a:endParaRPr kumimoji="0" lang="en-GB" sz="1100" b="0" i="1" u="none" strike="sng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luxForOffice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2. </a:t>
            </a:r>
            <a:r>
              <a:rPr kumimoji="0" lang="en-GB" altLang="da-DK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If you want to scale the picture, hold </a:t>
            </a:r>
            <a:r>
              <a:rPr kumimoji="0" lang="en-GB" altLang="da-DK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SHIFT-</a:t>
            </a:r>
            <a:r>
              <a:rPr kumimoji="0" lang="en-GB" altLang="da-DK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key down while dragging the corners of the pictur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Hint:</a:t>
            </a:r>
            <a:r>
              <a:rPr kumimoji="0" lang="en-GB" altLang="da-DK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 If you delete the picture and  insert a new one, the picture may lie in front of the text or graphic, if this happens, select the picture, right-click and choose </a:t>
            </a:r>
            <a:r>
              <a:rPr kumimoji="0" lang="en-GB" altLang="da-DK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Send to Back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100" b="1" i="1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luxForOffice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Reset slide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altLang="da-DK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1.</a:t>
            </a:r>
            <a:r>
              <a:rPr kumimoji="0" lang="en-GB" altLang="da-DK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 Click the </a:t>
            </a:r>
            <a:r>
              <a:rPr kumimoji="0" lang="en-GB" altLang="da-DK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Home tab</a:t>
            </a:r>
            <a:endParaRPr kumimoji="0" lang="en-GB" altLang="da-DK" sz="1100" b="0" i="1" u="none" strike="sng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luxForOffice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altLang="da-DK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2. </a:t>
            </a:r>
            <a:r>
              <a:rPr kumimoji="0" lang="en-GB" altLang="da-DK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Click the </a:t>
            </a:r>
            <a:r>
              <a:rPr kumimoji="0" lang="en-GB" altLang="da-DK" sz="1100" b="1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Reset </a:t>
            </a:r>
            <a:r>
              <a:rPr kumimoji="0" lang="en-GB" altLang="da-DK" sz="1100" b="0" i="1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luxForOffice"/>
                <a:ea typeface="+mn-ea"/>
                <a:cs typeface="Arial" panose="020B0604020202020204" pitchFamily="34" charset="0"/>
              </a:rPr>
              <a:t>menu to reset position, size and formatting of the slide placeholders to their default setting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100" b="1" i="1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luxForOffice"/>
              <a:ea typeface="+mn-ea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1100" b="1" i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3" name="Billed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22201" y="2061397"/>
            <a:ext cx="337400" cy="321707"/>
          </a:xfrm>
          <a:prstGeom prst="rect">
            <a:avLst/>
          </a:prstGeom>
        </p:spPr>
      </p:pic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1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6" tIns="45708" rIns="91416" bIns="45708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sz="1800"/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1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16" tIns="45708" rIns="91416" bIns="45708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sz="180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43603" y="1394527"/>
            <a:ext cx="262151" cy="25605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922201" y="4549105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96070" y="5276777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6"/>
          <a:srcRect l="36944" r="2272" b="69429"/>
          <a:stretch/>
        </p:blipFill>
        <p:spPr>
          <a:xfrm>
            <a:off x="2990297" y="5890245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68958" y="4562640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877598" y="2547655"/>
            <a:ext cx="359695" cy="335309"/>
          </a:xfrm>
          <a:prstGeom prst="rect">
            <a:avLst/>
          </a:prstGeom>
        </p:spPr>
      </p:pic>
      <p:pic>
        <p:nvPicPr>
          <p:cNvPr id="2050" name="Picture 2" descr="C:\Users\taw\AppData\Local\Temp\SNAGHTMLaf298051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5042" y="4875669"/>
            <a:ext cx="1948802" cy="1333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7" name="FLD_Presentation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976056" y="3291196"/>
            <a:ext cx="495367" cy="31428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035045" y="2875927"/>
            <a:ext cx="285788" cy="29523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025884" y="2644352"/>
            <a:ext cx="285788" cy="27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6719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6D607054-8F06-3CA3-23F3-1C5FFE59B62A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332826B-EBDC-093F-F61D-AAF2088E349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D6A74DD-4C26-896E-E968-22657CD8F18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663695"/>
            <a:ext cx="3666497" cy="4564803"/>
          </a:xfrm>
        </p:spPr>
        <p:txBody>
          <a:bodyPr/>
          <a:lstStyle>
            <a:lvl1pPr>
              <a:defRPr lang="en-GB" sz="2100"/>
            </a:lvl1pPr>
            <a:lvl2pPr>
              <a:defRPr lang="en-GB" sz="2100" i="1"/>
            </a:lvl2pPr>
            <a:lvl3pPr>
              <a:defRPr lang="en-GB" sz="1800" i="1"/>
            </a:lvl3pPr>
            <a:lvl4pPr>
              <a:defRPr lang="en-GB" sz="1600" i="1"/>
            </a:lvl4pPr>
            <a:lvl5pPr>
              <a:defRPr lang="en-GB" sz="1400" i="1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89E7DB3C-76A9-9EA5-D1B2-77E2FFBD84CA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4262402" y="1663695"/>
            <a:ext cx="7567199" cy="4564803"/>
          </a:xfrm>
        </p:spPr>
        <p:txBody>
          <a:bodyPr/>
          <a:lstStyle>
            <a:lvl1pPr>
              <a:defRPr lang="en-GB" sz="2000"/>
            </a:lvl1pPr>
            <a:lvl2pPr>
              <a:defRPr lang="en-GB" sz="2000"/>
            </a:lvl2pPr>
            <a:lvl3pPr>
              <a:defRPr lang="en-GB" sz="1800"/>
            </a:lvl3pPr>
            <a:lvl4pPr>
              <a:defRPr lang="en-GB" sz="1600"/>
            </a:lvl4pPr>
            <a:lvl5pPr>
              <a:defRPr lang="en-GB" sz="1400"/>
            </a:lvl5pPr>
          </a:lstStyle>
          <a:p>
            <a:pPr lvl="0"/>
            <a:r>
              <a:rPr lang="en-GB"/>
              <a:t>Insert picture,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790D6F9D-DEB5-AA8F-FACE-CFBE02F2037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93F664B-4BD0-4E99-9184-BEE96DF1530B}" type="slidenum">
              <a:t>‹#›</a:t>
            </a:fld>
            <a:endParaRPr lang="en-GB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509F0AD1-21C6-AEAB-F38F-23F37EE6D4D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F1CA8DDD-C693-FE47-3F8A-38A3B751F9D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48668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CE5BB000-93E0-1B9E-E329-76B86E6F8B10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950744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88B878C-F29C-C734-F24F-9AED9089F29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3E9CECFC-DB62-486B-B3E9-984F2F21A337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60090" y="1663695"/>
            <a:ext cx="7567199" cy="4564803"/>
          </a:xfrm>
        </p:spPr>
        <p:txBody>
          <a:bodyPr/>
          <a:lstStyle>
            <a:lvl1pPr>
              <a:defRPr lang="en-GB" sz="2000"/>
            </a:lvl1pPr>
            <a:lvl2pPr>
              <a:defRPr lang="en-GB" sz="2000"/>
            </a:lvl2pPr>
            <a:lvl3pPr>
              <a:defRPr lang="en-GB" sz="1800"/>
            </a:lvl3pPr>
            <a:lvl4pPr>
              <a:defRPr lang="en-GB" sz="1600"/>
            </a:lvl4pPr>
            <a:lvl5pPr>
              <a:defRPr lang="en-GB" sz="1400"/>
            </a:lvl5pPr>
          </a:lstStyle>
          <a:p>
            <a:pPr lvl="0"/>
            <a:r>
              <a:rPr lang="en-GB"/>
              <a:t>Insert picture, chart or tabl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3B97B55-9D8B-7806-54C1-AEAD827B47B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159748" y="1663695"/>
            <a:ext cx="3668399" cy="4564803"/>
          </a:xfrm>
        </p:spPr>
        <p:txBody>
          <a:bodyPr/>
          <a:lstStyle>
            <a:lvl1pPr>
              <a:defRPr lang="en-GB" sz="2100"/>
            </a:lvl1pPr>
            <a:lvl2pPr>
              <a:defRPr lang="en-GB" sz="2100" i="1"/>
            </a:lvl2pPr>
            <a:lvl3pPr>
              <a:defRPr lang="en-GB" sz="1800" i="1"/>
            </a:lvl3pPr>
            <a:lvl4pPr>
              <a:defRPr lang="en-GB" sz="1600" i="1"/>
            </a:lvl4pPr>
            <a:lvl5pPr>
              <a:defRPr lang="en-GB" sz="1400" i="1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AB148F59-E10C-F2EC-D1EB-F58641C017C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0BE09B5-7C6F-4998-93CE-7DA04EE09648}" type="slidenum">
              <a:t>‹#›</a:t>
            </a:fld>
            <a:endParaRPr lang="en-GB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48AF6129-2F62-72AE-934D-77A839E8CBF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EA9A9243-5C6A-A12F-8DEE-5192EFACA9A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8278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97E88C36-7C25-5956-F1F7-0F02B982E685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9511213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7FDCEB2-DD4E-F12D-D42C-1B239A46518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66C49FF-7B24-FF8C-113C-FC456E2281A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663695"/>
            <a:ext cx="3666497" cy="4564803"/>
          </a:xfrm>
        </p:spPr>
        <p:txBody>
          <a:bodyPr/>
          <a:lstStyle>
            <a:lvl1pPr>
              <a:defRPr lang="en-GB" sz="2100"/>
            </a:lvl1pPr>
            <a:lvl2pPr>
              <a:defRPr lang="en-GB" sz="2100"/>
            </a:lvl2pPr>
            <a:lvl3pPr>
              <a:defRPr lang="en-GB" sz="1800"/>
            </a:lvl3pPr>
            <a:lvl4pPr>
              <a:defRPr lang="en-GB" sz="1600"/>
            </a:lvl4pPr>
            <a:lvl5pPr>
              <a:defRPr lang="en-GB" sz="1400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82E137-D701-AE8C-50F4-A6242BFEE95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262402" y="1663695"/>
            <a:ext cx="3666049" cy="4564803"/>
          </a:xfrm>
        </p:spPr>
        <p:txBody>
          <a:bodyPr/>
          <a:lstStyle>
            <a:lvl1pPr>
              <a:defRPr lang="en-GB" sz="21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EA7B60C3-BA64-E32A-4D4B-1E8896BAB5F1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9141622" y="1663705"/>
            <a:ext cx="2689927" cy="2224076"/>
          </a:xfrm>
        </p:spPr>
        <p:txBody>
          <a:bodyPr tIns="35999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745D14BF-D296-A3C4-72E5-1BE6480518A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9141613" y="3948589"/>
            <a:ext cx="2689927" cy="948854"/>
          </a:xfrm>
        </p:spPr>
        <p:txBody>
          <a:bodyPr/>
          <a:lstStyle>
            <a:lvl1pPr>
              <a:buNone/>
              <a:defRPr lang="en-GB" sz="1100"/>
            </a:lvl1pPr>
          </a:lstStyle>
          <a:p>
            <a:pPr lvl="0"/>
            <a:r>
              <a:rPr lang="en-GB"/>
              <a:t>Click to add caption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5378441-F952-E1E5-E8A1-36245DBAA5A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44DE6E7-B2A9-4E1E-B84D-67247FF9C164}" type="slidenum">
              <a:t>‹#›</a:t>
            </a:fld>
            <a:endParaRPr lang="en-GB"/>
          </a:p>
        </p:txBody>
      </p:sp>
      <p:sp>
        <p:nvSpPr>
          <p:cNvPr id="9" name="Date_DateCustomA" hidden="1">
            <a:extLst>
              <a:ext uri="{FF2B5EF4-FFF2-40B4-BE49-F238E27FC236}">
                <a16:creationId xmlns:a16="http://schemas.microsoft.com/office/drawing/2014/main" id="{AB62F392-59E0-BEE2-D3E8-95F69D910AF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10" name="FLD_Presentation">
            <a:extLst>
              <a:ext uri="{FF2B5EF4-FFF2-40B4-BE49-F238E27FC236}">
                <a16:creationId xmlns:a16="http://schemas.microsoft.com/office/drawing/2014/main" id="{1FD1626C-19CE-C8DF-4199-324D443E4E3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11338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50D64268-4D8A-002D-2550-5947C71A8C3F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951001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A97C77D-7D2A-15A1-BF6F-468335BF86B7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A58ABD-CF7C-B455-AEF9-895B71D759E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9999" y="1663695"/>
            <a:ext cx="6594387" cy="4564803"/>
          </a:xfrm>
        </p:spPr>
        <p:txBody>
          <a:bodyPr/>
          <a:lstStyle>
            <a:lvl1pPr>
              <a:defRPr lang="en-GB"/>
            </a:lvl1pPr>
            <a:lvl2pPr>
              <a:defRPr lang="en-GB" sz="3200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7E9AE445-80EA-9F58-69BC-4DB316CBDB90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190073" y="1663695"/>
            <a:ext cx="4641476" cy="2149196"/>
          </a:xfrm>
        </p:spPr>
        <p:txBody>
          <a:bodyPr tIns="35999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         your device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46BE6457-0E9C-8EFD-B9B4-3754D2420838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190073" y="4078800"/>
            <a:ext cx="4641466" cy="2149196"/>
          </a:xfrm>
        </p:spPr>
        <p:txBody>
          <a:bodyPr tIns="35999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         your device</a:t>
            </a:r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F021302E-E5D4-CFC6-5E7C-281C2237E86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DB6274D4-4313-B365-00E6-DD449C746F8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50AA12D4-DD47-DC3B-7946-6C988E84540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D8B2E33-33A7-4154-8D49-1242F604FA08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7031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ext and 2 pictures">
    <p:bg>
      <p:bgPr>
        <a:solidFill>
          <a:srgbClr val="E3E2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F7076A26-8352-D5A2-55CD-073B4C4F36BB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5500801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6AE4FAD-046C-243F-B6DA-4D2A784C157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5500801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813BA42-B241-3A86-E27A-D5A10ED8229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9999" y="1663695"/>
            <a:ext cx="5500801" cy="4564803"/>
          </a:xfrm>
        </p:spPr>
        <p:txBody>
          <a:bodyPr/>
          <a:lstStyle>
            <a:lvl1pPr>
              <a:defRPr lang="en-GB"/>
            </a:lvl1pPr>
            <a:lvl2pPr>
              <a:defRPr lang="en-GB" sz="3200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49C8781D-1D73-225A-B4EE-2CDADF765EE2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4796" y="0"/>
            <a:ext cx="6094796" cy="3430801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</a:t>
            </a:r>
            <a:br>
              <a:rPr lang="en-GB"/>
            </a:br>
            <a:r>
              <a:rPr lang="en-GB"/>
              <a:t>click on icon in frame to insert picture from your device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1F4CE8C-2714-FDA9-1F69-EE8A31ED70D9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4796" y="3427198"/>
            <a:ext cx="6094796" cy="3430801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</a:t>
            </a:r>
            <a:br>
              <a:rPr lang="en-GB"/>
            </a:br>
            <a:r>
              <a:rPr lang="en-GB"/>
              <a:t>click on icon in frame to insert picture from your device</a:t>
            </a:r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74802D59-268F-5E2A-237D-2B57907EB59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3557A76D-DBDC-5BD7-E507-37845B70422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55F09121-4D5C-9D68-2712-FC840186B42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440C3BC-EC8E-4636-A52C-3202E4C9DEE4}" type="slidenum">
              <a:t>‹#›</a:t>
            </a:fld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C07FB74-9B8B-BE7C-2AB6-582605B8641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926847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2+1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2014AB31-C7A4-D798-AB03-078FFF64AEAC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951001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20FC2A6-1D91-52E2-DE71-B25212DAB5F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4066187-E9B0-43AF-35B0-5E9F9487977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9999" y="1663695"/>
            <a:ext cx="6594387" cy="4564803"/>
          </a:xfrm>
        </p:spPr>
        <p:txBody>
          <a:bodyPr/>
          <a:lstStyle>
            <a:lvl1pPr>
              <a:defRPr lang="en-GB"/>
            </a:lvl1pPr>
            <a:lvl2pPr>
              <a:defRPr lang="en-GB" sz="3200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0C186B46-E57F-291D-BE1E-7B6DD91F2366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190073" y="1663695"/>
            <a:ext cx="2202432" cy="2149196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F85DE88B-1143-8BA3-3D29-3D7D21783F7F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9629107" y="1663695"/>
            <a:ext cx="2202442" cy="2149196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5CB60B81-7E9C-D40B-B4DF-8585DD1928BA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190073" y="4079302"/>
            <a:ext cx="4641466" cy="2149196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8" name="Date_DateCustomA" hidden="1">
            <a:extLst>
              <a:ext uri="{FF2B5EF4-FFF2-40B4-BE49-F238E27FC236}">
                <a16:creationId xmlns:a16="http://schemas.microsoft.com/office/drawing/2014/main" id="{DD3DB8BF-FE21-4835-D69B-79A0E98DDDB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FLD_Presentation">
            <a:extLst>
              <a:ext uri="{FF2B5EF4-FFF2-40B4-BE49-F238E27FC236}">
                <a16:creationId xmlns:a16="http://schemas.microsoft.com/office/drawing/2014/main" id="{39BD916F-936A-011B-5BC9-0904FD1186C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EE3D98C-852F-8F65-ECC1-8882DCA21A0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2F0E6D5-DF83-49A3-87B3-E788AA7F4FB8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2835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Transparent pane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8">
            <a:extLst>
              <a:ext uri="{FF2B5EF4-FFF2-40B4-BE49-F238E27FC236}">
                <a16:creationId xmlns:a16="http://schemas.microsoft.com/office/drawing/2014/main" id="{45B4E204-BDF5-785B-0936-C2387A0AA034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12191996" cy="6858000"/>
          </a:xfrm>
        </p:spPr>
        <p:txBody>
          <a:bodyPr lIns="5471998" tIns="35999"/>
          <a:lstStyle>
            <a:lvl1pPr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34AFEE1-C44F-9262-9325-15E4A6B6D13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0"/>
            <a:ext cx="5374797" cy="6858000"/>
          </a:xfrm>
          <a:solidFill>
            <a:srgbClr val="EBE6DE">
              <a:alpha val="85000"/>
            </a:srgbClr>
          </a:solidFill>
        </p:spPr>
        <p:txBody>
          <a:bodyPr lIns="359999" tIns="1216801" rIns="179999" bIns="3621600" anchor="b"/>
          <a:lstStyle>
            <a:lvl1pPr>
              <a:defRPr lang="en-GB" sz="3900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Date Placeholder" hidden="1">
            <a:extLst>
              <a:ext uri="{FF2B5EF4-FFF2-40B4-BE49-F238E27FC236}">
                <a16:creationId xmlns:a16="http://schemas.microsoft.com/office/drawing/2014/main" id="{57C7B103-FFC7-89D5-FD2F-BE1D8F9CDC7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500"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" name="FLD_Presentation">
            <a:extLst>
              <a:ext uri="{FF2B5EF4-FFF2-40B4-BE49-F238E27FC236}">
                <a16:creationId xmlns:a16="http://schemas.microsoft.com/office/drawing/2014/main" id="{B1402143-EE01-96C4-35D0-FD06DB91712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5446797" y="6361197"/>
            <a:ext cx="6382795" cy="2412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7549C61-26F3-8E91-4A35-4998DF86DAD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84982"/>
            <a:ext cx="4873011" cy="1113410"/>
          </a:xfrm>
        </p:spPr>
        <p:txBody>
          <a:bodyPr/>
          <a:lstStyle>
            <a:lvl1pPr>
              <a:buNone/>
              <a:defRPr lang="en-GB" sz="3200"/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7" name="FLD_Presenter_Place">
            <a:extLst>
              <a:ext uri="{FF2B5EF4-FFF2-40B4-BE49-F238E27FC236}">
                <a16:creationId xmlns:a16="http://schemas.microsoft.com/office/drawing/2014/main" id="{6D4D49F9-1FCF-B17B-5A92-81189BF7963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74" y="233290"/>
            <a:ext cx="4873011" cy="310731"/>
          </a:xfrm>
        </p:spPr>
        <p:txBody>
          <a:bodyPr anchor="b"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Click to add presenter / place</a:t>
            </a:r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1C6E278E-2758-76AD-E75F-7462D60723B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74" y="581979"/>
            <a:ext cx="4873011" cy="263383"/>
          </a:xfrm>
        </p:spPr>
        <p:txBody>
          <a:bodyPr/>
          <a:lstStyle>
            <a:lvl1pPr>
              <a:buNone/>
              <a:defRPr lang="en-GB" sz="1500"/>
            </a:lvl1pPr>
          </a:lstStyle>
          <a:p>
            <a:pPr lvl="0"/>
            <a:r>
              <a:rPr lang="en-GB"/>
              <a:t>Click to add date</a:t>
            </a: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7FE50ACA-462B-D58D-B0D4-B466F0AD28F7}"/>
              </a:ext>
            </a:extLst>
          </p:cNvPr>
          <p:cNvSpPr txBox="1"/>
          <p:nvPr/>
        </p:nvSpPr>
        <p:spPr>
          <a:xfrm>
            <a:off x="358865" y="-359999"/>
            <a:ext cx="2640704" cy="21544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rPr>
              <a:t>Box: Transparency 15%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C5E2352A-F5AE-5572-7312-1A1C440088C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294799" y="5409791"/>
            <a:ext cx="2159995" cy="72562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1" name="Slide Number Placeholder 2" hidden="1">
            <a:extLst>
              <a:ext uri="{FF2B5EF4-FFF2-40B4-BE49-F238E27FC236}">
                <a16:creationId xmlns:a16="http://schemas.microsoft.com/office/drawing/2014/main" id="{C0A56136-697D-0C11-5051-4948820BBA8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52403" y="7010403"/>
            <a:ext cx="0" cy="0"/>
          </a:xfrm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</a:lstStyle>
          <a:p>
            <a:pPr lvl="0"/>
            <a:fld id="{539F1942-9C0D-4E70-80CA-DC8CADC2E130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62653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3 pictures">
    <p:bg>
      <p:bgPr>
        <a:solidFill>
          <a:srgbClr val="F9E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BFE476B7-A6E5-1FFE-2B8E-DA278F38222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9142802" y="3427198"/>
            <a:ext cx="3049203" cy="3430801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5D6B9DDE-B855-86E6-2E67-F607195122B3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4796" y="0"/>
            <a:ext cx="6094796" cy="3427198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                                            click on icon in frame to insert picture from your device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0B24DA86-4720-8C7E-B2A0-982FFC958C2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4796" y="3427198"/>
            <a:ext cx="3047996" cy="3430801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23ED6150-F6F8-6748-8DB7-B80D870F7A3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6" name="FLD_Presentation">
            <a:extLst>
              <a:ext uri="{FF2B5EF4-FFF2-40B4-BE49-F238E27FC236}">
                <a16:creationId xmlns:a16="http://schemas.microsoft.com/office/drawing/2014/main" id="{9F192A57-9138-39FE-283D-0718FED30CE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CBEFC88B-3EB9-5E74-A662-366D7F966E5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BDB928E-D19A-4517-A479-4F2BD5C77EC2}" type="slidenum">
              <a:t>‹#›</a:t>
            </a:fld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2817CED-9CB5-A90E-272C-53F378869AFB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5500801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C6C744-3DA9-2A4F-F421-F9FAD5124C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5500801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0CD4F7B-FB91-A497-D188-C3D484A7948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9999" y="1663695"/>
            <a:ext cx="5500801" cy="4564803"/>
          </a:xfrm>
        </p:spPr>
        <p:txBody>
          <a:bodyPr/>
          <a:lstStyle>
            <a:lvl1pPr>
              <a:defRPr lang="en-GB"/>
            </a:lvl1pPr>
            <a:lvl2pPr>
              <a:defRPr lang="en-GB" sz="3200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149716-4D89-0147-64EC-9B656EF3092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54822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ext and 3 pictures">
    <p:bg>
      <p:bgPr>
        <a:solidFill>
          <a:srgbClr val="F9E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B40575D5-A511-39A9-7FA4-B7CA3E476B29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9560399" y="0"/>
            <a:ext cx="2631597" cy="6858000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DE5B8B23-9F8E-F4B7-BBDB-0B08D0F6C51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298402" y="0"/>
            <a:ext cx="2631597" cy="6858000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                                                    click on icon in frame to insert picture from your device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DE9621CC-8EEE-B96B-DC4F-5DDF355F3174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929999" y="0"/>
            <a:ext cx="2631597" cy="6858000"/>
          </a:xfrm>
        </p:spPr>
        <p:txBody>
          <a:bodyPr tIns="35999" anchorCtr="1"/>
          <a:lstStyle>
            <a:lvl1pPr algn="ctr">
              <a:buNone/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8316D36C-F69A-F2BF-86A8-E3F89C288DC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6" name="FLD_Presentation">
            <a:extLst>
              <a:ext uri="{FF2B5EF4-FFF2-40B4-BE49-F238E27FC236}">
                <a16:creationId xmlns:a16="http://schemas.microsoft.com/office/drawing/2014/main" id="{57B3A8F1-57BF-580B-8986-228E949402A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584AE638-D61B-B674-6F9A-4EB5ED68C34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AA0145D-CDF8-4089-85A3-AED9A874BDBA}" type="slidenum">
              <a:t>‹#›</a:t>
            </a:fld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254C499-C493-A00F-56DF-56688EB0CAE2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3676162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1F36495-96DF-5DDC-19B6-956F7C546B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3676162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B274DBD-BC1B-2CE3-52A8-0BE60A6B00D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663695"/>
            <a:ext cx="3666497" cy="4564803"/>
          </a:xfrm>
        </p:spPr>
        <p:txBody>
          <a:bodyPr/>
          <a:lstStyle>
            <a:lvl1pPr>
              <a:defRPr lang="en-GB" sz="2100"/>
            </a:lvl1pPr>
            <a:lvl2pPr>
              <a:defRPr lang="en-GB" sz="2100"/>
            </a:lvl2pPr>
            <a:lvl3pPr>
              <a:defRPr lang="en-GB" sz="1800"/>
            </a:lvl3pPr>
            <a:lvl4pPr>
              <a:defRPr lang="en-GB" sz="1600"/>
            </a:lvl4pPr>
            <a:lvl5pPr>
              <a:defRPr lang="en-GB" sz="1400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8E1E17-58A7-50AA-3B14-D13A01F272F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055803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05218-B78F-61D9-F1D2-96A1A4DE2017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9CD8EE-76FF-1757-2DAE-3A263847BA99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74" y="1663705"/>
            <a:ext cx="5617643" cy="4564803"/>
          </a:xfrm>
        </p:spPr>
        <p:txBody>
          <a:bodyPr/>
          <a:lstStyle>
            <a:lvl1pPr>
              <a:spcAft>
                <a:spcPts val="0"/>
              </a:spcAft>
              <a:buSzPct val="80000"/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9525A-F4F5-9EA6-D4D8-C1AE5CCAD8E7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6213896" y="1663695"/>
            <a:ext cx="5617643" cy="4564803"/>
          </a:xfrm>
        </p:spPr>
        <p:txBody>
          <a:bodyPr/>
          <a:lstStyle>
            <a:lvl1pPr>
              <a:spcAft>
                <a:spcPts val="0"/>
              </a:spcAft>
              <a:buSzPct val="80000"/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5B03D38-21E1-7D0C-732A-788DF78E6D7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775FA78-43A2-4C8A-B054-64989AB0F9BF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5B994654-A568-685D-18E2-DC92EABC9DA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413CF557-EFEE-9D0A-2DD7-02136942522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BDBEF7F-DFCC-315C-5F91-BD9622E2DFDB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950744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24287114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wo Content">
    <p:bg>
      <p:bgPr>
        <a:solidFill>
          <a:srgbClr val="E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9DDA035D-C37A-52EC-B8F4-687A6D05E3B1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65" y="323423"/>
            <a:ext cx="5500088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9894A7-440A-E7FC-57BB-97589BED2CD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5509762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CC9E3873-7D33-4949-3DEC-7A15EAEA217C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65" y="1663705"/>
            <a:ext cx="5500088" cy="4564803"/>
          </a:xfrm>
        </p:spPr>
        <p:txBody>
          <a:bodyPr/>
          <a:lstStyle>
            <a:lvl1pPr>
              <a:spcAft>
                <a:spcPts val="0"/>
              </a:spcAft>
              <a:buSzPct val="80000"/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965783C-2DCF-7F11-9A76-D46820634C2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6003" y="0"/>
            <a:ext cx="6096003" cy="6858000"/>
          </a:xfrm>
        </p:spPr>
        <p:txBody>
          <a:bodyPr tIns="35999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312FAF-39EF-6F2D-A240-381FCCB1EF4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2BD339B-766B-4D18-8D76-E5BD1EB16A8A}" type="slidenum">
              <a:t>‹#›</a:t>
            </a:fld>
            <a:endParaRPr lang="en-GB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B3FFFD19-3948-8F05-BEA8-2DC3E75BCFC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B197FF80-85F7-D82B-079B-E62E7751F30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6168012" y="6361197"/>
            <a:ext cx="5661589" cy="2412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742435F-FAEA-1313-9C33-6348BF0ECB3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84974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wo Content">
    <p:bg>
      <p:bgPr>
        <a:solidFill>
          <a:srgbClr val="F2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CB062F9B-64F9-E36B-6F07-8264B92B19EF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5500801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B4254A3-5FCC-FB54-F17D-C33589E708F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5511600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B4112E9-4425-E40F-C94E-2A9B9F3DE5B3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74" y="1663705"/>
            <a:ext cx="5500801" cy="4564803"/>
          </a:xfrm>
        </p:spPr>
        <p:txBody>
          <a:bodyPr/>
          <a:lstStyle>
            <a:lvl1pPr>
              <a:spcAft>
                <a:spcPts val="0"/>
              </a:spcAft>
              <a:buSzPct val="80000"/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70E3B122-F596-E2B3-4297-D159B15F6B4A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6003" y="0"/>
            <a:ext cx="6096003" cy="6858000"/>
          </a:xfrm>
        </p:spPr>
        <p:txBody>
          <a:bodyPr tIns="35999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05EBEA-7119-1875-7BB3-804E377E31D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B186964-563E-4950-9798-9BD953E373E1}" type="slidenum">
              <a:t>‹#›</a:t>
            </a:fld>
            <a:endParaRPr lang="en-GB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114F5A52-03A2-BDD2-9DCD-66D3D40AC7E8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518FD07F-26F9-F02C-706D-0FD4E1AC55B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6166795" y="6361197"/>
            <a:ext cx="5662796" cy="2412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103D483-CE22-C0A9-2D3A-0C6D3932B1E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276428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wo Content">
    <p:bg>
      <p:bgPr>
        <a:solidFill>
          <a:srgbClr val="EDF0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27AB40B9-4CD1-79B1-B95E-64C2239480B5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5500801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34D4E14-57DB-CAD8-921D-F660745201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5510467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9B44EFD-4072-CB08-BF5D-8F57845715D7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74" y="1663705"/>
            <a:ext cx="5500801" cy="4564803"/>
          </a:xfrm>
        </p:spPr>
        <p:txBody>
          <a:bodyPr/>
          <a:lstStyle>
            <a:lvl1pPr>
              <a:spcAft>
                <a:spcPts val="0"/>
              </a:spcAft>
              <a:buSzPct val="80000"/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1D68DE8E-9EDE-8E44-085D-18FD59535E1C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6003" y="0"/>
            <a:ext cx="6096003" cy="6858000"/>
          </a:xfrm>
        </p:spPr>
        <p:txBody>
          <a:bodyPr tIns="35999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2D3D9-953E-FC1B-8FD3-9D82325CD3D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363F7BC-CECF-4B2F-9203-EABB2983DC3B}" type="slidenum">
              <a:t>‹#›</a:t>
            </a:fld>
            <a:endParaRPr lang="en-GB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247AB8DE-1145-1B4C-55CD-8FE354CAA91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E4DF8765-6110-DD6C-B3BD-D445013E522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6166795" y="6361197"/>
            <a:ext cx="5662796" cy="2412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6EFFCA2-7739-7AAE-AE68-B252738CFA9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24666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wo Content">
    <p:bg>
      <p:bgPr>
        <a:solidFill>
          <a:srgbClr val="D9E1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7AF603FB-4A6F-08ED-6FE7-13219DF4121F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5500801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8039AF3-4407-D7C5-1422-332E1BDF471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5510467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A992890-C076-48DA-A6DE-01EC68B46F23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74" y="1663705"/>
            <a:ext cx="5500801" cy="4564803"/>
          </a:xfrm>
        </p:spPr>
        <p:txBody>
          <a:bodyPr/>
          <a:lstStyle>
            <a:lvl1pPr>
              <a:spcAft>
                <a:spcPts val="0"/>
              </a:spcAft>
              <a:buSzPct val="80000"/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92B2BA94-875B-B2E7-606F-E1F1598EC938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6003" y="0"/>
            <a:ext cx="6096003" cy="6858000"/>
          </a:xfrm>
        </p:spPr>
        <p:txBody>
          <a:bodyPr tIns="35999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402146-20A4-D2F3-9D0D-11D8EB25D4A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4C5B018-6B3A-4D8B-9521-7E6441EDB310}" type="slidenum">
              <a:t>‹#›</a:t>
            </a:fld>
            <a:endParaRPr lang="en-GB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9AB7967B-1C87-9F2B-DBAE-4677D4BC10C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71B4796C-FE92-7FD7-947B-C76661D0E8D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6166795" y="6361197"/>
            <a:ext cx="5662796" cy="2412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7F49E96-57A5-E124-599B-114CBFA0A45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496746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wo Content">
    <p:bg>
      <p:bgPr>
        <a:solidFill>
          <a:srgbClr val="F9E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98366BCA-0214-35BD-F7A2-D0593E1B3EC4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5500801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A9473C6-AD36-4AB7-F8AF-2D15A2816E2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5510467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157192A-9FB0-8FD5-8CB6-60CE7A12B844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74" y="1663705"/>
            <a:ext cx="5500801" cy="4564803"/>
          </a:xfrm>
        </p:spPr>
        <p:txBody>
          <a:bodyPr/>
          <a:lstStyle>
            <a:lvl1pPr>
              <a:spcAft>
                <a:spcPts val="0"/>
              </a:spcAft>
              <a:buSzPct val="80000"/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D275563E-D250-C992-5CD8-9CBF8898FF31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6003" y="0"/>
            <a:ext cx="6096003" cy="6858000"/>
          </a:xfrm>
        </p:spPr>
        <p:txBody>
          <a:bodyPr tIns="35999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FC484E-119F-3327-E8A7-7541AC922DF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FF0B01B-0398-4B62-953C-6CD86FE9AC11}" type="slidenum">
              <a:t>‹#›</a:t>
            </a:fld>
            <a:endParaRPr lang="en-GB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F92FF2FB-4018-B1A3-49E1-ED63B0CB2C36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EDC0E9A4-0CBE-695E-ED60-8C45160C715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6166795" y="6361197"/>
            <a:ext cx="5662796" cy="2412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6A46320-86A0-7EA6-0CF4-A864B49985F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088265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wo Content">
    <p:bg>
      <p:bgPr>
        <a:solidFill>
          <a:srgbClr val="E3E2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C440B55A-71E4-D76D-1FA1-54AAB4E23E9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5500801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5DF4DB5-D87B-3EDA-5399-06E51B5D1F9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5510467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3D0C90E-3240-8A93-EDD3-64E47A8A578F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74" y="1663705"/>
            <a:ext cx="5500801" cy="4564803"/>
          </a:xfrm>
        </p:spPr>
        <p:txBody>
          <a:bodyPr/>
          <a:lstStyle>
            <a:lvl1pPr>
              <a:spcAft>
                <a:spcPts val="0"/>
              </a:spcAft>
              <a:buSzPct val="80000"/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BD6AD26-E7C3-DF71-1885-142D7C03E4AB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096003" y="0"/>
            <a:ext cx="6096003" cy="6858000"/>
          </a:xfrm>
        </p:spPr>
        <p:txBody>
          <a:bodyPr tIns="35999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94A0D-9046-140E-AF4F-4A0F7C542C5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D6B80BD-393D-4BCB-9BA1-F48C3DA1E653}" type="slidenum">
              <a:t>‹#›</a:t>
            </a:fld>
            <a:endParaRPr lang="en-GB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887B1BA4-1841-225E-33FA-8339E5200126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2C5FA8E7-6C64-7395-EBA6-1A07B550387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6166795" y="6361197"/>
            <a:ext cx="5662796" cy="2412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DCDDE815-7FA2-E0A8-C4B5-C9C299AECCA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766448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ote">
    <p:bg>
      <p:bgPr>
        <a:solidFill>
          <a:srgbClr val="E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5">
            <a:extLst>
              <a:ext uri="{FF2B5EF4-FFF2-40B4-BE49-F238E27FC236}">
                <a16:creationId xmlns:a16="http://schemas.microsoft.com/office/drawing/2014/main" id="{E0151390-3B0A-7653-DE8A-12D1CF310A9D}"/>
              </a:ext>
            </a:extLst>
          </p:cNvPr>
          <p:cNvSpPr txBox="1"/>
          <p:nvPr/>
        </p:nvSpPr>
        <p:spPr>
          <a:xfrm>
            <a:off x="767263" y="1220147"/>
            <a:ext cx="1584216" cy="30777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0000" b="0" i="0" u="none" strike="noStrike" kern="1200" cap="none" spc="0" baseline="0">
                <a:solidFill>
                  <a:srgbClr val="28231F"/>
                </a:solidFill>
                <a:uFillTx/>
                <a:latin typeface="Arial"/>
              </a:rPr>
              <a:t>“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3EBE44-A806-5371-743D-98D2A127DA9D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688C2-27B1-902B-6312-CA419C320C8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834359" y="1663695"/>
            <a:ext cx="8035728" cy="4564803"/>
          </a:xfrm>
        </p:spPr>
        <p:txBody>
          <a:bodyPr/>
          <a:lstStyle>
            <a:lvl1pPr>
              <a:defRPr lang="en-GB"/>
            </a:lvl1pPr>
            <a:lvl2pPr algn="r">
              <a:buChar char="​"/>
              <a:defRPr lang="en-GB" sz="2000"/>
            </a:lvl2pPr>
          </a:lstStyle>
          <a:p>
            <a:pPr lvl="0"/>
            <a:r>
              <a:rPr lang="en-GB"/>
              <a:t>Click to add quotation text, click ENTER and then TAB to insert name of 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F0B5D24-E249-26F9-8714-7677E853236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9ED5092-946B-445D-816D-3486EE048996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66FD7C2E-74E2-939F-A8BB-675CA6C50B39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5F024710-D981-73DA-383C-A26B8C071FC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044D4F0-8033-7C88-27DF-66F055CDEE9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63065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8">
            <a:extLst>
              <a:ext uri="{FF2B5EF4-FFF2-40B4-BE49-F238E27FC236}">
                <a16:creationId xmlns:a16="http://schemas.microsoft.com/office/drawing/2014/main" id="{F0B56B03-4638-7491-8BCB-8192A63BBE60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12191996" cy="6858000"/>
          </a:xfrm>
        </p:spPr>
        <p:txBody>
          <a:bodyPr tIns="35999" anchorCtr="1"/>
          <a:lstStyle>
            <a:lvl1pPr algn="ctr"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43336F7-50F4-DEC9-DC6E-BA1726D48EC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4172398"/>
            <a:ext cx="12193203" cy="2689195"/>
          </a:xfrm>
          <a:solidFill>
            <a:srgbClr val="EBE6DE"/>
          </a:solidFill>
        </p:spPr>
        <p:txBody>
          <a:bodyPr lIns="359999" rIns="179999" bIns="1558795" anchor="b"/>
          <a:lstStyle>
            <a:lvl1pPr>
              <a:defRPr lang="en-GB" sz="3900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FEE89B5F-6D85-6369-67AB-8640BCED55C8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5350639"/>
            <a:ext cx="9521125" cy="1113410"/>
          </a:xfrm>
        </p:spPr>
        <p:txBody>
          <a:bodyPr/>
          <a:lstStyle>
            <a:lvl1pPr>
              <a:buNone/>
              <a:defRPr lang="en-GB" sz="3200"/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5" name="FLD_Presenter_Place">
            <a:extLst>
              <a:ext uri="{FF2B5EF4-FFF2-40B4-BE49-F238E27FC236}">
                <a16:creationId xmlns:a16="http://schemas.microsoft.com/office/drawing/2014/main" id="{EDB6E654-624F-FCAF-351E-F57E0849316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74" y="233290"/>
            <a:ext cx="9507446" cy="310731"/>
          </a:xfrm>
        </p:spPr>
        <p:txBody>
          <a:bodyPr anchor="b"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Click to add presenter / place</a:t>
            </a:r>
          </a:p>
        </p:txBody>
      </p:sp>
      <p:sp>
        <p:nvSpPr>
          <p:cNvPr id="6" name="Date_DateCustomA">
            <a:extLst>
              <a:ext uri="{FF2B5EF4-FFF2-40B4-BE49-F238E27FC236}">
                <a16:creationId xmlns:a16="http://schemas.microsoft.com/office/drawing/2014/main" id="{13F5EA4E-044D-CB6D-2664-A2FEDD4B5D3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74" y="581979"/>
            <a:ext cx="9507446" cy="263383"/>
          </a:xfrm>
        </p:spPr>
        <p:txBody>
          <a:bodyPr/>
          <a:lstStyle>
            <a:lvl1pPr>
              <a:buNone/>
              <a:defRPr lang="en-GB" sz="1500"/>
            </a:lvl1pPr>
          </a:lstStyle>
          <a:p>
            <a:pPr lvl="0"/>
            <a:r>
              <a:rPr lang="en-GB"/>
              <a:t>Click to add date</a:t>
            </a:r>
          </a:p>
        </p:txBody>
      </p:sp>
      <p:sp>
        <p:nvSpPr>
          <p:cNvPr id="7" name="Date Placeholder" hidden="1">
            <a:extLst>
              <a:ext uri="{FF2B5EF4-FFF2-40B4-BE49-F238E27FC236}">
                <a16:creationId xmlns:a16="http://schemas.microsoft.com/office/drawing/2014/main" id="{EB8E5471-6E0F-4B26-1B10-E58CFD506E8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500"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D7A7E916-E613-3F02-3E64-A07BA97CE3F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5446797" y="6361197"/>
            <a:ext cx="6382795" cy="241200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2DC5D38-F29F-E423-723A-8B98D8513AD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590083" y="3773308"/>
            <a:ext cx="2159995" cy="72562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0" name="Slide Number Placeholder 2" hidden="1">
            <a:extLst>
              <a:ext uri="{FF2B5EF4-FFF2-40B4-BE49-F238E27FC236}">
                <a16:creationId xmlns:a16="http://schemas.microsoft.com/office/drawing/2014/main" id="{328B7436-1ED4-8DF1-DAD9-EC8BD457222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52403" y="7010403"/>
            <a:ext cx="0" cy="0"/>
          </a:xfrm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</a:lstStyle>
          <a:p>
            <a:pPr lvl="0"/>
            <a:fld id="{074BD4FA-F2EC-4435-A297-AA237428ECBC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0515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Quote">
    <p:bg>
      <p:bgPr>
        <a:solidFill>
          <a:srgbClr val="F2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5">
            <a:extLst>
              <a:ext uri="{FF2B5EF4-FFF2-40B4-BE49-F238E27FC236}">
                <a16:creationId xmlns:a16="http://schemas.microsoft.com/office/drawing/2014/main" id="{2270576A-DE03-D72F-5DF7-C051BB97D05D}"/>
              </a:ext>
            </a:extLst>
          </p:cNvPr>
          <p:cNvSpPr txBox="1"/>
          <p:nvPr/>
        </p:nvSpPr>
        <p:spPr>
          <a:xfrm>
            <a:off x="767263" y="1220147"/>
            <a:ext cx="1584216" cy="30777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0000" b="0" i="0" u="none" strike="noStrike" kern="1200" cap="none" spc="0" baseline="0">
                <a:solidFill>
                  <a:srgbClr val="28231F"/>
                </a:solidFill>
                <a:uFillTx/>
                <a:latin typeface="Arial"/>
              </a:rPr>
              <a:t>“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C5D9DA-700A-852A-D143-8A0400C4D55F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9C731C-37A4-1975-36F3-3936D063463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834359" y="1663695"/>
            <a:ext cx="8035728" cy="4564803"/>
          </a:xfrm>
        </p:spPr>
        <p:txBody>
          <a:bodyPr/>
          <a:lstStyle>
            <a:lvl1pPr>
              <a:defRPr lang="en-GB"/>
            </a:lvl1pPr>
            <a:lvl2pPr algn="r">
              <a:buChar char="​"/>
              <a:defRPr lang="en-GB" sz="2000"/>
            </a:lvl2pPr>
          </a:lstStyle>
          <a:p>
            <a:pPr lvl="0"/>
            <a:r>
              <a:rPr lang="en-GB"/>
              <a:t>Click to add quotation text, click ENTER and then TAB to insert name of 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464A05F-5CC9-D7AA-188A-747812A758B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B702654-8189-481C-B470-15BA77F7262D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C8F10806-7462-2B50-E42F-2F25BD2998C6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0F5E2074-D5F9-0EB9-0E68-F4ECD2B0FC6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408FF92-9EF4-DFF8-E5C2-F359A4DEE24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725274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Quote">
    <p:bg>
      <p:bgPr>
        <a:solidFill>
          <a:srgbClr val="EDF0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5">
            <a:extLst>
              <a:ext uri="{FF2B5EF4-FFF2-40B4-BE49-F238E27FC236}">
                <a16:creationId xmlns:a16="http://schemas.microsoft.com/office/drawing/2014/main" id="{8500470E-65DB-E4E5-127C-36EE929391F8}"/>
              </a:ext>
            </a:extLst>
          </p:cNvPr>
          <p:cNvSpPr txBox="1"/>
          <p:nvPr/>
        </p:nvSpPr>
        <p:spPr>
          <a:xfrm>
            <a:off x="767263" y="1220147"/>
            <a:ext cx="1584216" cy="30777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0000" b="0" i="0" u="none" strike="noStrike" kern="1200" cap="none" spc="0" baseline="0">
                <a:solidFill>
                  <a:srgbClr val="28231F"/>
                </a:solidFill>
                <a:uFillTx/>
                <a:latin typeface="Arial"/>
              </a:rPr>
              <a:t>“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236E72-94B6-FD68-43CF-3BB6BC8D0F9F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84A426-F807-BDA4-AB04-4BFFB2E7523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834359" y="1663695"/>
            <a:ext cx="8035728" cy="4564803"/>
          </a:xfrm>
        </p:spPr>
        <p:txBody>
          <a:bodyPr/>
          <a:lstStyle>
            <a:lvl1pPr>
              <a:defRPr lang="en-GB"/>
            </a:lvl1pPr>
            <a:lvl2pPr algn="r">
              <a:buChar char="​"/>
              <a:defRPr lang="en-GB" sz="2000"/>
            </a:lvl2pPr>
          </a:lstStyle>
          <a:p>
            <a:pPr lvl="0"/>
            <a:r>
              <a:rPr lang="en-GB"/>
              <a:t>Click to add quotation text, click ENTER and then TAB to insert name of 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611164E-9C04-7CCA-0C18-3C492910E95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9FC7B67-FA5B-41E5-9678-938CC8982EC1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FD5851F0-3014-FF3D-8F4A-0F0ECEFC2947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CA415184-2ACD-B53B-BF9E-FDD8DEE9950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74EC647-6102-79B5-2C5F-FED7344B249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1177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Quote">
    <p:bg>
      <p:bgPr>
        <a:solidFill>
          <a:srgbClr val="D9E1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5">
            <a:extLst>
              <a:ext uri="{FF2B5EF4-FFF2-40B4-BE49-F238E27FC236}">
                <a16:creationId xmlns:a16="http://schemas.microsoft.com/office/drawing/2014/main" id="{5D33D66D-59C0-AA31-4FA3-063A19F51C66}"/>
              </a:ext>
            </a:extLst>
          </p:cNvPr>
          <p:cNvSpPr txBox="1"/>
          <p:nvPr/>
        </p:nvSpPr>
        <p:spPr>
          <a:xfrm>
            <a:off x="767263" y="1220147"/>
            <a:ext cx="1584216" cy="30777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0000" b="0" i="0" u="none" strike="noStrike" kern="1200" cap="none" spc="0" baseline="0">
                <a:solidFill>
                  <a:srgbClr val="28231F"/>
                </a:solidFill>
                <a:uFillTx/>
                <a:latin typeface="Arial"/>
              </a:rPr>
              <a:t>“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1993D2A-2542-B7AE-ECE7-42618B026D40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402E5E-7BDD-EE73-D6EA-2F77D1E5626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834359" y="1663695"/>
            <a:ext cx="8035728" cy="4564803"/>
          </a:xfrm>
        </p:spPr>
        <p:txBody>
          <a:bodyPr/>
          <a:lstStyle>
            <a:lvl1pPr>
              <a:defRPr lang="en-GB"/>
            </a:lvl1pPr>
            <a:lvl2pPr algn="r">
              <a:buChar char="​"/>
              <a:defRPr lang="en-GB" sz="2000"/>
            </a:lvl2pPr>
          </a:lstStyle>
          <a:p>
            <a:pPr lvl="0"/>
            <a:r>
              <a:rPr lang="en-GB"/>
              <a:t>Click to add quotation text, click ENTER and then TAB to insert name of 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E5BAA057-DF25-D755-0162-D4B22AA81EA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2004197-541D-4EE4-B111-BBD11262FCB9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011270AE-B7CA-7810-DA4A-1C99796FB61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F92622E2-AED7-078E-BC4F-885A7CFF8E2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B0244F45-C658-F6EE-8118-73AAB5AE20D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85235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Quote">
    <p:bg>
      <p:bgPr>
        <a:solidFill>
          <a:srgbClr val="F9E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5">
            <a:extLst>
              <a:ext uri="{FF2B5EF4-FFF2-40B4-BE49-F238E27FC236}">
                <a16:creationId xmlns:a16="http://schemas.microsoft.com/office/drawing/2014/main" id="{D238A4AC-F810-F065-1C73-B0FDDE43FC23}"/>
              </a:ext>
            </a:extLst>
          </p:cNvPr>
          <p:cNvSpPr txBox="1"/>
          <p:nvPr/>
        </p:nvSpPr>
        <p:spPr>
          <a:xfrm>
            <a:off x="767263" y="1220147"/>
            <a:ext cx="1584216" cy="30777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0000" b="0" i="0" u="none" strike="noStrike" kern="1200" cap="none" spc="0" baseline="0">
                <a:solidFill>
                  <a:srgbClr val="28231F"/>
                </a:solidFill>
                <a:uFillTx/>
                <a:latin typeface="Arial"/>
              </a:rPr>
              <a:t>“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91CFAD-F1BD-8413-BA78-C092F8E07231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479A33-C0F6-12AB-52FF-B48953DD349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834359" y="1663695"/>
            <a:ext cx="8035728" cy="4564803"/>
          </a:xfrm>
        </p:spPr>
        <p:txBody>
          <a:bodyPr/>
          <a:lstStyle>
            <a:lvl1pPr>
              <a:defRPr lang="en-GB"/>
            </a:lvl1pPr>
            <a:lvl2pPr algn="r">
              <a:buChar char="​"/>
              <a:defRPr lang="en-GB" sz="2000"/>
            </a:lvl2pPr>
          </a:lstStyle>
          <a:p>
            <a:pPr lvl="0"/>
            <a:r>
              <a:rPr lang="en-GB"/>
              <a:t>Click to add quotation text, click ENTER and then TAB to insert name of 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ABAFB14-0E08-88B3-6EEC-AB91D0F5FEB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2636E8E-D66D-46D4-94BD-4C47D6093B0F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CDD93558-36F1-07DB-F8CF-029A836DF48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4176E1DA-0F2E-AFE4-6066-83E7D563ED3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268B3A09-64FC-A102-1B77-234CF78AA0E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281011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Quote">
    <p:bg>
      <p:bgPr>
        <a:solidFill>
          <a:srgbClr val="E3E2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317EC70-C83B-3450-AD6B-3A992B805156}"/>
              </a:ext>
            </a:extLst>
          </p:cNvPr>
          <p:cNvSpPr txBox="1"/>
          <p:nvPr/>
        </p:nvSpPr>
        <p:spPr>
          <a:xfrm>
            <a:off x="767263" y="1220147"/>
            <a:ext cx="1584216" cy="307776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0000" b="0" i="0" u="none" strike="noStrike" kern="1200" cap="none" spc="0" baseline="0">
                <a:solidFill>
                  <a:srgbClr val="28231F"/>
                </a:solidFill>
                <a:uFillTx/>
                <a:latin typeface="Arial"/>
              </a:rPr>
              <a:t>“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DC9F8AC-2BD0-606A-9964-BB4EED664263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7DD3FB-DBFB-50C4-FAAA-BB7A578A045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834359" y="1663695"/>
            <a:ext cx="8035728" cy="4564803"/>
          </a:xfrm>
        </p:spPr>
        <p:txBody>
          <a:bodyPr/>
          <a:lstStyle>
            <a:lvl1pPr>
              <a:defRPr lang="en-GB"/>
            </a:lvl1pPr>
            <a:lvl2pPr algn="r">
              <a:buChar char="​"/>
              <a:defRPr lang="en-GB" sz="2000"/>
            </a:lvl2pPr>
          </a:lstStyle>
          <a:p>
            <a:pPr lvl="0"/>
            <a:r>
              <a:rPr lang="en-GB"/>
              <a:t>Click to add quotation text, click ENTER and then TAB to insert name of sourc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D777B15-61E3-03CB-1D48-83DA83AB90F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37B7CC6-536E-46B2-B2C7-A1D44868D026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ADE7EA65-C5E7-4F5E-ED7B-DC4E089A6C7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8EDF8D95-7C54-7555-AD38-146D9A5CC6E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CC3CBDAF-768B-C269-0646-77399ED04A1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074421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edia Placeholder 2">
            <a:extLst>
              <a:ext uri="{FF2B5EF4-FFF2-40B4-BE49-F238E27FC236}">
                <a16:creationId xmlns:a16="http://schemas.microsoft.com/office/drawing/2014/main" id="{44D4A3FC-350A-067E-50FC-685A183FC64C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-10799" y="-3602"/>
            <a:ext cx="12200400" cy="6865196"/>
          </a:xfrm>
        </p:spPr>
        <p:txBody>
          <a:bodyPr tIns="899998" anchor="ctr" anchorCtr="1">
            <a:normAutofit/>
          </a:bodyPr>
          <a:lstStyle>
            <a:lvl1pPr algn="ctr">
              <a:buNone/>
              <a:defRPr sz="2100"/>
            </a:lvl1pPr>
          </a:lstStyle>
          <a:p>
            <a:pPr lvl="0"/>
            <a:r>
              <a:rPr lang="en-US"/>
              <a:t>Click icon to add media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BD9E515D-8CA7-74E5-EF25-5544985CA35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798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11DF70-8998-3E06-7C5C-B32D142EDAA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5" name="Slide Number Placeholder 2" hidden="1">
            <a:extLst>
              <a:ext uri="{FF2B5EF4-FFF2-40B4-BE49-F238E27FC236}">
                <a16:creationId xmlns:a16="http://schemas.microsoft.com/office/drawing/2014/main" id="{F469B59E-661A-BEA0-FD26-F50F4280B1B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6912004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fld id="{58A2862E-CD87-4E72-98EC-79FEFE772EC0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BEB36B55-A1EA-ACC1-B8D0-ED2DADD5B0C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912004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76E530B8-A9A1-4ACE-DFD5-E1E07312CF0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D17C4-C140-AC82-23C2-A735D0F0372D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950744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15545342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edia Placeholder 2">
            <a:extLst>
              <a:ext uri="{FF2B5EF4-FFF2-40B4-BE49-F238E27FC236}">
                <a16:creationId xmlns:a16="http://schemas.microsoft.com/office/drawing/2014/main" id="{00320F75-7FA8-B274-7129-CC20DF460172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-10799" y="-3602"/>
            <a:ext cx="12200400" cy="6865196"/>
          </a:xfrm>
        </p:spPr>
        <p:txBody>
          <a:bodyPr tIns="899998" anchor="ctr" anchorCtr="1">
            <a:normAutofit/>
          </a:bodyPr>
          <a:lstStyle>
            <a:lvl1pPr algn="ctr">
              <a:buNone/>
              <a:defRPr sz="2100"/>
            </a:lvl1pPr>
          </a:lstStyle>
          <a:p>
            <a:pPr lvl="0"/>
            <a:r>
              <a:rPr lang="en-US"/>
              <a:t>Click icon to add media</a:t>
            </a:r>
            <a:endParaRPr lang="en-GB"/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6B26CCAF-F265-BA23-A2F1-9CABE42BB74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6912004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fld id="{47A93EDB-01CE-4773-B298-38504994F376}" type="slidenum">
              <a:t>‹#›</a:t>
            </a:fld>
            <a:endParaRPr lang="en-GB"/>
          </a:p>
        </p:txBody>
      </p:sp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8DCC3F63-2B19-CF85-F3EB-1A3D088C09B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912004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86CF267-C72D-9C54-2AB7-FC4CFC3B6EB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69981A0-EB3F-264A-CAA9-22521BFADCE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17144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ground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578C8FB2-E0EC-F56E-41F9-71E3DBF3D0B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12191996" cy="6858000"/>
          </a:xfrm>
        </p:spPr>
        <p:txBody>
          <a:bodyPr tIns="35999" anchorCtr="1">
            <a:normAutofit/>
          </a:bodyPr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background picture from Templafy Photos or click on icon in frame to insert picture from your devic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530E6CB-DD6C-F279-AE7A-07F1B1EDF3D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833EDF4-AEA1-3259-C9E3-E3D4ADF8C00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663695"/>
            <a:ext cx="5618037" cy="4560807"/>
          </a:xfrm>
        </p:spPr>
        <p:txBody>
          <a:bodyPr/>
          <a:lstStyle>
            <a:lvl1pPr>
              <a:defRPr lang="en-GB" sz="3200"/>
            </a:lvl1pPr>
            <a:lvl2pPr>
              <a:defRPr lang="en-GB" sz="3200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63EC58C-6E08-FB88-35EC-EC2CE0E49BD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8EC30FD-7C86-4C8E-B3A3-D92ACC58A19C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8E775405-FCE0-06C8-B335-CB578DEC945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848151" y="6361197"/>
            <a:ext cx="2200640" cy="240871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042B4716-1940-5875-7B26-C247DDAEE6C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FD86748-5457-E09A-EB8C-347DCB2A3680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950744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0195712-4E18-2C75-C5A8-13E79E56073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134714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ground 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29252B07-42DD-EC3F-183B-D56BEA3EEAA7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12191996" cy="6858000"/>
          </a:xfrm>
        </p:spPr>
        <p:txBody>
          <a:bodyPr tIns="35999" anchorCtr="1">
            <a:normAutofit/>
          </a:bodyPr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frame and select background picture from Templafy Photos or click on icon in frame to insert picture from your device</a:t>
            </a:r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2A9E6CF2-1D66-F07E-F6BF-9C3B79C9E56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fld id="{9DE20858-6323-45A6-A181-BE691233C21E}" type="slidenum">
              <a:t>‹#›</a:t>
            </a:fld>
            <a:endParaRPr lang="en-GB"/>
          </a:p>
        </p:txBody>
      </p:sp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074F7B21-D493-B523-9F75-EEF5BCC1C77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848151" y="6361197"/>
            <a:ext cx="2200640" cy="240871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42CC21F6-4F7E-92E6-0F5E-F3505E83936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65904940-8A55-47BE-BC1A-8BD77F5F1E8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6868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0">
            <a:extLst>
              <a:ext uri="{FF2B5EF4-FFF2-40B4-BE49-F238E27FC236}">
                <a16:creationId xmlns:a16="http://schemas.microsoft.com/office/drawing/2014/main" id="{5FBEEC95-6594-0DD6-5401-5EED82D8EF2A}"/>
              </a:ext>
            </a:extLst>
          </p:cNvPr>
          <p:cNvSpPr/>
          <p:nvPr/>
        </p:nvSpPr>
        <p:spPr>
          <a:xfrm>
            <a:off x="8157600" y="2105021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3" name="Rektangel 14">
            <a:extLst>
              <a:ext uri="{FF2B5EF4-FFF2-40B4-BE49-F238E27FC236}">
                <a16:creationId xmlns:a16="http://schemas.microsoft.com/office/drawing/2014/main" id="{EF2F7F24-79D3-8F54-5FA4-B3892F5854FA}"/>
              </a:ext>
            </a:extLst>
          </p:cNvPr>
          <p:cNvSpPr/>
          <p:nvPr/>
        </p:nvSpPr>
        <p:spPr>
          <a:xfrm>
            <a:off x="8157600" y="4293172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52C09C8A-9570-79F0-5FE8-4DC61C910BAF}"/>
              </a:ext>
            </a:extLst>
          </p:cNvPr>
          <p:cNvSpPr/>
          <p:nvPr/>
        </p:nvSpPr>
        <p:spPr>
          <a:xfrm>
            <a:off x="4258799" y="2105021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9B24BF50-77C5-7111-38C6-0796B97AA404}"/>
              </a:ext>
            </a:extLst>
          </p:cNvPr>
          <p:cNvSpPr/>
          <p:nvPr/>
        </p:nvSpPr>
        <p:spPr>
          <a:xfrm>
            <a:off x="4258799" y="4293172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6" name="Rektangel 1">
            <a:extLst>
              <a:ext uri="{FF2B5EF4-FFF2-40B4-BE49-F238E27FC236}">
                <a16:creationId xmlns:a16="http://schemas.microsoft.com/office/drawing/2014/main" id="{BFF0136C-A453-CE0D-30A2-31B2B61E6227}"/>
              </a:ext>
            </a:extLst>
          </p:cNvPr>
          <p:cNvSpPr/>
          <p:nvPr/>
        </p:nvSpPr>
        <p:spPr>
          <a:xfrm>
            <a:off x="358874" y="2105021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7" name="Rektangel 2">
            <a:extLst>
              <a:ext uri="{FF2B5EF4-FFF2-40B4-BE49-F238E27FC236}">
                <a16:creationId xmlns:a16="http://schemas.microsoft.com/office/drawing/2014/main" id="{0B69E35A-177C-2098-7BC2-ACBE4D4CF3F3}"/>
              </a:ext>
            </a:extLst>
          </p:cNvPr>
          <p:cNvSpPr/>
          <p:nvPr/>
        </p:nvSpPr>
        <p:spPr>
          <a:xfrm>
            <a:off x="358865" y="4293172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77AC4A8-5EDF-2284-E24D-E419635F401F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B34BD6A-786C-D6B2-39F0-3A5CD77B096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9518401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D93F834-AD84-D071-E47C-E8960B11E56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216801"/>
            <a:ext cx="9507446" cy="701381"/>
          </a:xfrm>
        </p:spPr>
        <p:txBody>
          <a:bodyPr/>
          <a:lstStyle>
            <a:lvl1pPr>
              <a:lnSpc>
                <a:spcPct val="100000"/>
              </a:lnSpc>
              <a:defRPr lang="en-GB" sz="21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AF677170-89C6-A207-28D9-2790E8121B66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74" y="2105021"/>
            <a:ext cx="3672952" cy="1936040"/>
          </a:xfrm>
          <a:solidFill>
            <a:srgbClr val="EBE6DE"/>
          </a:solidFill>
        </p:spPr>
        <p:txBody>
          <a:bodyPr tIns="1619996" bIns="143999" anchor="ctr" anchorCtr="1">
            <a:normAutofit/>
          </a:bodyPr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icon to insert content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838A1E96-26D9-1489-1FB8-B70D044E2098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58865" y="4293172"/>
            <a:ext cx="3672952" cy="1936040"/>
          </a:xfrm>
          <a:solidFill>
            <a:srgbClr val="EBE6DE"/>
          </a:solidFill>
        </p:spPr>
        <p:txBody>
          <a:bodyPr tIns="1619996" bIns="143999" anchor="ctr" anchorCtr="1">
            <a:normAutofit/>
          </a:bodyPr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icon to insert content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D6513420-5285-920A-5D6A-3111BA28EB2E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4258799" y="2105021"/>
            <a:ext cx="3672952" cy="1936040"/>
          </a:xfrm>
          <a:solidFill>
            <a:srgbClr val="EBE6DE"/>
          </a:solidFill>
        </p:spPr>
        <p:txBody>
          <a:bodyPr tIns="1619996" bIns="143999" anchor="ctr" anchorCtr="1">
            <a:normAutofit/>
          </a:bodyPr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icon to insert content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6D5D434C-6876-8A8B-A398-916F27DA81F8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4258799" y="4293172"/>
            <a:ext cx="3672001" cy="1936040"/>
          </a:xfrm>
          <a:solidFill>
            <a:srgbClr val="EBE6DE"/>
          </a:solidFill>
        </p:spPr>
        <p:txBody>
          <a:bodyPr tIns="1619996" bIns="143999" anchor="ctr" anchorCtr="1">
            <a:normAutofit/>
          </a:bodyPr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icon to insert content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90308E44-899D-3C89-F61B-F9E095B9A8FC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8157600" y="2105021"/>
            <a:ext cx="3672952" cy="1936040"/>
          </a:xfrm>
          <a:solidFill>
            <a:srgbClr val="EBE6DE"/>
          </a:solidFill>
        </p:spPr>
        <p:txBody>
          <a:bodyPr tIns="1619996" bIns="143999" anchor="ctr" anchorCtr="1">
            <a:normAutofit/>
          </a:bodyPr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icon to insert content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DD9ACE5A-0BF9-7513-55C5-4D73A158456D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8157600" y="4293172"/>
            <a:ext cx="3672001" cy="1936040"/>
          </a:xfrm>
          <a:solidFill>
            <a:srgbClr val="EBE6DE"/>
          </a:solidFill>
        </p:spPr>
        <p:txBody>
          <a:bodyPr tIns="1619996" bIns="143999" anchor="ctr" anchorCtr="1">
            <a:normAutofit/>
          </a:bodyPr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Click on icon to insert content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500B5ED-FD5D-8C0C-5F4F-ADF10721E68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2105021"/>
            <a:ext cx="3672952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0B493D5-5D64-C4FC-C57B-AF063EF4E8B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4293172"/>
            <a:ext cx="3672952" cy="387870"/>
          </a:xfrm>
        </p:spPr>
        <p:txBody>
          <a:bodyPr lIns="90004" tIns="90004" rIns="35999">
            <a:normAutofit/>
          </a:bodyPr>
          <a:lstStyle>
            <a:lvl1pPr>
              <a:spcAft>
                <a:spcPts val="0"/>
              </a:spcAft>
              <a:buNone/>
              <a:defRPr lang="en-GB" sz="1400"/>
            </a:lvl1pPr>
            <a:lvl2pPr marL="0" lvl="0" indent="0">
              <a:spcAft>
                <a:spcPts val="0"/>
              </a:spcAft>
              <a:buNone/>
              <a:defRPr lang="en-GB" sz="1400"/>
            </a:lvl2pPr>
          </a:lstStyle>
          <a:p>
            <a:pPr lvl="0"/>
            <a:r>
              <a:rPr lang="en-GB"/>
              <a:t>Click to add text</a:t>
            </a:r>
          </a:p>
          <a:p>
            <a:pPr lvl="0"/>
            <a:endParaRPr lang="en-GB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4B5678F3-12DC-6DDA-D6B2-EAE6226630B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258799" y="2105021"/>
            <a:ext cx="3672001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04A8C5FA-EC9F-68CE-3971-826DC518ADF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258799" y="4293172"/>
            <a:ext cx="3672001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895D30E8-F428-C720-92F6-3B4AE9B9A65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157600" y="2105021"/>
            <a:ext cx="3672001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58925730-C62F-4F08-BE6E-7F3E47C9184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157600" y="4293172"/>
            <a:ext cx="3672001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23" name="Date_DateCustomA" hidden="1">
            <a:extLst>
              <a:ext uri="{FF2B5EF4-FFF2-40B4-BE49-F238E27FC236}">
                <a16:creationId xmlns:a16="http://schemas.microsoft.com/office/drawing/2014/main" id="{6787292B-00D6-2DFF-9439-C9310311E62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24" name="FLD_Presentation">
            <a:extLst>
              <a:ext uri="{FF2B5EF4-FFF2-40B4-BE49-F238E27FC236}">
                <a16:creationId xmlns:a16="http://schemas.microsoft.com/office/drawing/2014/main" id="{DF406755-401C-95C4-4212-C51575E84A9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25" name="Slide Number Placeholder 8">
            <a:extLst>
              <a:ext uri="{FF2B5EF4-FFF2-40B4-BE49-F238E27FC236}">
                <a16:creationId xmlns:a16="http://schemas.microsoft.com/office/drawing/2014/main" id="{87913C50-61C7-3DB4-A6DA-6E3F0124A3C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66DBD00-22B0-423F-9B77-DC2549F67EF1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36577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Transparent pane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8">
            <a:extLst>
              <a:ext uri="{FF2B5EF4-FFF2-40B4-BE49-F238E27FC236}">
                <a16:creationId xmlns:a16="http://schemas.microsoft.com/office/drawing/2014/main" id="{87EF2D3E-9530-D695-AEE0-4AB432485FBF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12191996" cy="6858000"/>
          </a:xfrm>
        </p:spPr>
        <p:txBody>
          <a:bodyPr tIns="35999" anchorCtr="1"/>
          <a:lstStyle>
            <a:lvl1pPr algn="ctr">
              <a:defRPr lang="en-GB" sz="14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06CF4C5-D7F7-4ADF-684B-C7BA20DFD3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0" y="4172398"/>
            <a:ext cx="12193203" cy="2689195"/>
          </a:xfrm>
          <a:solidFill>
            <a:srgbClr val="EBE6DE">
              <a:alpha val="85000"/>
            </a:srgbClr>
          </a:solidFill>
        </p:spPr>
        <p:txBody>
          <a:bodyPr lIns="359999" rIns="179999" bIns="1558795" anchor="b"/>
          <a:lstStyle>
            <a:lvl1pPr>
              <a:defRPr lang="en-GB" sz="3900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101C02B-9962-F8B2-D0D3-54E53E84C6BC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5350639"/>
            <a:ext cx="9521125" cy="1113410"/>
          </a:xfrm>
        </p:spPr>
        <p:txBody>
          <a:bodyPr/>
          <a:lstStyle>
            <a:lvl1pPr>
              <a:buNone/>
              <a:defRPr lang="en-GB" sz="3200"/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5" name="FLD_Presenter_Place">
            <a:extLst>
              <a:ext uri="{FF2B5EF4-FFF2-40B4-BE49-F238E27FC236}">
                <a16:creationId xmlns:a16="http://schemas.microsoft.com/office/drawing/2014/main" id="{E6F81BBD-197B-A8E4-32EB-EF1955B9D70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74" y="233290"/>
            <a:ext cx="9507446" cy="310731"/>
          </a:xfrm>
        </p:spPr>
        <p:txBody>
          <a:bodyPr anchor="b"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Click to add presenter / place</a:t>
            </a:r>
          </a:p>
        </p:txBody>
      </p:sp>
      <p:sp>
        <p:nvSpPr>
          <p:cNvPr id="6" name="Date_DateCustomA">
            <a:extLst>
              <a:ext uri="{FF2B5EF4-FFF2-40B4-BE49-F238E27FC236}">
                <a16:creationId xmlns:a16="http://schemas.microsoft.com/office/drawing/2014/main" id="{23EF38A1-51BE-0990-A225-48A4CAD0B8B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74" y="581979"/>
            <a:ext cx="9507446" cy="263383"/>
          </a:xfrm>
        </p:spPr>
        <p:txBody>
          <a:bodyPr/>
          <a:lstStyle>
            <a:lvl1pPr>
              <a:buNone/>
              <a:defRPr lang="en-GB" sz="1500"/>
            </a:lvl1pPr>
          </a:lstStyle>
          <a:p>
            <a:pPr lvl="0"/>
            <a:r>
              <a:rPr lang="en-GB"/>
              <a:t>Click to add date</a:t>
            </a:r>
          </a:p>
        </p:txBody>
      </p:sp>
      <p:sp>
        <p:nvSpPr>
          <p:cNvPr id="7" name="Date Placeholder" hidden="1">
            <a:extLst>
              <a:ext uri="{FF2B5EF4-FFF2-40B4-BE49-F238E27FC236}">
                <a16:creationId xmlns:a16="http://schemas.microsoft.com/office/drawing/2014/main" id="{5302D935-4C11-92E9-5518-56B3440B90A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500"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FE88F510-A3BB-6D5C-2E16-C610FD2649A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590083" y="3773308"/>
            <a:ext cx="2159995" cy="725622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3D7E5BAB-85B0-3949-2484-DA686B524077}"/>
              </a:ext>
            </a:extLst>
          </p:cNvPr>
          <p:cNvSpPr txBox="1"/>
          <p:nvPr/>
        </p:nvSpPr>
        <p:spPr>
          <a:xfrm>
            <a:off x="358865" y="-359999"/>
            <a:ext cx="2640704" cy="21544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rPr>
              <a:t>Box: Transparency 15%</a:t>
            </a:r>
          </a:p>
        </p:txBody>
      </p:sp>
      <p:sp>
        <p:nvSpPr>
          <p:cNvPr id="10" name="FLD_Presentation">
            <a:extLst>
              <a:ext uri="{FF2B5EF4-FFF2-40B4-BE49-F238E27FC236}">
                <a16:creationId xmlns:a16="http://schemas.microsoft.com/office/drawing/2014/main" id="{73F6A3DA-A8C1-2119-7C9C-E3952AC3173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11" name="Slide Number Placeholder 2" hidden="1">
            <a:extLst>
              <a:ext uri="{FF2B5EF4-FFF2-40B4-BE49-F238E27FC236}">
                <a16:creationId xmlns:a16="http://schemas.microsoft.com/office/drawing/2014/main" id="{3747570D-A214-7E46-0D65-3F980C6AF8D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52403" y="7010403"/>
            <a:ext cx="0" cy="0"/>
          </a:xfrm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</a:lstStyle>
          <a:p>
            <a:pPr lvl="0"/>
            <a:fld id="{4E305AF9-A104-4905-B15B-5E0FE13781D1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70990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0">
            <a:extLst>
              <a:ext uri="{FF2B5EF4-FFF2-40B4-BE49-F238E27FC236}">
                <a16:creationId xmlns:a16="http://schemas.microsoft.com/office/drawing/2014/main" id="{A93D4625-E94B-DD9B-4A64-5617C027FDFB}"/>
              </a:ext>
            </a:extLst>
          </p:cNvPr>
          <p:cNvSpPr/>
          <p:nvPr/>
        </p:nvSpPr>
        <p:spPr>
          <a:xfrm>
            <a:off x="8157600" y="2105021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3" name="Rektangel 14">
            <a:extLst>
              <a:ext uri="{FF2B5EF4-FFF2-40B4-BE49-F238E27FC236}">
                <a16:creationId xmlns:a16="http://schemas.microsoft.com/office/drawing/2014/main" id="{DEAF226B-D42C-A653-6F5D-C646E102C58E}"/>
              </a:ext>
            </a:extLst>
          </p:cNvPr>
          <p:cNvSpPr/>
          <p:nvPr/>
        </p:nvSpPr>
        <p:spPr>
          <a:xfrm>
            <a:off x="8157600" y="4293172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88A71CEA-52DC-DE38-F1ED-493BBEA330FF}"/>
              </a:ext>
            </a:extLst>
          </p:cNvPr>
          <p:cNvSpPr/>
          <p:nvPr/>
        </p:nvSpPr>
        <p:spPr>
          <a:xfrm>
            <a:off x="4258799" y="2105021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B8834AD3-EA22-9F45-CE71-7DAE6BD98BEC}"/>
              </a:ext>
            </a:extLst>
          </p:cNvPr>
          <p:cNvSpPr/>
          <p:nvPr/>
        </p:nvSpPr>
        <p:spPr>
          <a:xfrm>
            <a:off x="4258799" y="4293172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6" name="Rektangel 1">
            <a:extLst>
              <a:ext uri="{FF2B5EF4-FFF2-40B4-BE49-F238E27FC236}">
                <a16:creationId xmlns:a16="http://schemas.microsoft.com/office/drawing/2014/main" id="{023ED9A7-7415-1617-C8F2-6D37E1462FE5}"/>
              </a:ext>
            </a:extLst>
          </p:cNvPr>
          <p:cNvSpPr/>
          <p:nvPr/>
        </p:nvSpPr>
        <p:spPr>
          <a:xfrm>
            <a:off x="358874" y="2105021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7" name="Rektangel 2">
            <a:extLst>
              <a:ext uri="{FF2B5EF4-FFF2-40B4-BE49-F238E27FC236}">
                <a16:creationId xmlns:a16="http://schemas.microsoft.com/office/drawing/2014/main" id="{D5F04966-94E5-5EF2-DF96-819CF18B875E}"/>
              </a:ext>
            </a:extLst>
          </p:cNvPr>
          <p:cNvSpPr/>
          <p:nvPr/>
        </p:nvSpPr>
        <p:spPr>
          <a:xfrm>
            <a:off x="358865" y="4293172"/>
            <a:ext cx="3672952" cy="193604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BCE5DBE-344A-A268-4AE5-0B47DA6E8D64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17B0608-4364-A071-0E34-F26A8BDF7D0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9518401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7614DEE-D456-E4E8-D5EA-206C6900914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216801"/>
            <a:ext cx="9507446" cy="701381"/>
          </a:xfrm>
        </p:spPr>
        <p:txBody>
          <a:bodyPr/>
          <a:lstStyle>
            <a:lvl1pPr>
              <a:lnSpc>
                <a:spcPct val="100000"/>
              </a:lnSpc>
              <a:defRPr lang="en-GB" sz="21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FF322A8-B940-7C0D-415B-BE0F0433758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2105021"/>
            <a:ext cx="3672952" cy="1936040"/>
          </a:xfrm>
          <a:solidFill>
            <a:srgbClr val="EBE6DE"/>
          </a:solidFill>
        </p:spPr>
        <p:txBody>
          <a:bodyPr lIns="90004" tIns="90004" rIns="35999">
            <a:normAutofit/>
          </a:bodyPr>
          <a:lstStyle>
            <a:lvl1pPr>
              <a:buFont typeface="Calibri" pitchFamily="34"/>
              <a:defRPr lang="en-GB" sz="1400"/>
            </a:lvl1pPr>
            <a:lvl2pPr marL="107999" indent="-107999">
              <a:defRPr lang="en-GB" sz="1400"/>
            </a:lvl2pPr>
            <a:lvl3pPr marL="215999" indent="-107999">
              <a:defRPr lang="en-GB" sz="1200"/>
            </a:lvl3pPr>
            <a:lvl4pPr marL="323999" indent="-107999">
              <a:defRPr lang="en-GB" sz="1100"/>
            </a:lvl4pPr>
            <a:lvl5pPr marL="431999" indent="-107999">
              <a:defRPr lang="en-GB" sz="1000"/>
            </a:lvl5pPr>
            <a:lvl6pPr marL="539998" marR="0" lvl="5" indent="-107999" fontAlgn="auto"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tabLst/>
              <a:defRPr lang="en-GB" sz="900" b="0" i="0" u="none" strike="noStrike" cap="none" spc="0" baseline="0">
                <a:solidFill>
                  <a:srgbClr val="28231F"/>
                </a:solidFill>
                <a:uFillTx/>
                <a:latin typeface="VELUX Transform Office"/>
              </a:defRPr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2</a:t>
            </a:r>
          </a:p>
          <a:p>
            <a:pPr lvl="2"/>
            <a:r>
              <a:rPr lang="en-GB"/>
              <a:t>3</a:t>
            </a:r>
          </a:p>
          <a:p>
            <a:pPr lvl="3"/>
            <a:r>
              <a:rPr lang="en-GB"/>
              <a:t>4</a:t>
            </a:r>
          </a:p>
          <a:p>
            <a:pPr lvl="4"/>
            <a:r>
              <a:rPr lang="en-GB"/>
              <a:t>5</a:t>
            </a:r>
          </a:p>
          <a:p>
            <a:pPr lvl="5"/>
            <a:r>
              <a:rPr lang="en-GB"/>
              <a:t>6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5647069-F65D-6E8F-1633-F3AA7F0BCAB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4293172"/>
            <a:ext cx="3672952" cy="1936040"/>
          </a:xfrm>
          <a:solidFill>
            <a:srgbClr val="EBE6DE"/>
          </a:solidFill>
        </p:spPr>
        <p:txBody>
          <a:bodyPr lIns="90004" tIns="90004" rIns="35999"/>
          <a:lstStyle>
            <a:lvl1pPr>
              <a:spcAft>
                <a:spcPts val="0"/>
              </a:spcAft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FF5887D-AF6F-5DFD-FACD-71F0F28D486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258799" y="2105021"/>
            <a:ext cx="3672001" cy="1936040"/>
          </a:xfrm>
          <a:solidFill>
            <a:srgbClr val="EBE6DE"/>
          </a:solidFill>
        </p:spPr>
        <p:txBody>
          <a:bodyPr lIns="90004" tIns="90004" rIns="35999">
            <a:normAutofit/>
          </a:bodyPr>
          <a:lstStyle>
            <a:lvl1pPr>
              <a:buFont typeface="Calibri" pitchFamily="34"/>
              <a:defRPr lang="en-GB" sz="1400"/>
            </a:lvl1pPr>
            <a:lvl2pPr marL="107999" indent="-107999">
              <a:defRPr lang="en-GB" sz="1400"/>
            </a:lvl2pPr>
            <a:lvl3pPr marL="215999" indent="-107999">
              <a:defRPr lang="en-GB" sz="1200"/>
            </a:lvl3pPr>
            <a:lvl4pPr marL="323999" indent="-107999">
              <a:defRPr lang="en-GB" sz="1100"/>
            </a:lvl4pPr>
            <a:lvl5pPr marL="431999" indent="-107999">
              <a:defRPr lang="en-GB" sz="1000"/>
            </a:lvl5pPr>
            <a:lvl6pPr marL="539998" marR="0" lvl="5" indent="-107999" fontAlgn="auto"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tabLst/>
              <a:defRPr lang="en-GB" sz="900" b="0" i="0" u="none" strike="noStrike" cap="none" spc="0" baseline="0">
                <a:solidFill>
                  <a:srgbClr val="28231F"/>
                </a:solidFill>
                <a:uFillTx/>
                <a:latin typeface="VELUX Transform Office"/>
              </a:defRPr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2</a:t>
            </a:r>
          </a:p>
          <a:p>
            <a:pPr lvl="2"/>
            <a:r>
              <a:rPr lang="en-GB"/>
              <a:t>3</a:t>
            </a:r>
          </a:p>
          <a:p>
            <a:pPr lvl="3"/>
            <a:r>
              <a:rPr lang="en-GB"/>
              <a:t>4</a:t>
            </a:r>
          </a:p>
          <a:p>
            <a:pPr lvl="4"/>
            <a:r>
              <a:rPr lang="en-GB"/>
              <a:t>5</a:t>
            </a:r>
          </a:p>
          <a:p>
            <a:pPr lvl="5"/>
            <a:r>
              <a:rPr lang="en-GB"/>
              <a:t>6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FB0142A-4D5F-C23E-DBB6-72F7D15B0DE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258799" y="4293172"/>
            <a:ext cx="3672001" cy="1936040"/>
          </a:xfrm>
          <a:solidFill>
            <a:srgbClr val="EBE6DE"/>
          </a:solidFill>
        </p:spPr>
        <p:txBody>
          <a:bodyPr lIns="90004" tIns="90004" rIns="35999">
            <a:normAutofit/>
          </a:bodyPr>
          <a:lstStyle>
            <a:lvl1pPr>
              <a:buFont typeface="Calibri" pitchFamily="34"/>
              <a:defRPr lang="en-GB" sz="1400"/>
            </a:lvl1pPr>
            <a:lvl2pPr marL="107999" indent="-107999">
              <a:defRPr lang="en-GB" sz="1400"/>
            </a:lvl2pPr>
            <a:lvl3pPr marL="215999" indent="-107999">
              <a:defRPr lang="en-GB" sz="1200"/>
            </a:lvl3pPr>
            <a:lvl4pPr marL="323999" indent="-107999">
              <a:defRPr lang="en-GB" sz="1100"/>
            </a:lvl4pPr>
            <a:lvl5pPr marL="431999" indent="-107999">
              <a:defRPr lang="en-GB" sz="1000"/>
            </a:lvl5pPr>
            <a:lvl6pPr marL="539998" marR="0" lvl="5" indent="-107999" fontAlgn="auto"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tabLst/>
              <a:defRPr lang="en-GB" sz="900" b="0" i="0" u="none" strike="noStrike" cap="none" spc="0" baseline="0">
                <a:solidFill>
                  <a:srgbClr val="28231F"/>
                </a:solidFill>
                <a:uFillTx/>
                <a:latin typeface="VELUX Transform Office"/>
              </a:defRPr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2</a:t>
            </a:r>
          </a:p>
          <a:p>
            <a:pPr lvl="2"/>
            <a:r>
              <a:rPr lang="en-GB"/>
              <a:t>3</a:t>
            </a:r>
          </a:p>
          <a:p>
            <a:pPr lvl="3"/>
            <a:r>
              <a:rPr lang="en-GB"/>
              <a:t>4</a:t>
            </a:r>
          </a:p>
          <a:p>
            <a:pPr lvl="4"/>
            <a:r>
              <a:rPr lang="en-GB"/>
              <a:t>5</a:t>
            </a:r>
          </a:p>
          <a:p>
            <a:pPr lvl="5"/>
            <a:r>
              <a:rPr lang="en-GB"/>
              <a:t>6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ED8361E-8C4F-FDD8-A9B8-BE89400194C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157600" y="2105021"/>
            <a:ext cx="3672001" cy="1936040"/>
          </a:xfrm>
          <a:solidFill>
            <a:srgbClr val="EBE6DE"/>
          </a:solidFill>
        </p:spPr>
        <p:txBody>
          <a:bodyPr lIns="90004" tIns="90004" rIns="35999">
            <a:normAutofit/>
          </a:bodyPr>
          <a:lstStyle>
            <a:lvl1pPr>
              <a:buFont typeface="Calibri" pitchFamily="34"/>
              <a:defRPr lang="en-GB" sz="1400"/>
            </a:lvl1pPr>
            <a:lvl2pPr marL="107999" indent="-107999">
              <a:defRPr lang="en-GB" sz="1400"/>
            </a:lvl2pPr>
            <a:lvl3pPr marL="215999" indent="-107999">
              <a:defRPr lang="en-GB" sz="1200"/>
            </a:lvl3pPr>
            <a:lvl4pPr marL="323999" indent="-107999">
              <a:defRPr lang="en-GB" sz="1100"/>
            </a:lvl4pPr>
            <a:lvl5pPr marL="431999" indent="-107999">
              <a:defRPr lang="en-GB" sz="1000"/>
            </a:lvl5pPr>
            <a:lvl6pPr marL="539998" marR="0" lvl="5" indent="-107999" fontAlgn="auto"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tabLst/>
              <a:defRPr lang="en-GB" sz="900" b="0" i="0" u="none" strike="noStrike" cap="none" spc="0" baseline="0">
                <a:solidFill>
                  <a:srgbClr val="28231F"/>
                </a:solidFill>
                <a:uFillTx/>
                <a:latin typeface="VELUX Transform Office"/>
              </a:defRPr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2</a:t>
            </a:r>
          </a:p>
          <a:p>
            <a:pPr lvl="2"/>
            <a:r>
              <a:rPr lang="en-GB"/>
              <a:t>3</a:t>
            </a:r>
          </a:p>
          <a:p>
            <a:pPr lvl="3"/>
            <a:r>
              <a:rPr lang="en-GB"/>
              <a:t>4</a:t>
            </a:r>
          </a:p>
          <a:p>
            <a:pPr lvl="4"/>
            <a:r>
              <a:rPr lang="en-GB"/>
              <a:t>5</a:t>
            </a:r>
          </a:p>
          <a:p>
            <a:pPr lvl="5"/>
            <a:r>
              <a:rPr lang="en-GB"/>
              <a:t>6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1C0B7363-BF12-F741-CA2B-E3C7387D082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157600" y="4293172"/>
            <a:ext cx="3672001" cy="1936040"/>
          </a:xfrm>
          <a:solidFill>
            <a:srgbClr val="EBE6DE"/>
          </a:solidFill>
        </p:spPr>
        <p:txBody>
          <a:bodyPr lIns="90004" tIns="90004" rIns="35999">
            <a:normAutofit/>
          </a:bodyPr>
          <a:lstStyle>
            <a:lvl1pPr>
              <a:buFont typeface="Calibri" pitchFamily="34"/>
              <a:defRPr lang="en-GB" sz="1400"/>
            </a:lvl1pPr>
            <a:lvl2pPr marL="107999" indent="-107999">
              <a:defRPr lang="en-GB" sz="1400"/>
            </a:lvl2pPr>
            <a:lvl3pPr marL="215999" indent="-107999">
              <a:defRPr lang="en-GB" sz="1200"/>
            </a:lvl3pPr>
            <a:lvl4pPr marL="323999" indent="-107999">
              <a:defRPr lang="en-GB" sz="1100"/>
            </a:lvl4pPr>
            <a:lvl5pPr marL="431999" indent="-107999">
              <a:defRPr lang="en-GB" sz="1000"/>
            </a:lvl5pPr>
            <a:lvl6pPr marL="539998" marR="0" lvl="5" indent="-107999" fontAlgn="auto"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tabLst/>
              <a:defRPr lang="en-GB" sz="900" b="0" i="0" u="none" strike="noStrike" cap="none" spc="0" baseline="0">
                <a:solidFill>
                  <a:srgbClr val="28231F"/>
                </a:solidFill>
                <a:uFillTx/>
                <a:latin typeface="VELUX Transform Office"/>
              </a:defRPr>
            </a:lvl6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2</a:t>
            </a:r>
          </a:p>
          <a:p>
            <a:pPr lvl="2"/>
            <a:r>
              <a:rPr lang="en-GB"/>
              <a:t>3</a:t>
            </a:r>
          </a:p>
          <a:p>
            <a:pPr lvl="3"/>
            <a:r>
              <a:rPr lang="en-GB"/>
              <a:t>4</a:t>
            </a:r>
          </a:p>
          <a:p>
            <a:pPr lvl="4"/>
            <a:r>
              <a:rPr lang="en-GB"/>
              <a:t>5</a:t>
            </a:r>
          </a:p>
          <a:p>
            <a:pPr lvl="5"/>
            <a:r>
              <a:rPr lang="en-GB"/>
              <a:t>6</a:t>
            </a:r>
          </a:p>
        </p:txBody>
      </p:sp>
      <p:sp>
        <p:nvSpPr>
          <p:cNvPr id="17" name="Date_DateCustomA" hidden="1">
            <a:extLst>
              <a:ext uri="{FF2B5EF4-FFF2-40B4-BE49-F238E27FC236}">
                <a16:creationId xmlns:a16="http://schemas.microsoft.com/office/drawing/2014/main" id="{7BD2282C-A1EF-01B7-2F2C-997A3D3C830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18" name="FLD_Presentation">
            <a:extLst>
              <a:ext uri="{FF2B5EF4-FFF2-40B4-BE49-F238E27FC236}">
                <a16:creationId xmlns:a16="http://schemas.microsoft.com/office/drawing/2014/main" id="{CDF7F4F7-4B31-9F11-D1F9-4149D4013BC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19" name="Slide Number Placeholder 8">
            <a:extLst>
              <a:ext uri="{FF2B5EF4-FFF2-40B4-BE49-F238E27FC236}">
                <a16:creationId xmlns:a16="http://schemas.microsoft.com/office/drawing/2014/main" id="{394946ED-0892-D440-1E23-2FBD4584C9C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8E2E04C-8153-4870-8382-74B510A2A0AB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23749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FF4697D-5103-62F1-B1F7-D9711A38DE57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358773" y="2105021"/>
            <a:ext cx="3673053" cy="1936040"/>
          </a:xfrm>
          <a:solidFill>
            <a:srgbClr val="EBE6DE"/>
          </a:solidFill>
        </p:spPr>
        <p:txBody>
          <a:bodyPr tIns="1043997" anchor="ctr" anchorCtr="1"/>
          <a:lstStyle>
            <a:lvl1pPr algn="ctr"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802C7989-D65C-B945-F519-C503542E8B93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358773" y="4294799"/>
            <a:ext cx="3673053" cy="1936040"/>
          </a:xfrm>
          <a:solidFill>
            <a:srgbClr val="EBE6DE"/>
          </a:solidFill>
        </p:spPr>
        <p:txBody>
          <a:bodyPr tIns="1043997" anchor="ctr" anchorCtr="1"/>
          <a:lstStyle>
            <a:lvl1pPr algn="ctr"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6F8998E4-DD1A-D8BB-5981-99AAB030E1B0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257446" y="2106000"/>
            <a:ext cx="3673053" cy="1936040"/>
          </a:xfrm>
          <a:solidFill>
            <a:srgbClr val="EBE6DE"/>
          </a:solidFill>
        </p:spPr>
        <p:txBody>
          <a:bodyPr tIns="1043997" anchor="ctr" anchorCtr="1"/>
          <a:lstStyle>
            <a:lvl1pPr algn="ctr"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1FFA7D75-A0E1-5482-1BC3-DDDC85D6D480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257446" y="4294799"/>
            <a:ext cx="3673053" cy="1936040"/>
          </a:xfrm>
          <a:solidFill>
            <a:srgbClr val="EBE6DE"/>
          </a:solidFill>
        </p:spPr>
        <p:txBody>
          <a:bodyPr tIns="1043997" anchor="ctr" anchorCtr="1"/>
          <a:lstStyle>
            <a:lvl1pPr algn="ctr"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AD360744-0DB0-2E47-8362-D6D7A29BB8C2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8156118" y="2105021"/>
            <a:ext cx="3673053" cy="1936040"/>
          </a:xfrm>
          <a:solidFill>
            <a:srgbClr val="EBE6DE"/>
          </a:solidFill>
        </p:spPr>
        <p:txBody>
          <a:bodyPr tIns="1043997" anchor="ctr" anchorCtr="1"/>
          <a:lstStyle>
            <a:lvl1pPr algn="ctr"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F5895B74-B43D-0604-5DDC-A8418F46C1F4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8156118" y="4294799"/>
            <a:ext cx="3673053" cy="1936040"/>
          </a:xfrm>
          <a:solidFill>
            <a:srgbClr val="EBE6DE"/>
          </a:solidFill>
        </p:spPr>
        <p:txBody>
          <a:bodyPr tIns="1043997" anchor="ctr" anchorCtr="1"/>
          <a:lstStyle>
            <a:lvl1pPr algn="ctr">
              <a:defRPr lang="en-GB" sz="1200"/>
            </a:lvl1pPr>
          </a:lstStyle>
          <a:p>
            <a:pPr lvl="0"/>
            <a:r>
              <a:rPr lang="en-GB"/>
              <a:t>Click on frame and select picture from Templafy Photos or click on icon in frame to insert picture from your devic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955B398-6BA4-77CA-D18E-673AEFE00F87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24AF9FD-2CAC-61BB-AEE3-B51A53B14EC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9518401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2F2B654-53C6-08D5-8B7D-1F4D058B154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216801"/>
            <a:ext cx="9507446" cy="701381"/>
          </a:xfrm>
        </p:spPr>
        <p:txBody>
          <a:bodyPr/>
          <a:lstStyle>
            <a:lvl1pPr>
              <a:lnSpc>
                <a:spcPct val="100000"/>
              </a:lnSpc>
              <a:defRPr lang="en-GB" sz="21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7EA9B01-FCDA-5606-293C-FCD5E99FC58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2105021"/>
            <a:ext cx="3672952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C8672DF-79C6-CACF-45B5-0FC124CE1A8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4294799"/>
            <a:ext cx="3672952" cy="387870"/>
          </a:xfrm>
        </p:spPr>
        <p:txBody>
          <a:bodyPr lIns="90004" tIns="90004" rIns="35999">
            <a:normAutofit/>
          </a:bodyPr>
          <a:lstStyle>
            <a:lvl1pPr>
              <a:spcAft>
                <a:spcPts val="0"/>
              </a:spcAft>
              <a:buNone/>
              <a:defRPr lang="en-GB" sz="1400"/>
            </a:lvl1pPr>
            <a:lvl2pPr marL="0" lvl="0" indent="0">
              <a:spcAft>
                <a:spcPts val="0"/>
              </a:spcAft>
              <a:buNone/>
              <a:defRPr lang="en-GB" sz="1400"/>
            </a:lvl2pPr>
          </a:lstStyle>
          <a:p>
            <a:pPr lvl="0"/>
            <a:r>
              <a:rPr lang="en-GB"/>
              <a:t>Click to add text</a:t>
            </a:r>
          </a:p>
          <a:p>
            <a:pPr lvl="0"/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6FC09BA-C54C-6B36-C613-3273DC3D7DE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257446" y="2105021"/>
            <a:ext cx="3672001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2CF7AC9C-6C4F-38AB-4EC1-88C478C535E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257446" y="4294799"/>
            <a:ext cx="3672001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194462A-9258-B2C7-1DAC-9294D24880D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156118" y="2105021"/>
            <a:ext cx="3672001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B4E72314-39F0-CAB8-41FE-2141C38FA55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157600" y="4294799"/>
            <a:ext cx="3672001" cy="387870"/>
          </a:xfrm>
        </p:spPr>
        <p:txBody>
          <a:bodyPr lIns="90004" tIns="90004" rIns="35999">
            <a:normAutofit/>
          </a:bodyPr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17" name="Date_DateCustomA" hidden="1">
            <a:extLst>
              <a:ext uri="{FF2B5EF4-FFF2-40B4-BE49-F238E27FC236}">
                <a16:creationId xmlns:a16="http://schemas.microsoft.com/office/drawing/2014/main" id="{F0CF64D4-3DC3-25BA-B57F-4BEB545F213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18" name="FLD_Presentation">
            <a:extLst>
              <a:ext uri="{FF2B5EF4-FFF2-40B4-BE49-F238E27FC236}">
                <a16:creationId xmlns:a16="http://schemas.microsoft.com/office/drawing/2014/main" id="{0459F5A1-1BE6-0413-D168-652D145E545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19" name="Slide Number Placeholder 8">
            <a:extLst>
              <a:ext uri="{FF2B5EF4-FFF2-40B4-BE49-F238E27FC236}">
                <a16:creationId xmlns:a16="http://schemas.microsoft.com/office/drawing/2014/main" id="{386FD440-E538-3CE7-5D0B-AC1F6ACC18E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B28114A-742B-4BCB-8A3B-B7C4E1C1CFAC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0382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7CA02AA2-995A-89C4-82C7-7D771277E53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9A0742D-C6C3-4183-BFC0-4A338057EDCA}" type="slidenum">
              <a:t>‹#›</a:t>
            </a:fld>
            <a:endParaRPr lang="en-GB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B15F9DC-C618-56DB-4DB4-8D7CF650DD3C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BF9DA620-41CC-461C-2F25-F2F84F437456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5" name="FLD_Presentation">
            <a:extLst>
              <a:ext uri="{FF2B5EF4-FFF2-40B4-BE49-F238E27FC236}">
                <a16:creationId xmlns:a16="http://schemas.microsoft.com/office/drawing/2014/main" id="{F8D1C835-4899-5397-BA6E-FA07E2F131D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5D7265A-2D84-E3C6-EE02-520DA33A732B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950744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19104707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980D2EA4-7DC3-85D3-CE61-B7CA5B17FC3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397811E-8BAC-4CD3-8B5A-31BB4987567E}" type="slidenum">
              <a:t>‹#›</a:t>
            </a:fld>
            <a:endParaRPr lang="en-GB"/>
          </a:p>
        </p:txBody>
      </p:sp>
      <p:sp>
        <p:nvSpPr>
          <p:cNvPr id="3" name="Date_DateCustomA" hidden="1">
            <a:extLst>
              <a:ext uri="{FF2B5EF4-FFF2-40B4-BE49-F238E27FC236}">
                <a16:creationId xmlns:a16="http://schemas.microsoft.com/office/drawing/2014/main" id="{FA3ABD0A-A961-285A-0F11-FBEF00E3B01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4" name="FLD_Presentation">
            <a:extLst>
              <a:ext uri="{FF2B5EF4-FFF2-40B4-BE49-F238E27FC236}">
                <a16:creationId xmlns:a16="http://schemas.microsoft.com/office/drawing/2014/main" id="{6CA59898-592D-9814-2FEF-7380B8538CBA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1473647"/>
      </p:ext>
    </p:extLst>
  </p:cSld>
  <p:clrMapOvr>
    <a:masterClrMapping/>
  </p:clrMapOvr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with conta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 249x3">
            <a:extLst>
              <a:ext uri="{FF2B5EF4-FFF2-40B4-BE49-F238E27FC236}">
                <a16:creationId xmlns:a16="http://schemas.microsoft.com/office/drawing/2014/main" id="{65C8555B-C88B-D22C-2EAD-F0C67BF6D3FE}"/>
              </a:ext>
            </a:extLst>
          </p:cNvPr>
          <p:cNvSpPr/>
          <p:nvPr/>
        </p:nvSpPr>
        <p:spPr>
          <a:xfrm>
            <a:off x="-384" y="0"/>
            <a:ext cx="12192774" cy="685800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71999" tIns="71999" rIns="71999" bIns="71999" anchor="t" anchorCtr="0" compatLnSpc="1">
            <a:no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EE7C12DF-9116-7744-CFFB-0C792B2656C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</a:lstStyle>
          <a:p>
            <a:pPr lvl="0"/>
            <a:fld id="{E6206519-9FEB-4559-B8FC-69D91B5CD507}" type="slidenum">
              <a:t>‹#›</a:t>
            </a:fld>
            <a:endParaRPr lang="en-GB"/>
          </a:p>
        </p:txBody>
      </p:sp>
      <p:sp>
        <p:nvSpPr>
          <p:cNvPr id="4" name="FLD_Presentation" hidden="1">
            <a:extLst>
              <a:ext uri="{FF2B5EF4-FFF2-40B4-BE49-F238E27FC236}">
                <a16:creationId xmlns:a16="http://schemas.microsoft.com/office/drawing/2014/main" id="{AE58DD44-C9D2-EF11-CA72-1C1B98CA231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" name="Text Placeholder name">
            <a:extLst>
              <a:ext uri="{FF2B5EF4-FFF2-40B4-BE49-F238E27FC236}">
                <a16:creationId xmlns:a16="http://schemas.microsoft.com/office/drawing/2014/main" id="{7199C56D-A741-0EEE-D003-59A6873965F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66262" y="5595433"/>
            <a:ext cx="3503715" cy="202210"/>
          </a:xfrm>
        </p:spPr>
        <p:txBody>
          <a:bodyPr/>
          <a:lstStyle>
            <a:lvl1pPr>
              <a:buNone/>
              <a:defRPr lang="en-GB" sz="1400">
                <a:latin typeface="Arial" pitchFamily="34"/>
              </a:defRPr>
            </a:lvl1pPr>
          </a:lstStyle>
          <a:p>
            <a:pPr lvl="0"/>
            <a:r>
              <a:rPr lang="en-GB"/>
              <a:t>[add name]</a:t>
            </a:r>
          </a:p>
        </p:txBody>
      </p:sp>
      <p:sp>
        <p:nvSpPr>
          <p:cNvPr id="6" name="LAN_Contact">
            <a:extLst>
              <a:ext uri="{FF2B5EF4-FFF2-40B4-BE49-F238E27FC236}">
                <a16:creationId xmlns:a16="http://schemas.microsoft.com/office/drawing/2014/main" id="{C88D2CA8-DAF9-3072-4F41-4AEA85F0C4E6}"/>
              </a:ext>
            </a:extLst>
          </p:cNvPr>
          <p:cNvSpPr txBox="1"/>
          <p:nvPr/>
        </p:nvSpPr>
        <p:spPr>
          <a:xfrm>
            <a:off x="366272" y="5346524"/>
            <a:ext cx="1836682" cy="21544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rPr>
              <a:t>Contact info</a:t>
            </a:r>
          </a:p>
        </p:txBody>
      </p:sp>
      <p:sp>
        <p:nvSpPr>
          <p:cNvPr id="7" name="Text Placeholder email">
            <a:extLst>
              <a:ext uri="{FF2B5EF4-FFF2-40B4-BE49-F238E27FC236}">
                <a16:creationId xmlns:a16="http://schemas.microsoft.com/office/drawing/2014/main" id="{853E5765-C967-DB3D-CF50-6EAC7BDC1AE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66272" y="5831119"/>
            <a:ext cx="3503715" cy="202210"/>
          </a:xfrm>
        </p:spPr>
        <p:txBody>
          <a:bodyPr/>
          <a:lstStyle>
            <a:lvl1pPr>
              <a:buNone/>
              <a:defRPr lang="en-GB" sz="1400">
                <a:latin typeface="Arial" pitchFamily="34"/>
              </a:defRPr>
            </a:lvl1pPr>
          </a:lstStyle>
          <a:p>
            <a:pPr lvl="0"/>
            <a:r>
              <a:rPr lang="en-GB"/>
              <a:t>[add email@VELUX.com]</a:t>
            </a:r>
          </a:p>
        </p:txBody>
      </p:sp>
      <p:sp>
        <p:nvSpPr>
          <p:cNvPr id="8" name="Text Placeholder company">
            <a:extLst>
              <a:ext uri="{FF2B5EF4-FFF2-40B4-BE49-F238E27FC236}">
                <a16:creationId xmlns:a16="http://schemas.microsoft.com/office/drawing/2014/main" id="{86D0CD96-AF87-F156-5A1E-B4ED5998960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66272" y="6066797"/>
            <a:ext cx="3503715" cy="202210"/>
          </a:xfrm>
        </p:spPr>
        <p:txBody>
          <a:bodyPr/>
          <a:lstStyle>
            <a:lvl1pPr>
              <a:buNone/>
              <a:defRPr lang="en-GB" sz="1400">
                <a:latin typeface="Arial" pitchFamily="34"/>
              </a:defRPr>
            </a:lvl1pPr>
          </a:lstStyle>
          <a:p>
            <a:pPr lvl="0"/>
            <a:r>
              <a:rPr lang="en-GB"/>
              <a:t>[add VELUX company]</a:t>
            </a:r>
          </a:p>
        </p:txBody>
      </p:sp>
      <p:sp>
        <p:nvSpPr>
          <p:cNvPr id="9" name="Text Placeholder website">
            <a:extLst>
              <a:ext uri="{FF2B5EF4-FFF2-40B4-BE49-F238E27FC236}">
                <a16:creationId xmlns:a16="http://schemas.microsoft.com/office/drawing/2014/main" id="{638A2EEA-4BC6-D0EB-E189-E4A79DB787B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66272" y="6302474"/>
            <a:ext cx="3503715" cy="202210"/>
          </a:xfrm>
        </p:spPr>
        <p:txBody>
          <a:bodyPr/>
          <a:lstStyle>
            <a:lvl1pPr>
              <a:buNone/>
              <a:defRPr lang="en-GB" sz="1400">
                <a:latin typeface="Arial" pitchFamily="34"/>
              </a:defRPr>
            </a:lvl1pPr>
          </a:lstStyle>
          <a:p>
            <a:pPr lvl="0"/>
            <a:r>
              <a:rPr lang="en-GB"/>
              <a:t>[add VELUX website]</a:t>
            </a:r>
          </a:p>
        </p:txBody>
      </p:sp>
      <p:sp>
        <p:nvSpPr>
          <p:cNvPr id="10" name="Date_DateCustomA" hidden="1">
            <a:extLst>
              <a:ext uri="{FF2B5EF4-FFF2-40B4-BE49-F238E27FC236}">
                <a16:creationId xmlns:a16="http://schemas.microsoft.com/office/drawing/2014/main" id="{FEB454EE-FF06-E2F2-8A84-0DEFDC054E1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11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31FABDFE-8ACA-292C-C764-37F474430A1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511993" y="1210345"/>
            <a:ext cx="7167597" cy="40317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0712109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(Print) End slide with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 249x3">
            <a:extLst>
              <a:ext uri="{FF2B5EF4-FFF2-40B4-BE49-F238E27FC236}">
                <a16:creationId xmlns:a16="http://schemas.microsoft.com/office/drawing/2014/main" id="{6DAE4FF7-0248-3158-F9B1-F42ADF7CFEDC}"/>
              </a:ext>
            </a:extLst>
          </p:cNvPr>
          <p:cNvSpPr/>
          <p:nvPr/>
        </p:nvSpPr>
        <p:spPr>
          <a:xfrm>
            <a:off x="-384" y="0"/>
            <a:ext cx="12192774" cy="685800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71999" tIns="71999" rIns="71999" bIns="71999" anchor="t" anchorCtr="0" compatLnSpc="1">
            <a:no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2EAB7F-36FF-E475-748F-21C10B683FD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fld id="{B8CB2C27-7FE1-4C7B-8BCB-1797875053A0}" type="slidenum">
              <a:t>‹#›</a:t>
            </a:fld>
            <a:endParaRPr lang="en-GB"/>
          </a:p>
        </p:txBody>
      </p:sp>
      <p:sp>
        <p:nvSpPr>
          <p:cNvPr id="4" name="FLD_Presentation" hidden="1">
            <a:extLst>
              <a:ext uri="{FF2B5EF4-FFF2-40B4-BE49-F238E27FC236}">
                <a16:creationId xmlns:a16="http://schemas.microsoft.com/office/drawing/2014/main" id="{58B79E17-5276-4FEB-90B1-8B3B5F41AB3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0B99623C-22A3-A13F-9443-84BD83C62F7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AC469977-DB2F-1F60-9901-9435F77B25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24554" y="2492873"/>
            <a:ext cx="2143554" cy="72009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Tekstfelt 7">
            <a:extLst>
              <a:ext uri="{FF2B5EF4-FFF2-40B4-BE49-F238E27FC236}">
                <a16:creationId xmlns:a16="http://schemas.microsoft.com/office/drawing/2014/main" id="{2ED03131-D307-2AAE-8CEA-420082B462E2}"/>
              </a:ext>
            </a:extLst>
          </p:cNvPr>
          <p:cNvSpPr txBox="1"/>
          <p:nvPr/>
        </p:nvSpPr>
        <p:spPr>
          <a:xfrm>
            <a:off x="4283918" y="3314379"/>
            <a:ext cx="3722174" cy="461662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9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rPr>
              <a:t>Transforming Spaces</a:t>
            </a:r>
          </a:p>
        </p:txBody>
      </p:sp>
      <p:sp>
        <p:nvSpPr>
          <p:cNvPr id="8" name="Text Placeholder name">
            <a:extLst>
              <a:ext uri="{FF2B5EF4-FFF2-40B4-BE49-F238E27FC236}">
                <a16:creationId xmlns:a16="http://schemas.microsoft.com/office/drawing/2014/main" id="{E1E111ED-8962-9715-5AA7-D15E89A9B3F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66262" y="5595433"/>
            <a:ext cx="3503715" cy="202210"/>
          </a:xfrm>
        </p:spPr>
        <p:txBody>
          <a:bodyPr/>
          <a:lstStyle>
            <a:lvl1pPr>
              <a:buNone/>
              <a:defRPr lang="en-GB" sz="1400">
                <a:latin typeface="Arial" pitchFamily="34"/>
              </a:defRPr>
            </a:lvl1pPr>
          </a:lstStyle>
          <a:p>
            <a:pPr lvl="0"/>
            <a:r>
              <a:rPr lang="en-GB"/>
              <a:t>[add name]</a:t>
            </a:r>
          </a:p>
        </p:txBody>
      </p:sp>
      <p:sp>
        <p:nvSpPr>
          <p:cNvPr id="9" name="LAN_Contact">
            <a:extLst>
              <a:ext uri="{FF2B5EF4-FFF2-40B4-BE49-F238E27FC236}">
                <a16:creationId xmlns:a16="http://schemas.microsoft.com/office/drawing/2014/main" id="{40752012-BAAD-075D-6D16-81E7AC379983}"/>
              </a:ext>
            </a:extLst>
          </p:cNvPr>
          <p:cNvSpPr txBox="1"/>
          <p:nvPr/>
        </p:nvSpPr>
        <p:spPr>
          <a:xfrm>
            <a:off x="366272" y="5346524"/>
            <a:ext cx="1836682" cy="21544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rPr>
              <a:t>Contact info</a:t>
            </a:r>
          </a:p>
        </p:txBody>
      </p:sp>
      <p:sp>
        <p:nvSpPr>
          <p:cNvPr id="10" name="Text Placeholder email">
            <a:extLst>
              <a:ext uri="{FF2B5EF4-FFF2-40B4-BE49-F238E27FC236}">
                <a16:creationId xmlns:a16="http://schemas.microsoft.com/office/drawing/2014/main" id="{7129ADB6-00AF-33A5-5985-F96C44F6DF7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66272" y="5831119"/>
            <a:ext cx="3503715" cy="202210"/>
          </a:xfrm>
        </p:spPr>
        <p:txBody>
          <a:bodyPr/>
          <a:lstStyle>
            <a:lvl1pPr>
              <a:buNone/>
              <a:defRPr lang="en-GB" sz="1400">
                <a:latin typeface="Arial" pitchFamily="34"/>
              </a:defRPr>
            </a:lvl1pPr>
          </a:lstStyle>
          <a:p>
            <a:pPr lvl="0"/>
            <a:r>
              <a:rPr lang="en-GB"/>
              <a:t>[add email@VELUX.com]</a:t>
            </a:r>
          </a:p>
        </p:txBody>
      </p:sp>
      <p:sp>
        <p:nvSpPr>
          <p:cNvPr id="11" name="Text Placeholder company">
            <a:extLst>
              <a:ext uri="{FF2B5EF4-FFF2-40B4-BE49-F238E27FC236}">
                <a16:creationId xmlns:a16="http://schemas.microsoft.com/office/drawing/2014/main" id="{1CCC7D0C-7BED-257B-05EE-CCD74CDC07B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66272" y="6066797"/>
            <a:ext cx="3503715" cy="202210"/>
          </a:xfrm>
        </p:spPr>
        <p:txBody>
          <a:bodyPr/>
          <a:lstStyle>
            <a:lvl1pPr>
              <a:buNone/>
              <a:defRPr lang="en-GB" sz="1400">
                <a:latin typeface="Arial" pitchFamily="34"/>
              </a:defRPr>
            </a:lvl1pPr>
          </a:lstStyle>
          <a:p>
            <a:pPr lvl="0"/>
            <a:r>
              <a:rPr lang="en-GB"/>
              <a:t>[add VELUX company]</a:t>
            </a:r>
          </a:p>
        </p:txBody>
      </p:sp>
      <p:sp>
        <p:nvSpPr>
          <p:cNvPr id="12" name="Text Placeholder website">
            <a:extLst>
              <a:ext uri="{FF2B5EF4-FFF2-40B4-BE49-F238E27FC236}">
                <a16:creationId xmlns:a16="http://schemas.microsoft.com/office/drawing/2014/main" id="{604C96F1-0F6C-73B1-23FA-3375B4F4026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66272" y="6302474"/>
            <a:ext cx="3503715" cy="202210"/>
          </a:xfrm>
        </p:spPr>
        <p:txBody>
          <a:bodyPr/>
          <a:lstStyle>
            <a:lvl1pPr>
              <a:buNone/>
              <a:defRPr lang="en-GB" sz="1400">
                <a:latin typeface="Arial" pitchFamily="34"/>
              </a:defRPr>
            </a:lvl1pPr>
          </a:lstStyle>
          <a:p>
            <a:pPr lvl="0"/>
            <a:r>
              <a:rPr lang="en-GB"/>
              <a:t>[add VELUX website]</a:t>
            </a:r>
          </a:p>
        </p:txBody>
      </p:sp>
    </p:spTree>
    <p:extLst>
      <p:ext uri="{BB962C8B-B14F-4D97-AF65-F5344CB8AC3E}">
        <p14:creationId xmlns:p14="http://schemas.microsoft.com/office/powerpoint/2010/main" val="3225578735"/>
      </p:ext>
    </p:extLst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without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 249x3">
            <a:extLst>
              <a:ext uri="{FF2B5EF4-FFF2-40B4-BE49-F238E27FC236}">
                <a16:creationId xmlns:a16="http://schemas.microsoft.com/office/drawing/2014/main" id="{BA3F120D-CB9F-E8C2-F39A-95312F9B9E42}"/>
              </a:ext>
            </a:extLst>
          </p:cNvPr>
          <p:cNvSpPr/>
          <p:nvPr/>
        </p:nvSpPr>
        <p:spPr>
          <a:xfrm>
            <a:off x="-384" y="0"/>
            <a:ext cx="12192774" cy="6858000"/>
          </a:xfrm>
          <a:prstGeom prst="rect">
            <a:avLst/>
          </a:prstGeom>
          <a:solidFill>
            <a:srgbClr val="EBE6DE"/>
          </a:solidFill>
          <a:ln cap="flat">
            <a:noFill/>
            <a:prstDash val="solid"/>
          </a:ln>
        </p:spPr>
        <p:txBody>
          <a:bodyPr vert="horz" wrap="square" lIns="71999" tIns="71999" rIns="71999" bIns="71999" anchor="t" anchorCtr="0" compatLnSpc="1">
            <a:no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2C34F7-0190-E47B-B62D-02C725A8EB3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fld id="{925CB540-95E2-4CDE-A68C-594D80A650F5}" type="slidenum">
              <a:t>‹#›</a:t>
            </a:fld>
            <a:endParaRPr lang="en-GB"/>
          </a:p>
        </p:txBody>
      </p:sp>
      <p:sp>
        <p:nvSpPr>
          <p:cNvPr id="4" name="FLD_Presentation" hidden="1">
            <a:extLst>
              <a:ext uri="{FF2B5EF4-FFF2-40B4-BE49-F238E27FC236}">
                <a16:creationId xmlns:a16="http://schemas.microsoft.com/office/drawing/2014/main" id="{56CC995E-D731-4905-1A54-2E596C56E83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A8048786-69EB-97ED-173E-6123A84ED29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6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06C819C9-E53F-CC6D-6EDA-631EB75F733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511993" y="1210345"/>
            <a:ext cx="7167597" cy="40317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5994583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 249x3">
            <a:extLst>
              <a:ext uri="{FF2B5EF4-FFF2-40B4-BE49-F238E27FC236}">
                <a16:creationId xmlns:a16="http://schemas.microsoft.com/office/drawing/2014/main" id="{DC6A9193-574D-4A11-C27C-6B8E00DDA1E4}"/>
              </a:ext>
            </a:extLst>
          </p:cNvPr>
          <p:cNvSpPr/>
          <p:nvPr/>
        </p:nvSpPr>
        <p:spPr>
          <a:xfrm>
            <a:off x="0" y="0"/>
            <a:ext cx="12192774" cy="6858000"/>
          </a:xfrm>
          <a:prstGeom prst="rect">
            <a:avLst/>
          </a:prstGeom>
          <a:solidFill>
            <a:srgbClr val="A11515"/>
          </a:solidFill>
          <a:ln cap="flat">
            <a:noFill/>
            <a:prstDash val="solid"/>
          </a:ln>
        </p:spPr>
        <p:txBody>
          <a:bodyPr vert="horz" wrap="square" lIns="71999" tIns="71999" rIns="71999" bIns="71999" anchor="t" anchorCtr="0" compatLnSpc="1">
            <a:no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7B01CD-29BF-85CA-93E2-1ED354E7F4F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fld id="{575D42A5-9944-47C2-8557-67D9AE539E9B}" type="slidenum">
              <a:t>‹#›</a:t>
            </a:fld>
            <a:endParaRPr lang="en-GB"/>
          </a:p>
        </p:txBody>
      </p:sp>
      <p:sp>
        <p:nvSpPr>
          <p:cNvPr id="4" name="FLD_Presentation" hidden="1">
            <a:extLst>
              <a:ext uri="{FF2B5EF4-FFF2-40B4-BE49-F238E27FC236}">
                <a16:creationId xmlns:a16="http://schemas.microsoft.com/office/drawing/2014/main" id="{E89FA876-F61B-6819-A7A8-0E508E87A10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129C0937-3E28-85CC-C365-11CF5631BC0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9581540A-AC6D-2BB5-D5E5-EEF6E03503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3495" y="370798"/>
            <a:ext cx="1166618" cy="39191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6586494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 249x3">
            <a:extLst>
              <a:ext uri="{FF2B5EF4-FFF2-40B4-BE49-F238E27FC236}">
                <a16:creationId xmlns:a16="http://schemas.microsoft.com/office/drawing/2014/main" id="{9E5F43ED-4C64-CDC5-231B-319FAF0AF32F}"/>
              </a:ext>
            </a:extLst>
          </p:cNvPr>
          <p:cNvSpPr/>
          <p:nvPr/>
        </p:nvSpPr>
        <p:spPr>
          <a:xfrm>
            <a:off x="0" y="0"/>
            <a:ext cx="12192774" cy="6858000"/>
          </a:xfrm>
          <a:prstGeom prst="rect">
            <a:avLst/>
          </a:prstGeom>
          <a:solidFill>
            <a:srgbClr val="454142"/>
          </a:solidFill>
          <a:ln cap="flat">
            <a:noFill/>
            <a:prstDash val="solid"/>
          </a:ln>
        </p:spPr>
        <p:txBody>
          <a:bodyPr vert="horz" wrap="square" lIns="71999" tIns="71999" rIns="71999" bIns="71999" anchor="t" anchorCtr="0" compatLnSpc="1">
            <a:no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FFFFFF"/>
              </a:solidFill>
              <a:uFillTx/>
              <a:latin typeface="VELUX Transform Office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BD51DDB-9776-A89E-05E1-47A22745682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fld id="{369E38D7-4382-4E56-93E9-C76870253582}" type="slidenum">
              <a:t>‹#›</a:t>
            </a:fld>
            <a:endParaRPr lang="en-GB"/>
          </a:p>
        </p:txBody>
      </p:sp>
      <p:sp>
        <p:nvSpPr>
          <p:cNvPr id="4" name="FLD_Presentation">
            <a:extLst>
              <a:ext uri="{FF2B5EF4-FFF2-40B4-BE49-F238E27FC236}">
                <a16:creationId xmlns:a16="http://schemas.microsoft.com/office/drawing/2014/main" id="{26571081-C859-B725-B345-EF0209AA538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7052FB83-6385-D401-CF66-62335A92648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A814EE4B-3238-CE6D-1E14-5BBE16B9BE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3495" y="370798"/>
            <a:ext cx="1166618" cy="391911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839307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4">
            <a:extLst>
              <a:ext uri="{FF2B5EF4-FFF2-40B4-BE49-F238E27FC236}">
                <a16:creationId xmlns:a16="http://schemas.microsoft.com/office/drawing/2014/main" id="{FF5A2D3A-C3B2-4FCF-3E24-D8856BA2CE93}"/>
              </a:ext>
            </a:extLst>
          </p:cNvPr>
          <p:cNvSpPr/>
          <p:nvPr/>
        </p:nvSpPr>
        <p:spPr>
          <a:xfrm>
            <a:off x="359048" y="1073194"/>
            <a:ext cx="3658550" cy="471154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Fonts used in the templat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All text is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VELUX Transform Office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.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Bold can be used to highligt important words.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endParaRPr lang="en-GB" sz="11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Use text style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Use the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TAB-key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to jump through levels.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Click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ENTER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, then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TAB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to switch from one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level to the next level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To go back in levels use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SHIFT-TAB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Alternatively,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Increase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and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Decrease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list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level can be used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Delete old font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If the old font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VeluxForOffice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isn’t deleted when copying text from old slides or slides from old presentations, do this in before shaving your file.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1. Click the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Home tab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2. Click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Replace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and choose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Replace Font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3. Replace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VeluxForOffice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with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VELUX Transform Offic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73B9302-B380-A271-0AFE-7F90AAD03D49}"/>
              </a:ext>
            </a:extLst>
          </p:cNvPr>
          <p:cNvSpPr txBox="1"/>
          <p:nvPr/>
        </p:nvSpPr>
        <p:spPr>
          <a:xfrm>
            <a:off x="358865" y="365129"/>
            <a:ext cx="11266395" cy="61458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rmAutofit/>
          </a:bodyPr>
          <a:lstStyle/>
          <a:p>
            <a:pPr marL="0" marR="0" lvl="0" indent="0" algn="l" defTabSz="6858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3199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User guide – delete before use</a:t>
            </a:r>
          </a:p>
        </p:txBody>
      </p:sp>
      <p:sp>
        <p:nvSpPr>
          <p:cNvPr id="4" name="Text Box 48">
            <a:extLst>
              <a:ext uri="{FF2B5EF4-FFF2-40B4-BE49-F238E27FC236}">
                <a16:creationId xmlns:a16="http://schemas.microsoft.com/office/drawing/2014/main" id="{F84835F9-5254-2640-312B-1205D72EEC8E}"/>
              </a:ext>
            </a:extLst>
          </p:cNvPr>
          <p:cNvSpPr txBox="1"/>
          <p:nvPr/>
        </p:nvSpPr>
        <p:spPr>
          <a:xfrm>
            <a:off x="8166643" y="1092232"/>
            <a:ext cx="3666305" cy="567590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143963" bIns="0" anchor="t" anchorCtr="0" compatLnSpc="1">
            <a:spAutoFit/>
          </a:bodyPr>
          <a:lstStyle/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Reset slide</a:t>
            </a:r>
          </a:p>
          <a:p>
            <a:pPr marL="0" marR="0" lvl="0" indent="0" algn="l" defTabSz="914125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1. Click the </a:t>
            </a: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Home tab</a:t>
            </a:r>
            <a:endParaRPr lang="en-GB" sz="1100" b="1" i="0" u="none" strike="sngStrike" kern="1200" cap="none" spc="0" baseline="0">
              <a:solidFill>
                <a:srgbClr val="000000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125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2. Click the </a:t>
            </a: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Reset</a:t>
            </a: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 menu to reset position, </a:t>
            </a:r>
            <a:b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size and formatting of the slide placeholders </a:t>
            </a:r>
            <a:b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to their default settings</a:t>
            </a:r>
          </a:p>
          <a:p>
            <a:pPr marL="0" marR="0" lvl="0" indent="0" algn="l" defTabSz="914125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1" i="0" u="none" strike="no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Insert footer, slide number, date</a:t>
            </a:r>
          </a:p>
          <a:p>
            <a:pPr marL="0" marR="0" lvl="0" indent="0" algn="l" defTabSz="914125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Do this at the very end, so you get all the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corrections with you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1. Click the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Insert tab</a:t>
            </a:r>
            <a:endParaRPr lang="en-GB" sz="1100" b="1" i="0" u="none" strike="sng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2. Clickon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Header and Footer 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(write the desired text)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3. Click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Apply to All 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or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Apply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if only used on one slid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Guide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To view drawing guide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1. Click the </a:t>
            </a: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View</a:t>
            </a: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 tab, set tick mark next to </a:t>
            </a: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Guide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0" i="0" u="none" strike="noStrike" kern="1200" cap="none" spc="0" baseline="0">
              <a:solidFill>
                <a:srgbClr val="000000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Hint: Alt + F9 </a:t>
            </a: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for quick viewing of guide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0" i="0" u="none" strike="noStrike" kern="1200" cap="none" spc="0" baseline="0">
              <a:solidFill>
                <a:srgbClr val="000000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Manual guide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Make manual guides, </a:t>
            </a:r>
            <a:b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right-click on the page </a:t>
            </a:r>
            <a:b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choose </a:t>
            </a: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Grid and Guides </a:t>
            </a:r>
            <a:b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– Add xxx Guide </a:t>
            </a: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they </a:t>
            </a:r>
            <a:b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will then appear on all </a:t>
            </a:r>
            <a:b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your slide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0BC622A4-561A-B157-1600-45DAA442D31D}"/>
              </a:ext>
            </a:extLst>
          </p:cNvPr>
          <p:cNvSpPr/>
          <p:nvPr/>
        </p:nvSpPr>
        <p:spPr>
          <a:xfrm>
            <a:off x="4263545" y="1088867"/>
            <a:ext cx="2956282" cy="546816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Use layouts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1. Click the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Home tab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2. Click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New Slide 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menu to insert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new slid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3. Choose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Layout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to change an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appropriate layout from the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"drop down" menu 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Choose this End slide layout if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you want to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print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 your presentation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or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make a pdf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. Change to layout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(Print) End slide with contact 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from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Layout </a:t>
            </a: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drop down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1" i="0" u="none" strike="no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Insert pictur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On slides with pictureplaceholder, </a:t>
            </a:r>
            <a:b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click on the icon and choose </a:t>
            </a:r>
            <a:r>
              <a:rPr lang="en-GB" sz="1100" b="1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  <a:cs typeface="Arial" pitchFamily="34"/>
              </a:rPr>
              <a:t>Insert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100" b="0" i="0" u="none" strike="noStrike" kern="1200" cap="none" spc="0" baseline="0">
              <a:solidFill>
                <a:srgbClr val="28231F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Change pictur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1. Click </a:t>
            </a: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Crop</a:t>
            </a: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 to change size or focus</a:t>
            </a:r>
            <a:b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of the picture</a:t>
            </a:r>
            <a:endParaRPr lang="en-GB" sz="1100" b="0" i="0" u="none" strike="sngStrike" kern="1200" cap="none" spc="0" baseline="0">
              <a:solidFill>
                <a:srgbClr val="000000"/>
              </a:solidFill>
              <a:uFillTx/>
              <a:latin typeface="VELUX Transform Office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2. If you want to scale the picture, </a:t>
            </a:r>
            <a:b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hold </a:t>
            </a: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SHIFT-key</a:t>
            </a: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 down while dragging </a:t>
            </a:r>
            <a:b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</a:b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the corners of the picture</a:t>
            </a: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Hint</a:t>
            </a:r>
            <a:r>
              <a:rPr lang="en-GB" sz="1100" b="0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: If you delete the picture and  insert a new one, the picture may lie in front of the text or graphic, if this happens, select the picture, right-click and choose </a:t>
            </a:r>
            <a:r>
              <a:rPr lang="en-GB" sz="1100" b="1" i="0" u="none" strike="noStrike" kern="1200" cap="none" spc="0" baseline="0">
                <a:solidFill>
                  <a:srgbClr val="000000"/>
                </a:solidFill>
                <a:uFillTx/>
                <a:latin typeface="VELUX Transform Office"/>
                <a:cs typeface="Arial" pitchFamily="34"/>
              </a:rPr>
              <a:t>Send to Back</a:t>
            </a:r>
          </a:p>
        </p:txBody>
      </p:sp>
      <p:pic>
        <p:nvPicPr>
          <p:cNvPr id="6" name="Billede 22">
            <a:extLst>
              <a:ext uri="{FF2B5EF4-FFF2-40B4-BE49-F238E27FC236}">
                <a16:creationId xmlns:a16="http://schemas.microsoft.com/office/drawing/2014/main" id="{83F83176-BE11-E6CE-51F6-B934109C29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5107" y="4601964"/>
            <a:ext cx="337404" cy="32170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7" name="Rectangle 4">
            <a:extLst>
              <a:ext uri="{FF2B5EF4-FFF2-40B4-BE49-F238E27FC236}">
                <a16:creationId xmlns:a16="http://schemas.microsoft.com/office/drawing/2014/main" id="{8B5ADDDE-1301-B56B-A7FA-E9A7AD398D97}"/>
              </a:ext>
            </a:extLst>
          </p:cNvPr>
          <p:cNvSpPr/>
          <p:nvPr/>
        </p:nvSpPr>
        <p:spPr>
          <a:xfrm>
            <a:off x="0" y="-184663"/>
            <a:ext cx="184727" cy="36933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91412" tIns="45710" rIns="91412" bIns="45710" anchor="ctr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28231F"/>
              </a:solidFill>
              <a:uFillTx/>
              <a:latin typeface="Arial" pitchFamily="34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422FFE7D-A00D-994D-E74C-378F14F4F6F5}"/>
              </a:ext>
            </a:extLst>
          </p:cNvPr>
          <p:cNvSpPr/>
          <p:nvPr/>
        </p:nvSpPr>
        <p:spPr>
          <a:xfrm>
            <a:off x="0" y="-184663"/>
            <a:ext cx="184727" cy="36933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91412" tIns="45710" rIns="91412" bIns="45710" anchor="ctr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800" b="0" i="0" u="none" strike="noStrike" kern="1200" cap="none" spc="0" baseline="0">
              <a:solidFill>
                <a:srgbClr val="28231F"/>
              </a:solidFill>
              <a:uFillTx/>
              <a:latin typeface="Arial" pitchFamily="34"/>
            </a:endParaRP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63E473AF-118C-B6E3-DEE2-502E719D44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5565" y="3935092"/>
            <a:ext cx="262149" cy="25605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" name="Picture 18">
            <a:extLst>
              <a:ext uri="{FF2B5EF4-FFF2-40B4-BE49-F238E27FC236}">
                <a16:creationId xmlns:a16="http://schemas.microsoft.com/office/drawing/2014/main" id="{7E34B854-A97D-36FF-89B4-A4352C122D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9040" y="1599313"/>
            <a:ext cx="492450" cy="20041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" name="Picture 12">
            <a:extLst>
              <a:ext uri="{FF2B5EF4-FFF2-40B4-BE49-F238E27FC236}">
                <a16:creationId xmlns:a16="http://schemas.microsoft.com/office/drawing/2014/main" id="{B08F0991-294A-C8DB-DF84-B4CEB512A9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5134" y="1467035"/>
            <a:ext cx="324767" cy="57823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2" name="Billede 15">
            <a:extLst>
              <a:ext uri="{FF2B5EF4-FFF2-40B4-BE49-F238E27FC236}">
                <a16:creationId xmlns:a16="http://schemas.microsoft.com/office/drawing/2014/main" id="{6B37FBA6-ABE0-164B-2991-DB9956AF68A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6978417" y="2095859"/>
            <a:ext cx="593372" cy="19220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3" name="Billede 27">
            <a:extLst>
              <a:ext uri="{FF2B5EF4-FFF2-40B4-BE49-F238E27FC236}">
                <a16:creationId xmlns:a16="http://schemas.microsoft.com/office/drawing/2014/main" id="{8E49CAB1-272A-5650-E91E-7565063E0F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6583" y="2819204"/>
            <a:ext cx="549325" cy="28522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4" name="Billede 1">
            <a:extLst>
              <a:ext uri="{FF2B5EF4-FFF2-40B4-BE49-F238E27FC236}">
                <a16:creationId xmlns:a16="http://schemas.microsoft.com/office/drawing/2014/main" id="{F563A819-1677-2E37-2E98-E5A29E08B9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57660" y="5284244"/>
            <a:ext cx="359697" cy="33531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5" name="Picture 2" descr="C:\Users\taw\AppData\Local\Temp\SNAGHTMLaf298051.PNG">
            <a:extLst>
              <a:ext uri="{FF2B5EF4-FFF2-40B4-BE49-F238E27FC236}">
                <a16:creationId xmlns:a16="http://schemas.microsoft.com/office/drawing/2014/main" id="{9DCA1B46-60AF-206F-2043-B9295D6C87D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9912534" y="5219468"/>
            <a:ext cx="1923650" cy="131583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6" name="FLD_Presentation" hidden="1">
            <a:extLst>
              <a:ext uri="{FF2B5EF4-FFF2-40B4-BE49-F238E27FC236}">
                <a16:creationId xmlns:a16="http://schemas.microsoft.com/office/drawing/2014/main" id="{8E9C7F8A-F157-6DC7-4C19-E456CB280A5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/>
              </a:defRPr>
            </a:lvl1pPr>
          </a:lstStyle>
          <a:p>
            <a:pPr lvl="0"/>
            <a:endParaRPr lang="en-GB"/>
          </a:p>
        </p:txBody>
      </p:sp>
      <p:sp>
        <p:nvSpPr>
          <p:cNvPr id="17" name="Slide Number Placeholder 7" hidden="1">
            <a:extLst>
              <a:ext uri="{FF2B5EF4-FFF2-40B4-BE49-F238E27FC236}">
                <a16:creationId xmlns:a16="http://schemas.microsoft.com/office/drawing/2014/main" id="{A680FECA-F29F-F179-C269-AAF89EA008E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/>
              </a:defRPr>
            </a:lvl1pPr>
          </a:lstStyle>
          <a:p>
            <a:pPr lvl="0"/>
            <a:fld id="{E9BCF2F5-8D75-46A5-8FA7-458222D6C1CD}" type="slidenum">
              <a:t>‹#›</a:t>
            </a:fld>
            <a:endParaRPr lang="en-GB"/>
          </a:p>
        </p:txBody>
      </p:sp>
      <p:sp>
        <p:nvSpPr>
          <p:cNvPr id="18" name="Date_DateCustomA" hidden="1">
            <a:extLst>
              <a:ext uri="{FF2B5EF4-FFF2-40B4-BE49-F238E27FC236}">
                <a16:creationId xmlns:a16="http://schemas.microsoft.com/office/drawing/2014/main" id="{C91A39DC-0012-62D1-3D94-3715AF80F23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F14675EE-E31A-5C8D-4E7A-74A67BBBF41C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328662" y="5284244"/>
            <a:ext cx="3010469" cy="1263719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20" name="Group 11">
            <a:extLst>
              <a:ext uri="{FF2B5EF4-FFF2-40B4-BE49-F238E27FC236}">
                <a16:creationId xmlns:a16="http://schemas.microsoft.com/office/drawing/2014/main" id="{7C2CA14B-FDC8-F4DC-833F-3140CA89E3CE}"/>
              </a:ext>
            </a:extLst>
          </p:cNvPr>
          <p:cNvGrpSpPr/>
          <p:nvPr/>
        </p:nvGrpSpPr>
        <p:grpSpPr>
          <a:xfrm>
            <a:off x="6686604" y="2348755"/>
            <a:ext cx="914400" cy="574151"/>
            <a:chOff x="6686604" y="2348755"/>
            <a:chExt cx="914400" cy="574151"/>
          </a:xfrm>
        </p:grpSpPr>
        <p:pic>
          <p:nvPicPr>
            <p:cNvPr id="21" name="Picture 9">
              <a:extLst>
                <a:ext uri="{FF2B5EF4-FFF2-40B4-BE49-F238E27FC236}">
                  <a16:creationId xmlns:a16="http://schemas.microsoft.com/office/drawing/2014/main" id="{E49331DE-5862-0F85-0446-5A45B6F2A0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 l="26346" t="7137" r="21461"/>
            <a:stretch>
              <a:fillRect/>
            </a:stretch>
          </p:blipFill>
          <p:spPr>
            <a:xfrm>
              <a:off x="6686604" y="2357021"/>
              <a:ext cx="914400" cy="56587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A471B76B-49FE-3645-C098-D6CE0D771CAA}"/>
                </a:ext>
              </a:extLst>
            </p:cNvPr>
            <p:cNvSpPr/>
            <p:nvPr/>
          </p:nvSpPr>
          <p:spPr>
            <a:xfrm>
              <a:off x="6775466" y="2348755"/>
              <a:ext cx="701244" cy="574151"/>
            </a:xfrm>
            <a:prstGeom prst="rect">
              <a:avLst/>
            </a:prstGeom>
            <a:noFill/>
            <a:ln w="19046" cap="flat">
              <a:solidFill>
                <a:srgbClr val="EE0000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2000" b="0" i="0" u="none" strike="noStrike" kern="1200" cap="none" spc="0" baseline="0">
                <a:solidFill>
                  <a:srgbClr val="FFFFFF"/>
                </a:solidFill>
                <a:uFillTx/>
                <a:latin typeface="VELUX Transform Office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2958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(upto 11 subjects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1E7C8A7-F92F-3533-4475-B34D6407F88C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816102" y="0"/>
            <a:ext cx="5375903" cy="6858000"/>
          </a:xfrm>
        </p:spPr>
        <p:txBody>
          <a:bodyPr tIns="35999"/>
          <a:lstStyle>
            <a:lvl1pPr>
              <a:buNone/>
              <a:defRPr lang="en-GB" sz="1400"/>
            </a:lvl1pPr>
          </a:lstStyle>
          <a:p>
            <a:pPr lvl="0"/>
            <a:r>
              <a:rPr lang="en-GB"/>
              <a:t>Click on frame and select picture from Templafy Photos               or click on icon in frame to insert                                                     picture from your devi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519FCE-E97E-76E6-D5F2-BBD667681C18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6241200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6D7A591-E8B6-FEE0-7CF7-DA3D5AD5953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6250865" cy="457200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agenda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314987-EA8B-F0A2-E2A7-F5D1419A733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773" y="1663202"/>
            <a:ext cx="6241292" cy="4564803"/>
          </a:xfrm>
        </p:spPr>
        <p:txBody>
          <a:bodyPr/>
          <a:lstStyle>
            <a:lvl1pPr marL="514350" indent="-514350">
              <a:spcAft>
                <a:spcPts val="1000"/>
              </a:spcAft>
              <a:buFont typeface="VELUX Transform Office"/>
              <a:buAutoNum type="arabicPeriod"/>
              <a:defRPr lang="en-GB" sz="2100"/>
            </a:lvl1pPr>
          </a:lstStyle>
          <a:p>
            <a:pPr lvl="0"/>
            <a:r>
              <a:rPr lang="en-GB"/>
              <a:t>Click to add agenda topic </a:t>
            </a:r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B85AB6AD-3C7D-A646-C7EC-B90A0645D4F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3CE084CC-765A-477A-C7D2-52F8C5C631A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6960120" y="6361197"/>
            <a:ext cx="4869481" cy="2412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2B92E970-4CFB-3873-6CA7-A6AA643CA5B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AE70014-338E-4CB6-B159-AB917347C695}" type="slidenum">
              <a:t>‹#›</a:t>
            </a:fld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BAADDA5-DC8A-5F29-B464-98B1750E98C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347584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>
            <a:extLst>
              <a:ext uri="{FF2B5EF4-FFF2-40B4-BE49-F238E27FC236}">
                <a16:creationId xmlns:a16="http://schemas.microsoft.com/office/drawing/2014/main" id="{AA1FCB58-0FFC-7AFD-E6F0-CEA1306EA23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 anchorCtr="1"/>
          <a:lstStyle>
            <a:lvl1pPr algn="ctr">
              <a:defRPr lang="en-US">
                <a:solidFill>
                  <a:srgbClr val="898989"/>
                </a:solidFill>
              </a:defRPr>
            </a:lvl1pPr>
          </a:lstStyle>
          <a:p>
            <a:pPr lvl="0"/>
            <a:r>
              <a:rPr lang="en-US"/>
              <a:t>OUR LIVING PLACES SCIENCE TALK I 070923</a:t>
            </a:r>
            <a:endParaRPr lang="en-GB"/>
          </a:p>
        </p:txBody>
      </p:sp>
      <p:sp>
        <p:nvSpPr>
          <p:cNvPr id="3" name="Holder 3">
            <a:extLst>
              <a:ext uri="{FF2B5EF4-FFF2-40B4-BE49-F238E27FC236}">
                <a16:creationId xmlns:a16="http://schemas.microsoft.com/office/drawing/2014/main" id="{C6282BA6-9610-6C22-26A0-0FB0F6C8792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 lang="en-US">
                <a:solidFill>
                  <a:srgbClr val="898989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4" name="Holder 4">
            <a:extLst>
              <a:ext uri="{FF2B5EF4-FFF2-40B4-BE49-F238E27FC236}">
                <a16:creationId xmlns:a16="http://schemas.microsoft.com/office/drawing/2014/main" id="{F50E3937-E072-DD3C-E446-BA9689CC246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 algn="r">
              <a:defRPr>
                <a:solidFill>
                  <a:srgbClr val="898989"/>
                </a:solidFill>
              </a:defRPr>
            </a:lvl1pPr>
          </a:lstStyle>
          <a:p>
            <a:pPr lvl="0"/>
            <a:fld id="{EECAF09D-438C-49BC-9794-05727E39DADE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7067627"/>
      </p:ext>
    </p:extLst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(upto 11 subjects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C2C7DDA0-CA5E-A7E7-6516-E96EB5393623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6816102" y="0"/>
            <a:ext cx="5375903" cy="6858000"/>
          </a:xfrm>
        </p:spPr>
        <p:txBody>
          <a:bodyPr tIns="35999"/>
          <a:lstStyle>
            <a:lvl1pPr>
              <a:buNone/>
              <a:defRPr lang="en-GB" sz="1400">
                <a:latin typeface="Calibri"/>
              </a:defRPr>
            </a:lvl1pPr>
          </a:lstStyle>
          <a:p>
            <a:pPr lvl="0"/>
            <a:r>
              <a:rPr lang="en-GB"/>
              <a:t>Click on frame and select picture from Templafy Photos               or click on icon in frame to insert                                                     picture from your devi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EA4B92D-7B53-FE28-5EBF-F1B4C97D845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999"/>
            <a:ext cx="6241200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>
                <a:latin typeface="Calibri Light"/>
              </a:defRPr>
            </a:lvl1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B04608B-40E4-E07D-F19B-6293A56B261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6250865" cy="457200"/>
          </a:xfrm>
        </p:spPr>
        <p:txBody>
          <a:bodyPr/>
          <a:lstStyle>
            <a:lvl1pPr>
              <a:defRPr lang="en-GB">
                <a:latin typeface="Calibri Light"/>
              </a:defRPr>
            </a:lvl1pPr>
          </a:lstStyle>
          <a:p>
            <a:pPr lvl="0"/>
            <a:r>
              <a:rPr lang="en-GB"/>
              <a:t>Click to add agenda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49E458-911F-A974-C7C0-0AC23CA91F6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773" y="1663202"/>
            <a:ext cx="6241292" cy="4564803"/>
          </a:xfrm>
        </p:spPr>
        <p:txBody>
          <a:bodyPr/>
          <a:lstStyle>
            <a:lvl1pPr marL="514350" indent="-514350">
              <a:spcAft>
                <a:spcPts val="1000"/>
              </a:spcAft>
              <a:buFont typeface="Calibri Light"/>
              <a:buAutoNum type="arabicPeriod"/>
              <a:defRPr lang="en-GB" sz="2100">
                <a:latin typeface="Calibri"/>
              </a:defRPr>
            </a:lvl1pPr>
          </a:lstStyle>
          <a:p>
            <a:pPr lvl="0"/>
            <a:r>
              <a:rPr lang="en-GB"/>
              <a:t>Click to add agenda topic </a:t>
            </a:r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84D0BD8A-37C2-1BE8-4A8D-C9ACDD2904D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Calibri"/>
              </a:defRPr>
            </a:lvl1pPr>
          </a:lstStyle>
          <a:p>
            <a:pPr lvl="0"/>
            <a:endParaRPr lang="en-GB"/>
          </a:p>
        </p:txBody>
      </p:sp>
      <p:sp>
        <p:nvSpPr>
          <p:cNvPr id="7" name="FLD_Presentation">
            <a:extLst>
              <a:ext uri="{FF2B5EF4-FFF2-40B4-BE49-F238E27FC236}">
                <a16:creationId xmlns:a16="http://schemas.microsoft.com/office/drawing/2014/main" id="{3855AA4E-1703-A77F-CC02-26105121B45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6960120" y="6361197"/>
            <a:ext cx="4869481" cy="241200"/>
          </a:xfrm>
        </p:spPr>
        <p:txBody>
          <a:bodyPr/>
          <a:lstStyle>
            <a:lvl1pPr>
              <a:defRPr lang="en-US">
                <a:solidFill>
                  <a:srgbClr val="FFFFFF"/>
                </a:solidFill>
                <a:latin typeface="Calibri"/>
              </a:defRPr>
            </a:lvl1pPr>
          </a:lstStyle>
          <a:p>
            <a:pPr lvl="0"/>
            <a:r>
              <a:rPr lang="en-US"/>
              <a:t>OUR LIVING PLACES SCIENCE TALK I 070923</a:t>
            </a:r>
            <a:endParaRPr lang="en-GB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F96D3574-A45B-F103-08E2-1A5A9BB01B4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latin typeface="Calibri"/>
              </a:defRPr>
            </a:lvl1pPr>
          </a:lstStyle>
          <a:p>
            <a:pPr lvl="0"/>
            <a:fld id="{E14CC80B-C125-4383-AE52-C8E2312B0242}" type="slidenum">
              <a:t>‹#›</a:t>
            </a:fld>
            <a:endParaRPr lang="en-GB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AB1B6CD1-E269-1102-2DD8-0C60DFED977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16148685"/>
      </p:ext>
    </p:extLst>
  </p:cSld>
  <p:clrMapOvr>
    <a:masterClrMapping/>
  </p:clrMapOvr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C6A705-BF84-EAE9-D4E0-254224CBF0B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  <a:endParaRPr lang="en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F831F6-7B6C-2FE6-2DF8-6F33A3E1F0AC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548730-25DA-CA51-7510-5F7EF590E21B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 lang="en-DK"/>
            </a:lvl1pPr>
          </a:lstStyle>
          <a:p>
            <a:pPr lvl="0"/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6688E6-C530-6EB5-3D5C-11713D6DCF7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OUR LIVING PLACES SCIENCE TALK I 070923</a:t>
            </a:r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6C4F62-8822-FC9A-CE21-E5715B813C3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 lang="en-DK"/>
            </a:lvl1pPr>
          </a:lstStyle>
          <a:p>
            <a:pPr lvl="0"/>
            <a:fld id="{659635C6-096F-4731-89FB-0819D7BBCB3A}" type="slidenum"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854002869"/>
      </p:ext>
    </p:extLst>
  </p:cSld>
  <p:clrMapOvr>
    <a:masterClrMapping/>
  </p:clrMapOvr>
  <p:hf sldNum="0"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E139C8F1-66F0-4402-B3A3-692DEB37D9A7}"/>
              </a:ext>
            </a:extLst>
          </p:cNvPr>
          <p:cNvGraphicFramePr/>
          <p:nvPr/>
        </p:nvGraphicFramePr>
        <p:xfrm>
          <a:off x="1591" y="1591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8313" imgH="8313" progId="">
                  <p:embed/>
                </p:oleObj>
              </mc:Choice>
              <mc:Fallback>
                <p:oleObj r:id="rId2" imgW="8313" imgH="8313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E139C8F1-66F0-4402-B3A3-692DEB37D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1" hidden="1">
            <a:extLst>
              <a:ext uri="{FF2B5EF4-FFF2-40B4-BE49-F238E27FC236}">
                <a16:creationId xmlns:a16="http://schemas.microsoft.com/office/drawing/2014/main" id="{FBEFD53D-446A-D1C9-797F-94C9CADC025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358874" y="7004221"/>
            <a:ext cx="489277" cy="241200"/>
          </a:xfrm>
        </p:spPr>
        <p:txBody>
          <a:bodyPr/>
          <a:lstStyle>
            <a:lvl1pPr>
              <a:defRPr sz="100"/>
            </a:lvl1pPr>
          </a:lstStyle>
          <a:p>
            <a:pPr lvl="0"/>
            <a:fld id="{9ED5C76C-E44F-42D7-88BD-BAD724E4F6AB}" type="slidenum">
              <a:t>‹#›</a:t>
            </a:fld>
            <a:endParaRPr lang="en-GB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B151D6C2-DEF6-A130-847B-F01B767A1DF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262043" y="212908"/>
            <a:ext cx="718956" cy="243943"/>
          </a:xfrm>
          <a:blipFill>
            <a:blip r:embed="rId4"/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5" name="Date Placeholder" hidden="1">
            <a:extLst>
              <a:ext uri="{FF2B5EF4-FFF2-40B4-BE49-F238E27FC236}">
                <a16:creationId xmlns:a16="http://schemas.microsoft.com/office/drawing/2014/main" id="{698ADF58-C5F2-9033-1824-FB1CA13CCE4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912004"/>
            <a:ext cx="0" cy="0"/>
          </a:xfrm>
        </p:spPr>
        <p:txBody>
          <a:bodyPr/>
          <a:lstStyle>
            <a:lvl1pPr>
              <a:defRPr sz="1500"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6" name="FLD_Presentation">
            <a:extLst>
              <a:ext uri="{FF2B5EF4-FFF2-40B4-BE49-F238E27FC236}">
                <a16:creationId xmlns:a16="http://schemas.microsoft.com/office/drawing/2014/main" id="{A8292401-EDBE-641F-F2B9-BB3526C6D11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OUR LIVING PLACES SCIENCE TALK I 0709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5159264"/>
      </p:ext>
    </p:extLst>
  </p:cSld>
  <p:clrMapOvr>
    <a:masterClrMapping/>
  </p:clrMapOvr>
  <p:hf sldNum="0"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1+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281EF-700F-8A3B-7419-A65DDBE3FAA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E53921-1E42-7384-E9D3-EF840BF5F4D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74" y="1663695"/>
            <a:ext cx="6593016" cy="4564803"/>
          </a:xfrm>
        </p:spPr>
        <p:txBody>
          <a:bodyPr/>
          <a:lstStyle>
            <a:lvl1pPr>
              <a:defRPr lang="en-GB"/>
            </a:lvl1pPr>
            <a:lvl2pPr>
              <a:defRPr lang="en-GB" sz="3200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Use TAB and SHIFT+TAB to jump between text- and bullet-levels. Click ENTER and TAB for nex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28A703-304A-BD08-B03B-2527CCE22F18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190073" y="1663695"/>
            <a:ext cx="4641476" cy="2149196"/>
          </a:xfrm>
        </p:spPr>
        <p:txBody>
          <a:bodyPr tIns="899998" anchor="ctr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Add photo via “Insert” tab and “Pictures” butt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62D8D51-E04A-F0A8-9697-0154C0DD72DA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7190073" y="4059515"/>
            <a:ext cx="2202432" cy="2149196"/>
          </a:xfrm>
        </p:spPr>
        <p:txBody>
          <a:bodyPr tIns="1043997" anchor="ctr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Add photo via “Insert” tab and “Pictures” butto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172FEF1-E61C-8872-3705-C3370C4A77F6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9629107" y="4059515"/>
            <a:ext cx="2202442" cy="2149196"/>
          </a:xfrm>
        </p:spPr>
        <p:txBody>
          <a:bodyPr tIns="1043997" anchor="ctr" anchorCtr="1"/>
          <a:lstStyle>
            <a:lvl1pPr algn="ctr">
              <a:buNone/>
              <a:defRPr lang="en-GB" sz="1400"/>
            </a:lvl1pPr>
          </a:lstStyle>
          <a:p>
            <a:pPr lvl="0"/>
            <a:r>
              <a:rPr lang="en-GB"/>
              <a:t>Add photo via “Insert” tab and “Pictures” button</a:t>
            </a:r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817EBBFD-D358-971A-E54A-204111F3304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297E8548-33C4-BA9F-F07E-96BCA7C27BC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OUR LIVING PLACES SCIENCE TALK I 070923</a:t>
            </a:r>
            <a:endParaRPr lang="en-GB"/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A163E91B-290D-484F-4F76-9EFFE47AE6D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4F6DE49-1AC9-4020-8CEA-5282209DA548}" type="slidenum">
              <a:t>‹#›</a:t>
            </a:fld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7FF7671-0B67-D283-EC2E-28A65282C732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16803"/>
            <a:ext cx="951001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 cap="all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2118912321"/>
      </p:ext>
    </p:extLst>
  </p:cSld>
  <p:clrMapOvr>
    <a:masterClrMapping/>
  </p:clrMapOvr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ckground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6CA0AA57-F05B-4167-E206-6662F26600B8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12191996" cy="6858000"/>
          </a:xfrm>
        </p:spPr>
        <p:txBody>
          <a:bodyPr tIns="899998" anchor="ctr" anchorCtr="1">
            <a:normAutofit/>
          </a:bodyPr>
          <a:lstStyle>
            <a:lvl1pPr algn="ctr">
              <a:buNone/>
              <a:defRPr lang="en-GB" sz="2097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F602C06-F5DF-FFC9-CB8C-4A8DEB86EC51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5BA7C66-DAD3-154A-6FF8-E3AEAE7D580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238253"/>
            <a:ext cx="6593016" cy="5047204"/>
          </a:xfrm>
        </p:spPr>
        <p:txBody>
          <a:bodyPr/>
          <a:lstStyle>
            <a:lvl1pPr>
              <a:defRPr lang="en-GB" sz="3197"/>
            </a:lvl1pPr>
            <a:lvl2pPr marL="179835">
              <a:defRPr lang="en-GB" sz="3197"/>
            </a:lvl2pPr>
            <a:lvl3pPr marL="359670">
              <a:defRPr lang="en-GB" sz="2097"/>
            </a:lvl3pPr>
            <a:lvl4pPr marL="539505">
              <a:defRPr lang="en-GB" sz="1797"/>
            </a:lvl4pPr>
            <a:lvl5pPr>
              <a:defRPr lang="en-GB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88693816-7B3F-3C69-99D9-F2F83DF7E90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B0B0B0"/>
                </a:solidFill>
                <a:latin typeface="VELUXforOffice"/>
              </a:defRPr>
            </a:lvl1pPr>
          </a:lstStyle>
          <a:p>
            <a:pPr lvl="0"/>
            <a:fld id="{33045FDA-4D0C-4D20-909D-3D9AFFE9B525}" type="slidenum">
              <a:t>‹#›</a:t>
            </a:fld>
            <a:endParaRPr lang="en-GB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80F9A61-14C5-187E-B7E7-F6DECEED6F18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 cap="all">
                <a:solidFill>
                  <a:srgbClr val="B0B0B0"/>
                </a:solidFill>
                <a:latin typeface="VELUXforOffice"/>
              </a:defRPr>
            </a:lvl1pPr>
          </a:lstStyle>
          <a:p>
            <a:pPr lvl="0"/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5EB547-711F-3A99-5D17-891DDD627D6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 lang="en-US" cap="all">
                <a:solidFill>
                  <a:srgbClr val="B0B0B0"/>
                </a:solidFill>
                <a:latin typeface="VELUXforOffice"/>
              </a:defRPr>
            </a:lvl1pPr>
          </a:lstStyle>
          <a:p>
            <a:pPr lvl="0"/>
            <a:r>
              <a:rPr lang="en-US"/>
              <a:t>OUR LIVING PLACES SCIENCE TALK I 0709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7490581"/>
      </p:ext>
    </p:extLst>
  </p:cSld>
  <p:clrMapOvr>
    <a:masterClrMapping/>
  </p:clrMapOvr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>
            <a:extLst>
              <a:ext uri="{FF2B5EF4-FFF2-40B4-BE49-F238E27FC236}">
                <a16:creationId xmlns:a16="http://schemas.microsoft.com/office/drawing/2014/main" id="{D619929E-CB4E-6D2A-4EA4-EA5BCFD4B38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401" y="273597"/>
            <a:ext cx="10972086" cy="1144801"/>
          </a:xfrm>
        </p:spPr>
        <p:txBody>
          <a:bodyPr anchor="ctr" anchorCtr="1"/>
          <a:lstStyle>
            <a:lvl1pPr algn="ctr">
              <a:defRPr sz="4400" spc="-1">
                <a:latin typeface="Arial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ceHolder 2">
            <a:extLst>
              <a:ext uri="{FF2B5EF4-FFF2-40B4-BE49-F238E27FC236}">
                <a16:creationId xmlns:a16="http://schemas.microsoft.com/office/drawing/2014/main" id="{6FD88058-72C3-8681-7EA6-3502383D1805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09401" y="1604515"/>
            <a:ext cx="10972086" cy="3977283"/>
          </a:xfrm>
        </p:spPr>
        <p:txBody>
          <a:bodyPr>
            <a:normAutofit/>
          </a:bodyPr>
          <a:lstStyle>
            <a:lvl1pPr>
              <a:defRPr sz="3200" spc="-1">
                <a:latin typeface="Arial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64069"/>
      </p:ext>
    </p:extLst>
  </p:cSld>
  <p:clrMapOvr>
    <a:masterClrMapping/>
  </p:clrMapOvr>
  <p:hf sldNum="0"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5472000" tIns="36000" anchor="t" anchorCtr="0">
            <a:noAutofit/>
          </a:bodyPr>
          <a:lstStyle>
            <a:lvl1pPr marL="0" indent="0" algn="l">
              <a:buFontTx/>
              <a:buNone/>
              <a:tabLst>
                <a:tab pos="1159727" algn="l"/>
              </a:tabLst>
              <a:defRPr sz="1398" baseline="0"/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" y="0"/>
            <a:ext cx="5374800" cy="6858000"/>
          </a:xfrm>
          <a:solidFill>
            <a:srgbClr val="EBE6DE"/>
          </a:solidFill>
        </p:spPr>
        <p:txBody>
          <a:bodyPr lIns="360000" tIns="1216800" rIns="180000" bIns="3621600" anchor="b" anchorCtr="0">
            <a:noAutofit/>
          </a:bodyPr>
          <a:lstStyle>
            <a:lvl1pPr>
              <a:lnSpc>
                <a:spcPct val="90000"/>
              </a:lnSpc>
              <a:defRPr sz="3892" b="0" i="0" baseline="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43029" name="Rectangle 21" hidden="1"/>
          <p:cNvSpPr>
            <a:spLocks noGrp="1" noChangeArrowheads="1"/>
          </p:cNvSpPr>
          <p:nvPr>
            <p:ph type="sldNum" sz="quarter" idx="4"/>
          </p:nvPr>
        </p:nvSpPr>
        <p:spPr>
          <a:xfrm>
            <a:off x="358872" y="7004224"/>
            <a:ext cx="489281" cy="241200"/>
          </a:xfrm>
        </p:spPr>
        <p:txBody>
          <a:bodyPr/>
          <a:lstStyle>
            <a:lvl1pPr>
              <a:defRPr sz="100"/>
            </a:lvl1pPr>
          </a:lstStyle>
          <a:p>
            <a:fld id="{1A17C83B-5FE3-4737-A842-C0492A7A61F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4294800" y="5409791"/>
            <a:ext cx="2160000" cy="725625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84984"/>
            <a:ext cx="4874400" cy="1113408"/>
          </a:xfrm>
        </p:spPr>
        <p:txBody>
          <a:bodyPr anchor="t" anchorCtr="0"/>
          <a:lstStyle>
            <a:lvl1pPr marL="0" indent="0" algn="l">
              <a:buNone/>
              <a:defRPr sz="3194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3" name="Date Placeholder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498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LD_Presentation"/>
          <p:cNvSpPr>
            <a:spLocks noGrp="1"/>
          </p:cNvSpPr>
          <p:nvPr>
            <p:ph type="ftr" sz="quarter" idx="19"/>
          </p:nvPr>
        </p:nvSpPr>
        <p:spPr>
          <a:xfrm>
            <a:off x="5519922" y="6361200"/>
            <a:ext cx="6309680" cy="2412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" name="FLD_Presenter_Place">
            <a:extLst>
              <a:ext uri="{FF2B5EF4-FFF2-40B4-BE49-F238E27FC236}">
                <a16:creationId xmlns:a16="http://schemas.microsoft.com/office/drawing/2014/main" id="{4D5A7C69-0041-21A5-CE33-858CBA8B0A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869" y="233297"/>
            <a:ext cx="4874400" cy="310731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498" i="0" cap="none" baseline="0"/>
            </a:lvl1pPr>
            <a:lvl2pPr marL="0" indent="0">
              <a:buFont typeface="Arial" panose="020B0604020202020204" pitchFamily="34" charset="0"/>
              <a:buNone/>
              <a:defRPr sz="1498" cap="all" baseline="0"/>
            </a:lvl2pPr>
            <a:lvl3pPr marL="0" indent="0">
              <a:buFont typeface="Arial" panose="020B0604020202020204" pitchFamily="34" charset="0"/>
              <a:buNone/>
              <a:defRPr sz="1498" cap="all" baseline="0"/>
            </a:lvl3pPr>
            <a:lvl4pPr marL="0" indent="0">
              <a:buFont typeface="Arial" panose="020B0604020202020204" pitchFamily="34" charset="0"/>
              <a:buNone/>
              <a:defRPr sz="1498" cap="all" baseline="0"/>
            </a:lvl4pPr>
            <a:lvl5pPr marL="0" indent="0">
              <a:buFont typeface="Arial" panose="020B0604020202020204" pitchFamily="34" charset="0"/>
              <a:buNone/>
              <a:defRPr sz="1498" cap="all" baseline="0"/>
            </a:lvl5pPr>
          </a:lstStyle>
          <a:p>
            <a:pPr lvl="0"/>
            <a:r>
              <a:rPr lang="en-GB" dirty="0"/>
              <a:t>Click to add presenter / place</a:t>
            </a:r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FA6B9BCA-0600-9A5F-14B3-5FABBE6418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869" y="581982"/>
            <a:ext cx="4874400" cy="263383"/>
          </a:xfrm>
        </p:spPr>
        <p:txBody>
          <a:bodyPr anchor="t" anchorCtr="0"/>
          <a:lstStyle>
            <a:lvl1pPr marL="0" indent="0">
              <a:buFont typeface="Arial" panose="020B0604020202020204" pitchFamily="34" charset="0"/>
              <a:buNone/>
              <a:defRPr sz="1498" i="0" cap="none" baseline="0"/>
            </a:lvl1pPr>
            <a:lvl2pPr marL="0" indent="0">
              <a:buFont typeface="Arial" panose="020B0604020202020204" pitchFamily="34" charset="0"/>
              <a:buNone/>
              <a:defRPr sz="1498"/>
            </a:lvl2pPr>
            <a:lvl3pPr marL="0" indent="0">
              <a:buFont typeface="Arial" panose="020B0604020202020204" pitchFamily="34" charset="0"/>
              <a:buNone/>
              <a:defRPr sz="1498"/>
            </a:lvl3pPr>
            <a:lvl4pPr marL="0" indent="0">
              <a:buFont typeface="Arial" panose="020B0604020202020204" pitchFamily="34" charset="0"/>
              <a:buNone/>
              <a:defRPr sz="1498"/>
            </a:lvl4pPr>
            <a:lvl5pPr marL="0" indent="0">
              <a:buFont typeface="Arial" panose="020B0604020202020204" pitchFamily="34" charset="0"/>
              <a:buNone/>
              <a:defRPr sz="1498"/>
            </a:lvl5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4" name="Slide Number Placeholder 2" hidden="1">
            <a:extLst>
              <a:ext uri="{FF2B5EF4-FFF2-40B4-BE49-F238E27FC236}">
                <a16:creationId xmlns:a16="http://schemas.microsoft.com/office/drawing/2014/main" id="{5B328362-2368-BEE8-6B38-1B0A0D38C779}"/>
              </a:ext>
            </a:extLst>
          </p:cNvPr>
          <p:cNvSpPr txBox="1">
            <a:spLocks/>
          </p:cNvSpPr>
          <p:nvPr userDrawn="1"/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33" b="0" i="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0292E62-ABCD-4E1A-9CD4-1F4D24B7AC52}" type="slidenum">
              <a:rPr lang="en-GB" sz="133" smtClean="0"/>
              <a:pPr/>
              <a:t>‹#›</a:t>
            </a:fld>
            <a:endParaRPr lang="en-GB" sz="133" dirty="0"/>
          </a:p>
        </p:txBody>
      </p:sp>
    </p:spTree>
    <p:extLst>
      <p:ext uri="{BB962C8B-B14F-4D97-AF65-F5344CB8AC3E}">
        <p14:creationId xmlns:p14="http://schemas.microsoft.com/office/powerpoint/2010/main" val="26370204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F9D088DF-8471-C55B-B091-9A7E9A7543F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</p:spPr>
        <p:txBody>
          <a:bodyPr lIns="5472000" tIns="36000"/>
          <a:lstStyle>
            <a:lvl1pPr algn="l"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194178E-493F-486B-9E30-9B4B16CFA5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" y="0"/>
            <a:ext cx="5374800" cy="6858000"/>
          </a:xfrm>
          <a:solidFill>
            <a:srgbClr val="EBE6DE">
              <a:alpha val="85000"/>
            </a:srgbClr>
          </a:solidFill>
        </p:spPr>
        <p:txBody>
          <a:bodyPr lIns="360000" tIns="1216800" rIns="180000" bIns="3621600" anchor="b" anchorCtr="0">
            <a:noAutofit/>
          </a:bodyPr>
          <a:lstStyle>
            <a:lvl1pPr>
              <a:lnSpc>
                <a:spcPct val="90000"/>
              </a:lnSpc>
              <a:defRPr sz="3892" b="0" i="0" baseline="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3" name="Date Placeholder" hidden="1"/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498"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8" name="FLD_Presentation">
            <a:extLst>
              <a:ext uri="{FF2B5EF4-FFF2-40B4-BE49-F238E27FC236}">
                <a16:creationId xmlns:a16="http://schemas.microsoft.com/office/drawing/2014/main" id="{6C470B98-ABD6-C855-437C-56659A98CA9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446802" y="6361200"/>
            <a:ext cx="6382800" cy="241200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B7FE2C0F-461B-E4FB-291D-F40BB73B1E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71" y="3284984"/>
            <a:ext cx="4873008" cy="1113408"/>
          </a:xfrm>
        </p:spPr>
        <p:txBody>
          <a:bodyPr anchor="t" anchorCtr="0"/>
          <a:lstStyle>
            <a:lvl1pPr marL="0" indent="0" algn="l">
              <a:buNone/>
              <a:defRPr sz="3194" b="0" i="0" baseline="0">
                <a:latin typeface="+mj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9" name="FLD_Presenter_Place">
            <a:extLst>
              <a:ext uri="{FF2B5EF4-FFF2-40B4-BE49-F238E27FC236}">
                <a16:creationId xmlns:a16="http://schemas.microsoft.com/office/drawing/2014/main" id="{E9A0B081-AA6A-9D22-5F44-711D0222AD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870" y="233297"/>
            <a:ext cx="4873010" cy="310731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498" b="0" i="0" cap="none" baseline="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1498" cap="all" baseline="0"/>
            </a:lvl2pPr>
            <a:lvl3pPr marL="0" indent="0">
              <a:buFont typeface="Arial" panose="020B0604020202020204" pitchFamily="34" charset="0"/>
              <a:buNone/>
              <a:defRPr sz="1498" cap="all" baseline="0"/>
            </a:lvl3pPr>
            <a:lvl4pPr marL="0" indent="0">
              <a:buFont typeface="Arial" panose="020B0604020202020204" pitchFamily="34" charset="0"/>
              <a:buNone/>
              <a:defRPr sz="1498" cap="all" baseline="0"/>
            </a:lvl4pPr>
            <a:lvl5pPr marL="0" indent="0">
              <a:buFont typeface="Arial" panose="020B0604020202020204" pitchFamily="34" charset="0"/>
              <a:buNone/>
              <a:defRPr sz="1498" cap="all" baseline="0"/>
            </a:lvl5pPr>
          </a:lstStyle>
          <a:p>
            <a:pPr lvl="0"/>
            <a:r>
              <a:rPr lang="en-GB" dirty="0"/>
              <a:t>Click to add presenter / place</a:t>
            </a:r>
          </a:p>
        </p:txBody>
      </p:sp>
      <p:sp>
        <p:nvSpPr>
          <p:cNvPr id="20" name="Date_DateCustomA">
            <a:extLst>
              <a:ext uri="{FF2B5EF4-FFF2-40B4-BE49-F238E27FC236}">
                <a16:creationId xmlns:a16="http://schemas.microsoft.com/office/drawing/2014/main" id="{8F6167DA-80FE-693B-5C69-D9DE01A3E2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870" y="581982"/>
            <a:ext cx="4873010" cy="263383"/>
          </a:xfrm>
        </p:spPr>
        <p:txBody>
          <a:bodyPr anchor="t" anchorCtr="0"/>
          <a:lstStyle>
            <a:lvl1pPr marL="0" indent="0">
              <a:buFont typeface="Arial" panose="020B0604020202020204" pitchFamily="34" charset="0"/>
              <a:buNone/>
              <a:defRPr sz="1498" b="0" i="0" cap="none" baseline="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1498"/>
            </a:lvl2pPr>
            <a:lvl3pPr marL="0" indent="0">
              <a:buFont typeface="Arial" panose="020B0604020202020204" pitchFamily="34" charset="0"/>
              <a:buNone/>
              <a:defRPr sz="1498"/>
            </a:lvl3pPr>
            <a:lvl4pPr marL="0" indent="0">
              <a:buFont typeface="Arial" panose="020B0604020202020204" pitchFamily="34" charset="0"/>
              <a:buNone/>
              <a:defRPr sz="1498"/>
            </a:lvl4pPr>
            <a:lvl5pPr marL="0" indent="0">
              <a:buFont typeface="Arial" panose="020B0604020202020204" pitchFamily="34" charset="0"/>
              <a:buNone/>
              <a:defRPr sz="1498"/>
            </a:lvl5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17F7E5-7F5E-4F26-E93F-BC9B7F581296}"/>
              </a:ext>
            </a:extLst>
          </p:cNvPr>
          <p:cNvSpPr txBox="1"/>
          <p:nvPr userDrawn="1"/>
        </p:nvSpPr>
        <p:spPr>
          <a:xfrm>
            <a:off x="358869" y="-360000"/>
            <a:ext cx="26407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398" b="0" i="0" dirty="0">
                <a:latin typeface="+mn-lt"/>
              </a:rPr>
              <a:t>Box: Transparency 15%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C2D7FD1A-F5F6-635D-60BC-6015C72AC3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4800" y="5409791"/>
            <a:ext cx="2160000" cy="725625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5" name="Slide Number Placeholder 2" hidden="1">
            <a:extLst>
              <a:ext uri="{FF2B5EF4-FFF2-40B4-BE49-F238E27FC236}">
                <a16:creationId xmlns:a16="http://schemas.microsoft.com/office/drawing/2014/main" id="{9AA9A528-FD74-1456-066F-379101AE6B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52400" y="7010400"/>
            <a:ext cx="0" cy="0"/>
          </a:xfrm>
        </p:spPr>
        <p:txBody>
          <a:bodyPr/>
          <a:lstStyle>
            <a:lvl1pPr>
              <a:defRPr sz="133" b="0" i="0">
                <a:noFill/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311381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8">
            <a:extLst>
              <a:ext uri="{FF2B5EF4-FFF2-40B4-BE49-F238E27FC236}">
                <a16:creationId xmlns:a16="http://schemas.microsoft.com/office/drawing/2014/main" id="{88EBACAE-EC11-26CD-CAB4-0804DBEF93B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</p:spPr>
        <p:txBody>
          <a:bodyPr tIns="36000"/>
          <a:lstStyle>
            <a:lvl1pPr algn="ctr"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7C3A4BC-3BD0-368D-C824-830CB3C53E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172400"/>
            <a:ext cx="12193200" cy="2689200"/>
          </a:xfrm>
          <a:solidFill>
            <a:srgbClr val="EBE6DE"/>
          </a:solidFill>
        </p:spPr>
        <p:txBody>
          <a:bodyPr lIns="360000" tIns="0" rIns="180000" bIns="1558800" anchor="b" anchorCtr="0">
            <a:noAutofit/>
          </a:bodyPr>
          <a:lstStyle>
            <a:lvl1pPr>
              <a:lnSpc>
                <a:spcPct val="90000"/>
              </a:lnSpc>
              <a:defRPr sz="3892" b="0" i="0" baseline="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5350643"/>
            <a:ext cx="9521128" cy="1113408"/>
          </a:xfrm>
        </p:spPr>
        <p:txBody>
          <a:bodyPr anchor="t" anchorCtr="0"/>
          <a:lstStyle>
            <a:lvl1pPr marL="0" indent="0" algn="l">
              <a:buNone/>
              <a:defRPr sz="3194" b="0" i="0" baseline="0">
                <a:latin typeface="+mj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FLD_Presenter_Place"/>
          <p:cNvSpPr>
            <a:spLocks noGrp="1"/>
          </p:cNvSpPr>
          <p:nvPr>
            <p:ph type="body" sz="quarter" idx="16" hasCustomPrompt="1"/>
          </p:nvPr>
        </p:nvSpPr>
        <p:spPr>
          <a:xfrm>
            <a:off x="358870" y="233297"/>
            <a:ext cx="9507444" cy="310731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498" b="0" i="0" cap="none" baseline="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1498" cap="all" baseline="0"/>
            </a:lvl2pPr>
            <a:lvl3pPr marL="0" indent="0">
              <a:buFont typeface="Arial" panose="020B0604020202020204" pitchFamily="34" charset="0"/>
              <a:buNone/>
              <a:defRPr sz="1498" cap="all" baseline="0"/>
            </a:lvl3pPr>
            <a:lvl4pPr marL="0" indent="0">
              <a:buFont typeface="Arial" panose="020B0604020202020204" pitchFamily="34" charset="0"/>
              <a:buNone/>
              <a:defRPr sz="1498" cap="all" baseline="0"/>
            </a:lvl4pPr>
            <a:lvl5pPr marL="0" indent="0">
              <a:buFont typeface="Arial" panose="020B0604020202020204" pitchFamily="34" charset="0"/>
              <a:buNone/>
              <a:defRPr sz="1498" cap="all" baseline="0"/>
            </a:lvl5pPr>
          </a:lstStyle>
          <a:p>
            <a:pPr lvl="0"/>
            <a:r>
              <a:rPr lang="en-GB" dirty="0"/>
              <a:t>Click to add presenter / place</a:t>
            </a:r>
          </a:p>
        </p:txBody>
      </p:sp>
      <p:sp>
        <p:nvSpPr>
          <p:cNvPr id="6" name="Date_DateCustomA"/>
          <p:cNvSpPr>
            <a:spLocks noGrp="1"/>
          </p:cNvSpPr>
          <p:nvPr>
            <p:ph type="body" sz="quarter" idx="17" hasCustomPrompt="1"/>
          </p:nvPr>
        </p:nvSpPr>
        <p:spPr>
          <a:xfrm>
            <a:off x="358870" y="581982"/>
            <a:ext cx="9507444" cy="263383"/>
          </a:xfrm>
        </p:spPr>
        <p:txBody>
          <a:bodyPr anchor="t" anchorCtr="0"/>
          <a:lstStyle>
            <a:lvl1pPr marL="0" indent="0">
              <a:buFont typeface="Arial" panose="020B0604020202020204" pitchFamily="34" charset="0"/>
              <a:buNone/>
              <a:defRPr sz="1498" b="0" i="0" cap="none" baseline="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1498"/>
            </a:lvl2pPr>
            <a:lvl3pPr marL="0" indent="0">
              <a:buFont typeface="Arial" panose="020B0604020202020204" pitchFamily="34" charset="0"/>
              <a:buNone/>
              <a:defRPr sz="1498"/>
            </a:lvl3pPr>
            <a:lvl4pPr marL="0" indent="0">
              <a:buFont typeface="Arial" panose="020B0604020202020204" pitchFamily="34" charset="0"/>
              <a:buNone/>
              <a:defRPr sz="1498"/>
            </a:lvl4pPr>
            <a:lvl5pPr marL="0" indent="0">
              <a:buFont typeface="Arial" panose="020B0604020202020204" pitchFamily="34" charset="0"/>
              <a:buNone/>
              <a:defRPr sz="1498"/>
            </a:lvl5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13" name="Date Placeholder" hidden="1"/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498"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0" name="FLD_Presentation">
            <a:extLst>
              <a:ext uri="{FF2B5EF4-FFF2-40B4-BE49-F238E27FC236}">
                <a16:creationId xmlns:a16="http://schemas.microsoft.com/office/drawing/2014/main" id="{C4B88E5F-3A10-FAAA-8EF1-916FA038E69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446802" y="6361200"/>
            <a:ext cx="6382800" cy="241200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E4632881-FCE0-D1F0-590B-3B6CC23EA8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90084" y="3773310"/>
            <a:ext cx="2160000" cy="725625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Slide Number Placeholder 2" hidden="1">
            <a:extLst>
              <a:ext uri="{FF2B5EF4-FFF2-40B4-BE49-F238E27FC236}">
                <a16:creationId xmlns:a16="http://schemas.microsoft.com/office/drawing/2014/main" id="{462ADBC3-68C6-7D1D-3AE6-675E78079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52400" y="7010400"/>
            <a:ext cx="0" cy="0"/>
          </a:xfrm>
        </p:spPr>
        <p:txBody>
          <a:bodyPr/>
          <a:lstStyle>
            <a:lvl1pPr>
              <a:defRPr sz="133" b="0" i="0">
                <a:noFill/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801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">
    <p:bg>
      <p:bgPr>
        <a:solidFill>
          <a:srgbClr val="E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812DBB07-5483-837F-FCAF-2BB077E5F171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29285F6-97F8-90DE-A878-8C8D066BAFC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58874" y="758823"/>
            <a:ext cx="9507446" cy="3389424"/>
          </a:xfrm>
        </p:spPr>
        <p:txBody>
          <a:bodyPr>
            <a:normAutofit/>
          </a:bodyPr>
          <a:lstStyle>
            <a:lvl1pPr>
              <a:defRPr lang="en-GB" sz="5500"/>
            </a:lvl1pPr>
          </a:lstStyle>
          <a:p>
            <a:pPr lvl="0"/>
            <a:r>
              <a:rPr lang="en-GB"/>
              <a:t>Click to add chapter title</a:t>
            </a:r>
          </a:p>
        </p:txBody>
      </p:sp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12FE941B-A6A3-088B-E400-8200EDC61E08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" name="FLD_Presentation">
            <a:extLst>
              <a:ext uri="{FF2B5EF4-FFF2-40B4-BE49-F238E27FC236}">
                <a16:creationId xmlns:a16="http://schemas.microsoft.com/office/drawing/2014/main" id="{9CF8907C-0297-009B-E52C-26DD867D65A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6" name="Slide Number Placeholder 4" hidden="1">
            <a:extLst>
              <a:ext uri="{FF2B5EF4-FFF2-40B4-BE49-F238E27FC236}">
                <a16:creationId xmlns:a16="http://schemas.microsoft.com/office/drawing/2014/main" id="{0610E931-C20C-16EB-A36C-C9092E6A95A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5E24493-F202-4017-82B3-C47ED8B83B0B}" type="slidenum">
              <a:t>‹#›</a:t>
            </a:fld>
            <a:endParaRPr lang="en-GB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E1BCFBC-5BB5-1E56-705B-69331D0BCE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4683237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8">
            <a:extLst>
              <a:ext uri="{FF2B5EF4-FFF2-40B4-BE49-F238E27FC236}">
                <a16:creationId xmlns:a16="http://schemas.microsoft.com/office/drawing/2014/main" id="{88EBACAE-EC11-26CD-CAB4-0804DBEF93B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</p:spPr>
        <p:txBody>
          <a:bodyPr tIns="36000"/>
          <a:lstStyle>
            <a:lvl1pPr algn="ctr"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12A35EF-F876-61FD-C70C-9DC175AF6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172400"/>
            <a:ext cx="12193200" cy="2689200"/>
          </a:xfrm>
          <a:solidFill>
            <a:srgbClr val="EBE6DE">
              <a:alpha val="85000"/>
            </a:srgbClr>
          </a:solidFill>
        </p:spPr>
        <p:txBody>
          <a:bodyPr lIns="360000" tIns="0" rIns="180000" bIns="1558800" anchor="b" anchorCtr="0">
            <a:noAutofit/>
          </a:bodyPr>
          <a:lstStyle>
            <a:lvl1pPr>
              <a:lnSpc>
                <a:spcPct val="90000"/>
              </a:lnSpc>
              <a:defRPr sz="3892" b="0" i="0" baseline="0"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5350643"/>
            <a:ext cx="9521128" cy="1113408"/>
          </a:xfrm>
        </p:spPr>
        <p:txBody>
          <a:bodyPr anchor="t" anchorCtr="0"/>
          <a:lstStyle>
            <a:lvl1pPr marL="0" indent="0" algn="l">
              <a:buNone/>
              <a:defRPr sz="3194" b="0" i="0" baseline="0">
                <a:latin typeface="+mj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FLD_Presenter_Place"/>
          <p:cNvSpPr>
            <a:spLocks noGrp="1"/>
          </p:cNvSpPr>
          <p:nvPr>
            <p:ph type="body" sz="quarter" idx="16" hasCustomPrompt="1"/>
          </p:nvPr>
        </p:nvSpPr>
        <p:spPr>
          <a:xfrm>
            <a:off x="358870" y="233297"/>
            <a:ext cx="9507444" cy="310731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498" b="0" i="0" cap="none" baseline="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1498" cap="all" baseline="0"/>
            </a:lvl2pPr>
            <a:lvl3pPr marL="0" indent="0">
              <a:buFont typeface="Arial" panose="020B0604020202020204" pitchFamily="34" charset="0"/>
              <a:buNone/>
              <a:defRPr sz="1498" cap="all" baseline="0"/>
            </a:lvl3pPr>
            <a:lvl4pPr marL="0" indent="0">
              <a:buFont typeface="Arial" panose="020B0604020202020204" pitchFamily="34" charset="0"/>
              <a:buNone/>
              <a:defRPr sz="1498" cap="all" baseline="0"/>
            </a:lvl4pPr>
            <a:lvl5pPr marL="0" indent="0">
              <a:buFont typeface="Arial" panose="020B0604020202020204" pitchFamily="34" charset="0"/>
              <a:buNone/>
              <a:defRPr sz="1498" cap="all" baseline="0"/>
            </a:lvl5pPr>
          </a:lstStyle>
          <a:p>
            <a:pPr lvl="0"/>
            <a:r>
              <a:rPr lang="en-GB" dirty="0"/>
              <a:t>Click to add presenter / place</a:t>
            </a:r>
          </a:p>
        </p:txBody>
      </p:sp>
      <p:sp>
        <p:nvSpPr>
          <p:cNvPr id="6" name="Date_DateCustomA"/>
          <p:cNvSpPr>
            <a:spLocks noGrp="1"/>
          </p:cNvSpPr>
          <p:nvPr>
            <p:ph type="body" sz="quarter" idx="17" hasCustomPrompt="1"/>
          </p:nvPr>
        </p:nvSpPr>
        <p:spPr>
          <a:xfrm>
            <a:off x="358870" y="581982"/>
            <a:ext cx="9507444" cy="263383"/>
          </a:xfrm>
        </p:spPr>
        <p:txBody>
          <a:bodyPr anchor="t" anchorCtr="0"/>
          <a:lstStyle>
            <a:lvl1pPr marL="0" indent="0">
              <a:buFont typeface="Arial" panose="020B0604020202020204" pitchFamily="34" charset="0"/>
              <a:buNone/>
              <a:defRPr sz="1498" b="0" i="0" cap="none" baseline="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1498"/>
            </a:lvl2pPr>
            <a:lvl3pPr marL="0" indent="0">
              <a:buFont typeface="Arial" panose="020B0604020202020204" pitchFamily="34" charset="0"/>
              <a:buNone/>
              <a:defRPr sz="1498"/>
            </a:lvl3pPr>
            <a:lvl4pPr marL="0" indent="0">
              <a:buFont typeface="Arial" panose="020B0604020202020204" pitchFamily="34" charset="0"/>
              <a:buNone/>
              <a:defRPr sz="1498"/>
            </a:lvl4pPr>
            <a:lvl5pPr marL="0" indent="0">
              <a:buFont typeface="Arial" panose="020B0604020202020204" pitchFamily="34" charset="0"/>
              <a:buNone/>
              <a:defRPr sz="1498"/>
            </a:lvl5pPr>
          </a:lstStyle>
          <a:p>
            <a:pPr lvl="0"/>
            <a:r>
              <a:rPr lang="en-GB" dirty="0"/>
              <a:t>Click to add date</a:t>
            </a:r>
          </a:p>
        </p:txBody>
      </p:sp>
      <p:sp>
        <p:nvSpPr>
          <p:cNvPr id="13" name="Date Placeholder" hidden="1"/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498"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CC272A5E-E6B0-A195-288F-1F728EFBF9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90084" y="3773310"/>
            <a:ext cx="2160000" cy="725625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377D77-4D6A-1545-DAF5-6BF041970176}"/>
              </a:ext>
            </a:extLst>
          </p:cNvPr>
          <p:cNvSpPr txBox="1"/>
          <p:nvPr userDrawn="1"/>
        </p:nvSpPr>
        <p:spPr>
          <a:xfrm>
            <a:off x="358869" y="-360000"/>
            <a:ext cx="264070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398" b="0" i="0" dirty="0">
                <a:latin typeface="+mn-lt"/>
              </a:rPr>
              <a:t>Box: Transparency 15%</a:t>
            </a:r>
          </a:p>
        </p:txBody>
      </p:sp>
      <p:sp>
        <p:nvSpPr>
          <p:cNvPr id="2" name="FLD_Presentation">
            <a:extLst>
              <a:ext uri="{FF2B5EF4-FFF2-40B4-BE49-F238E27FC236}">
                <a16:creationId xmlns:a16="http://schemas.microsoft.com/office/drawing/2014/main" id="{08604D27-A311-1584-0467-0A0C16444DE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2" hidden="1">
            <a:extLst>
              <a:ext uri="{FF2B5EF4-FFF2-40B4-BE49-F238E27FC236}">
                <a16:creationId xmlns:a16="http://schemas.microsoft.com/office/drawing/2014/main" id="{8D5CB212-F0C5-3D1F-753E-4B50CB8BCE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52400" y="7010400"/>
            <a:ext cx="0" cy="0"/>
          </a:xfrm>
        </p:spPr>
        <p:txBody>
          <a:bodyPr/>
          <a:lstStyle>
            <a:lvl1pPr>
              <a:defRPr sz="133" b="0" i="0">
                <a:noFill/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480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upto 11 subject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2D616DDC-B2C4-D0AD-4919-FBB39361A2B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816101" y="0"/>
            <a:ext cx="5375900" cy="6858000"/>
          </a:xfrm>
          <a:noFill/>
        </p:spPr>
        <p:txBody>
          <a:bodyPr tIns="36000"/>
          <a:lstStyle>
            <a:lvl1pPr algn="ctr"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2" y="324000"/>
            <a:ext cx="624120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j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49202" y="759600"/>
            <a:ext cx="625087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agenda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12E70D-B535-56D3-BBC5-F4B50A8427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775" y="1663199"/>
            <a:ext cx="6241295" cy="4564800"/>
          </a:xfrm>
          <a:noFill/>
        </p:spPr>
        <p:txBody>
          <a:bodyPr>
            <a:noAutofit/>
          </a:bodyPr>
          <a:lstStyle>
            <a:lvl1pPr marL="513322" indent="-513322">
              <a:lnSpc>
                <a:spcPct val="90000"/>
              </a:lnSpc>
              <a:spcAft>
                <a:spcPts val="998"/>
              </a:spcAft>
              <a:buFont typeface="+mj-lt"/>
              <a:buAutoNum type="arabicPeriod"/>
              <a:defRPr sz="2096" b="0" i="0">
                <a:latin typeface="+mn-lt"/>
              </a:defRPr>
            </a:lvl1pPr>
          </a:lstStyle>
          <a:p>
            <a:pPr lvl="0"/>
            <a:r>
              <a:rPr lang="en-GB" noProof="0" dirty="0"/>
              <a:t>Click to add agenda topic </a:t>
            </a:r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2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FLD_Presentation"/>
          <p:cNvSpPr>
            <a:spLocks noGrp="1"/>
          </p:cNvSpPr>
          <p:nvPr>
            <p:ph type="ftr" sz="quarter" idx="23"/>
          </p:nvPr>
        </p:nvSpPr>
        <p:spPr>
          <a:xfrm>
            <a:off x="6960120" y="6361200"/>
            <a:ext cx="4869480" cy="241200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A42F8C5-E10E-7F4E-DEF1-3C8B54DF35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19646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ide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2">
            <a:extLst>
              <a:ext uri="{FF2B5EF4-FFF2-40B4-BE49-F238E27FC236}">
                <a16:creationId xmlns:a16="http://schemas.microsoft.com/office/drawing/2014/main" id="{9C3C645C-AD9A-5B16-ACBA-EADF816BCAC3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-3600" y="-3600"/>
            <a:ext cx="12200400" cy="6865200"/>
          </a:xfrm>
          <a:noFill/>
        </p:spPr>
        <p:txBody>
          <a:bodyPr tIns="36000" anchor="t" anchorCtr="0">
            <a:normAutofit/>
          </a:bodyPr>
          <a:lstStyle>
            <a:lvl1pPr marL="0" marR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 sz="1398"/>
            </a:lvl1pPr>
          </a:lstStyle>
          <a:p>
            <a:pPr marL="0" marR="0" lvl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dirty="0"/>
              <a:t>Click on frame and insert video via Insert tab/Video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58872" y="758829"/>
            <a:ext cx="9507443" cy="3389429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5490" b="0" i="0">
                <a:latin typeface="+mj-lt"/>
              </a:defRPr>
            </a:lvl1pPr>
          </a:lstStyle>
          <a:p>
            <a:r>
              <a:rPr lang="en-GB" dirty="0"/>
              <a:t>Click to add chapter title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4" name="FLD_Presentation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2B9D070C-4A32-DABF-D5B1-D3BD57CF3A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087111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video">
    <p:bg>
      <p:bgPr>
        <a:solidFill>
          <a:srgbClr val="F2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2">
            <a:extLst>
              <a:ext uri="{FF2B5EF4-FFF2-40B4-BE49-F238E27FC236}">
                <a16:creationId xmlns:a16="http://schemas.microsoft.com/office/drawing/2014/main" id="{D485149D-D5E9-F0D5-B825-A5FA0B8C25BD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-3600" y="-3600"/>
            <a:ext cx="12200400" cy="6865200"/>
          </a:xfrm>
          <a:noFill/>
        </p:spPr>
        <p:txBody>
          <a:bodyPr tIns="36000" anchor="t" anchorCtr="0">
            <a:normAutofit/>
          </a:bodyPr>
          <a:lstStyle>
            <a:lvl1pPr marL="0" marR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 sz="1398"/>
            </a:lvl1pPr>
          </a:lstStyle>
          <a:p>
            <a:pPr marL="0" marR="0" lvl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dirty="0"/>
              <a:t>Click on frame and insert video via Insert tab/Video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116E454-5CFA-B6D4-9435-F2344051A4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872" y="758829"/>
            <a:ext cx="9507443" cy="3389429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5490" b="0" i="0">
                <a:latin typeface="+mj-lt"/>
              </a:defRPr>
            </a:lvl1pPr>
          </a:lstStyle>
          <a:p>
            <a:r>
              <a:rPr lang="en-GB" dirty="0"/>
              <a:t>Click to add chapter title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4" name="FLD_Presentation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0F274A0E-2E26-5D71-DC4A-09CE3253E9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677754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 video">
    <p:bg>
      <p:bgPr>
        <a:solidFill>
          <a:srgbClr val="EDF0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2">
            <a:extLst>
              <a:ext uri="{FF2B5EF4-FFF2-40B4-BE49-F238E27FC236}">
                <a16:creationId xmlns:a16="http://schemas.microsoft.com/office/drawing/2014/main" id="{28144584-23E3-098B-AEA9-5F1A32390F09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-3600" y="-3600"/>
            <a:ext cx="12200400" cy="6865200"/>
          </a:xfrm>
          <a:noFill/>
        </p:spPr>
        <p:txBody>
          <a:bodyPr tIns="36000" anchor="t" anchorCtr="0">
            <a:normAutofit/>
          </a:bodyPr>
          <a:lstStyle>
            <a:lvl1pPr marL="0" marR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 sz="1398"/>
            </a:lvl1pPr>
          </a:lstStyle>
          <a:p>
            <a:pPr marL="0" marR="0" lvl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dirty="0"/>
              <a:t>Click on frame and insert video via Insert tab/Video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4FC5853-8923-B7EA-5FEB-D1C71C8FE3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872" y="758829"/>
            <a:ext cx="9507443" cy="3389429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5490" b="0" i="0">
                <a:latin typeface="+mj-lt"/>
              </a:defRPr>
            </a:lvl1pPr>
          </a:lstStyle>
          <a:p>
            <a:r>
              <a:rPr lang="en-GB" dirty="0"/>
              <a:t>Click to add chapter title</a:t>
            </a:r>
          </a:p>
        </p:txBody>
      </p:sp>
      <p:sp>
        <p:nvSpPr>
          <p:cNvPr id="4" name="FLD_Presentation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_DateCustomA" hidden="1">
            <a:extLst>
              <a:ext uri="{FF2B5EF4-FFF2-40B4-BE49-F238E27FC236}">
                <a16:creationId xmlns:a16="http://schemas.microsoft.com/office/drawing/2014/main" id="{5AEEE2C1-FF29-E7B4-A1D5-131F4A1157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800770D6-1416-0C4A-B907-CF223992E7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834575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pter video">
    <p:bg>
      <p:bgPr>
        <a:solidFill>
          <a:srgbClr val="D9E1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2">
            <a:extLst>
              <a:ext uri="{FF2B5EF4-FFF2-40B4-BE49-F238E27FC236}">
                <a16:creationId xmlns:a16="http://schemas.microsoft.com/office/drawing/2014/main" id="{A1B67FE9-89ED-9DB5-975C-C79425B60B97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-3600" y="-3600"/>
            <a:ext cx="12200400" cy="6865200"/>
          </a:xfrm>
          <a:noFill/>
        </p:spPr>
        <p:txBody>
          <a:bodyPr tIns="36000" anchor="t" anchorCtr="0">
            <a:normAutofit/>
          </a:bodyPr>
          <a:lstStyle>
            <a:lvl1pPr marL="0" marR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 sz="1398"/>
            </a:lvl1pPr>
          </a:lstStyle>
          <a:p>
            <a:pPr marL="0" marR="0" lvl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dirty="0"/>
              <a:t>Click on frame and insert video via Insert tab/Video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DF2CB76-C595-D9B5-2917-7F7BAFE339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872" y="758829"/>
            <a:ext cx="9507443" cy="3389429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5490" b="0" i="0">
                <a:latin typeface="+mj-lt"/>
              </a:defRPr>
            </a:lvl1pPr>
          </a:lstStyle>
          <a:p>
            <a:r>
              <a:rPr lang="en-GB" dirty="0"/>
              <a:t>Click to add chapter title</a:t>
            </a:r>
          </a:p>
        </p:txBody>
      </p:sp>
      <p:sp>
        <p:nvSpPr>
          <p:cNvPr id="4" name="FLD_Presentation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_DateCustomA" hidden="1">
            <a:extLst>
              <a:ext uri="{FF2B5EF4-FFF2-40B4-BE49-F238E27FC236}">
                <a16:creationId xmlns:a16="http://schemas.microsoft.com/office/drawing/2014/main" id="{7B86803E-1CCE-2E63-3F6A-9650BB1CD0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6C6176E5-D7CA-DA2B-AECB-2A78AB45C4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376676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 video">
    <p:bg>
      <p:bgPr>
        <a:solidFill>
          <a:srgbClr val="F9E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edia Placeholder 2">
            <a:extLst>
              <a:ext uri="{FF2B5EF4-FFF2-40B4-BE49-F238E27FC236}">
                <a16:creationId xmlns:a16="http://schemas.microsoft.com/office/drawing/2014/main" id="{858559F5-289C-FE8B-F413-B29DCEFE4ACE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-3600" y="-3600"/>
            <a:ext cx="12200400" cy="6865200"/>
          </a:xfrm>
          <a:noFill/>
        </p:spPr>
        <p:txBody>
          <a:bodyPr tIns="36000" anchor="t" anchorCtr="0">
            <a:normAutofit/>
          </a:bodyPr>
          <a:lstStyle>
            <a:lvl1pPr marL="0" marR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 sz="1398"/>
            </a:lvl1pPr>
          </a:lstStyle>
          <a:p>
            <a:pPr marL="0" marR="0" lvl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dirty="0"/>
              <a:t>Click on frame and insert video via Insert tab/Video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599158D-E8E8-9AAD-5ED7-23A185C20C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872" y="758829"/>
            <a:ext cx="9507443" cy="3389429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5490" b="0" i="0">
                <a:latin typeface="+mj-lt"/>
              </a:defRPr>
            </a:lvl1pPr>
          </a:lstStyle>
          <a:p>
            <a:r>
              <a:rPr lang="en-GB" dirty="0"/>
              <a:t>Click to add chapter title</a:t>
            </a:r>
          </a:p>
        </p:txBody>
      </p:sp>
      <p:sp>
        <p:nvSpPr>
          <p:cNvPr id="4" name="FLD_Presentation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_DateCustomA" hidden="1">
            <a:extLst>
              <a:ext uri="{FF2B5EF4-FFF2-40B4-BE49-F238E27FC236}">
                <a16:creationId xmlns:a16="http://schemas.microsoft.com/office/drawing/2014/main" id="{8F81B7FA-FA49-1832-053E-2CF946E6398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BA8A8D05-2CAE-4154-B8F3-5C51B58CC7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252499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pter video">
    <p:bg>
      <p:bgPr>
        <a:solidFill>
          <a:srgbClr val="E3E2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edia Placeholder 2">
            <a:extLst>
              <a:ext uri="{FF2B5EF4-FFF2-40B4-BE49-F238E27FC236}">
                <a16:creationId xmlns:a16="http://schemas.microsoft.com/office/drawing/2014/main" id="{A0BED923-2D52-90CC-F8F9-55BB159D5857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-3600" y="-3600"/>
            <a:ext cx="12200400" cy="6865200"/>
          </a:xfrm>
          <a:noFill/>
        </p:spPr>
        <p:txBody>
          <a:bodyPr tIns="36000" anchor="t" anchorCtr="0">
            <a:normAutofit/>
          </a:bodyPr>
          <a:lstStyle>
            <a:lvl1pPr marL="0" marR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 sz="1398"/>
            </a:lvl1pPr>
          </a:lstStyle>
          <a:p>
            <a:pPr marL="0" marR="0" lvl="0" indent="0" algn="ctr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dirty="0"/>
              <a:t>Click on frame and insert video via Insert tab/Video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446244A-2DEA-6FB4-043B-56D419A4DD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872" y="758829"/>
            <a:ext cx="9507443" cy="3389429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5490" b="0" i="0">
                <a:latin typeface="+mj-lt"/>
              </a:defRPr>
            </a:lvl1pPr>
          </a:lstStyle>
          <a:p>
            <a:r>
              <a:rPr lang="en-GB" dirty="0"/>
              <a:t>Click to add chapter title</a:t>
            </a:r>
          </a:p>
        </p:txBody>
      </p:sp>
      <p:sp>
        <p:nvSpPr>
          <p:cNvPr id="4" name="FLD_Presentation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_DateCustomA" hidden="1">
            <a:extLst>
              <a:ext uri="{FF2B5EF4-FFF2-40B4-BE49-F238E27FC236}">
                <a16:creationId xmlns:a16="http://schemas.microsoft.com/office/drawing/2014/main" id="{83596F9F-F5BF-354C-B287-8699DC4E85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BEE79FCD-A718-6DFC-49B4-DA7EA2DD21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200594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/>
          <p:cNvSpPr>
            <a:spLocks noGrp="1"/>
          </p:cNvSpPr>
          <p:nvPr>
            <p:ph type="subTitle" idx="15" hasCustomPrompt="1"/>
          </p:nvPr>
        </p:nvSpPr>
        <p:spPr>
          <a:xfrm>
            <a:off x="358872" y="323426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49201" y="759600"/>
            <a:ext cx="951840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71" y="1663700"/>
            <a:ext cx="11476472" cy="456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0" i="0" baseline="0">
                <a:latin typeface="+mn-lt"/>
              </a:defRPr>
            </a:lvl1pPr>
            <a:lvl2pPr marL="179640">
              <a:defRPr sz="2794" b="0" i="0">
                <a:latin typeface="+mn-lt"/>
              </a:defRPr>
            </a:lvl2pPr>
            <a:lvl3pPr marL="359280">
              <a:defRPr sz="2096" b="0" i="0">
                <a:latin typeface="+mn-lt"/>
              </a:defRPr>
            </a:lvl3pPr>
            <a:lvl4pPr>
              <a:defRPr sz="1796"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lvl="0"/>
            <a:r>
              <a:rPr lang="en-GB" noProof="0" dirty="0"/>
              <a:t>Use TAB and SHIFT+TAB to jump between text- and bullet-levels. Click ENTER and TAB for next level   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02B5E496-C20A-4259-82D6-EE90691934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0916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2" y="324000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868" y="1663700"/>
            <a:ext cx="3666493" cy="45648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SzPct val="100000"/>
              <a:buFont typeface="Arial" panose="020B0604020202020204" pitchFamily="34" charset="0"/>
              <a:buChar char="​"/>
              <a:defRPr sz="2096"/>
            </a:lvl1pPr>
            <a:lvl2pPr marL="179640">
              <a:defRPr sz="2096" i="1"/>
            </a:lvl2pPr>
            <a:lvl3pPr marL="359280">
              <a:defRPr sz="1796" i="1"/>
            </a:lvl3pPr>
            <a:lvl4pPr marL="538921">
              <a:defRPr sz="1596" i="1"/>
            </a:lvl4pPr>
            <a:lvl5pPr>
              <a:defRPr sz="1398" i="1"/>
            </a:lvl5pPr>
          </a:lstStyle>
          <a:p>
            <a:pPr lvl="0"/>
            <a:r>
              <a:rPr lang="en-GB" noProof="0" dirty="0"/>
              <a:t>Use TAB and SHIFT+TAB to jump between text- and bullet-levels. Click ENTER and TAB for next level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4262402" y="1663699"/>
            <a:ext cx="7567200" cy="4564800"/>
          </a:xfrm>
        </p:spPr>
        <p:txBody>
          <a:bodyPr/>
          <a:lstStyle>
            <a:lvl1pPr>
              <a:defRPr sz="1996" baseline="0"/>
            </a:lvl1pPr>
            <a:lvl2pPr>
              <a:defRPr sz="1996"/>
            </a:lvl2pPr>
            <a:lvl3pPr>
              <a:defRPr sz="1796"/>
            </a:lvl3pPr>
            <a:lvl4pPr>
              <a:defRPr sz="1596"/>
            </a:lvl4pPr>
            <a:lvl5pPr>
              <a:defRPr sz="1398"/>
            </a:lvl5pPr>
          </a:lstStyle>
          <a:p>
            <a:pPr lvl="0"/>
            <a:r>
              <a:rPr lang="en-GB" dirty="0"/>
              <a:t>Insert picture, chart or tabl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669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hapter">
    <p:bg>
      <p:bgPr>
        <a:solidFill>
          <a:srgbClr val="F2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5035618D-A1C6-26A5-76C7-351D4F180F75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3A30E72-87AE-A2DD-AECD-98AA20A313D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58874" y="758823"/>
            <a:ext cx="9507446" cy="3389424"/>
          </a:xfrm>
        </p:spPr>
        <p:txBody>
          <a:bodyPr>
            <a:normAutofit/>
          </a:bodyPr>
          <a:lstStyle>
            <a:lvl1pPr>
              <a:defRPr lang="en-GB" sz="5500"/>
            </a:lvl1pPr>
          </a:lstStyle>
          <a:p>
            <a:pPr lvl="0"/>
            <a:r>
              <a:rPr lang="en-GB"/>
              <a:t>Click to add chapter title</a:t>
            </a:r>
          </a:p>
        </p:txBody>
      </p:sp>
      <p:sp>
        <p:nvSpPr>
          <p:cNvPr id="4" name="Date_DateCustomA" hidden="1">
            <a:extLst>
              <a:ext uri="{FF2B5EF4-FFF2-40B4-BE49-F238E27FC236}">
                <a16:creationId xmlns:a16="http://schemas.microsoft.com/office/drawing/2014/main" id="{61F365D2-90E1-1D35-753D-615EC79CEC8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5" name="FLD_Presentation">
            <a:extLst>
              <a:ext uri="{FF2B5EF4-FFF2-40B4-BE49-F238E27FC236}">
                <a16:creationId xmlns:a16="http://schemas.microsoft.com/office/drawing/2014/main" id="{81A6D6CE-02D7-1A90-1821-1687E67E032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6" name="Slide Number Placeholder 4" hidden="1">
            <a:extLst>
              <a:ext uri="{FF2B5EF4-FFF2-40B4-BE49-F238E27FC236}">
                <a16:creationId xmlns:a16="http://schemas.microsoft.com/office/drawing/2014/main" id="{65D1E83C-D31D-9264-D549-6266F7807B3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238723B-05E7-4B2C-BEA7-B2A4689FD5A3}" type="slidenum">
              <a:t>‹#›</a:t>
            </a:fld>
            <a:endParaRPr lang="en-GB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41D28908-27A4-90C7-61FF-D68E8972B6E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72876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2" y="324000"/>
            <a:ext cx="9507443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60096" y="1663700"/>
            <a:ext cx="7567200" cy="4564800"/>
          </a:xfrm>
        </p:spPr>
        <p:txBody>
          <a:bodyPr/>
          <a:lstStyle>
            <a:lvl1pPr>
              <a:defRPr sz="1996" baseline="0"/>
            </a:lvl1pPr>
            <a:lvl2pPr>
              <a:defRPr sz="1996"/>
            </a:lvl2pPr>
            <a:lvl3pPr>
              <a:defRPr sz="1796"/>
            </a:lvl3pPr>
            <a:lvl4pPr>
              <a:defRPr sz="1596"/>
            </a:lvl4pPr>
            <a:lvl5pPr>
              <a:defRPr sz="1398"/>
            </a:lvl5pPr>
          </a:lstStyle>
          <a:p>
            <a:pPr lvl="0"/>
            <a:r>
              <a:rPr lang="en-GB" dirty="0"/>
              <a:t>Insert picture, chart or tabl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159751" y="1663700"/>
            <a:ext cx="3668400" cy="45648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SzPct val="100000"/>
              <a:buFont typeface="Arial" panose="020B0604020202020204" pitchFamily="34" charset="0"/>
              <a:buChar char="​"/>
              <a:defRPr sz="2096"/>
            </a:lvl1pPr>
            <a:lvl2pPr marL="179640">
              <a:defRPr sz="2096" i="1"/>
            </a:lvl2pPr>
            <a:lvl3pPr marL="359280">
              <a:defRPr sz="1796" i="1"/>
            </a:lvl3pPr>
            <a:lvl4pPr marL="538921">
              <a:defRPr sz="1596" i="1"/>
            </a:lvl4pPr>
            <a:lvl5pPr>
              <a:defRPr sz="1398" i="1"/>
            </a:lvl5pPr>
          </a:lstStyle>
          <a:p>
            <a:pPr lvl="0"/>
            <a:r>
              <a:rPr lang="en-GB" noProof="0" dirty="0"/>
              <a:t>Use TAB and SHIFT+TAB to jump between text- and bullet-levels. Click ENTER and TAB for next level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788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4000"/>
            <a:ext cx="9511212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49202" y="759600"/>
            <a:ext cx="9517113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870" y="1663700"/>
            <a:ext cx="3666494" cy="4564800"/>
          </a:xfrm>
        </p:spPr>
        <p:txBody>
          <a:bodyPr numCol="1" spcCol="237600">
            <a:noAutofit/>
          </a:bodyPr>
          <a:lstStyle>
            <a:lvl1pPr marL="0" indent="0">
              <a:lnSpc>
                <a:spcPct val="90000"/>
              </a:lnSpc>
              <a:buSzPct val="100000"/>
              <a:buFont typeface="Arial" panose="020B0604020202020204" pitchFamily="34" charset="0"/>
              <a:buChar char="​"/>
              <a:defRPr sz="2096"/>
            </a:lvl1pPr>
            <a:lvl2pPr marL="179640">
              <a:defRPr sz="2096" i="0"/>
            </a:lvl2pPr>
            <a:lvl3pPr marL="359280">
              <a:defRPr sz="1796" i="0"/>
            </a:lvl3pPr>
            <a:lvl4pPr marL="538921">
              <a:defRPr sz="1596" i="0"/>
            </a:lvl4pPr>
            <a:lvl5pPr>
              <a:defRPr sz="1398" i="0"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Use TAB and SHIFT+TAB to jump between text- and bullet-levels. Click ENTER and TAB for next level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262400" y="1663700"/>
            <a:ext cx="3666053" cy="4564800"/>
          </a:xfrm>
        </p:spPr>
        <p:txBody>
          <a:bodyPr/>
          <a:lstStyle>
            <a:lvl1pPr>
              <a:defRPr sz="2096"/>
            </a:lvl1pPr>
            <a:lvl2pPr>
              <a:defRPr sz="2096"/>
            </a:lvl2pPr>
            <a:lvl3pPr>
              <a:defRPr sz="1796"/>
            </a:lvl3pPr>
            <a:lvl4pPr>
              <a:defRPr sz="1596"/>
            </a:lvl4pPr>
            <a:lvl5pPr>
              <a:defRPr sz="1398"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Use TAB and SHIFT+TAB to jump between text- and bullet-levels. Click ENTER and TAB for next level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9141620" y="1663705"/>
            <a:ext cx="2689923" cy="2224075"/>
          </a:xfrm>
        </p:spPr>
        <p:txBody>
          <a:bodyPr tIns="36000" anchor="t" anchorCtr="0"/>
          <a:lstStyle>
            <a:lvl1pPr marL="0" indent="0" algn="ctr">
              <a:buFontTx/>
              <a:buNone/>
              <a:defRPr sz="1398"/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141616" y="3948592"/>
            <a:ext cx="2689926" cy="948851"/>
          </a:xfrm>
        </p:spPr>
        <p:txBody>
          <a:bodyPr anchor="t" anchorCtr="0"/>
          <a:lstStyle>
            <a:lvl1pPr marL="0" indent="0">
              <a:buFont typeface="Arial" panose="020B0604020202020204" pitchFamily="34" charset="0"/>
              <a:buNone/>
              <a:defRPr sz="1098" i="0" baseline="0"/>
            </a:lvl1pPr>
          </a:lstStyle>
          <a:p>
            <a:pPr lvl="0"/>
            <a:r>
              <a:rPr lang="en-GB" dirty="0"/>
              <a:t>Click to add cap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2373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4000"/>
            <a:ext cx="9510014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2" y="1663699"/>
            <a:ext cx="6594385" cy="456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179640">
              <a:defRPr sz="3194"/>
            </a:lvl2pPr>
            <a:lvl3pPr marL="359280">
              <a:defRPr sz="2096"/>
            </a:lvl3pPr>
            <a:lvl4pPr marL="538921">
              <a:defRPr sz="1796"/>
            </a:lvl4pPr>
          </a:lstStyle>
          <a:p>
            <a:pPr lvl="0"/>
            <a:r>
              <a:rPr lang="en-GB" noProof="0" dirty="0"/>
              <a:t>Use TAB and SHIFT+TAB to jump between text- and bullet-levels. Click ENTER and TAB for next level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7190075" y="1663700"/>
            <a:ext cx="4641472" cy="21492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398"/>
            </a:lvl1pPr>
          </a:lstStyle>
          <a:p>
            <a:r>
              <a:rPr lang="en-GB" dirty="0"/>
              <a:t>Click on frame and select picture from Templafy Photos or click on icon in frame to insert picture from          your device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7190073" y="4078800"/>
            <a:ext cx="4641471" cy="21492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398"/>
            </a:lvl1pPr>
          </a:lstStyle>
          <a:p>
            <a:r>
              <a:rPr lang="en-GB" dirty="0"/>
              <a:t>Click on frame and select picture from Templafy Photos or click on icon in frame to insert picture from          your device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LD_Presentation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5872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+1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4000"/>
            <a:ext cx="9510014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1663699"/>
            <a:ext cx="6594384" cy="45648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179640">
              <a:defRPr sz="3194"/>
            </a:lvl2pPr>
            <a:lvl3pPr marL="359280">
              <a:defRPr sz="2096"/>
            </a:lvl3pPr>
            <a:lvl4pPr marL="538921">
              <a:defRPr sz="1796"/>
            </a:lvl4pPr>
          </a:lstStyle>
          <a:p>
            <a:pPr lvl="0"/>
            <a:r>
              <a:rPr lang="en-GB" noProof="0" dirty="0"/>
              <a:t>Use TAB and SHIFT+TAB to jump between text- and bullet-levels. Click ENTER and TAB for next level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7190073" y="1663700"/>
            <a:ext cx="2202436" cy="21492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198"/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9629106" y="1663700"/>
            <a:ext cx="2202438" cy="21492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198"/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7190073" y="4079299"/>
            <a:ext cx="4641471" cy="21492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198"/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LD_Presentation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4331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A4A3A4"/>
          </p15:clr>
        </p15:guide>
        <p15:guide id="2" orient="horz" pos="1047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70" y="1663701"/>
            <a:ext cx="5617648" cy="4564800"/>
          </a:xfrm>
          <a:prstGeom prst="rect">
            <a:avLst/>
          </a:prstGeom>
        </p:spPr>
        <p:txBody>
          <a:bodyPr/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 dirty="0"/>
              <a:t>Use TAB and SHIFT+TAB to jump between text- and bullet-levels. Click ENTER and TAB for n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idx="13" hasCustomPrompt="1"/>
          </p:nvPr>
        </p:nvSpPr>
        <p:spPr>
          <a:xfrm>
            <a:off x="6213896" y="1663700"/>
            <a:ext cx="5617648" cy="4564800"/>
          </a:xfrm>
          <a:prstGeom prst="rect">
            <a:avLst/>
          </a:prstGeom>
        </p:spPr>
        <p:txBody>
          <a:bodyPr/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 dirty="0"/>
              <a:t>Use TAB and SHIFT+TAB to jump between text- and bullet-levels. Click ENTER and TAB for n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5E496-C20A-4259-82D6-EE90691934E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6" hasCustomPrompt="1"/>
          </p:nvPr>
        </p:nvSpPr>
        <p:spPr>
          <a:xfrm>
            <a:off x="358872" y="324000"/>
            <a:ext cx="9507443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1356360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>
            <a:extLst>
              <a:ext uri="{FF2B5EF4-FFF2-40B4-BE49-F238E27FC236}">
                <a16:creationId xmlns:a16="http://schemas.microsoft.com/office/drawing/2014/main" id="{E9FB5085-59AC-F4C3-CFDE-779B1026418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8869" y="323426"/>
            <a:ext cx="5500091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AAD172D-417E-1949-A9AE-1DA2E5DB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2" y="759600"/>
            <a:ext cx="550976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69" y="1663701"/>
            <a:ext cx="5500091" cy="4564800"/>
          </a:xfrm>
          <a:prstGeom prst="rect">
            <a:avLst/>
          </a:prstGeom>
        </p:spPr>
        <p:txBody>
          <a:bodyPr/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 dirty="0"/>
              <a:t>Use TAB and SHIFT+TAB to jump between text- and bullet-levels. Click ENTER and TAB for n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F1344C-87E7-8976-FD97-AD217E0F9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2" y="0"/>
            <a:ext cx="6095999" cy="68580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02B5E496-C20A-4259-82D6-EE90691934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5"/>
          </p:nvPr>
        </p:nvSpPr>
        <p:spPr>
          <a:xfrm>
            <a:off x="6168010" y="6361200"/>
            <a:ext cx="5661590" cy="241200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3EC99239-261D-AA9A-5E19-E83332078E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95638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wo Content">
    <p:bg>
      <p:bgPr>
        <a:solidFill>
          <a:srgbClr val="F2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>
            <a:extLst>
              <a:ext uri="{FF2B5EF4-FFF2-40B4-BE49-F238E27FC236}">
                <a16:creationId xmlns:a16="http://schemas.microsoft.com/office/drawing/2014/main" id="{E9FB5085-59AC-F4C3-CFDE-779B1026418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8870" y="323426"/>
            <a:ext cx="550080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AAD172D-417E-1949-A9AE-1DA2E5DB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2" y="759600"/>
            <a:ext cx="551160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70" y="1663701"/>
            <a:ext cx="5500800" cy="4564800"/>
          </a:xfrm>
          <a:prstGeom prst="rect">
            <a:avLst/>
          </a:prstGeom>
        </p:spPr>
        <p:txBody>
          <a:bodyPr/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 dirty="0"/>
              <a:t>Use TAB and SHIFT+TAB to jump between text- and bullet-levels. Click ENTER and TAB for n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F1344C-87E7-8976-FD97-AD217E0F9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2" y="0"/>
            <a:ext cx="6095999" cy="68580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02B5E496-C20A-4259-82D6-EE90691934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5"/>
          </p:nvPr>
        </p:nvSpPr>
        <p:spPr>
          <a:xfrm>
            <a:off x="6166802" y="6361200"/>
            <a:ext cx="5662800" cy="241200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367069ED-BC6C-59B3-B867-F371C23A43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96253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Content">
    <p:bg>
      <p:bgPr>
        <a:solidFill>
          <a:srgbClr val="EDF0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>
            <a:extLst>
              <a:ext uri="{FF2B5EF4-FFF2-40B4-BE49-F238E27FC236}">
                <a16:creationId xmlns:a16="http://schemas.microsoft.com/office/drawing/2014/main" id="{E9FB5085-59AC-F4C3-CFDE-779B1026418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8870" y="323426"/>
            <a:ext cx="550080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AAD172D-417E-1949-A9AE-1DA2E5DB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759600"/>
            <a:ext cx="551047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70" y="1663701"/>
            <a:ext cx="5500800" cy="4564800"/>
          </a:xfrm>
          <a:prstGeom prst="rect">
            <a:avLst/>
          </a:prstGeom>
        </p:spPr>
        <p:txBody>
          <a:bodyPr/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 dirty="0"/>
              <a:t>Use TAB and SHIFT+TAB to jump between text- and bullet-levels. Click ENTER and TAB for n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F1344C-87E7-8976-FD97-AD217E0F9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2" y="0"/>
            <a:ext cx="6095999" cy="68580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02B5E496-C20A-4259-82D6-EE90691934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5"/>
          </p:nvPr>
        </p:nvSpPr>
        <p:spPr>
          <a:xfrm>
            <a:off x="6166802" y="6361200"/>
            <a:ext cx="5662800" cy="241200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16BA15D-60AD-F251-CD30-8B68077E9C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6644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wo Content">
    <p:bg>
      <p:bgPr>
        <a:solidFill>
          <a:srgbClr val="D9E1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>
            <a:extLst>
              <a:ext uri="{FF2B5EF4-FFF2-40B4-BE49-F238E27FC236}">
                <a16:creationId xmlns:a16="http://schemas.microsoft.com/office/drawing/2014/main" id="{E9FB5085-59AC-F4C3-CFDE-779B1026418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8870" y="323426"/>
            <a:ext cx="550080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AAD172D-417E-1949-A9AE-1DA2E5DB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759600"/>
            <a:ext cx="551047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70" y="1663701"/>
            <a:ext cx="5500800" cy="4564800"/>
          </a:xfrm>
          <a:prstGeom prst="rect">
            <a:avLst/>
          </a:prstGeom>
        </p:spPr>
        <p:txBody>
          <a:bodyPr/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 dirty="0"/>
              <a:t>Use TAB and SHIFT+TAB to jump between text- and bullet-levels. Click ENTER and TAB for n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F1344C-87E7-8976-FD97-AD217E0F9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2" y="0"/>
            <a:ext cx="6095999" cy="68580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02B5E496-C20A-4259-82D6-EE90691934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5"/>
          </p:nvPr>
        </p:nvSpPr>
        <p:spPr>
          <a:xfrm>
            <a:off x="6166802" y="6361200"/>
            <a:ext cx="5662800" cy="241200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9C9A744C-F5DB-852F-8758-01F735ADDB3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6851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wo Content">
    <p:bg>
      <p:bgPr>
        <a:solidFill>
          <a:srgbClr val="F9E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>
            <a:extLst>
              <a:ext uri="{FF2B5EF4-FFF2-40B4-BE49-F238E27FC236}">
                <a16:creationId xmlns:a16="http://schemas.microsoft.com/office/drawing/2014/main" id="{E9FB5085-59AC-F4C3-CFDE-779B1026418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8870" y="323426"/>
            <a:ext cx="550080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AAD172D-417E-1949-A9AE-1DA2E5DB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759600"/>
            <a:ext cx="551047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70" y="1663701"/>
            <a:ext cx="5500800" cy="4564800"/>
          </a:xfrm>
          <a:prstGeom prst="rect">
            <a:avLst/>
          </a:prstGeom>
        </p:spPr>
        <p:txBody>
          <a:bodyPr/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 dirty="0"/>
              <a:t>Use TAB and SHIFT+TAB to jump between text- and bullet-levels. Click ENTER and TAB for n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F1344C-87E7-8976-FD97-AD217E0F9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2" y="0"/>
            <a:ext cx="6095999" cy="68580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02B5E496-C20A-4259-82D6-EE90691934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5"/>
          </p:nvPr>
        </p:nvSpPr>
        <p:spPr>
          <a:xfrm>
            <a:off x="6166802" y="6361200"/>
            <a:ext cx="5662800" cy="241200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D417C7B4-26B2-21B5-53F7-2DB7FD84F8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81664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hapter">
    <p:bg>
      <p:bgPr>
        <a:solidFill>
          <a:srgbClr val="EDF0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2AC571DB-8DBD-BD06-86A3-E8481B223A1D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9552044-A3E9-0EE5-0E82-5DAB85EA2C5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58874" y="758823"/>
            <a:ext cx="9507446" cy="3389424"/>
          </a:xfrm>
        </p:spPr>
        <p:txBody>
          <a:bodyPr>
            <a:normAutofit/>
          </a:bodyPr>
          <a:lstStyle>
            <a:lvl1pPr>
              <a:defRPr lang="en-GB" sz="5500"/>
            </a:lvl1pPr>
          </a:lstStyle>
          <a:p>
            <a:pPr lvl="0"/>
            <a:r>
              <a:rPr lang="en-GB"/>
              <a:t>Click to add chapter title</a:t>
            </a:r>
          </a:p>
        </p:txBody>
      </p:sp>
      <p:sp>
        <p:nvSpPr>
          <p:cNvPr id="4" name="FLD_Presentation">
            <a:extLst>
              <a:ext uri="{FF2B5EF4-FFF2-40B4-BE49-F238E27FC236}">
                <a16:creationId xmlns:a16="http://schemas.microsoft.com/office/drawing/2014/main" id="{F4E29F88-4889-8F5A-B4CA-C01C74479981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D040720B-A0B4-5AB9-F4C7-4C27B05496E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B68E211-3FF7-4A35-8B9B-FBC9AECE0B0B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5D80561B-ABB1-5621-0ACA-BAE0E6F225C6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90B92840-30BC-ABB8-33C4-7B67ADC02BF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508863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wo Content">
    <p:bg>
      <p:bgPr>
        <a:solidFill>
          <a:srgbClr val="E3E2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>
            <a:extLst>
              <a:ext uri="{FF2B5EF4-FFF2-40B4-BE49-F238E27FC236}">
                <a16:creationId xmlns:a16="http://schemas.microsoft.com/office/drawing/2014/main" id="{E9FB5085-59AC-F4C3-CFDE-779B10264185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8870" y="323426"/>
            <a:ext cx="550080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AAD172D-417E-1949-A9AE-1DA2E5DB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759600"/>
            <a:ext cx="551047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870" y="1663701"/>
            <a:ext cx="5500800" cy="4564800"/>
          </a:xfrm>
          <a:prstGeom prst="rect">
            <a:avLst/>
          </a:prstGeom>
        </p:spPr>
        <p:txBody>
          <a:bodyPr/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b="0" i="0"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 b="0" i="0">
                <a:latin typeface="+mn-lt"/>
              </a:defRPr>
            </a:lvl5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​"/>
              <a:tabLst/>
              <a:defRPr/>
            </a:pPr>
            <a:r>
              <a:rPr lang="en-GB" noProof="0" dirty="0"/>
              <a:t>Use TAB and SHIFT+TAB to jump between text- and bullet-levels. Click ENTER and TAB for nex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F1344C-87E7-8976-FD97-AD217E0F97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2" y="0"/>
            <a:ext cx="6095999" cy="6858000"/>
          </a:xfrm>
          <a:prstGeom prst="rect">
            <a:avLst/>
          </a:prstGeom>
        </p:spPr>
        <p:txBody>
          <a:bodyPr lIns="0" tIns="36000" anchor="t" anchorCtr="0"/>
          <a:lstStyle>
            <a:lvl1pPr marL="0" indent="0" algn="ctr">
              <a:buFontTx/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02B5E496-C20A-4259-82D6-EE90691934E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5"/>
          </p:nvPr>
        </p:nvSpPr>
        <p:spPr>
          <a:xfrm>
            <a:off x="6166802" y="6361200"/>
            <a:ext cx="5662800" cy="241200"/>
          </a:xfrm>
        </p:spPr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A10CDF44-D019-9ADC-1BBF-8458B5DBAF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87545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0EF5810-200B-DDAD-F61E-3F8584276FA6}"/>
              </a:ext>
            </a:extLst>
          </p:cNvPr>
          <p:cNvSpPr txBox="1"/>
          <p:nvPr userDrawn="1"/>
        </p:nvSpPr>
        <p:spPr>
          <a:xfrm>
            <a:off x="767260" y="1220148"/>
            <a:ext cx="1584220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60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2" y="324000"/>
            <a:ext cx="9507443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34356" y="1663699"/>
            <a:ext cx="8035727" cy="4545013"/>
          </a:xfrm>
        </p:spPr>
        <p:txBody>
          <a:bodyPr/>
          <a:lstStyle>
            <a:lvl1pPr>
              <a:defRPr/>
            </a:lvl1pPr>
            <a:lvl2pPr marL="179640" indent="-179640" algn="r">
              <a:buFont typeface="Arial" panose="020B0604020202020204" pitchFamily="34" charset="0"/>
              <a:buChar char="​"/>
              <a:defRPr sz="1996" b="0" i="0"/>
            </a:lvl2pPr>
          </a:lstStyle>
          <a:p>
            <a:pPr lvl="0"/>
            <a:r>
              <a:rPr lang="en-GB" dirty="0"/>
              <a:t>Click to add quotation text, click ENTER and then TAB to insert name of source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6497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62F5A4F-CFE9-E590-8F88-4D54FBAADFA2}"/>
              </a:ext>
            </a:extLst>
          </p:cNvPr>
          <p:cNvSpPr txBox="1"/>
          <p:nvPr userDrawn="1"/>
        </p:nvSpPr>
        <p:spPr>
          <a:xfrm>
            <a:off x="767260" y="1220148"/>
            <a:ext cx="1584220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60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55FE38D-21BE-DEC5-6EB6-7059B3B2AC4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358872" y="323426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34356" y="1663698"/>
            <a:ext cx="8035727" cy="4564800"/>
          </a:xfrm>
        </p:spPr>
        <p:txBody>
          <a:bodyPr/>
          <a:lstStyle>
            <a:lvl1pPr>
              <a:defRPr b="0" i="0">
                <a:latin typeface="+mn-lt"/>
              </a:defRPr>
            </a:lvl1pPr>
            <a:lvl2pPr marL="179640" indent="-179640" algn="r">
              <a:buFont typeface="Arial" panose="020B0604020202020204" pitchFamily="34" charset="0"/>
              <a:buChar char="​"/>
              <a:defRPr sz="1996" b="0" i="0">
                <a:latin typeface="+mn-lt"/>
              </a:defRPr>
            </a:lvl2pPr>
          </a:lstStyle>
          <a:p>
            <a:pPr lvl="0"/>
            <a:r>
              <a:rPr lang="en-GB" dirty="0"/>
              <a:t>Click to add quotation text, click ENTER and then TAB to insert name of source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B83AFE69-5DEA-9094-787F-8A732DC6F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79751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">
    <p:bg>
      <p:bgPr>
        <a:solidFill>
          <a:srgbClr val="F2E1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7C99CA8-56E7-CC7E-2320-81C9FFA05004}"/>
              </a:ext>
            </a:extLst>
          </p:cNvPr>
          <p:cNvSpPr txBox="1"/>
          <p:nvPr userDrawn="1"/>
        </p:nvSpPr>
        <p:spPr>
          <a:xfrm>
            <a:off x="767260" y="1220148"/>
            <a:ext cx="1584220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60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55FE38D-21BE-DEC5-6EB6-7059B3B2AC4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358872" y="323426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34356" y="1663698"/>
            <a:ext cx="8035727" cy="4564800"/>
          </a:xfrm>
        </p:spPr>
        <p:txBody>
          <a:bodyPr/>
          <a:lstStyle>
            <a:lvl1pPr>
              <a:defRPr b="0" i="0">
                <a:latin typeface="+mn-lt"/>
              </a:defRPr>
            </a:lvl1pPr>
            <a:lvl2pPr marL="179640" indent="-179640" algn="r">
              <a:buFont typeface="Arial" panose="020B0604020202020204" pitchFamily="34" charset="0"/>
              <a:buChar char="​"/>
              <a:defRPr sz="1996" b="0" i="0">
                <a:latin typeface="+mn-lt"/>
              </a:defRPr>
            </a:lvl2pPr>
          </a:lstStyle>
          <a:p>
            <a:pPr lvl="0"/>
            <a:r>
              <a:rPr lang="en-GB" dirty="0"/>
              <a:t>Click to add quotation text, click ENTER and then TAB to insert name of source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D838C5CF-B510-03C0-AC23-D1665EB63A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39927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">
    <p:bg>
      <p:bgPr>
        <a:solidFill>
          <a:srgbClr val="EDF0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4929236-5352-277D-FB9D-3E3DF31D12AB}"/>
              </a:ext>
            </a:extLst>
          </p:cNvPr>
          <p:cNvSpPr txBox="1"/>
          <p:nvPr userDrawn="1"/>
        </p:nvSpPr>
        <p:spPr>
          <a:xfrm>
            <a:off x="767260" y="1220148"/>
            <a:ext cx="1584220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60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55FE38D-21BE-DEC5-6EB6-7059B3B2AC4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358872" y="323426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34356" y="1663698"/>
            <a:ext cx="8035727" cy="4564800"/>
          </a:xfrm>
        </p:spPr>
        <p:txBody>
          <a:bodyPr/>
          <a:lstStyle>
            <a:lvl1pPr>
              <a:defRPr b="0" i="0">
                <a:latin typeface="+mn-lt"/>
              </a:defRPr>
            </a:lvl1pPr>
            <a:lvl2pPr marL="179640" indent="-179640" algn="r">
              <a:buFont typeface="Arial" panose="020B0604020202020204" pitchFamily="34" charset="0"/>
              <a:buChar char="​"/>
              <a:defRPr sz="1996" b="0" i="0">
                <a:latin typeface="+mn-lt"/>
              </a:defRPr>
            </a:lvl2pPr>
          </a:lstStyle>
          <a:p>
            <a:pPr lvl="0"/>
            <a:r>
              <a:rPr lang="en-GB" dirty="0"/>
              <a:t>Click to add quotation text, click ENTER and then TAB to insert name of source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A431F3A6-5CB1-1D0E-E2BA-29CC6F3462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61485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Quote">
    <p:bg>
      <p:bgPr>
        <a:solidFill>
          <a:srgbClr val="D9E1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8067CC26-9B4F-5091-0418-4D89166BA0B6}"/>
              </a:ext>
            </a:extLst>
          </p:cNvPr>
          <p:cNvSpPr txBox="1"/>
          <p:nvPr userDrawn="1"/>
        </p:nvSpPr>
        <p:spPr>
          <a:xfrm>
            <a:off x="767260" y="1220148"/>
            <a:ext cx="1584220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60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55FE38D-21BE-DEC5-6EB6-7059B3B2AC4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358872" y="323426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34356" y="1663698"/>
            <a:ext cx="8035727" cy="4564800"/>
          </a:xfrm>
        </p:spPr>
        <p:txBody>
          <a:bodyPr/>
          <a:lstStyle>
            <a:lvl1pPr>
              <a:defRPr b="0" i="0">
                <a:latin typeface="+mn-lt"/>
              </a:defRPr>
            </a:lvl1pPr>
            <a:lvl2pPr marL="179640" indent="-179640" algn="r">
              <a:buFont typeface="Arial" panose="020B0604020202020204" pitchFamily="34" charset="0"/>
              <a:buChar char="​"/>
              <a:defRPr sz="1996" b="0" i="0">
                <a:latin typeface="+mn-lt"/>
              </a:defRPr>
            </a:lvl2pPr>
          </a:lstStyle>
          <a:p>
            <a:pPr lvl="0"/>
            <a:r>
              <a:rPr lang="en-GB" dirty="0"/>
              <a:t>Click to add quotation text, click ENTER and then TAB to insert name of source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607E5065-3EEB-306A-CE63-15FA12210D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47064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Quote">
    <p:bg>
      <p:bgPr>
        <a:solidFill>
          <a:srgbClr val="F9E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853E4540-340A-1BE8-CE83-0011981E32AC}"/>
              </a:ext>
            </a:extLst>
          </p:cNvPr>
          <p:cNvSpPr txBox="1"/>
          <p:nvPr userDrawn="1"/>
        </p:nvSpPr>
        <p:spPr>
          <a:xfrm>
            <a:off x="767260" y="1220148"/>
            <a:ext cx="1584220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60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55FE38D-21BE-DEC5-6EB6-7059B3B2AC4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358872" y="323426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34356" y="1663698"/>
            <a:ext cx="8035727" cy="4564800"/>
          </a:xfrm>
        </p:spPr>
        <p:txBody>
          <a:bodyPr/>
          <a:lstStyle>
            <a:lvl1pPr>
              <a:defRPr b="0" i="0">
                <a:latin typeface="+mn-lt"/>
              </a:defRPr>
            </a:lvl1pPr>
            <a:lvl2pPr marL="179640" indent="-179640" algn="r">
              <a:buFont typeface="Arial" panose="020B0604020202020204" pitchFamily="34" charset="0"/>
              <a:buChar char="​"/>
              <a:defRPr sz="1996" b="0" i="0">
                <a:latin typeface="+mn-lt"/>
              </a:defRPr>
            </a:lvl2pPr>
          </a:lstStyle>
          <a:p>
            <a:pPr lvl="0"/>
            <a:r>
              <a:rPr lang="en-GB" dirty="0"/>
              <a:t>Click to add quotation text, click ENTER and then TAB to insert name of source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900588B3-1E68-1DCA-9AC6-7B4B0AE907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67577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Quote">
    <p:bg>
      <p:bgPr>
        <a:solidFill>
          <a:srgbClr val="E3E2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2D039BB-3489-6657-2D2E-64758C31E207}"/>
              </a:ext>
            </a:extLst>
          </p:cNvPr>
          <p:cNvSpPr txBox="1"/>
          <p:nvPr userDrawn="1"/>
        </p:nvSpPr>
        <p:spPr>
          <a:xfrm>
            <a:off x="767260" y="1220148"/>
            <a:ext cx="1584220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960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55FE38D-21BE-DEC5-6EB6-7059B3B2AC4E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358872" y="323426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834356" y="1663698"/>
            <a:ext cx="8035727" cy="4564800"/>
          </a:xfrm>
        </p:spPr>
        <p:txBody>
          <a:bodyPr/>
          <a:lstStyle>
            <a:lvl1pPr>
              <a:defRPr b="0" i="0">
                <a:latin typeface="+mn-lt"/>
              </a:defRPr>
            </a:lvl1pPr>
            <a:lvl2pPr marL="179640" indent="-179640" algn="r">
              <a:buFont typeface="Arial" panose="020B0604020202020204" pitchFamily="34" charset="0"/>
              <a:buChar char="​"/>
              <a:defRPr sz="1996" b="0" i="0">
                <a:latin typeface="+mn-lt"/>
              </a:defRPr>
            </a:lvl2pPr>
          </a:lstStyle>
          <a:p>
            <a:pPr lvl="0"/>
            <a:r>
              <a:rPr lang="en-GB" dirty="0"/>
              <a:t>Click to add quotation text, click ENTER and then TAB to insert name of source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04FEBB52-88DA-0C29-42B3-BFEAB422FC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63563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2"/>
          <p:cNvSpPr>
            <a:spLocks noGrp="1"/>
          </p:cNvSpPr>
          <p:nvPr>
            <p:ph type="media" sz="quarter" idx="13"/>
          </p:nvPr>
        </p:nvSpPr>
        <p:spPr>
          <a:xfrm>
            <a:off x="-10798" y="-3600"/>
            <a:ext cx="12200400" cy="6865200"/>
          </a:xfrm>
        </p:spPr>
        <p:txBody>
          <a:bodyPr tIns="900000" anchor="ctr" anchorCtr="0">
            <a:normAutofit/>
          </a:bodyPr>
          <a:lstStyle>
            <a:lvl1pPr marL="0" indent="0" algn="ctr">
              <a:buFontTx/>
              <a:buNone/>
              <a:defRPr sz="2096"/>
            </a:lvl1pPr>
          </a:lstStyle>
          <a:p>
            <a:r>
              <a:rPr lang="en-GB" dirty="0"/>
              <a:t>Click icon to add media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662983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 anchor="t" anchorCtr="0">
            <a:normAutofit/>
          </a:bodyPr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4000"/>
            <a:ext cx="9507442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13674792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ground pictur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  <a:noFill/>
        </p:spPr>
        <p:txBody>
          <a:bodyPr lIns="0" tIns="36000" anchor="t" anchorCtr="0">
            <a:normAutofit/>
          </a:bodyPr>
          <a:lstStyle>
            <a:lvl1pPr marL="0" indent="0" algn="ctr">
              <a:buFontTx/>
              <a:buNone/>
              <a:defRPr sz="1398"/>
            </a:lvl1pPr>
          </a:lstStyle>
          <a:p>
            <a:r>
              <a:rPr lang="en-GB" dirty="0"/>
              <a:t>Click on frame and select background picture from Templafy Photos or click on icon in frame to insert picture from your devi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8869" y="1663703"/>
            <a:ext cx="5618038" cy="4560807"/>
          </a:xfrm>
        </p:spPr>
        <p:txBody>
          <a:bodyPr/>
          <a:lstStyle>
            <a:lvl1pPr marL="0" indent="0">
              <a:buSzPct val="100000"/>
              <a:buFont typeface="Arial" panose="020B0604020202020204" pitchFamily="34" charset="0"/>
              <a:buChar char="​"/>
              <a:defRPr sz="3194"/>
            </a:lvl1pPr>
            <a:lvl2pPr marL="179640">
              <a:defRPr sz="3194"/>
            </a:lvl2pPr>
            <a:lvl3pPr marL="359280">
              <a:defRPr sz="2096"/>
            </a:lvl3pPr>
            <a:lvl4pPr marL="538921">
              <a:defRPr sz="1796"/>
            </a:lvl4pPr>
          </a:lstStyle>
          <a:p>
            <a:pPr lvl="0"/>
            <a:r>
              <a:rPr lang="en-GB" noProof="0" dirty="0"/>
              <a:t>Use TAB and SHIFT+TAB to jump between text- and bullet-levels. Click ENTER and TAB for next level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_DateCustomA" hidden="1"/>
          <p:cNvSpPr>
            <a:spLocks noGrp="1"/>
          </p:cNvSpPr>
          <p:nvPr>
            <p:ph type="dt" sz="half" idx="26"/>
          </p:nvPr>
        </p:nvSpPr>
        <p:spPr>
          <a:xfrm>
            <a:off x="848154" y="6361200"/>
            <a:ext cx="2200643" cy="24086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10663499" y="370804"/>
            <a:ext cx="1166619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4000"/>
            <a:ext cx="9507442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940608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3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hapter">
    <p:bg>
      <p:bgPr>
        <a:solidFill>
          <a:srgbClr val="D9E1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388BDA08-52DC-35D2-836B-3FA2C1F47126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>
            <a:lvl1pPr>
              <a:lnSpc>
                <a:spcPct val="100000"/>
              </a:lnSpc>
              <a:buNone/>
              <a:defRPr lang="en-GB" sz="1500"/>
            </a:lvl1pPr>
          </a:lstStyle>
          <a:p>
            <a:pPr lvl="0"/>
            <a:r>
              <a:rPr lang="en-GB"/>
              <a:t>Insert agenda point (if needed)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2E9C6AE-855C-68E9-184A-B90F97AADDA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58874" y="758823"/>
            <a:ext cx="9507446" cy="3389424"/>
          </a:xfrm>
        </p:spPr>
        <p:txBody>
          <a:bodyPr>
            <a:normAutofit/>
          </a:bodyPr>
          <a:lstStyle>
            <a:lvl1pPr>
              <a:defRPr lang="en-GB" sz="5500"/>
            </a:lvl1pPr>
          </a:lstStyle>
          <a:p>
            <a:pPr lvl="0"/>
            <a:r>
              <a:rPr lang="en-GB"/>
              <a:t>Click to add chapter title</a:t>
            </a:r>
          </a:p>
        </p:txBody>
      </p:sp>
      <p:sp>
        <p:nvSpPr>
          <p:cNvPr id="4" name="FLD_Presentation">
            <a:extLst>
              <a:ext uri="{FF2B5EF4-FFF2-40B4-BE49-F238E27FC236}">
                <a16:creationId xmlns:a16="http://schemas.microsoft.com/office/drawing/2014/main" id="{489004FD-0CD1-39EC-53C4-E46F092821C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en-GB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BA348DEA-903E-3C06-39FF-8AB2BF9DC40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928117B-465C-4790-B86E-F734F321B5CE}" type="slidenum">
              <a:t>‹#›</a:t>
            </a:fld>
            <a:endParaRPr lang="en-GB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CC9AED21-C5E4-2664-39EB-3CE7BD37CA1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2FB7E50F-851F-147E-97BC-B37A113CAC0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0662982" y="370807"/>
            <a:ext cx="1166618" cy="39191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196">
            <a:normAutofit/>
          </a:bodyPr>
          <a:lstStyle>
            <a:lvl1pPr>
              <a:buNone/>
              <a:defRPr lang="en-GB"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66823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9F88215D-4B7C-7827-88B2-974A564209E3}"/>
              </a:ext>
            </a:extLst>
          </p:cNvPr>
          <p:cNvSpPr/>
          <p:nvPr userDrawn="1"/>
        </p:nvSpPr>
        <p:spPr>
          <a:xfrm>
            <a:off x="8157600" y="2105030"/>
            <a:ext cx="3672956" cy="19360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96" noProof="0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4BB0E9ED-BDE0-40A3-F833-196BC32FDC43}"/>
              </a:ext>
            </a:extLst>
          </p:cNvPr>
          <p:cNvSpPr/>
          <p:nvPr userDrawn="1"/>
        </p:nvSpPr>
        <p:spPr>
          <a:xfrm>
            <a:off x="8157600" y="4293172"/>
            <a:ext cx="3672956" cy="19360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96" noProof="0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4866C436-DD26-6DEF-69F7-4BFA26A27056}"/>
              </a:ext>
            </a:extLst>
          </p:cNvPr>
          <p:cNvSpPr/>
          <p:nvPr userDrawn="1"/>
        </p:nvSpPr>
        <p:spPr>
          <a:xfrm>
            <a:off x="4258800" y="2105030"/>
            <a:ext cx="3672956" cy="19360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96" noProof="0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6362286B-D908-5BD5-2D5C-EC97F3D889EF}"/>
              </a:ext>
            </a:extLst>
          </p:cNvPr>
          <p:cNvSpPr/>
          <p:nvPr userDrawn="1"/>
        </p:nvSpPr>
        <p:spPr>
          <a:xfrm>
            <a:off x="4258800" y="4293172"/>
            <a:ext cx="3672956" cy="19360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96" noProof="0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89056BCC-BE27-116C-86F4-867628823137}"/>
              </a:ext>
            </a:extLst>
          </p:cNvPr>
          <p:cNvSpPr/>
          <p:nvPr userDrawn="1"/>
        </p:nvSpPr>
        <p:spPr>
          <a:xfrm>
            <a:off x="358870" y="2105030"/>
            <a:ext cx="3672956" cy="19360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96" noProof="0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FDD09A84-919D-3539-37BF-9D372494B472}"/>
              </a:ext>
            </a:extLst>
          </p:cNvPr>
          <p:cNvSpPr/>
          <p:nvPr userDrawn="1"/>
        </p:nvSpPr>
        <p:spPr>
          <a:xfrm>
            <a:off x="358869" y="4293172"/>
            <a:ext cx="3672956" cy="19360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96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FAD5B101-935E-B28D-3C58-9F54AB9A3CF3}"/>
              </a:ext>
            </a:extLst>
          </p:cNvPr>
          <p:cNvSpPr>
            <a:spLocks noGrp="1"/>
          </p:cNvSpPr>
          <p:nvPr>
            <p:ph type="subTitle" idx="29" hasCustomPrompt="1"/>
          </p:nvPr>
        </p:nvSpPr>
        <p:spPr>
          <a:xfrm>
            <a:off x="358872" y="323426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4FD9B89-42EC-2E16-D254-537E05B6EF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2" y="759600"/>
            <a:ext cx="951840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869" y="1216800"/>
            <a:ext cx="9507444" cy="701378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SzPct val="100000"/>
              <a:buFont typeface="Arial" panose="020B0604020202020204" pitchFamily="34" charset="0"/>
              <a:buChar char="​"/>
              <a:defRPr sz="2096" b="0" i="0">
                <a:latin typeface="+mn-lt"/>
              </a:defRPr>
            </a:lvl1pPr>
            <a:lvl2pPr marL="179640">
              <a:lnSpc>
                <a:spcPct val="100000"/>
              </a:lnSpc>
              <a:defRPr sz="2096" b="0" i="0">
                <a:latin typeface="+mn-lt"/>
              </a:defRPr>
            </a:lvl2pPr>
            <a:lvl3pPr marL="359280">
              <a:lnSpc>
                <a:spcPct val="100000"/>
              </a:lnSpc>
              <a:defRPr sz="1796" b="0" i="0">
                <a:latin typeface="+mn-lt"/>
              </a:defRPr>
            </a:lvl3pPr>
            <a:lvl4pPr marL="538921">
              <a:lnSpc>
                <a:spcPct val="100000"/>
              </a:lnSpc>
              <a:defRPr b="0" i="0">
                <a:latin typeface="+mn-lt"/>
              </a:defRPr>
            </a:lvl4pPr>
            <a:lvl5pPr>
              <a:lnSpc>
                <a:spcPct val="100000"/>
              </a:lnSpc>
              <a:defRPr b="0" i="0">
                <a:latin typeface="+mn-lt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358870" y="2105030"/>
            <a:ext cx="3672956" cy="1936043"/>
          </a:xfrm>
          <a:solidFill>
            <a:schemeClr val="bg2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on icon to insert content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358869" y="4293172"/>
            <a:ext cx="3672956" cy="1936043"/>
          </a:xfrm>
          <a:solidFill>
            <a:schemeClr val="bg2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icon to insert content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4258800" y="2105030"/>
            <a:ext cx="3672956" cy="1936043"/>
          </a:xfrm>
          <a:solidFill>
            <a:schemeClr val="bg2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on icon to insert content</a:t>
            </a:r>
          </a:p>
        </p:txBody>
      </p:sp>
      <p:sp>
        <p:nvSpPr>
          <p:cNvPr id="21" name="Content Placeholder 6"/>
          <p:cNvSpPr>
            <a:spLocks noGrp="1"/>
          </p:cNvSpPr>
          <p:nvPr>
            <p:ph sz="quarter" idx="19" hasCustomPrompt="1"/>
          </p:nvPr>
        </p:nvSpPr>
        <p:spPr>
          <a:xfrm>
            <a:off x="4258800" y="4293172"/>
            <a:ext cx="3672000" cy="1936043"/>
          </a:xfrm>
          <a:solidFill>
            <a:schemeClr val="bg2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icon to insert content</a:t>
            </a:r>
          </a:p>
        </p:txBody>
      </p:sp>
      <p:sp>
        <p:nvSpPr>
          <p:cNvPr id="24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8157600" y="2105030"/>
            <a:ext cx="3672956" cy="1936043"/>
          </a:xfrm>
          <a:solidFill>
            <a:schemeClr val="bg2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Click on icon to insert content</a:t>
            </a:r>
          </a:p>
        </p:txBody>
      </p:sp>
      <p:sp>
        <p:nvSpPr>
          <p:cNvPr id="25" name="Content Placeholder 8"/>
          <p:cNvSpPr>
            <a:spLocks noGrp="1"/>
          </p:cNvSpPr>
          <p:nvPr>
            <p:ph sz="quarter" idx="23" hasCustomPrompt="1"/>
          </p:nvPr>
        </p:nvSpPr>
        <p:spPr>
          <a:xfrm>
            <a:off x="8157602" y="4293172"/>
            <a:ext cx="3672000" cy="1936043"/>
          </a:xfrm>
          <a:solidFill>
            <a:schemeClr val="bg2"/>
          </a:solidFill>
        </p:spPr>
        <p:txBody>
          <a:bodyPr tIns="1620000" bIns="144000" anchor="ctr" anchorCtr="0">
            <a:normAutofit/>
          </a:bodyPr>
          <a:lstStyle>
            <a:lvl1pPr marL="0" indent="0" algn="ctr">
              <a:buFontTx/>
              <a:buNone/>
              <a:defRPr sz="1398" b="0" i="0">
                <a:latin typeface="+mn-lt"/>
              </a:defRPr>
            </a:lvl1pPr>
          </a:lstStyle>
          <a:p>
            <a:r>
              <a:rPr lang="en-GB" dirty="0"/>
              <a:t>Click on icon to insert conten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58868" y="2105030"/>
            <a:ext cx="3672956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8869" y="4293172"/>
            <a:ext cx="3672956" cy="387871"/>
          </a:xfrm>
        </p:spPr>
        <p:txBody>
          <a:bodyPr lIns="90000" tIns="90000" rIns="36000" anchor="t" anchorCtr="0">
            <a:normAutofit/>
          </a:bodyPr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text</a:t>
            </a:r>
          </a:p>
          <a:p>
            <a:pPr lvl="0"/>
            <a:endParaRPr lang="en-GB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258800" y="2105030"/>
            <a:ext cx="367200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4258800" y="4293172"/>
            <a:ext cx="367200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8157602" y="2105030"/>
            <a:ext cx="367200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8157602" y="4293172"/>
            <a:ext cx="367200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_DateCustomA" hidden="1"/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FLD_Presentation"/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1922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6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358776" y="2105029"/>
            <a:ext cx="3673049" cy="1936043"/>
          </a:xfrm>
          <a:solidFill>
            <a:schemeClr val="bg2"/>
          </a:solidFill>
        </p:spPr>
        <p:txBody>
          <a:bodyPr tIns="1044000" anchor="ctr" anchorCtr="0"/>
          <a:lstStyle>
            <a:lvl1pPr algn="ctr">
              <a:defRPr sz="11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0" hasCustomPrompt="1"/>
          </p:nvPr>
        </p:nvSpPr>
        <p:spPr>
          <a:xfrm>
            <a:off x="358775" y="4294804"/>
            <a:ext cx="3673049" cy="1936043"/>
          </a:xfrm>
          <a:solidFill>
            <a:schemeClr val="bg2"/>
          </a:solidFill>
        </p:spPr>
        <p:txBody>
          <a:bodyPr tIns="1044000" anchor="ctr" anchorCtr="0"/>
          <a:lstStyle>
            <a:lvl1pPr algn="ctr">
              <a:defRPr sz="11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4257447" y="2106004"/>
            <a:ext cx="3673049" cy="1936043"/>
          </a:xfrm>
          <a:solidFill>
            <a:schemeClr val="bg2"/>
          </a:solidFill>
        </p:spPr>
        <p:txBody>
          <a:bodyPr tIns="1044000" anchor="ctr" anchorCtr="0"/>
          <a:lstStyle>
            <a:lvl1pPr algn="ctr">
              <a:defRPr sz="11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31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4257447" y="4294804"/>
            <a:ext cx="3673049" cy="1936043"/>
          </a:xfrm>
          <a:solidFill>
            <a:schemeClr val="bg2"/>
          </a:solidFill>
        </p:spPr>
        <p:txBody>
          <a:bodyPr tIns="1044000" anchor="ctr" anchorCtr="0"/>
          <a:lstStyle>
            <a:lvl1pPr algn="ctr">
              <a:defRPr sz="11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8156118" y="2105029"/>
            <a:ext cx="3673049" cy="1936043"/>
          </a:xfrm>
          <a:solidFill>
            <a:schemeClr val="bg2"/>
          </a:solidFill>
        </p:spPr>
        <p:txBody>
          <a:bodyPr tIns="1044000" anchor="ctr" anchorCtr="0"/>
          <a:lstStyle>
            <a:lvl1pPr algn="ctr">
              <a:defRPr sz="11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33" name="Picture Placeholder 7"/>
          <p:cNvSpPr>
            <a:spLocks noGrp="1"/>
          </p:cNvSpPr>
          <p:nvPr>
            <p:ph type="pic" sz="quarter" idx="34" hasCustomPrompt="1"/>
          </p:nvPr>
        </p:nvSpPr>
        <p:spPr>
          <a:xfrm>
            <a:off x="8156117" y="4294804"/>
            <a:ext cx="3673049" cy="1936043"/>
          </a:xfrm>
          <a:solidFill>
            <a:schemeClr val="bg2"/>
          </a:solidFill>
        </p:spPr>
        <p:txBody>
          <a:bodyPr tIns="1044000" anchor="ctr" anchorCtr="0"/>
          <a:lstStyle>
            <a:lvl1pPr algn="ctr">
              <a:defRPr sz="1198" b="0" i="0">
                <a:latin typeface="+mn-lt"/>
              </a:defRPr>
            </a:lvl1pPr>
          </a:lstStyle>
          <a:p>
            <a:r>
              <a:rPr lang="en-GB" dirty="0"/>
              <a:t>Click on frame and select picture from Templafy Photos or click on icon in frame to insert picture from your devic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0676545-3A46-AE54-E6AF-2ED38B1DC98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8872" y="323426"/>
            <a:ext cx="9508730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b="0" i="0" cap="none" baseline="0">
                <a:latin typeface="+mn-lt"/>
              </a:defRPr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A668661-6CD9-9FEF-103F-AC1EB62D54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2" y="759600"/>
            <a:ext cx="9518400" cy="457200"/>
          </a:xfrm>
        </p:spPr>
        <p:txBody>
          <a:bodyPr/>
          <a:lstStyle>
            <a:lvl1pPr>
              <a:defRPr b="0" i="0"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869" y="1216800"/>
            <a:ext cx="9507444" cy="701378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SzPct val="100000"/>
              <a:buFont typeface="Arial" panose="020B0604020202020204" pitchFamily="34" charset="0"/>
              <a:buChar char="​"/>
              <a:defRPr sz="2096" b="0" i="0">
                <a:latin typeface="+mn-lt"/>
              </a:defRPr>
            </a:lvl1pPr>
            <a:lvl2pPr marL="179640">
              <a:lnSpc>
                <a:spcPct val="100000"/>
              </a:lnSpc>
              <a:defRPr sz="2096" b="0" i="0">
                <a:latin typeface="+mn-lt"/>
              </a:defRPr>
            </a:lvl2pPr>
            <a:lvl3pPr marL="359280">
              <a:lnSpc>
                <a:spcPct val="100000"/>
              </a:lnSpc>
              <a:defRPr sz="1796" b="0" i="0">
                <a:latin typeface="+mn-lt"/>
              </a:defRPr>
            </a:lvl3pPr>
            <a:lvl4pPr marL="538921">
              <a:lnSpc>
                <a:spcPct val="100000"/>
              </a:lnSpc>
              <a:defRPr b="0" i="0">
                <a:latin typeface="+mn-lt"/>
              </a:defRPr>
            </a:lvl4pPr>
            <a:lvl5pPr>
              <a:lnSpc>
                <a:spcPct val="100000"/>
              </a:lnSpc>
              <a:defRPr b="0" i="0">
                <a:latin typeface="+mn-lt"/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58868" y="2105030"/>
            <a:ext cx="3672956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8869" y="4294804"/>
            <a:ext cx="3672956" cy="387871"/>
          </a:xfrm>
        </p:spPr>
        <p:txBody>
          <a:bodyPr lIns="90000" tIns="90000" rIns="36000" anchor="t" anchorCtr="0">
            <a:normAutofit/>
          </a:bodyPr>
          <a:lstStyle>
            <a:lvl1pPr marL="0" marR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257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text</a:t>
            </a:r>
          </a:p>
          <a:p>
            <a:pPr lvl="0"/>
            <a:endParaRPr lang="en-GB" dirty="0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4257447" y="2105030"/>
            <a:ext cx="367200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4257447" y="4294804"/>
            <a:ext cx="367200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8156118" y="2105030"/>
            <a:ext cx="367200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8157602" y="4294804"/>
            <a:ext cx="3672000" cy="387871"/>
          </a:xfrm>
        </p:spPr>
        <p:txBody>
          <a:bodyPr lIns="90000" tIns="90000" rIns="3600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1398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_DateCustomA" hidden="1"/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FLD_Presentation"/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3608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6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3A9F1D-818C-492D-8052-E644F8D86124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LD_Presentation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8870" y="324000"/>
            <a:ext cx="9507442" cy="302018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498" i="0" cap="none" baseline="0"/>
            </a:lvl1pPr>
            <a:lvl2pPr marL="456286" indent="0" algn="ctr">
              <a:buNone/>
              <a:defRPr sz="1996"/>
            </a:lvl2pPr>
            <a:lvl3pPr marL="912573" indent="0" algn="ctr">
              <a:buNone/>
              <a:defRPr sz="1796"/>
            </a:lvl3pPr>
            <a:lvl4pPr marL="1368858" indent="0" algn="ctr">
              <a:buNone/>
              <a:defRPr sz="1596"/>
            </a:lvl4pPr>
            <a:lvl5pPr marL="1825144" indent="0" algn="ctr">
              <a:buNone/>
              <a:defRPr sz="1596"/>
            </a:lvl5pPr>
            <a:lvl6pPr marL="2281430" indent="0" algn="ctr">
              <a:buNone/>
              <a:defRPr sz="1596"/>
            </a:lvl6pPr>
            <a:lvl7pPr marL="2737717" indent="0" algn="ctr">
              <a:buNone/>
              <a:defRPr sz="1596"/>
            </a:lvl7pPr>
            <a:lvl8pPr marL="3194003" indent="0" algn="ctr">
              <a:buNone/>
              <a:defRPr sz="1596"/>
            </a:lvl8pPr>
            <a:lvl9pPr marL="3650288" indent="0" algn="ctr">
              <a:buNone/>
              <a:defRPr sz="1596"/>
            </a:lvl9pPr>
          </a:lstStyle>
          <a:p>
            <a:pPr lvl="0"/>
            <a:r>
              <a:rPr lang="en-GB" dirty="0"/>
              <a:t>Insert agenda point (if needed)</a:t>
            </a:r>
          </a:p>
        </p:txBody>
      </p:sp>
    </p:spTree>
    <p:extLst>
      <p:ext uri="{BB962C8B-B14F-4D97-AF65-F5344CB8AC3E}">
        <p14:creationId xmlns:p14="http://schemas.microsoft.com/office/powerpoint/2010/main" val="1736292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fld id="{F4330FF1-E4C2-4104-B14B-6F8AA031F6C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_DateCustomA" hidden="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FLD_Presentation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693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7">
          <p15:clr>
            <a:srgbClr val="A4A3A4"/>
          </p15:clr>
        </p15:guide>
        <p15:guide id="2" orient="horz" pos="3923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with contac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ackground 249x3">
            <a:extLst>
              <a:ext uri="{FF2B5EF4-FFF2-40B4-BE49-F238E27FC236}">
                <a16:creationId xmlns:a16="http://schemas.microsoft.com/office/drawing/2014/main" id="{D1CA1F18-E0FB-CB54-544A-318AAD977B9E}"/>
              </a:ext>
            </a:extLst>
          </p:cNvPr>
          <p:cNvSpPr/>
          <p:nvPr userDrawn="1"/>
        </p:nvSpPr>
        <p:spPr bwMode="auto">
          <a:xfrm>
            <a:off x="-388" y="0"/>
            <a:ext cx="12192775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850" tIns="71850" rIns="71850" bIns="7185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257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796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" name="Slide Number Placeholder 2" hidden="1"/>
          <p:cNvSpPr>
            <a:spLocks noGrp="1"/>
          </p:cNvSpPr>
          <p:nvPr>
            <p:ph type="sldNum" sz="quarter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 b="0" i="0">
                <a:noFill/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LD_Presentation" hidden="1"/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33"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6" name="Text Placeholder name"/>
          <p:cNvSpPr>
            <a:spLocks noGrp="1"/>
          </p:cNvSpPr>
          <p:nvPr>
            <p:ph type="body" sz="quarter" idx="23" hasCustomPrompt="1"/>
          </p:nvPr>
        </p:nvSpPr>
        <p:spPr>
          <a:xfrm>
            <a:off x="366267" y="5595441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3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[add name]</a:t>
            </a:r>
          </a:p>
        </p:txBody>
      </p:sp>
      <p:sp>
        <p:nvSpPr>
          <p:cNvPr id="27" name="LAN_Contact"/>
          <p:cNvSpPr txBox="1"/>
          <p:nvPr userDrawn="1"/>
        </p:nvSpPr>
        <p:spPr>
          <a:xfrm>
            <a:off x="366270" y="5346525"/>
            <a:ext cx="183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257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398" b="0" i="0" cap="none" baseline="0" dirty="0">
                <a:solidFill>
                  <a:schemeClr val="tx1"/>
                </a:solidFill>
                <a:latin typeface="+mn-lt"/>
              </a:rPr>
              <a:t>Contact info</a:t>
            </a:r>
          </a:p>
        </p:txBody>
      </p:sp>
      <p:sp>
        <p:nvSpPr>
          <p:cNvPr id="28" name="Text Placeholder email"/>
          <p:cNvSpPr>
            <a:spLocks noGrp="1"/>
          </p:cNvSpPr>
          <p:nvPr>
            <p:ph type="body" sz="quarter" idx="24" hasCustomPrompt="1"/>
          </p:nvPr>
        </p:nvSpPr>
        <p:spPr>
          <a:xfrm>
            <a:off x="366268" y="5831121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3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[add </a:t>
            </a:r>
            <a:r>
              <a:rPr lang="en-GB" noProof="1"/>
              <a:t>email@VELUX.com</a:t>
            </a:r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]</a:t>
            </a:r>
            <a:endParaRPr lang="en-GB" noProof="1"/>
          </a:p>
        </p:txBody>
      </p:sp>
      <p:sp>
        <p:nvSpPr>
          <p:cNvPr id="29" name="Text Placeholder company"/>
          <p:cNvSpPr>
            <a:spLocks noGrp="1"/>
          </p:cNvSpPr>
          <p:nvPr>
            <p:ph type="body" sz="quarter" idx="25" hasCustomPrompt="1"/>
          </p:nvPr>
        </p:nvSpPr>
        <p:spPr>
          <a:xfrm>
            <a:off x="366268" y="6066801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3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[add </a:t>
            </a:r>
            <a:r>
              <a:rPr lang="en-GB" dirty="0"/>
              <a:t>VELUX company</a:t>
            </a:r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]</a:t>
            </a:r>
            <a:endParaRPr lang="en-GB" dirty="0"/>
          </a:p>
        </p:txBody>
      </p:sp>
      <p:sp>
        <p:nvSpPr>
          <p:cNvPr id="30" name="Text Placeholder website"/>
          <p:cNvSpPr>
            <a:spLocks noGrp="1"/>
          </p:cNvSpPr>
          <p:nvPr>
            <p:ph type="body" sz="quarter" idx="26" hasCustomPrompt="1"/>
          </p:nvPr>
        </p:nvSpPr>
        <p:spPr>
          <a:xfrm>
            <a:off x="366268" y="6302479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3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[add </a:t>
            </a:r>
            <a:r>
              <a:rPr lang="en-GB" noProof="1"/>
              <a:t>VELUX website</a:t>
            </a:r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]</a:t>
            </a:r>
            <a:endParaRPr lang="en-GB" noProof="1"/>
          </a:p>
        </p:txBody>
      </p:sp>
      <p:sp>
        <p:nvSpPr>
          <p:cNvPr id="2" name="Date_DateCustomA" hidden="1">
            <a:extLst>
              <a:ext uri="{FF2B5EF4-FFF2-40B4-BE49-F238E27FC236}">
                <a16:creationId xmlns:a16="http://schemas.microsoft.com/office/drawing/2014/main" id="{F10A39A7-9B11-88C8-6695-BA092E840119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27C5F808-1D9C-0B44-764C-942447CA74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11998" y="1210352"/>
            <a:ext cx="7167602" cy="4031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795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Print) End slide with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249x3">
            <a:extLst>
              <a:ext uri="{FF2B5EF4-FFF2-40B4-BE49-F238E27FC236}">
                <a16:creationId xmlns:a16="http://schemas.microsoft.com/office/drawing/2014/main" id="{CC2E98F5-D16E-89D6-4E8E-1FACDA35BB75}"/>
              </a:ext>
            </a:extLst>
          </p:cNvPr>
          <p:cNvSpPr/>
          <p:nvPr userDrawn="1"/>
        </p:nvSpPr>
        <p:spPr bwMode="auto">
          <a:xfrm>
            <a:off x="-388" y="0"/>
            <a:ext cx="12192775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850" tIns="71850" rIns="71850" bIns="7185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257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796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LD_Presentation" hidden="1"/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Date_DateCustomA" hidden="1">
            <a:extLst>
              <a:ext uri="{FF2B5EF4-FFF2-40B4-BE49-F238E27FC236}">
                <a16:creationId xmlns:a16="http://schemas.microsoft.com/office/drawing/2014/main" id="{AD8188DA-E7C6-F7C5-BE1C-2F79F6DDC40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CE4154F5-DBC4-C1EE-92C7-BDA908BBC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24561" y="2492870"/>
            <a:ext cx="2143554" cy="720100"/>
          </a:xfrm>
          <a:prstGeom prst="rect">
            <a:avLst/>
          </a:prstGeom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E3E829DA-B3D4-09B3-BCBA-DA8925D73F15}"/>
              </a:ext>
            </a:extLst>
          </p:cNvPr>
          <p:cNvSpPr txBox="1"/>
          <p:nvPr userDrawn="1"/>
        </p:nvSpPr>
        <p:spPr>
          <a:xfrm>
            <a:off x="4283917" y="3314384"/>
            <a:ext cx="3722173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894" b="0" noProof="0" dirty="0">
                <a:solidFill>
                  <a:schemeClr val="tx1"/>
                </a:solidFill>
                <a:latin typeface="+mj-lt"/>
              </a:rPr>
              <a:t>Transforming Spaces</a:t>
            </a:r>
          </a:p>
        </p:txBody>
      </p:sp>
      <p:sp>
        <p:nvSpPr>
          <p:cNvPr id="10" name="Text Placeholder name">
            <a:extLst>
              <a:ext uri="{FF2B5EF4-FFF2-40B4-BE49-F238E27FC236}">
                <a16:creationId xmlns:a16="http://schemas.microsoft.com/office/drawing/2014/main" id="{7126BD37-0061-F9D1-5E2A-20CE7810C0C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6267" y="5595441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3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[add name]</a:t>
            </a:r>
          </a:p>
        </p:txBody>
      </p:sp>
      <p:sp>
        <p:nvSpPr>
          <p:cNvPr id="11" name="LAN_Contact">
            <a:extLst>
              <a:ext uri="{FF2B5EF4-FFF2-40B4-BE49-F238E27FC236}">
                <a16:creationId xmlns:a16="http://schemas.microsoft.com/office/drawing/2014/main" id="{10D41AA0-A197-C9A8-EBC0-78ECE86BE265}"/>
              </a:ext>
            </a:extLst>
          </p:cNvPr>
          <p:cNvSpPr txBox="1"/>
          <p:nvPr userDrawn="1"/>
        </p:nvSpPr>
        <p:spPr>
          <a:xfrm>
            <a:off x="366270" y="5346525"/>
            <a:ext cx="183668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257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398" b="0" i="0" cap="none" baseline="0" dirty="0">
                <a:solidFill>
                  <a:schemeClr val="tx1"/>
                </a:solidFill>
                <a:latin typeface="+mn-lt"/>
              </a:rPr>
              <a:t>Contact info</a:t>
            </a:r>
          </a:p>
        </p:txBody>
      </p:sp>
      <p:sp>
        <p:nvSpPr>
          <p:cNvPr id="12" name="Text Placeholder email">
            <a:extLst>
              <a:ext uri="{FF2B5EF4-FFF2-40B4-BE49-F238E27FC236}">
                <a16:creationId xmlns:a16="http://schemas.microsoft.com/office/drawing/2014/main" id="{607DCBAA-208B-A190-14A6-5D60B0DD990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6268" y="5831121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3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[add </a:t>
            </a:r>
            <a:r>
              <a:rPr lang="en-GB" noProof="1"/>
              <a:t>email@VELUX.com</a:t>
            </a:r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]</a:t>
            </a:r>
            <a:endParaRPr lang="en-GB" noProof="1"/>
          </a:p>
        </p:txBody>
      </p:sp>
      <p:sp>
        <p:nvSpPr>
          <p:cNvPr id="13" name="Text Placeholder company">
            <a:extLst>
              <a:ext uri="{FF2B5EF4-FFF2-40B4-BE49-F238E27FC236}">
                <a16:creationId xmlns:a16="http://schemas.microsoft.com/office/drawing/2014/main" id="{84820DEA-546D-3C8D-19C0-58FA6EC75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6268" y="6066801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3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[add </a:t>
            </a:r>
            <a:r>
              <a:rPr lang="en-GB" dirty="0"/>
              <a:t>VELUX company</a:t>
            </a:r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]</a:t>
            </a:r>
            <a:endParaRPr lang="en-GB" dirty="0"/>
          </a:p>
        </p:txBody>
      </p:sp>
      <p:sp>
        <p:nvSpPr>
          <p:cNvPr id="14" name="Text Placeholder website">
            <a:extLst>
              <a:ext uri="{FF2B5EF4-FFF2-40B4-BE49-F238E27FC236}">
                <a16:creationId xmlns:a16="http://schemas.microsoft.com/office/drawing/2014/main" id="{AA45D051-DCC3-3FA3-B035-F1DC8146BB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6268" y="6302479"/>
            <a:ext cx="3503712" cy="202213"/>
          </a:xfrm>
        </p:spPr>
        <p:txBody>
          <a:bodyPr anchor="t" anchorCtr="0"/>
          <a:lstStyle>
            <a:lvl1pPr marL="0" indent="0">
              <a:buFontTx/>
              <a:buNone/>
              <a:defRPr sz="13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[add </a:t>
            </a:r>
            <a:r>
              <a:rPr lang="en-GB" noProof="1"/>
              <a:t>VELUX website</a:t>
            </a:r>
            <a:r>
              <a:rPr lang="en-GB" sz="1398" b="0" i="0" dirty="0">
                <a:solidFill>
                  <a:schemeClr val="tx1"/>
                </a:solidFill>
                <a:latin typeface="Arial" pitchFamily="34" charset="0"/>
              </a:rPr>
              <a:t>]</a:t>
            </a:r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56478324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without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 249x3">
            <a:extLst>
              <a:ext uri="{FF2B5EF4-FFF2-40B4-BE49-F238E27FC236}">
                <a16:creationId xmlns:a16="http://schemas.microsoft.com/office/drawing/2014/main" id="{D1E1D045-CB0E-8870-707E-DCCFA134A472}"/>
              </a:ext>
            </a:extLst>
          </p:cNvPr>
          <p:cNvSpPr/>
          <p:nvPr userDrawn="1"/>
        </p:nvSpPr>
        <p:spPr bwMode="auto">
          <a:xfrm>
            <a:off x="-388" y="0"/>
            <a:ext cx="12192775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850" tIns="71850" rIns="71850" bIns="7185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257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796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LD_Presentation" hidden="1"/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2" name="Date_DateCustomA" hidden="1">
            <a:extLst>
              <a:ext uri="{FF2B5EF4-FFF2-40B4-BE49-F238E27FC236}">
                <a16:creationId xmlns:a16="http://schemas.microsoft.com/office/drawing/2014/main" id="{AD8188DA-E7C6-F7C5-BE1C-2F79F6DDC40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7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B04810C4-786F-D2B3-7E14-BB4CB5CA44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11998" y="1210352"/>
            <a:ext cx="7167602" cy="4031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0539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 249x3"/>
          <p:cNvSpPr/>
          <p:nvPr userDrawn="1"/>
        </p:nvSpPr>
        <p:spPr bwMode="auto">
          <a:xfrm>
            <a:off x="0" y="0"/>
            <a:ext cx="12192775" cy="6858000"/>
          </a:xfrm>
          <a:prstGeom prst="rect">
            <a:avLst/>
          </a:prstGeom>
          <a:solidFill>
            <a:srgbClr val="A1151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850" tIns="71850" rIns="71850" bIns="7185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257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796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LD_Presentation" hidden="1"/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6" name="Date_DateCustomA">
            <a:extLst>
              <a:ext uri="{FF2B5EF4-FFF2-40B4-BE49-F238E27FC236}">
                <a16:creationId xmlns:a16="http://schemas.microsoft.com/office/drawing/2014/main" id="{F9758C30-66A9-ECA5-6A98-EBC8756F7C53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40F571C6-2EC5-794C-BDBD-DC08D9D8D1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3499" y="370804"/>
            <a:ext cx="1166619" cy="391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46748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 249x3"/>
          <p:cNvSpPr/>
          <p:nvPr userDrawn="1"/>
        </p:nvSpPr>
        <p:spPr bwMode="auto">
          <a:xfrm>
            <a:off x="0" y="0"/>
            <a:ext cx="12192775" cy="6858000"/>
          </a:xfrm>
          <a:prstGeom prst="rect">
            <a:avLst/>
          </a:prstGeom>
          <a:solidFill>
            <a:srgbClr val="45414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850" tIns="71850" rIns="71850" bIns="7185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257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796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6" name="Date_DateCustomA" hidden="1">
            <a:extLst>
              <a:ext uri="{FF2B5EF4-FFF2-40B4-BE49-F238E27FC236}">
                <a16:creationId xmlns:a16="http://schemas.microsoft.com/office/drawing/2014/main" id="{970A8657-EFD7-9269-BA05-9939AA34169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8A4AA2D3-6B34-2DBA-1DE7-F3FE683DE7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3499" y="370804"/>
            <a:ext cx="1166619" cy="391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65707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utoShape 4"/>
          <p:cNvSpPr>
            <a:spLocks/>
          </p:cNvSpPr>
          <p:nvPr userDrawn="1"/>
        </p:nvSpPr>
        <p:spPr bwMode="gray">
          <a:xfrm>
            <a:off x="359050" y="1073195"/>
            <a:ext cx="3658550" cy="471154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nts</a:t>
            </a:r>
            <a:r>
              <a:rPr lang="en-GB" sz="1098" b="1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used in the template</a:t>
            </a:r>
            <a:endParaRPr lang="en-GB" sz="1098" b="1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ext is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 Transform Office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. </a:t>
            </a:r>
            <a:b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old can be used to highligt important words.</a:t>
            </a:r>
            <a:b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sz="1098" b="0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 styles</a:t>
            </a: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-key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</a:t>
            </a:r>
            <a:b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</a:t>
            </a:r>
            <a:b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 to the next level</a:t>
            </a: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 </a:t>
            </a:r>
            <a:b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 can be used</a:t>
            </a: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endParaRPr lang="en-GB" sz="1098" b="0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old fonts</a:t>
            </a: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e old font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ForOffice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sn’t deleted when copying text from old slides or slides from old presentations, do this in before shaving your file.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Click the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Click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place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choose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place Fonts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Replace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ForOffice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with </a:t>
            </a:r>
            <a:b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ELUX Transform Office</a:t>
            </a: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endParaRPr lang="en-GB" sz="1098" b="0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300"/>
              </a:spcAft>
              <a:buFont typeface="+mj-lt"/>
              <a:buNone/>
              <a:defRPr/>
            </a:pPr>
            <a:endParaRPr lang="en-GB" sz="1098" b="0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358869" y="365131"/>
            <a:ext cx="11266394" cy="61458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193" b="0" i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r guide – delete</a:t>
            </a:r>
            <a:r>
              <a:rPr lang="en-GB" sz="3193" b="0" i="0" baseline="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before use</a:t>
            </a:r>
            <a:endParaRPr lang="en-GB" sz="3193" b="0" i="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8166641" y="1092235"/>
            <a:ext cx="3666309" cy="567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3663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257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598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Reset slide</a:t>
            </a:r>
          </a:p>
          <a:p>
            <a:pPr marL="0" marR="0" lvl="0" indent="0" algn="l" defTabSz="912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8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1. Click the </a:t>
            </a:r>
            <a:r>
              <a:rPr kumimoji="0" lang="en-GB" altLang="da-DK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Home tab</a:t>
            </a:r>
            <a:endParaRPr kumimoji="0" lang="en-GB" altLang="da-DK" sz="1098" b="1" i="0" u="none" strike="sng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2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2. Click the </a:t>
            </a:r>
            <a:r>
              <a:rPr kumimoji="0" lang="en-GB" altLang="da-DK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Reset</a:t>
            </a:r>
            <a: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menu to reset position, </a:t>
            </a:r>
            <a:b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ize and formatting of the slide placeholders </a:t>
            </a:r>
            <a:b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to their default settings</a:t>
            </a:r>
          </a:p>
          <a:p>
            <a:pPr marL="0" marR="0" lvl="0" indent="0" algn="l" defTabSz="912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8"/>
              </a:spcAft>
              <a:buClrTx/>
              <a:buSzTx/>
              <a:buFont typeface="+mj-lt"/>
              <a:buNone/>
              <a:tabLst/>
              <a:defRPr/>
            </a:pPr>
            <a:endParaRPr lang="en-GB" sz="1098" b="1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598"/>
              </a:spcAft>
              <a:defRPr/>
            </a:pP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footer, slide number, date</a:t>
            </a:r>
          </a:p>
          <a:p>
            <a:pPr marL="0" marR="0" indent="0" algn="l" defTabSz="9122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98"/>
              </a:spcAft>
              <a:buClrTx/>
              <a:buSzTx/>
              <a:buFontTx/>
              <a:buNone/>
              <a:tabLst/>
              <a:defRPr/>
            </a:pPr>
            <a:r>
              <a:rPr lang="en-GB" sz="1098" b="0" i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all the </a:t>
            </a:r>
            <a:br>
              <a:rPr lang="en-GB" sz="1098" b="0" i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1098" b="0" i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corrections with you</a:t>
            </a:r>
          </a:p>
          <a:p>
            <a:pPr eaLnBrk="1" hangingPunct="1">
              <a:spcBef>
                <a:spcPts val="0"/>
              </a:spcBef>
              <a:spcAft>
                <a:spcPts val="598"/>
              </a:spcAft>
              <a:defRPr/>
            </a:pPr>
            <a:r>
              <a:rPr lang="en-GB" altLang="da-DK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Click the </a:t>
            </a:r>
            <a:r>
              <a:rPr lang="en-GB" altLang="da-DK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1098" b="1" i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598"/>
              </a:spcAft>
              <a:defRPr/>
            </a:pPr>
            <a:r>
              <a:rPr lang="en-GB" altLang="da-DK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Clickon </a:t>
            </a:r>
            <a:r>
              <a:rPr lang="en-GB" altLang="da-DK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Bef>
                <a:spcPts val="0"/>
              </a:spcBef>
              <a:spcAft>
                <a:spcPts val="598"/>
              </a:spcAft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Click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598"/>
              </a:spcAft>
              <a:defRPr/>
            </a:pPr>
            <a:endParaRPr lang="en-GB" sz="1098" b="0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257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598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Guides</a:t>
            </a:r>
          </a:p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To view drawing guides</a:t>
            </a:r>
          </a:p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1. Click the </a:t>
            </a: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View</a:t>
            </a: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tab, set tick mark next to </a:t>
            </a: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Guides</a:t>
            </a:r>
          </a:p>
          <a:p>
            <a:pPr marL="0" marR="0" lvl="0" indent="0" algn="l" defTabSz="912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en-GB" sz="1098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257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Hint: Alt + F9 </a:t>
            </a: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for quick viewing of guides</a:t>
            </a:r>
          </a:p>
          <a:p>
            <a:pPr marL="0" marR="0" lvl="0" indent="0" algn="l" defTabSz="91257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en-GB" sz="1098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257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Manual guides</a:t>
            </a:r>
          </a:p>
          <a:p>
            <a:pPr marL="0" marR="0" lvl="0" indent="0" algn="l" defTabSz="91257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Make manual guides, </a:t>
            </a:r>
            <a:b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right-click on the page </a:t>
            </a:r>
            <a:b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hoose </a:t>
            </a: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Grid and Guides </a:t>
            </a:r>
            <a:b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– Add xxx Guide </a:t>
            </a: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they </a:t>
            </a:r>
            <a:b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will then appear on all </a:t>
            </a:r>
            <a:b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your slides</a:t>
            </a:r>
          </a:p>
          <a:p>
            <a:pPr eaLnBrk="1" hangingPunct="1">
              <a:spcAft>
                <a:spcPts val="598"/>
              </a:spcAft>
              <a:defRPr/>
            </a:pPr>
            <a:endParaRPr lang="en-GB" sz="1098" b="0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4263549" y="1088871"/>
            <a:ext cx="2567190" cy="50911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Click the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Click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</a:t>
            </a:r>
            <a:b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fontAlgn="auto" hangingPunct="1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Choose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"drop down" menu </a:t>
            </a:r>
          </a:p>
          <a:p>
            <a:pPr fontAlgn="auto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endParaRPr lang="en-GB" sz="1098" b="1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598"/>
              </a:spcAft>
              <a:buFont typeface="+mj-lt"/>
              <a:buNone/>
              <a:defRPr/>
            </a:pP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</a:t>
            </a:r>
            <a:b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98" b="0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</a:t>
            </a:r>
            <a:r>
              <a:rPr lang="en-GB" sz="1098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hoose </a:t>
            </a:r>
            <a:r>
              <a:rPr lang="en-GB" sz="1098" b="1" i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1098" b="0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257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98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hange picture</a:t>
            </a:r>
          </a:p>
          <a:p>
            <a:pPr marL="0" marR="0" lvl="0" indent="0" algn="l" defTabSz="91257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98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1. Click </a:t>
            </a:r>
            <a:r>
              <a:rPr kumimoji="0" lang="en-GB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rop</a:t>
            </a: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to change size or focus</a:t>
            </a:r>
            <a:b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</a:br>
            <a:r>
              <a:rPr kumimoji="0" lang="en-GB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of the picture</a:t>
            </a:r>
            <a:endParaRPr kumimoji="0" lang="en-GB" sz="1098" b="0" i="0" u="none" strike="sng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2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8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2. If you want to scale the picture, hold </a:t>
            </a:r>
            <a:r>
              <a:rPr kumimoji="0" lang="en-GB" altLang="da-DK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HIFT-key</a:t>
            </a:r>
            <a: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down while dragging the corners of the picture</a:t>
            </a:r>
          </a:p>
          <a:p>
            <a:pPr marL="0" marR="0" lvl="0" indent="0" algn="l" defTabSz="912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98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Hint</a:t>
            </a:r>
            <a:r>
              <a:rPr kumimoji="0" lang="en-GB" altLang="da-DK" sz="1098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: If you delete the picture and  insert a new one, the picture may lie in front of the text or graphic, if this happens, select the picture, right-click and choose </a:t>
            </a:r>
            <a:r>
              <a:rPr kumimoji="0" lang="en-GB" altLang="da-DK" sz="1098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end to Back</a:t>
            </a:r>
          </a:p>
          <a:p>
            <a:pPr marL="0" marR="0" lvl="0" indent="0" algn="l" defTabSz="91257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altLang="da-DK" sz="1098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1098" b="0" i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3" name="Billed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95044" y="3759597"/>
            <a:ext cx="337400" cy="321707"/>
          </a:xfrm>
          <a:prstGeom prst="rect">
            <a:avLst/>
          </a:prstGeom>
        </p:spPr>
      </p:pic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3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226" tIns="45612" rIns="91226" bIns="45612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sz="1796" b="0" i="0" dirty="0">
              <a:latin typeface="Arial" pitchFamily="34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3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226" tIns="45612" rIns="91226" bIns="45612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sz="1796" b="0" i="0" dirty="0">
              <a:latin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925499" y="3092723"/>
            <a:ext cx="262151" cy="25605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9037" y="1599314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95068" y="1467043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8348" y="2095865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16583" y="2819209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877600" y="4441870"/>
            <a:ext cx="359695" cy="335309"/>
          </a:xfrm>
          <a:prstGeom prst="rect">
            <a:avLst/>
          </a:prstGeom>
        </p:spPr>
      </p:pic>
      <p:pic>
        <p:nvPicPr>
          <p:cNvPr id="2050" name="Picture 2" descr="C:\Users\taw\AppData\Local\Temp\SNAGHTMLaf298051.PNG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2531" y="5219476"/>
            <a:ext cx="1923650" cy="1315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LD_Presentation" hidden="1"/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 hidden="1"/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Arial" pitchFamily="34" charset="0"/>
              </a:defRPr>
            </a:lvl1pPr>
          </a:lstStyle>
          <a:p>
            <a:fld id="{10292E62-ABCD-4E1A-9CD4-1F4D24B7AC5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Date_DateCustomA" hidden="1">
            <a:extLst>
              <a:ext uri="{FF2B5EF4-FFF2-40B4-BE49-F238E27FC236}">
                <a16:creationId xmlns:a16="http://schemas.microsoft.com/office/drawing/2014/main" id="{AE7F2E1A-CAD0-D9E1-826C-2495C2BD45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b="0" i="0">
                <a:noFill/>
                <a:latin typeface="+mn-lt"/>
              </a:defRPr>
            </a:lvl1pPr>
          </a:lstStyle>
          <a:p>
            <a:endParaRPr lang="en-GB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45034A0-0F69-0505-1822-B7DBF26BD8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60" y="5284244"/>
            <a:ext cx="3010472" cy="1263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1684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9" Type="http://schemas.openxmlformats.org/officeDocument/2006/relationships/slideLayout" Target="../slideLayouts/slideLayout95.xml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34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98.xml"/><Relationship Id="rId47" Type="http://schemas.openxmlformats.org/officeDocument/2006/relationships/slideLayout" Target="../slideLayouts/slideLayout103.xml"/><Relationship Id="rId50" Type="http://schemas.openxmlformats.org/officeDocument/2006/relationships/image" Target="../media/image2.svg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97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6.xml"/><Relationship Id="rId45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49" Type="http://schemas.openxmlformats.org/officeDocument/2006/relationships/image" Target="../media/image1.png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48" Type="http://schemas.openxmlformats.org/officeDocument/2006/relationships/theme" Target="../theme/theme2.xml"/><Relationship Id="rId8" Type="http://schemas.openxmlformats.org/officeDocument/2006/relationships/slideLayout" Target="../slideLayouts/slideLayout6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29" Type="http://schemas.openxmlformats.org/officeDocument/2006/relationships/image" Target="../media/image15.emf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slideLayout" Target="../slideLayouts/slideLayout130.xml"/><Relationship Id="rId30" Type="http://schemas.openxmlformats.org/officeDocument/2006/relationships/image" Target="../media/image1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C1505E7-BE41-C876-3E03-9BEBE5A7DD3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9517111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4A0651-DAE9-AFA7-2DBE-BC6F65F0804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59999" y="1663202"/>
            <a:ext cx="11469602" cy="456480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_DateCustomA">
            <a:extLst>
              <a:ext uri="{FF2B5EF4-FFF2-40B4-BE49-F238E27FC236}">
                <a16:creationId xmlns:a16="http://schemas.microsoft.com/office/drawing/2014/main" id="{A7766F38-6CD8-0F56-8775-38BEEC780F2B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849596" y="6361197"/>
            <a:ext cx="2199598" cy="2412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0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defRPr>
            </a:lvl1pPr>
          </a:lstStyle>
          <a:p>
            <a:pPr lvl="0"/>
            <a:endParaRPr lang="en-GB"/>
          </a:p>
        </p:txBody>
      </p:sp>
      <p:sp>
        <p:nvSpPr>
          <p:cNvPr id="5" name="FLD_Presentation">
            <a:extLst>
              <a:ext uri="{FF2B5EF4-FFF2-40B4-BE49-F238E27FC236}">
                <a16:creationId xmlns:a16="http://schemas.microsoft.com/office/drawing/2014/main" id="{D8431469-9815-B3E8-623B-A0C3F31B03A7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4262402" y="6361197"/>
            <a:ext cx="7567199" cy="2412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0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defRPr>
            </a:lvl1pPr>
          </a:lstStyle>
          <a:p>
            <a:pPr lvl="0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9EFB35-6947-B76A-91EA-6AD44D980CF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359999" y="6361197"/>
            <a:ext cx="489597" cy="2412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0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defRPr>
            </a:lvl1pPr>
          </a:lstStyle>
          <a:p>
            <a:pPr lvl="0"/>
            <a:fld id="{8BF41A6C-7C22-4A8E-96CD-D3FA0D7313D5}" type="slidenum">
              <a:t>‹#›</a:t>
            </a:fld>
            <a:endParaRPr lang="en-GB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C62CF47E-86DA-DBAE-F539-56E6A6443C7F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10663495" y="370798"/>
            <a:ext cx="1166618" cy="391911"/>
          </a:xfrm>
          <a:prstGeom prst="rect">
            <a:avLst/>
          </a:prstGeom>
          <a:noFill/>
          <a:ln cap="flat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</p:sldLayoutIdLst>
  <p:txStyles>
    <p:titleStyle>
      <a:lvl1pPr marL="0" marR="0" lvl="0" indent="0" algn="l" defTabSz="914400" rtl="0" fontAlgn="auto" hangingPunct="1">
        <a:lnSpc>
          <a:spcPct val="90000"/>
        </a:lnSpc>
        <a:spcBef>
          <a:spcPts val="0"/>
        </a:spcBef>
        <a:spcAft>
          <a:spcPts val="0"/>
        </a:spcAft>
        <a:buNone/>
        <a:tabLst/>
        <a:defRPr lang="en-US" sz="3200" b="0" i="0" u="none" strike="noStrike" kern="1200" cap="none" spc="0" baseline="0">
          <a:solidFill>
            <a:srgbClr val="28231F"/>
          </a:solidFill>
          <a:uFillTx/>
          <a:latin typeface="VELUX Transform Office"/>
        </a:defRPr>
      </a:lvl1pPr>
    </p:titleStyle>
    <p:bodyStyle>
      <a:lvl1pPr marL="0" marR="0" lvl="0" indent="0" algn="l" defTabSz="914400" rtl="0" fontAlgn="auto" hangingPunct="1">
        <a:lnSpc>
          <a:spcPct val="90000"/>
        </a:lnSpc>
        <a:spcBef>
          <a:spcPts val="0"/>
        </a:spcBef>
        <a:spcAft>
          <a:spcPts val="600"/>
        </a:spcAft>
        <a:buSzPct val="100000"/>
        <a:buFont typeface="Arial" pitchFamily="34"/>
        <a:buChar char="​"/>
        <a:tabLst/>
        <a:defRPr lang="en-US" sz="2800" b="0" i="0" u="none" strike="noStrike" kern="1200" cap="none" spc="0" baseline="0">
          <a:solidFill>
            <a:srgbClr val="28231F"/>
          </a:solidFill>
          <a:uFillTx/>
          <a:latin typeface="VELUX Transform Office"/>
        </a:defRPr>
      </a:lvl1pPr>
      <a:lvl2pPr marL="179999" marR="0" lvl="1" indent="-179999" algn="l" defTabSz="914400" rtl="0" fontAlgn="auto" hangingPunct="1">
        <a:lnSpc>
          <a:spcPct val="90000"/>
        </a:lnSpc>
        <a:spcBef>
          <a:spcPts val="0"/>
        </a:spcBef>
        <a:spcAft>
          <a:spcPts val="600"/>
        </a:spcAft>
        <a:buSzPct val="100000"/>
        <a:buFont typeface="Arial" pitchFamily="34"/>
        <a:buChar char="•"/>
        <a:tabLst/>
        <a:defRPr lang="en-US" sz="2800" b="0" i="0" u="none" strike="noStrike" kern="1200" cap="none" spc="0" baseline="0">
          <a:solidFill>
            <a:srgbClr val="28231F"/>
          </a:solidFill>
          <a:uFillTx/>
          <a:latin typeface="VELUX Transform Office"/>
        </a:defRPr>
      </a:lvl2pPr>
      <a:lvl3pPr marL="359999" marR="0" lvl="2" indent="-179999" algn="l" defTabSz="914400" rtl="0" fontAlgn="auto" hangingPunct="1">
        <a:lnSpc>
          <a:spcPct val="90000"/>
        </a:lnSpc>
        <a:spcBef>
          <a:spcPts val="0"/>
        </a:spcBef>
        <a:spcAft>
          <a:spcPts val="600"/>
        </a:spcAft>
        <a:buSzPct val="100000"/>
        <a:buFont typeface="Arial" pitchFamily="34"/>
        <a:buChar char="•"/>
        <a:tabLst/>
        <a:defRPr lang="en-US" sz="2100" b="0" i="0" u="none" strike="noStrike" kern="1200" cap="none" spc="0" baseline="0">
          <a:solidFill>
            <a:srgbClr val="28231F"/>
          </a:solidFill>
          <a:uFillTx/>
          <a:latin typeface="VELUX Transform Office"/>
        </a:defRPr>
      </a:lvl3pPr>
      <a:lvl4pPr marL="539998" marR="0" lvl="3" indent="-179999" algn="l" defTabSz="914400" rtl="0" fontAlgn="auto" hangingPunct="1">
        <a:lnSpc>
          <a:spcPct val="90000"/>
        </a:lnSpc>
        <a:spcBef>
          <a:spcPts val="0"/>
        </a:spcBef>
        <a:spcAft>
          <a:spcPts val="60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28231F"/>
          </a:solidFill>
          <a:uFillTx/>
          <a:latin typeface="VELUX Transform Office"/>
        </a:defRPr>
      </a:lvl4pPr>
      <a:lvl5pPr marL="719998" marR="0" lvl="4" indent="-179999" algn="l" defTabSz="914400" rtl="0" fontAlgn="auto" hangingPunct="1">
        <a:lnSpc>
          <a:spcPct val="90000"/>
        </a:lnSpc>
        <a:spcBef>
          <a:spcPts val="0"/>
        </a:spcBef>
        <a:spcAft>
          <a:spcPts val="600"/>
        </a:spcAft>
        <a:buSzPct val="100000"/>
        <a:buFont typeface="Arial" pitchFamily="34"/>
        <a:buChar char="•"/>
        <a:tabLst/>
        <a:defRPr lang="en-US" sz="1600" b="0" i="0" u="none" strike="noStrike" kern="1200" cap="none" spc="0" baseline="0">
          <a:solidFill>
            <a:srgbClr val="28231F"/>
          </a:solidFill>
          <a:uFillTx/>
          <a:latin typeface="VELUX Transform Office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9201" y="759600"/>
            <a:ext cx="9517113" cy="45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63200"/>
            <a:ext cx="11469600" cy="456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  <a:p>
            <a:pPr lvl="6"/>
            <a:r>
              <a:rPr lang="en-GB" noProof="0" dirty="0"/>
              <a:t>Seventh level</a:t>
            </a:r>
          </a:p>
          <a:p>
            <a:pPr lvl="7"/>
            <a:r>
              <a:rPr lang="en-GB" noProof="0" dirty="0"/>
              <a:t>Eight level</a:t>
            </a:r>
          </a:p>
          <a:p>
            <a:pPr lvl="8"/>
            <a:r>
              <a:rPr lang="en-GB" noProof="0" dirty="0"/>
              <a:t>Nin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49600" y="6361200"/>
            <a:ext cx="2199600" cy="241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3"/>
          </p:nvPr>
        </p:nvSpPr>
        <p:spPr>
          <a:xfrm>
            <a:off x="4262402" y="6361200"/>
            <a:ext cx="7567200" cy="241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98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0000" y="6361200"/>
            <a:ext cx="489600" cy="241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98" b="0" i="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0C81FEC0-884D-3120-3AA6-420FACD3CC1D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0663499" y="370804"/>
            <a:ext cx="1166619" cy="391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377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30" r:id="rId25"/>
    <p:sldLayoutId id="2147483731" r:id="rId26"/>
    <p:sldLayoutId id="2147483732" r:id="rId27"/>
    <p:sldLayoutId id="2147483733" r:id="rId28"/>
    <p:sldLayoutId id="2147483734" r:id="rId29"/>
    <p:sldLayoutId id="2147483735" r:id="rId30"/>
    <p:sldLayoutId id="2147483736" r:id="rId31"/>
    <p:sldLayoutId id="2147483737" r:id="rId32"/>
    <p:sldLayoutId id="2147483738" r:id="rId33"/>
    <p:sldLayoutId id="2147483739" r:id="rId34"/>
    <p:sldLayoutId id="2147483740" r:id="rId35"/>
    <p:sldLayoutId id="2147483741" r:id="rId36"/>
    <p:sldLayoutId id="2147483742" r:id="rId37"/>
    <p:sldLayoutId id="2147483743" r:id="rId38"/>
    <p:sldLayoutId id="2147483744" r:id="rId39"/>
    <p:sldLayoutId id="2147483745" r:id="rId40"/>
    <p:sldLayoutId id="2147483746" r:id="rId41"/>
    <p:sldLayoutId id="2147483747" r:id="rId42"/>
    <p:sldLayoutId id="2147483748" r:id="rId43"/>
    <p:sldLayoutId id="2147483749" r:id="rId44"/>
    <p:sldLayoutId id="2147483750" r:id="rId45"/>
    <p:sldLayoutId id="2147483751" r:id="rId46"/>
    <p:sldLayoutId id="2147483752" r:id="rId47"/>
  </p:sldLayoutIdLst>
  <p:hf hdr="0" dt="0"/>
  <p:txStyles>
    <p:titleStyle>
      <a:lvl1pPr algn="l" defTabSz="912573" rtl="0" eaLnBrk="1" latinLnBrk="0" hangingPunct="1">
        <a:lnSpc>
          <a:spcPct val="90000"/>
        </a:lnSpc>
        <a:spcBef>
          <a:spcPct val="0"/>
        </a:spcBef>
        <a:buNone/>
        <a:defRPr sz="3194" b="0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2573" rtl="0" eaLnBrk="1" latinLnBrk="0" hangingPunct="1">
        <a:lnSpc>
          <a:spcPct val="90000"/>
        </a:lnSpc>
        <a:spcBef>
          <a:spcPts val="0"/>
        </a:spcBef>
        <a:spcAft>
          <a:spcPts val="598"/>
        </a:spcAft>
        <a:buFont typeface="Arial" panose="020B0604020202020204" pitchFamily="34" charset="0"/>
        <a:buChar char="​"/>
        <a:defRPr sz="2794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79640" indent="-179640" algn="l" defTabSz="912573" rtl="0" eaLnBrk="1" latinLnBrk="0" hangingPunct="1">
        <a:lnSpc>
          <a:spcPct val="90000"/>
        </a:lnSpc>
        <a:spcBef>
          <a:spcPts val="0"/>
        </a:spcBef>
        <a:spcAft>
          <a:spcPts val="598"/>
        </a:spcAft>
        <a:buFont typeface="Arial" panose="020B0604020202020204" pitchFamily="34" charset="0"/>
        <a:buChar char="•"/>
        <a:defRPr sz="2794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359280" indent="-179640" algn="l" defTabSz="912573" rtl="0" eaLnBrk="1" latinLnBrk="0" hangingPunct="1">
        <a:lnSpc>
          <a:spcPct val="90000"/>
        </a:lnSpc>
        <a:spcBef>
          <a:spcPts val="0"/>
        </a:spcBef>
        <a:spcAft>
          <a:spcPts val="598"/>
        </a:spcAft>
        <a:buFont typeface="Arial" panose="020B0604020202020204" pitchFamily="34" charset="0"/>
        <a:buChar char="•"/>
        <a:defRPr sz="2096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8921" indent="-179640" algn="l" defTabSz="912573" rtl="0" eaLnBrk="1" latinLnBrk="0" hangingPunct="1">
        <a:lnSpc>
          <a:spcPct val="90000"/>
        </a:lnSpc>
        <a:spcBef>
          <a:spcPts val="0"/>
        </a:spcBef>
        <a:spcAft>
          <a:spcPts val="598"/>
        </a:spcAft>
        <a:buFont typeface="Arial" panose="020B0604020202020204" pitchFamily="34" charset="0"/>
        <a:buChar char="•"/>
        <a:defRPr sz="1796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18561" indent="-179640" algn="l" defTabSz="912573" rtl="0" eaLnBrk="1" latinLnBrk="0" hangingPunct="1">
        <a:lnSpc>
          <a:spcPct val="90000"/>
        </a:lnSpc>
        <a:spcBef>
          <a:spcPts val="0"/>
        </a:spcBef>
        <a:spcAft>
          <a:spcPts val="598"/>
        </a:spcAft>
        <a:buFont typeface="Arial" panose="020B0604020202020204" pitchFamily="34" charset="0"/>
        <a:buChar char="•"/>
        <a:defRPr sz="1596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898201" indent="-179640" algn="l" defTabSz="912573" rtl="0" eaLnBrk="1" latinLnBrk="0" hangingPunct="1">
        <a:lnSpc>
          <a:spcPct val="90000"/>
        </a:lnSpc>
        <a:spcBef>
          <a:spcPts val="0"/>
        </a:spcBef>
        <a:spcAft>
          <a:spcPts val="598"/>
        </a:spcAft>
        <a:buFont typeface="Arial" panose="020B0604020202020204" pitchFamily="34" charset="0"/>
        <a:buChar char="•"/>
        <a:defRPr sz="1398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898201" indent="-179640" algn="l" defTabSz="912573" rtl="0" eaLnBrk="1" latinLnBrk="0" hangingPunct="1">
        <a:lnSpc>
          <a:spcPct val="90000"/>
        </a:lnSpc>
        <a:spcBef>
          <a:spcPts val="0"/>
        </a:spcBef>
        <a:spcAft>
          <a:spcPts val="598"/>
        </a:spcAft>
        <a:buFont typeface="Arial" panose="020B0604020202020204" pitchFamily="34" charset="0"/>
        <a:buChar char="•"/>
        <a:defRPr sz="1398" b="0" i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898201" indent="-179640" algn="l" defTabSz="912573" rtl="0" eaLnBrk="1" latinLnBrk="0" hangingPunct="1">
        <a:lnSpc>
          <a:spcPct val="90000"/>
        </a:lnSpc>
        <a:spcBef>
          <a:spcPts val="0"/>
        </a:spcBef>
        <a:spcAft>
          <a:spcPts val="598"/>
        </a:spcAft>
        <a:buFont typeface="Arial" panose="020B0604020202020204" pitchFamily="34" charset="0"/>
        <a:buChar char="•"/>
        <a:defRPr sz="1398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898201" indent="-179640" algn="l" defTabSz="912573" rtl="0" eaLnBrk="1" latinLnBrk="0" hangingPunct="1">
        <a:lnSpc>
          <a:spcPct val="90000"/>
        </a:lnSpc>
        <a:spcBef>
          <a:spcPts val="0"/>
        </a:spcBef>
        <a:spcAft>
          <a:spcPts val="598"/>
        </a:spcAft>
        <a:buFont typeface="Arial" panose="020B0604020202020204" pitchFamily="34" charset="0"/>
        <a:buChar char="•"/>
        <a:defRPr sz="1398" b="0" i="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1pPr>
      <a:lvl2pPr marL="456286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912573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3pPr>
      <a:lvl4pPr marL="1368858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1825144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281430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737717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194003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650288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215">
          <p15:clr>
            <a:srgbClr val="A4A3A4"/>
          </p15:clr>
        </p15:guide>
        <p15:guide id="3" orient="horz" pos="478">
          <p15:clr>
            <a:srgbClr val="A4A3A4"/>
          </p15:clr>
        </p15:guide>
        <p15:guide id="4" orient="horz" pos="766">
          <p15:clr>
            <a:srgbClr val="A4A3A4"/>
          </p15:clr>
        </p15:guide>
        <p15:guide id="5" pos="226">
          <p15:clr>
            <a:srgbClr val="A4A3A4"/>
          </p15:clr>
        </p15:guide>
        <p15:guide id="6" pos="745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9200" y="759600"/>
            <a:ext cx="9518400" cy="45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63200"/>
            <a:ext cx="11469600" cy="456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49600" y="6361200"/>
            <a:ext cx="2199600" cy="241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 cap="all" baseline="0">
                <a:solidFill>
                  <a:srgbClr val="B0B0B0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5" name="FLD_Presentation"/>
          <p:cNvSpPr>
            <a:spLocks noGrp="1"/>
          </p:cNvSpPr>
          <p:nvPr>
            <p:ph type="ftr" sz="quarter" idx="3"/>
          </p:nvPr>
        </p:nvSpPr>
        <p:spPr>
          <a:xfrm>
            <a:off x="4262400" y="6361200"/>
            <a:ext cx="7567200" cy="241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cap="all" baseline="0">
                <a:solidFill>
                  <a:srgbClr val="B0B0B0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60000" y="6361200"/>
            <a:ext cx="489600" cy="241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rgbClr val="B0B0B0"/>
                </a:solidFill>
              </a:defRPr>
            </a:lvl1pPr>
          </a:lstStyle>
          <a:p>
            <a:fld id="{24C8C45C-947F-4981-8B3F-4F32E973C901}" type="slidenum">
              <a:rPr lang="en-GB" noProof="0" smtClean="0"/>
              <a:pPr/>
              <a:t>‹#›</a:t>
            </a:fld>
            <a:endParaRPr lang="en-GB" noProof="0"/>
          </a:p>
        </p:txBody>
      </p:sp>
      <p:grpSp>
        <p:nvGrpSpPr>
          <p:cNvPr id="20" name="Grid x12" hidden="1"/>
          <p:cNvGrpSpPr/>
          <p:nvPr userDrawn="1"/>
        </p:nvGrpSpPr>
        <p:grpSpPr>
          <a:xfrm>
            <a:off x="0" y="0"/>
            <a:ext cx="12192000" cy="540000"/>
            <a:chOff x="0" y="0"/>
            <a:chExt cx="12192000" cy="540000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0"/>
              <a:ext cx="54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1652000" y="0"/>
              <a:ext cx="54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1301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2242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183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124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5065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6006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6947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7888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829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770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0711000" y="0"/>
              <a:ext cx="180000" cy="540000"/>
            </a:xfrm>
            <a:prstGeom prst="rect">
              <a:avLst/>
            </a:prstGeom>
            <a:noFill/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22" name="Logo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863" y="358775"/>
            <a:ext cx="1189296" cy="402431"/>
          </a:xfrm>
          <a:prstGeom prst="rect">
            <a:avLst/>
          </a:prstGeom>
        </p:spPr>
      </p:pic>
      <p:sp>
        <p:nvSpPr>
          <p:cNvPr id="21" name="MSIPCMContentMarking" descr="{&quot;HashCode&quot;:1846252103,&quot;Placement&quot;:&quot;Footer&quot;,&quot;Top&quot;:522.0343,&quot;Left&quot;:0.0,&quot;SlideWidth&quot;:960,&quot;SlideHeight&quot;:540}">
            <a:extLst>
              <a:ext uri="{FF2B5EF4-FFF2-40B4-BE49-F238E27FC236}">
                <a16:creationId xmlns:a16="http://schemas.microsoft.com/office/drawing/2014/main" id="{B70A2BB7-8F91-43E3-8583-2BDF2A266FBC}"/>
              </a:ext>
            </a:extLst>
          </p:cNvPr>
          <p:cNvSpPr txBox="1"/>
          <p:nvPr userDrawn="1"/>
        </p:nvSpPr>
        <p:spPr>
          <a:xfrm>
            <a:off x="0" y="6682362"/>
            <a:ext cx="750633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</a:rPr>
              <a:t>General - All</a:t>
            </a:r>
          </a:p>
        </p:txBody>
      </p:sp>
    </p:spTree>
    <p:extLst>
      <p:ext uri="{BB962C8B-B14F-4D97-AF65-F5344CB8AC3E}">
        <p14:creationId xmlns:p14="http://schemas.microsoft.com/office/powerpoint/2010/main" val="765547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800" i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Tx/>
        <a:buBlip>
          <a:blip r:embed="rId30"/>
        </a:buBlip>
        <a:defRPr sz="2800" i="1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Tx/>
        <a:buBlip>
          <a:blip r:embed="rId30"/>
        </a:buBlip>
        <a:defRPr sz="2100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Tx/>
        <a:buBlip>
          <a:blip r:embed="rId30"/>
        </a:buBlip>
        <a:defRPr sz="1800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Tx/>
        <a:buBlip>
          <a:blip r:embed="rId30"/>
        </a:buBlip>
        <a:defRPr sz="1600" i="1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Tx/>
        <a:buBlip>
          <a:blip r:embed="rId30"/>
        </a:buBlip>
        <a:defRPr sz="1400" i="1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Tx/>
        <a:buBlip>
          <a:blip r:embed="rId30"/>
        </a:buBlip>
        <a:defRPr sz="1400" i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Tx/>
        <a:buBlip>
          <a:blip r:embed="rId30"/>
        </a:buBlip>
        <a:defRPr sz="1400" i="1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Tx/>
        <a:buBlip>
          <a:blip r:embed="rId30"/>
        </a:buBlip>
        <a:defRPr sz="1400" i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215">
          <p15:clr>
            <a:srgbClr val="F26B43"/>
          </p15:clr>
        </p15:guide>
        <p15:guide id="3" orient="horz" pos="478">
          <p15:clr>
            <a:srgbClr val="F26B43"/>
          </p15:clr>
        </p15:guide>
        <p15:guide id="4" orient="horz" pos="766">
          <p15:clr>
            <a:srgbClr val="F26B43"/>
          </p15:clr>
        </p15:guide>
        <p15:guide id="5" pos="226">
          <p15:clr>
            <a:srgbClr val="F26B43"/>
          </p15:clr>
        </p15:guide>
        <p15:guide id="6" pos="7451">
          <p15:clr>
            <a:srgbClr val="F26B43"/>
          </p15:clr>
        </p15:guide>
        <p15:guide id="7" orient="horz" pos="1047">
          <p15:clr>
            <a:srgbClr val="F26B43"/>
          </p15:clr>
        </p15:guide>
        <p15:guide id="8" orient="horz" pos="39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5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82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81.png"/><Relationship Id="rId5" Type="http://schemas.openxmlformats.org/officeDocument/2006/relationships/image" Target="../media/image80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5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5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90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5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50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6.png"/><Relationship Id="rId18" Type="http://schemas.openxmlformats.org/officeDocument/2006/relationships/image" Target="../media/image111.png"/><Relationship Id="rId26" Type="http://schemas.openxmlformats.org/officeDocument/2006/relationships/image" Target="../media/image119.png"/><Relationship Id="rId39" Type="http://schemas.openxmlformats.org/officeDocument/2006/relationships/image" Target="../media/image132.png"/><Relationship Id="rId21" Type="http://schemas.openxmlformats.org/officeDocument/2006/relationships/image" Target="../media/image114.png"/><Relationship Id="rId34" Type="http://schemas.openxmlformats.org/officeDocument/2006/relationships/image" Target="../media/image127.png"/><Relationship Id="rId42" Type="http://schemas.openxmlformats.org/officeDocument/2006/relationships/image" Target="../media/image135.png"/><Relationship Id="rId47" Type="http://schemas.openxmlformats.org/officeDocument/2006/relationships/image" Target="../media/image140.png"/><Relationship Id="rId50" Type="http://schemas.openxmlformats.org/officeDocument/2006/relationships/image" Target="../media/image143.png"/><Relationship Id="rId55" Type="http://schemas.openxmlformats.org/officeDocument/2006/relationships/image" Target="../media/image148.png"/><Relationship Id="rId63" Type="http://schemas.openxmlformats.org/officeDocument/2006/relationships/image" Target="../media/image156.png"/><Relationship Id="rId7" Type="http://schemas.openxmlformats.org/officeDocument/2006/relationships/image" Target="../media/image100.png"/><Relationship Id="rId2" Type="http://schemas.openxmlformats.org/officeDocument/2006/relationships/image" Target="../media/image95.png"/><Relationship Id="rId16" Type="http://schemas.openxmlformats.org/officeDocument/2006/relationships/image" Target="../media/image109.png"/><Relationship Id="rId20" Type="http://schemas.openxmlformats.org/officeDocument/2006/relationships/image" Target="../media/image113.png"/><Relationship Id="rId29" Type="http://schemas.openxmlformats.org/officeDocument/2006/relationships/image" Target="../media/image122.png"/><Relationship Id="rId41" Type="http://schemas.openxmlformats.org/officeDocument/2006/relationships/image" Target="../media/image134.png"/><Relationship Id="rId54" Type="http://schemas.openxmlformats.org/officeDocument/2006/relationships/image" Target="../media/image147.png"/><Relationship Id="rId62" Type="http://schemas.openxmlformats.org/officeDocument/2006/relationships/image" Target="../media/image155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99.png"/><Relationship Id="rId11" Type="http://schemas.openxmlformats.org/officeDocument/2006/relationships/image" Target="../media/image104.png"/><Relationship Id="rId24" Type="http://schemas.openxmlformats.org/officeDocument/2006/relationships/image" Target="../media/image117.png"/><Relationship Id="rId32" Type="http://schemas.openxmlformats.org/officeDocument/2006/relationships/image" Target="../media/image125.png"/><Relationship Id="rId37" Type="http://schemas.openxmlformats.org/officeDocument/2006/relationships/image" Target="../media/image130.png"/><Relationship Id="rId40" Type="http://schemas.openxmlformats.org/officeDocument/2006/relationships/image" Target="../media/image133.png"/><Relationship Id="rId45" Type="http://schemas.openxmlformats.org/officeDocument/2006/relationships/image" Target="../media/image138.png"/><Relationship Id="rId53" Type="http://schemas.openxmlformats.org/officeDocument/2006/relationships/image" Target="../media/image146.png"/><Relationship Id="rId58" Type="http://schemas.openxmlformats.org/officeDocument/2006/relationships/image" Target="../media/image151.png"/><Relationship Id="rId5" Type="http://schemas.openxmlformats.org/officeDocument/2006/relationships/image" Target="../media/image98.png"/><Relationship Id="rId15" Type="http://schemas.openxmlformats.org/officeDocument/2006/relationships/image" Target="../media/image108.png"/><Relationship Id="rId23" Type="http://schemas.openxmlformats.org/officeDocument/2006/relationships/image" Target="../media/image116.png"/><Relationship Id="rId28" Type="http://schemas.openxmlformats.org/officeDocument/2006/relationships/image" Target="../media/image121.png"/><Relationship Id="rId36" Type="http://schemas.openxmlformats.org/officeDocument/2006/relationships/image" Target="../media/image129.png"/><Relationship Id="rId49" Type="http://schemas.openxmlformats.org/officeDocument/2006/relationships/image" Target="../media/image142.png"/><Relationship Id="rId57" Type="http://schemas.openxmlformats.org/officeDocument/2006/relationships/image" Target="../media/image150.png"/><Relationship Id="rId61" Type="http://schemas.openxmlformats.org/officeDocument/2006/relationships/image" Target="../media/image154.png"/><Relationship Id="rId10" Type="http://schemas.openxmlformats.org/officeDocument/2006/relationships/image" Target="../media/image103.png"/><Relationship Id="rId19" Type="http://schemas.openxmlformats.org/officeDocument/2006/relationships/image" Target="../media/image112.png"/><Relationship Id="rId31" Type="http://schemas.openxmlformats.org/officeDocument/2006/relationships/image" Target="../media/image124.png"/><Relationship Id="rId44" Type="http://schemas.openxmlformats.org/officeDocument/2006/relationships/image" Target="../media/image137.png"/><Relationship Id="rId52" Type="http://schemas.openxmlformats.org/officeDocument/2006/relationships/image" Target="../media/image145.png"/><Relationship Id="rId60" Type="http://schemas.openxmlformats.org/officeDocument/2006/relationships/image" Target="../media/image153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Relationship Id="rId14" Type="http://schemas.openxmlformats.org/officeDocument/2006/relationships/image" Target="../media/image107.png"/><Relationship Id="rId22" Type="http://schemas.openxmlformats.org/officeDocument/2006/relationships/image" Target="../media/image115.png"/><Relationship Id="rId27" Type="http://schemas.openxmlformats.org/officeDocument/2006/relationships/image" Target="../media/image120.png"/><Relationship Id="rId30" Type="http://schemas.openxmlformats.org/officeDocument/2006/relationships/image" Target="../media/image123.png"/><Relationship Id="rId35" Type="http://schemas.openxmlformats.org/officeDocument/2006/relationships/image" Target="../media/image128.png"/><Relationship Id="rId43" Type="http://schemas.openxmlformats.org/officeDocument/2006/relationships/image" Target="../media/image136.png"/><Relationship Id="rId48" Type="http://schemas.openxmlformats.org/officeDocument/2006/relationships/image" Target="../media/image141.png"/><Relationship Id="rId56" Type="http://schemas.openxmlformats.org/officeDocument/2006/relationships/image" Target="../media/image149.png"/><Relationship Id="rId8" Type="http://schemas.openxmlformats.org/officeDocument/2006/relationships/image" Target="../media/image101.png"/><Relationship Id="rId51" Type="http://schemas.openxmlformats.org/officeDocument/2006/relationships/image" Target="../media/image144.png"/><Relationship Id="rId3" Type="http://schemas.openxmlformats.org/officeDocument/2006/relationships/image" Target="../media/image96.png"/><Relationship Id="rId12" Type="http://schemas.openxmlformats.org/officeDocument/2006/relationships/image" Target="../media/image105.png"/><Relationship Id="rId17" Type="http://schemas.openxmlformats.org/officeDocument/2006/relationships/image" Target="../media/image110.png"/><Relationship Id="rId25" Type="http://schemas.openxmlformats.org/officeDocument/2006/relationships/image" Target="../media/image118.png"/><Relationship Id="rId33" Type="http://schemas.openxmlformats.org/officeDocument/2006/relationships/image" Target="../media/image126.png"/><Relationship Id="rId38" Type="http://schemas.openxmlformats.org/officeDocument/2006/relationships/image" Target="../media/image131.png"/><Relationship Id="rId46" Type="http://schemas.openxmlformats.org/officeDocument/2006/relationships/image" Target="../media/image139.png"/><Relationship Id="rId59" Type="http://schemas.openxmlformats.org/officeDocument/2006/relationships/image" Target="../media/image152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7.png"/><Relationship Id="rId18" Type="http://schemas.openxmlformats.org/officeDocument/2006/relationships/image" Target="../media/image120.png"/><Relationship Id="rId26" Type="http://schemas.openxmlformats.org/officeDocument/2006/relationships/image" Target="../media/image100.png"/><Relationship Id="rId39" Type="http://schemas.openxmlformats.org/officeDocument/2006/relationships/image" Target="../media/image103.png"/><Relationship Id="rId21" Type="http://schemas.openxmlformats.org/officeDocument/2006/relationships/image" Target="../media/image95.png"/><Relationship Id="rId34" Type="http://schemas.openxmlformats.org/officeDocument/2006/relationships/image" Target="../media/image141.png"/><Relationship Id="rId42" Type="http://schemas.openxmlformats.org/officeDocument/2006/relationships/image" Target="../media/image123.png"/><Relationship Id="rId47" Type="http://schemas.openxmlformats.org/officeDocument/2006/relationships/image" Target="../media/image104.png"/><Relationship Id="rId50" Type="http://schemas.openxmlformats.org/officeDocument/2006/relationships/image" Target="../media/image144.png"/><Relationship Id="rId55" Type="http://schemas.openxmlformats.org/officeDocument/2006/relationships/image" Target="../media/image131.png"/><Relationship Id="rId63" Type="http://schemas.openxmlformats.org/officeDocument/2006/relationships/image" Target="../media/image156.png"/><Relationship Id="rId7" Type="http://schemas.openxmlformats.org/officeDocument/2006/relationships/image" Target="../media/image113.png"/><Relationship Id="rId2" Type="http://schemas.openxmlformats.org/officeDocument/2006/relationships/image" Target="../media/image105.png"/><Relationship Id="rId16" Type="http://schemas.openxmlformats.org/officeDocument/2006/relationships/image" Target="../media/image145.png"/><Relationship Id="rId20" Type="http://schemas.openxmlformats.org/officeDocument/2006/relationships/image" Target="../media/image153.png"/><Relationship Id="rId29" Type="http://schemas.openxmlformats.org/officeDocument/2006/relationships/image" Target="../media/image127.png"/><Relationship Id="rId41" Type="http://schemas.openxmlformats.org/officeDocument/2006/relationships/image" Target="../media/image122.png"/><Relationship Id="rId54" Type="http://schemas.openxmlformats.org/officeDocument/2006/relationships/image" Target="../media/image130.png"/><Relationship Id="rId62" Type="http://schemas.openxmlformats.org/officeDocument/2006/relationships/image" Target="../media/image155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111.png"/><Relationship Id="rId11" Type="http://schemas.openxmlformats.org/officeDocument/2006/relationships/image" Target="../media/image133.png"/><Relationship Id="rId24" Type="http://schemas.openxmlformats.org/officeDocument/2006/relationships/image" Target="../media/image98.png"/><Relationship Id="rId32" Type="http://schemas.openxmlformats.org/officeDocument/2006/relationships/image" Target="../media/image139.png"/><Relationship Id="rId37" Type="http://schemas.openxmlformats.org/officeDocument/2006/relationships/image" Target="../media/image112.png"/><Relationship Id="rId40" Type="http://schemas.openxmlformats.org/officeDocument/2006/relationships/image" Target="../media/image106.png"/><Relationship Id="rId45" Type="http://schemas.openxmlformats.org/officeDocument/2006/relationships/image" Target="../media/image136.png"/><Relationship Id="rId53" Type="http://schemas.openxmlformats.org/officeDocument/2006/relationships/image" Target="../media/image125.png"/><Relationship Id="rId58" Type="http://schemas.openxmlformats.org/officeDocument/2006/relationships/image" Target="../media/image150.png"/><Relationship Id="rId5" Type="http://schemas.openxmlformats.org/officeDocument/2006/relationships/image" Target="../media/image109.png"/><Relationship Id="rId15" Type="http://schemas.openxmlformats.org/officeDocument/2006/relationships/image" Target="../media/image142.png"/><Relationship Id="rId23" Type="http://schemas.openxmlformats.org/officeDocument/2006/relationships/image" Target="../media/image97.png"/><Relationship Id="rId28" Type="http://schemas.openxmlformats.org/officeDocument/2006/relationships/image" Target="../media/image102.png"/><Relationship Id="rId36" Type="http://schemas.openxmlformats.org/officeDocument/2006/relationships/image" Target="../media/image129.png"/><Relationship Id="rId49" Type="http://schemas.openxmlformats.org/officeDocument/2006/relationships/image" Target="../media/image143.png"/><Relationship Id="rId57" Type="http://schemas.openxmlformats.org/officeDocument/2006/relationships/image" Target="../media/image147.png"/><Relationship Id="rId61" Type="http://schemas.openxmlformats.org/officeDocument/2006/relationships/image" Target="../media/image154.png"/><Relationship Id="rId10" Type="http://schemas.openxmlformats.org/officeDocument/2006/relationships/image" Target="../media/image124.png"/><Relationship Id="rId19" Type="http://schemas.openxmlformats.org/officeDocument/2006/relationships/image" Target="../media/image121.png"/><Relationship Id="rId31" Type="http://schemas.openxmlformats.org/officeDocument/2006/relationships/image" Target="../media/image137.png"/><Relationship Id="rId44" Type="http://schemas.openxmlformats.org/officeDocument/2006/relationships/image" Target="../media/image132.png"/><Relationship Id="rId52" Type="http://schemas.openxmlformats.org/officeDocument/2006/relationships/image" Target="../media/image149.png"/><Relationship Id="rId60" Type="http://schemas.openxmlformats.org/officeDocument/2006/relationships/image" Target="../media/image152.png"/><Relationship Id="rId4" Type="http://schemas.openxmlformats.org/officeDocument/2006/relationships/image" Target="../media/image108.png"/><Relationship Id="rId9" Type="http://schemas.openxmlformats.org/officeDocument/2006/relationships/image" Target="../media/image119.png"/><Relationship Id="rId14" Type="http://schemas.openxmlformats.org/officeDocument/2006/relationships/image" Target="../media/image118.png"/><Relationship Id="rId22" Type="http://schemas.openxmlformats.org/officeDocument/2006/relationships/image" Target="../media/image96.png"/><Relationship Id="rId27" Type="http://schemas.openxmlformats.org/officeDocument/2006/relationships/image" Target="../media/image101.png"/><Relationship Id="rId30" Type="http://schemas.openxmlformats.org/officeDocument/2006/relationships/image" Target="../media/image128.png"/><Relationship Id="rId35" Type="http://schemas.openxmlformats.org/officeDocument/2006/relationships/image" Target="../media/image116.png"/><Relationship Id="rId43" Type="http://schemas.openxmlformats.org/officeDocument/2006/relationships/image" Target="../media/image126.png"/><Relationship Id="rId48" Type="http://schemas.openxmlformats.org/officeDocument/2006/relationships/image" Target="../media/image138.png"/><Relationship Id="rId56" Type="http://schemas.openxmlformats.org/officeDocument/2006/relationships/image" Target="../media/image135.png"/><Relationship Id="rId64" Type="http://schemas.openxmlformats.org/officeDocument/2006/relationships/image" Target="../media/image157.png"/><Relationship Id="rId8" Type="http://schemas.openxmlformats.org/officeDocument/2006/relationships/image" Target="../media/image114.png"/><Relationship Id="rId51" Type="http://schemas.openxmlformats.org/officeDocument/2006/relationships/image" Target="../media/image148.png"/><Relationship Id="rId3" Type="http://schemas.openxmlformats.org/officeDocument/2006/relationships/image" Target="../media/image107.png"/><Relationship Id="rId12" Type="http://schemas.openxmlformats.org/officeDocument/2006/relationships/image" Target="../media/image134.png"/><Relationship Id="rId17" Type="http://schemas.openxmlformats.org/officeDocument/2006/relationships/image" Target="../media/image146.png"/><Relationship Id="rId25" Type="http://schemas.openxmlformats.org/officeDocument/2006/relationships/image" Target="../media/image99.png"/><Relationship Id="rId33" Type="http://schemas.openxmlformats.org/officeDocument/2006/relationships/image" Target="../media/image140.png"/><Relationship Id="rId38" Type="http://schemas.openxmlformats.org/officeDocument/2006/relationships/image" Target="../media/image115.png"/><Relationship Id="rId46" Type="http://schemas.openxmlformats.org/officeDocument/2006/relationships/image" Target="../media/image110.png"/><Relationship Id="rId59" Type="http://schemas.openxmlformats.org/officeDocument/2006/relationships/image" Target="../media/image1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31.png"/><Relationship Id="rId4" Type="http://schemas.openxmlformats.org/officeDocument/2006/relationships/image" Target="../media/image30.emf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6.png"/><Relationship Id="rId18" Type="http://schemas.openxmlformats.org/officeDocument/2006/relationships/image" Target="../media/image143.png"/><Relationship Id="rId26" Type="http://schemas.openxmlformats.org/officeDocument/2006/relationships/image" Target="../media/image160.png"/><Relationship Id="rId39" Type="http://schemas.openxmlformats.org/officeDocument/2006/relationships/image" Target="../media/image142.png"/><Relationship Id="rId21" Type="http://schemas.openxmlformats.org/officeDocument/2006/relationships/image" Target="../media/image153.png"/><Relationship Id="rId34" Type="http://schemas.openxmlformats.org/officeDocument/2006/relationships/image" Target="../media/image114.png"/><Relationship Id="rId42" Type="http://schemas.openxmlformats.org/officeDocument/2006/relationships/image" Target="../media/image138.png"/><Relationship Id="rId47" Type="http://schemas.openxmlformats.org/officeDocument/2006/relationships/image" Target="../media/image162.png"/><Relationship Id="rId50" Type="http://schemas.openxmlformats.org/officeDocument/2006/relationships/image" Target="../media/image130.png"/><Relationship Id="rId55" Type="http://schemas.openxmlformats.org/officeDocument/2006/relationships/image" Target="../media/image124.png"/><Relationship Id="rId63" Type="http://schemas.openxmlformats.org/officeDocument/2006/relationships/image" Target="../media/image167.png"/><Relationship Id="rId7" Type="http://schemas.openxmlformats.org/officeDocument/2006/relationships/image" Target="../media/image112.png"/><Relationship Id="rId2" Type="http://schemas.openxmlformats.org/officeDocument/2006/relationships/image" Target="../media/image107.png"/><Relationship Id="rId16" Type="http://schemas.openxmlformats.org/officeDocument/2006/relationships/image" Target="../media/image159.png"/><Relationship Id="rId20" Type="http://schemas.openxmlformats.org/officeDocument/2006/relationships/image" Target="../media/image152.png"/><Relationship Id="rId29" Type="http://schemas.openxmlformats.org/officeDocument/2006/relationships/image" Target="../media/image101.png"/><Relationship Id="rId41" Type="http://schemas.openxmlformats.org/officeDocument/2006/relationships/image" Target="../media/image104.png"/><Relationship Id="rId54" Type="http://schemas.openxmlformats.org/officeDocument/2006/relationships/image" Target="../media/image164.png"/><Relationship Id="rId62" Type="http://schemas.openxmlformats.org/officeDocument/2006/relationships/image" Target="../media/image156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111.png"/><Relationship Id="rId11" Type="http://schemas.openxmlformats.org/officeDocument/2006/relationships/image" Target="../media/image132.png"/><Relationship Id="rId24" Type="http://schemas.openxmlformats.org/officeDocument/2006/relationships/image" Target="../media/image96.png"/><Relationship Id="rId32" Type="http://schemas.openxmlformats.org/officeDocument/2006/relationships/image" Target="../media/image140.png"/><Relationship Id="rId37" Type="http://schemas.openxmlformats.org/officeDocument/2006/relationships/image" Target="../media/image133.png"/><Relationship Id="rId40" Type="http://schemas.openxmlformats.org/officeDocument/2006/relationships/image" Target="../media/image103.png"/><Relationship Id="rId45" Type="http://schemas.openxmlformats.org/officeDocument/2006/relationships/image" Target="../media/image147.png"/><Relationship Id="rId53" Type="http://schemas.openxmlformats.org/officeDocument/2006/relationships/image" Target="../media/image163.png"/><Relationship Id="rId58" Type="http://schemas.openxmlformats.org/officeDocument/2006/relationships/image" Target="../media/image106.png"/><Relationship Id="rId5" Type="http://schemas.openxmlformats.org/officeDocument/2006/relationships/image" Target="../media/image110.png"/><Relationship Id="rId15" Type="http://schemas.openxmlformats.org/officeDocument/2006/relationships/image" Target="../media/image158.png"/><Relationship Id="rId23" Type="http://schemas.openxmlformats.org/officeDocument/2006/relationships/image" Target="../media/image95.png"/><Relationship Id="rId28" Type="http://schemas.openxmlformats.org/officeDocument/2006/relationships/image" Target="../media/image100.png"/><Relationship Id="rId36" Type="http://schemas.openxmlformats.org/officeDocument/2006/relationships/image" Target="../media/image161.png"/><Relationship Id="rId49" Type="http://schemas.openxmlformats.org/officeDocument/2006/relationships/image" Target="../media/image125.png"/><Relationship Id="rId57" Type="http://schemas.openxmlformats.org/officeDocument/2006/relationships/image" Target="../media/image105.png"/><Relationship Id="rId61" Type="http://schemas.openxmlformats.org/officeDocument/2006/relationships/image" Target="../media/image139.png"/><Relationship Id="rId10" Type="http://schemas.openxmlformats.org/officeDocument/2006/relationships/image" Target="../media/image129.png"/><Relationship Id="rId19" Type="http://schemas.openxmlformats.org/officeDocument/2006/relationships/image" Target="../media/image149.png"/><Relationship Id="rId31" Type="http://schemas.openxmlformats.org/officeDocument/2006/relationships/image" Target="../media/image128.png"/><Relationship Id="rId44" Type="http://schemas.openxmlformats.org/officeDocument/2006/relationships/image" Target="../media/image146.png"/><Relationship Id="rId52" Type="http://schemas.openxmlformats.org/officeDocument/2006/relationships/image" Target="../media/image119.png"/><Relationship Id="rId60" Type="http://schemas.openxmlformats.org/officeDocument/2006/relationships/image" Target="../media/image166.png"/><Relationship Id="rId4" Type="http://schemas.openxmlformats.org/officeDocument/2006/relationships/image" Target="../media/image109.png"/><Relationship Id="rId9" Type="http://schemas.openxmlformats.org/officeDocument/2006/relationships/image" Target="../media/image126.png"/><Relationship Id="rId14" Type="http://schemas.openxmlformats.org/officeDocument/2006/relationships/image" Target="../media/image115.png"/><Relationship Id="rId22" Type="http://schemas.openxmlformats.org/officeDocument/2006/relationships/image" Target="../media/image154.png"/><Relationship Id="rId27" Type="http://schemas.openxmlformats.org/officeDocument/2006/relationships/image" Target="../media/image99.png"/><Relationship Id="rId30" Type="http://schemas.openxmlformats.org/officeDocument/2006/relationships/image" Target="../media/image102.png"/><Relationship Id="rId35" Type="http://schemas.openxmlformats.org/officeDocument/2006/relationships/image" Target="../media/image117.png"/><Relationship Id="rId43" Type="http://schemas.openxmlformats.org/officeDocument/2006/relationships/image" Target="../media/image145.png"/><Relationship Id="rId48" Type="http://schemas.openxmlformats.org/officeDocument/2006/relationships/image" Target="../media/image151.png"/><Relationship Id="rId56" Type="http://schemas.openxmlformats.org/officeDocument/2006/relationships/image" Target="../media/image144.png"/><Relationship Id="rId64" Type="http://schemas.openxmlformats.org/officeDocument/2006/relationships/image" Target="../media/image168.png"/><Relationship Id="rId8" Type="http://schemas.openxmlformats.org/officeDocument/2006/relationships/image" Target="../media/image116.png"/><Relationship Id="rId51" Type="http://schemas.openxmlformats.org/officeDocument/2006/relationships/image" Target="../media/image131.png"/><Relationship Id="rId3" Type="http://schemas.openxmlformats.org/officeDocument/2006/relationships/image" Target="../media/image108.png"/><Relationship Id="rId12" Type="http://schemas.openxmlformats.org/officeDocument/2006/relationships/image" Target="../media/image135.png"/><Relationship Id="rId17" Type="http://schemas.openxmlformats.org/officeDocument/2006/relationships/image" Target="../media/image141.png"/><Relationship Id="rId25" Type="http://schemas.openxmlformats.org/officeDocument/2006/relationships/image" Target="../media/image97.png"/><Relationship Id="rId33" Type="http://schemas.openxmlformats.org/officeDocument/2006/relationships/image" Target="../media/image113.png"/><Relationship Id="rId38" Type="http://schemas.openxmlformats.org/officeDocument/2006/relationships/image" Target="../media/image134.png"/><Relationship Id="rId46" Type="http://schemas.openxmlformats.org/officeDocument/2006/relationships/image" Target="../media/image148.png"/><Relationship Id="rId59" Type="http://schemas.openxmlformats.org/officeDocument/2006/relationships/image" Target="../media/image165.png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2.png"/><Relationship Id="rId18" Type="http://schemas.openxmlformats.org/officeDocument/2006/relationships/image" Target="../media/image120.png"/><Relationship Id="rId26" Type="http://schemas.openxmlformats.org/officeDocument/2006/relationships/image" Target="../media/image99.png"/><Relationship Id="rId39" Type="http://schemas.openxmlformats.org/officeDocument/2006/relationships/image" Target="../media/image142.png"/><Relationship Id="rId21" Type="http://schemas.openxmlformats.org/officeDocument/2006/relationships/image" Target="../media/image154.png"/><Relationship Id="rId34" Type="http://schemas.openxmlformats.org/officeDocument/2006/relationships/image" Target="../media/image113.png"/><Relationship Id="rId42" Type="http://schemas.openxmlformats.org/officeDocument/2006/relationships/image" Target="../media/image123.png"/><Relationship Id="rId47" Type="http://schemas.openxmlformats.org/officeDocument/2006/relationships/image" Target="../media/image137.png"/><Relationship Id="rId50" Type="http://schemas.openxmlformats.org/officeDocument/2006/relationships/image" Target="../media/image125.png"/><Relationship Id="rId55" Type="http://schemas.openxmlformats.org/officeDocument/2006/relationships/image" Target="../media/image147.png"/><Relationship Id="rId63" Type="http://schemas.openxmlformats.org/officeDocument/2006/relationships/image" Target="../media/image155.png"/><Relationship Id="rId7" Type="http://schemas.openxmlformats.org/officeDocument/2006/relationships/image" Target="../media/image111.png"/><Relationship Id="rId2" Type="http://schemas.openxmlformats.org/officeDocument/2006/relationships/image" Target="../media/image105.png"/><Relationship Id="rId16" Type="http://schemas.openxmlformats.org/officeDocument/2006/relationships/image" Target="../media/image141.png"/><Relationship Id="rId20" Type="http://schemas.openxmlformats.org/officeDocument/2006/relationships/image" Target="../media/image153.png"/><Relationship Id="rId29" Type="http://schemas.openxmlformats.org/officeDocument/2006/relationships/image" Target="../media/image102.png"/><Relationship Id="rId41" Type="http://schemas.openxmlformats.org/officeDocument/2006/relationships/image" Target="../media/image122.png"/><Relationship Id="rId54" Type="http://schemas.openxmlformats.org/officeDocument/2006/relationships/image" Target="../media/image138.png"/><Relationship Id="rId62" Type="http://schemas.openxmlformats.org/officeDocument/2006/relationships/image" Target="../media/image146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110.png"/><Relationship Id="rId11" Type="http://schemas.openxmlformats.org/officeDocument/2006/relationships/image" Target="../media/image126.png"/><Relationship Id="rId24" Type="http://schemas.openxmlformats.org/officeDocument/2006/relationships/image" Target="../media/image97.png"/><Relationship Id="rId32" Type="http://schemas.openxmlformats.org/officeDocument/2006/relationships/image" Target="../media/image103.png"/><Relationship Id="rId37" Type="http://schemas.openxmlformats.org/officeDocument/2006/relationships/image" Target="../media/image118.png"/><Relationship Id="rId40" Type="http://schemas.openxmlformats.org/officeDocument/2006/relationships/image" Target="../media/image106.png"/><Relationship Id="rId45" Type="http://schemas.openxmlformats.org/officeDocument/2006/relationships/image" Target="../media/image143.png"/><Relationship Id="rId53" Type="http://schemas.openxmlformats.org/officeDocument/2006/relationships/image" Target="../media/image135.png"/><Relationship Id="rId58" Type="http://schemas.openxmlformats.org/officeDocument/2006/relationships/image" Target="../media/image150.png"/><Relationship Id="rId5" Type="http://schemas.openxmlformats.org/officeDocument/2006/relationships/image" Target="../media/image109.png"/><Relationship Id="rId15" Type="http://schemas.openxmlformats.org/officeDocument/2006/relationships/image" Target="../media/image115.png"/><Relationship Id="rId23" Type="http://schemas.openxmlformats.org/officeDocument/2006/relationships/image" Target="../media/image96.png"/><Relationship Id="rId28" Type="http://schemas.openxmlformats.org/officeDocument/2006/relationships/image" Target="../media/image101.png"/><Relationship Id="rId36" Type="http://schemas.openxmlformats.org/officeDocument/2006/relationships/image" Target="../media/image117.png"/><Relationship Id="rId49" Type="http://schemas.openxmlformats.org/officeDocument/2006/relationships/image" Target="../media/image156.png"/><Relationship Id="rId57" Type="http://schemas.openxmlformats.org/officeDocument/2006/relationships/image" Target="../media/image149.png"/><Relationship Id="rId61" Type="http://schemas.openxmlformats.org/officeDocument/2006/relationships/image" Target="../media/image145.png"/><Relationship Id="rId10" Type="http://schemas.openxmlformats.org/officeDocument/2006/relationships/image" Target="../media/image119.png"/><Relationship Id="rId19" Type="http://schemas.openxmlformats.org/officeDocument/2006/relationships/image" Target="../media/image121.png"/><Relationship Id="rId31" Type="http://schemas.openxmlformats.org/officeDocument/2006/relationships/image" Target="../media/image140.png"/><Relationship Id="rId44" Type="http://schemas.openxmlformats.org/officeDocument/2006/relationships/image" Target="../media/image124.png"/><Relationship Id="rId52" Type="http://schemas.openxmlformats.org/officeDocument/2006/relationships/image" Target="../media/image131.png"/><Relationship Id="rId60" Type="http://schemas.openxmlformats.org/officeDocument/2006/relationships/image" Target="../media/image152.png"/><Relationship Id="rId4" Type="http://schemas.openxmlformats.org/officeDocument/2006/relationships/image" Target="../media/image108.png"/><Relationship Id="rId9" Type="http://schemas.openxmlformats.org/officeDocument/2006/relationships/image" Target="../media/image116.png"/><Relationship Id="rId14" Type="http://schemas.openxmlformats.org/officeDocument/2006/relationships/image" Target="../media/image136.png"/><Relationship Id="rId22" Type="http://schemas.openxmlformats.org/officeDocument/2006/relationships/image" Target="../media/image95.png"/><Relationship Id="rId27" Type="http://schemas.openxmlformats.org/officeDocument/2006/relationships/image" Target="../media/image100.png"/><Relationship Id="rId30" Type="http://schemas.openxmlformats.org/officeDocument/2006/relationships/image" Target="../media/image128.png"/><Relationship Id="rId35" Type="http://schemas.openxmlformats.org/officeDocument/2006/relationships/image" Target="../media/image114.png"/><Relationship Id="rId43" Type="http://schemas.openxmlformats.org/officeDocument/2006/relationships/image" Target="../media/image104.png"/><Relationship Id="rId48" Type="http://schemas.openxmlformats.org/officeDocument/2006/relationships/image" Target="../media/image139.png"/><Relationship Id="rId56" Type="http://schemas.openxmlformats.org/officeDocument/2006/relationships/image" Target="../media/image148.png"/><Relationship Id="rId64" Type="http://schemas.openxmlformats.org/officeDocument/2006/relationships/image" Target="../media/image169.png"/><Relationship Id="rId8" Type="http://schemas.openxmlformats.org/officeDocument/2006/relationships/image" Target="../media/image112.png"/><Relationship Id="rId51" Type="http://schemas.openxmlformats.org/officeDocument/2006/relationships/image" Target="../media/image130.png"/><Relationship Id="rId3" Type="http://schemas.openxmlformats.org/officeDocument/2006/relationships/image" Target="../media/image107.png"/><Relationship Id="rId12" Type="http://schemas.openxmlformats.org/officeDocument/2006/relationships/image" Target="../media/image129.png"/><Relationship Id="rId17" Type="http://schemas.openxmlformats.org/officeDocument/2006/relationships/image" Target="../media/image144.png"/><Relationship Id="rId25" Type="http://schemas.openxmlformats.org/officeDocument/2006/relationships/image" Target="../media/image98.png"/><Relationship Id="rId33" Type="http://schemas.openxmlformats.org/officeDocument/2006/relationships/image" Target="../media/image134.png"/><Relationship Id="rId38" Type="http://schemas.openxmlformats.org/officeDocument/2006/relationships/image" Target="../media/image133.png"/><Relationship Id="rId46" Type="http://schemas.openxmlformats.org/officeDocument/2006/relationships/image" Target="../media/image127.png"/><Relationship Id="rId59" Type="http://schemas.openxmlformats.org/officeDocument/2006/relationships/image" Target="../media/image15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6.png"/><Relationship Id="rId13" Type="http://schemas.openxmlformats.org/officeDocument/2006/relationships/image" Target="../media/image181.png"/><Relationship Id="rId18" Type="http://schemas.openxmlformats.org/officeDocument/2006/relationships/image" Target="../media/image186.png"/><Relationship Id="rId26" Type="http://schemas.openxmlformats.org/officeDocument/2006/relationships/image" Target="../media/image194.png"/><Relationship Id="rId3" Type="http://schemas.openxmlformats.org/officeDocument/2006/relationships/image" Target="../media/image171.png"/><Relationship Id="rId21" Type="http://schemas.openxmlformats.org/officeDocument/2006/relationships/image" Target="../media/image189.png"/><Relationship Id="rId34" Type="http://schemas.openxmlformats.org/officeDocument/2006/relationships/image" Target="../media/image202.png"/><Relationship Id="rId7" Type="http://schemas.openxmlformats.org/officeDocument/2006/relationships/image" Target="../media/image175.png"/><Relationship Id="rId12" Type="http://schemas.openxmlformats.org/officeDocument/2006/relationships/image" Target="../media/image180.png"/><Relationship Id="rId17" Type="http://schemas.openxmlformats.org/officeDocument/2006/relationships/image" Target="../media/image185.png"/><Relationship Id="rId25" Type="http://schemas.openxmlformats.org/officeDocument/2006/relationships/image" Target="../media/image193.png"/><Relationship Id="rId33" Type="http://schemas.openxmlformats.org/officeDocument/2006/relationships/image" Target="../media/image201.png"/><Relationship Id="rId2" Type="http://schemas.openxmlformats.org/officeDocument/2006/relationships/image" Target="../media/image170.png"/><Relationship Id="rId16" Type="http://schemas.openxmlformats.org/officeDocument/2006/relationships/image" Target="../media/image184.png"/><Relationship Id="rId20" Type="http://schemas.openxmlformats.org/officeDocument/2006/relationships/image" Target="../media/image188.png"/><Relationship Id="rId29" Type="http://schemas.openxmlformats.org/officeDocument/2006/relationships/image" Target="../media/image197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174.png"/><Relationship Id="rId11" Type="http://schemas.openxmlformats.org/officeDocument/2006/relationships/image" Target="../media/image179.png"/><Relationship Id="rId24" Type="http://schemas.openxmlformats.org/officeDocument/2006/relationships/image" Target="../media/image192.png"/><Relationship Id="rId32" Type="http://schemas.openxmlformats.org/officeDocument/2006/relationships/image" Target="../media/image200.png"/><Relationship Id="rId5" Type="http://schemas.openxmlformats.org/officeDocument/2006/relationships/image" Target="../media/image173.png"/><Relationship Id="rId15" Type="http://schemas.openxmlformats.org/officeDocument/2006/relationships/image" Target="../media/image183.png"/><Relationship Id="rId23" Type="http://schemas.openxmlformats.org/officeDocument/2006/relationships/image" Target="../media/image191.png"/><Relationship Id="rId28" Type="http://schemas.openxmlformats.org/officeDocument/2006/relationships/image" Target="../media/image196.png"/><Relationship Id="rId10" Type="http://schemas.openxmlformats.org/officeDocument/2006/relationships/image" Target="../media/image178.png"/><Relationship Id="rId19" Type="http://schemas.openxmlformats.org/officeDocument/2006/relationships/image" Target="../media/image187.png"/><Relationship Id="rId31" Type="http://schemas.openxmlformats.org/officeDocument/2006/relationships/image" Target="../media/image199.png"/><Relationship Id="rId4" Type="http://schemas.openxmlformats.org/officeDocument/2006/relationships/image" Target="../media/image172.png"/><Relationship Id="rId9" Type="http://schemas.openxmlformats.org/officeDocument/2006/relationships/image" Target="../media/image177.png"/><Relationship Id="rId14" Type="http://schemas.openxmlformats.org/officeDocument/2006/relationships/image" Target="../media/image182.png"/><Relationship Id="rId22" Type="http://schemas.openxmlformats.org/officeDocument/2006/relationships/image" Target="../media/image190.png"/><Relationship Id="rId27" Type="http://schemas.openxmlformats.org/officeDocument/2006/relationships/image" Target="../media/image195.png"/><Relationship Id="rId30" Type="http://schemas.openxmlformats.org/officeDocument/2006/relationships/image" Target="../media/image19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206.png"/><Relationship Id="rId4" Type="http://schemas.openxmlformats.org/officeDocument/2006/relationships/image" Target="../media/image20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2" Type="http://schemas.openxmlformats.org/officeDocument/2006/relationships/image" Target="../media/image207.png"/><Relationship Id="rId1" Type="http://schemas.openxmlformats.org/officeDocument/2006/relationships/slideLayout" Target="../slideLayouts/slideLayout112.xml"/><Relationship Id="rId5" Type="http://schemas.openxmlformats.org/officeDocument/2006/relationships/image" Target="../media/image210.png"/><Relationship Id="rId4" Type="http://schemas.openxmlformats.org/officeDocument/2006/relationships/image" Target="../media/image20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pn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pn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7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32.emf"/><Relationship Id="rId4" Type="http://schemas.openxmlformats.org/officeDocument/2006/relationships/image" Target="../media/image31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31.png"/><Relationship Id="rId4" Type="http://schemas.openxmlformats.org/officeDocument/2006/relationships/image" Target="../media/image3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6.emf"/><Relationship Id="rId5" Type="http://schemas.openxmlformats.org/officeDocument/2006/relationships/image" Target="../media/image31.png"/><Relationship Id="rId4" Type="http://schemas.openxmlformats.org/officeDocument/2006/relationships/image" Target="../media/image3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7.jpe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5.emf"/><Relationship Id="rId5" Type="http://schemas.openxmlformats.org/officeDocument/2006/relationships/image" Target="../media/image36.emf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26" Type="http://schemas.openxmlformats.org/officeDocument/2006/relationships/image" Target="../media/image62.png"/><Relationship Id="rId3" Type="http://schemas.openxmlformats.org/officeDocument/2006/relationships/notesSlide" Target="../notesSlides/notesSlide6.xml"/><Relationship Id="rId21" Type="http://schemas.openxmlformats.org/officeDocument/2006/relationships/image" Target="../media/image57.png"/><Relationship Id="rId34" Type="http://schemas.openxmlformats.org/officeDocument/2006/relationships/image" Target="../media/image70.jp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5" Type="http://schemas.openxmlformats.org/officeDocument/2006/relationships/image" Target="../media/image61.png"/><Relationship Id="rId33" Type="http://schemas.openxmlformats.org/officeDocument/2006/relationships/image" Target="../media/image69.jpeg"/><Relationship Id="rId2" Type="http://schemas.openxmlformats.org/officeDocument/2006/relationships/slideLayout" Target="../slideLayouts/slideLayout89.xml"/><Relationship Id="rId16" Type="http://schemas.openxmlformats.org/officeDocument/2006/relationships/image" Target="../media/image52.png"/><Relationship Id="rId20" Type="http://schemas.openxmlformats.org/officeDocument/2006/relationships/image" Target="../media/image56.png"/><Relationship Id="rId29" Type="http://schemas.openxmlformats.org/officeDocument/2006/relationships/image" Target="../media/image65.png"/><Relationship Id="rId1" Type="http://schemas.openxmlformats.org/officeDocument/2006/relationships/tags" Target="../tags/tag2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24" Type="http://schemas.openxmlformats.org/officeDocument/2006/relationships/image" Target="../media/image60.png"/><Relationship Id="rId32" Type="http://schemas.openxmlformats.org/officeDocument/2006/relationships/image" Target="../media/image68.png"/><Relationship Id="rId5" Type="http://schemas.openxmlformats.org/officeDocument/2006/relationships/image" Target="../media/image41.png"/><Relationship Id="rId15" Type="http://schemas.openxmlformats.org/officeDocument/2006/relationships/image" Target="../media/image51.png"/><Relationship Id="rId23" Type="http://schemas.openxmlformats.org/officeDocument/2006/relationships/image" Target="../media/image59.png"/><Relationship Id="rId28" Type="http://schemas.openxmlformats.org/officeDocument/2006/relationships/image" Target="../media/image64.png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31" Type="http://schemas.openxmlformats.org/officeDocument/2006/relationships/image" Target="../media/image67.png"/><Relationship Id="rId4" Type="http://schemas.openxmlformats.org/officeDocument/2006/relationships/image" Target="../media/image40.jpeg"/><Relationship Id="rId9" Type="http://schemas.openxmlformats.org/officeDocument/2006/relationships/image" Target="../media/image45.png"/><Relationship Id="rId14" Type="http://schemas.openxmlformats.org/officeDocument/2006/relationships/image" Target="../media/image50.png"/><Relationship Id="rId22" Type="http://schemas.openxmlformats.org/officeDocument/2006/relationships/image" Target="../media/image58.png"/><Relationship Id="rId27" Type="http://schemas.openxmlformats.org/officeDocument/2006/relationships/image" Target="../media/image63.png"/><Relationship Id="rId30" Type="http://schemas.openxmlformats.org/officeDocument/2006/relationships/image" Target="../media/image6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72.png"/><Relationship Id="rId11" Type="http://schemas.openxmlformats.org/officeDocument/2006/relationships/image" Target="../media/image76.png"/><Relationship Id="rId5" Type="http://schemas.openxmlformats.org/officeDocument/2006/relationships/image" Target="../media/image71.png"/><Relationship Id="rId10" Type="http://schemas.openxmlformats.org/officeDocument/2006/relationships/image" Target="../media/image15.emf"/><Relationship Id="rId4" Type="http://schemas.openxmlformats.org/officeDocument/2006/relationships/image" Target="../media/image14.emf"/><Relationship Id="rId9" Type="http://schemas.openxmlformats.org/officeDocument/2006/relationships/image" Target="../media/image7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35.emf"/><Relationship Id="rId4" Type="http://schemas.openxmlformats.org/officeDocument/2006/relationships/image" Target="../media/image3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A picture containing outdoor, sky, building, house&#10;&#10;Description automatically generated">
            <a:extLst>
              <a:ext uri="{FF2B5EF4-FFF2-40B4-BE49-F238E27FC236}">
                <a16:creationId xmlns:a16="http://schemas.microsoft.com/office/drawing/2014/main" id="{05F92BC4-BA97-4AC8-B7CA-8A8F3065B7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179713"/>
            <a:ext cx="12206188" cy="948363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CustomShape 3">
            <a:extLst>
              <a:ext uri="{FF2B5EF4-FFF2-40B4-BE49-F238E27FC236}">
                <a16:creationId xmlns:a16="http://schemas.microsoft.com/office/drawing/2014/main" id="{B2F17C37-D593-66F6-1C48-EA416392479B}"/>
              </a:ext>
            </a:extLst>
          </p:cNvPr>
          <p:cNvSpPr/>
          <p:nvPr/>
        </p:nvSpPr>
        <p:spPr>
          <a:xfrm>
            <a:off x="8458894" y="278334"/>
            <a:ext cx="1979740" cy="1217002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89986" tIns="44997" rIns="89986" bIns="44997" anchor="t" anchorCtr="0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878" algn="l"/>
                <a:tab pos="898114" algn="l"/>
                <a:tab pos="1347340" algn="l"/>
                <a:tab pos="1796576" algn="l"/>
                <a:tab pos="2245812" algn="l"/>
                <a:tab pos="2695047" algn="l"/>
                <a:tab pos="3144283" algn="l"/>
                <a:tab pos="3593518" algn="l"/>
                <a:tab pos="4042754" algn="l"/>
                <a:tab pos="4491990" algn="l"/>
                <a:tab pos="4941225" algn="l"/>
                <a:tab pos="5390461" algn="l"/>
                <a:tab pos="5839696" algn="l"/>
                <a:tab pos="6288932" algn="l"/>
                <a:tab pos="6738167" algn="l"/>
                <a:tab pos="7187403" algn="l"/>
                <a:tab pos="7636639" algn="l"/>
                <a:tab pos="8085874" algn="l"/>
                <a:tab pos="8535110" algn="l"/>
                <a:tab pos="8984336" algn="l"/>
                <a:tab pos="9433215" algn="l"/>
                <a:tab pos="9882451" algn="l"/>
                <a:tab pos="10331686" algn="l"/>
                <a:tab pos="1078092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400" b="1" i="0" u="none" strike="noStrike" kern="1200" cap="none" spc="-1" baseline="0">
                <a:solidFill>
                  <a:srgbClr val="000000"/>
                </a:solidFill>
                <a:uFillTx/>
                <a:latin typeface="Times New Roman"/>
                <a:ea typeface="DejaVu Sans"/>
              </a:rPr>
              <a:t>ICARB 2023</a:t>
            </a:r>
            <a:endParaRPr lang="en-GB" sz="2400" b="0" i="0" u="none" strike="noStrike" kern="1200" cap="none" spc="-1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878" algn="l"/>
                <a:tab pos="898114" algn="l"/>
                <a:tab pos="1347340" algn="l"/>
                <a:tab pos="1796576" algn="l"/>
                <a:tab pos="2245812" algn="l"/>
                <a:tab pos="2695047" algn="l"/>
                <a:tab pos="3144283" algn="l"/>
                <a:tab pos="3593518" algn="l"/>
                <a:tab pos="4042754" algn="l"/>
                <a:tab pos="4491990" algn="l"/>
                <a:tab pos="4941225" algn="l"/>
                <a:tab pos="5390461" algn="l"/>
                <a:tab pos="5839696" algn="l"/>
                <a:tab pos="6288932" algn="l"/>
                <a:tab pos="6738167" algn="l"/>
                <a:tab pos="7187403" algn="l"/>
                <a:tab pos="7636639" algn="l"/>
                <a:tab pos="8085874" algn="l"/>
                <a:tab pos="8535110" algn="l"/>
                <a:tab pos="8984336" algn="l"/>
                <a:tab pos="9433215" algn="l"/>
                <a:tab pos="9882451" algn="l"/>
                <a:tab pos="10331686" algn="l"/>
                <a:tab pos="1078092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1" u="none" strike="noStrike" kern="1200" cap="none" spc="-1" baseline="0">
                <a:solidFill>
                  <a:srgbClr val="000000"/>
                </a:solidFill>
                <a:uFillTx/>
                <a:latin typeface="Times New Roman"/>
                <a:ea typeface="Microsoft YaHei"/>
              </a:rPr>
              <a:t> Measuring Net Zero</a:t>
            </a:r>
            <a:endParaRPr lang="en-GB" sz="1600" b="0" i="0" u="none" strike="noStrike" kern="1200" cap="none" spc="-1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878" algn="l"/>
                <a:tab pos="898114" algn="l"/>
                <a:tab pos="1347340" algn="l"/>
                <a:tab pos="1796576" algn="l"/>
                <a:tab pos="2245812" algn="l"/>
                <a:tab pos="2695047" algn="l"/>
                <a:tab pos="3144283" algn="l"/>
                <a:tab pos="3593518" algn="l"/>
                <a:tab pos="4042754" algn="l"/>
                <a:tab pos="4491990" algn="l"/>
                <a:tab pos="4941225" algn="l"/>
                <a:tab pos="5390461" algn="l"/>
                <a:tab pos="5839696" algn="l"/>
                <a:tab pos="6288932" algn="l"/>
                <a:tab pos="6738167" algn="l"/>
                <a:tab pos="7187403" algn="l"/>
                <a:tab pos="7636639" algn="l"/>
                <a:tab pos="8085874" algn="l"/>
                <a:tab pos="8535110" algn="l"/>
                <a:tab pos="8984336" algn="l"/>
                <a:tab pos="9433215" algn="l"/>
                <a:tab pos="9882451" algn="l"/>
                <a:tab pos="10331686" algn="l"/>
                <a:tab pos="1078092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 b="0" i="0" u="none" strike="noStrike" kern="1200" cap="none" spc="-1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48878" algn="l"/>
                <a:tab pos="898114" algn="l"/>
                <a:tab pos="1347340" algn="l"/>
                <a:tab pos="1796576" algn="l"/>
                <a:tab pos="2245812" algn="l"/>
                <a:tab pos="2695047" algn="l"/>
                <a:tab pos="3144283" algn="l"/>
                <a:tab pos="3593518" algn="l"/>
                <a:tab pos="4042754" algn="l"/>
                <a:tab pos="4491990" algn="l"/>
                <a:tab pos="4941225" algn="l"/>
                <a:tab pos="5390461" algn="l"/>
                <a:tab pos="5839696" algn="l"/>
                <a:tab pos="6288932" algn="l"/>
                <a:tab pos="6738167" algn="l"/>
                <a:tab pos="7187403" algn="l"/>
                <a:tab pos="7636639" algn="l"/>
                <a:tab pos="8085874" algn="l"/>
                <a:tab pos="8535110" algn="l"/>
                <a:tab pos="8984336" algn="l"/>
                <a:tab pos="9433215" algn="l"/>
                <a:tab pos="9882451" algn="l"/>
                <a:tab pos="10331686" algn="l"/>
                <a:tab pos="1078092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 b="0" i="0" u="none" strike="noStrike" kern="1200" cap="none" spc="-1" baseline="0">
              <a:solidFill>
                <a:srgbClr val="000000"/>
              </a:solidFill>
              <a:uFillTx/>
              <a:latin typeface="Arial"/>
            </a:endParaRPr>
          </a:p>
        </p:txBody>
      </p:sp>
      <p:sp>
        <p:nvSpPr>
          <p:cNvPr id="4" name="Line 4">
            <a:extLst>
              <a:ext uri="{FF2B5EF4-FFF2-40B4-BE49-F238E27FC236}">
                <a16:creationId xmlns:a16="http://schemas.microsoft.com/office/drawing/2014/main" id="{857909F0-2FCC-4FE2-C4BA-5B78C32747A5}"/>
              </a:ext>
            </a:extLst>
          </p:cNvPr>
          <p:cNvSpPr/>
          <p:nvPr/>
        </p:nvSpPr>
        <p:spPr>
          <a:xfrm flipH="1" flipV="1">
            <a:off x="853811" y="662043"/>
            <a:ext cx="9396932" cy="26993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ss"/>
              <a:gd name="f6" fmla="val 0"/>
              <a:gd name="f7" fmla="+- 0 0 -180"/>
              <a:gd name="f8" fmla="+- 0 0 -360"/>
              <a:gd name="f9" fmla="abs f3"/>
              <a:gd name="f10" fmla="abs f4"/>
              <a:gd name="f11" fmla="abs f5"/>
              <a:gd name="f12" fmla="*/ f7 f0 1"/>
              <a:gd name="f13" fmla="*/ f8 f0 1"/>
              <a:gd name="f14" fmla="?: f9 f3 1"/>
              <a:gd name="f15" fmla="?: f10 f4 1"/>
              <a:gd name="f16" fmla="?: f11 f5 1"/>
              <a:gd name="f17" fmla="*/ f12 1 f2"/>
              <a:gd name="f18" fmla="*/ f13 1 f2"/>
              <a:gd name="f19" fmla="*/ f14 1 21600"/>
              <a:gd name="f20" fmla="*/ f15 1 21600"/>
              <a:gd name="f21" fmla="*/ 21600 f14 1"/>
              <a:gd name="f22" fmla="*/ 21600 f15 1"/>
              <a:gd name="f23" fmla="+- f17 0 f1"/>
              <a:gd name="f24" fmla="+- f18 0 f1"/>
              <a:gd name="f25" fmla="min f20 f19"/>
              <a:gd name="f26" fmla="*/ f21 1 f16"/>
              <a:gd name="f27" fmla="*/ f22 1 f16"/>
              <a:gd name="f28" fmla="val f26"/>
              <a:gd name="f29" fmla="val f27"/>
              <a:gd name="f30" fmla="*/ f6 f25 1"/>
              <a:gd name="f31" fmla="*/ f28 f25 1"/>
              <a:gd name="f32" fmla="*/ f29 f25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3">
                <a:pos x="f30" y="f30"/>
              </a:cxn>
              <a:cxn ang="f24">
                <a:pos x="f31" y="f32"/>
              </a:cxn>
            </a:cxnLst>
            <a:rect l="f30" t="f30" r="f31" b="f32"/>
            <a:pathLst>
              <a:path>
                <a:moveTo>
                  <a:pt x="f30" y="f30"/>
                </a:moveTo>
                <a:lnTo>
                  <a:pt x="f31" y="f32"/>
                </a:lnTo>
              </a:path>
            </a:pathLst>
          </a:custGeom>
          <a:noFill/>
          <a:ln w="6483" cap="flat">
            <a:solidFill>
              <a:srgbClr val="4472C4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8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pic>
        <p:nvPicPr>
          <p:cNvPr id="5" name="Picture 81">
            <a:extLst>
              <a:ext uri="{FF2B5EF4-FFF2-40B4-BE49-F238E27FC236}">
                <a16:creationId xmlns:a16="http://schemas.microsoft.com/office/drawing/2014/main" id="{8CDD936D-0ECB-0DB2-F945-268DAA0E7B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75285" y="180420"/>
            <a:ext cx="1683145" cy="82069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2565ED40-25F0-10D7-5ADE-35166F0483DE}"/>
              </a:ext>
            </a:extLst>
          </p:cNvPr>
          <p:cNvSpPr txBox="1"/>
          <p:nvPr/>
        </p:nvSpPr>
        <p:spPr>
          <a:xfrm>
            <a:off x="729261" y="711979"/>
            <a:ext cx="7394688" cy="78335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400" b="1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  <a:ea typeface="Verdana" pitchFamily="34"/>
                <a:cs typeface="Arial" pitchFamily="34"/>
              </a:rPr>
              <a:t>LIVING PLACES</a:t>
            </a:r>
            <a:r>
              <a:rPr lang="en-GB" sz="2000" b="1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  <a:ea typeface="Verdana" pitchFamily="34"/>
                <a:cs typeface="Arial" pitchFamily="34"/>
              </a:rPr>
              <a:t> </a:t>
            </a:r>
          </a:p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000" b="1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  <a:ea typeface="Verdana" pitchFamily="34"/>
                <a:cs typeface="Arial" pitchFamily="34"/>
              </a:rPr>
              <a:t>A low-carbon and high-comfort case study in Copenhagen</a:t>
            </a:r>
          </a:p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1" i="0" u="none" strike="noStrike" kern="1200" cap="none" spc="0" baseline="0">
              <a:solidFill>
                <a:srgbClr val="000000"/>
              </a:solidFill>
              <a:uFillTx/>
              <a:latin typeface="VeluxForOffice"/>
              <a:ea typeface="Verdana" pitchFamily="34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1" i="0" u="none" strike="noStrike" kern="1200" cap="none" spc="0" baseline="0">
              <a:solidFill>
                <a:srgbClr val="000000"/>
              </a:solidFill>
              <a:uFillTx/>
              <a:latin typeface="VeluxForOffice"/>
              <a:ea typeface="Verdana" pitchFamily="34"/>
              <a:cs typeface="Arial" pitchFamily="34"/>
            </a:endParaRP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3AF05696-BAF9-0F93-BF93-370006BDB708}"/>
              </a:ext>
            </a:extLst>
          </p:cNvPr>
          <p:cNvSpPr txBox="1"/>
          <p:nvPr/>
        </p:nvSpPr>
        <p:spPr>
          <a:xfrm>
            <a:off x="729261" y="1591266"/>
            <a:ext cx="1876805" cy="34162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800" b="1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  <a:ea typeface="Verdana" pitchFamily="34"/>
                <a:cs typeface="Arial" pitchFamily="34"/>
              </a:rPr>
              <a:t>Ambra Guglietti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8945C56-2241-773D-1140-A1158D00F2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9938" y="597210"/>
            <a:ext cx="8481262" cy="6142152"/>
          </a:xfrm>
          <a:prstGeom prst="rect">
            <a:avLst/>
          </a:prstGeom>
        </p:spPr>
      </p:pic>
      <p:sp>
        <p:nvSpPr>
          <p:cNvPr id="4" name="object 9">
            <a:extLst>
              <a:ext uri="{FF2B5EF4-FFF2-40B4-BE49-F238E27FC236}">
                <a16:creationId xmlns:a16="http://schemas.microsoft.com/office/drawing/2014/main" id="{EE90523F-AD0F-94AC-D16F-DF7087B14026}"/>
              </a:ext>
            </a:extLst>
          </p:cNvPr>
          <p:cNvSpPr txBox="1"/>
          <p:nvPr/>
        </p:nvSpPr>
        <p:spPr>
          <a:xfrm>
            <a:off x="589586" y="796542"/>
            <a:ext cx="4853781" cy="3684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08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i="0" u="none" strike="noStrike" kern="1200" cap="none" spc="-16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Living Places </a:t>
            </a:r>
            <a:endParaRPr lang="en-US" sz="2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pic>
        <p:nvPicPr>
          <p:cNvPr id="9" name="Picture 8" descr="A logo of a building&#10;&#10;Description automatically generated">
            <a:extLst>
              <a:ext uri="{FF2B5EF4-FFF2-40B4-BE49-F238E27FC236}">
                <a16:creationId xmlns:a16="http://schemas.microsoft.com/office/drawing/2014/main" id="{4CC2BF6E-0FB1-AC73-7587-9E405F66C2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152" y="2079390"/>
            <a:ext cx="1570762" cy="478664"/>
          </a:xfrm>
          <a:prstGeom prst="rect">
            <a:avLst/>
          </a:prstGeom>
        </p:spPr>
      </p:pic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3C4B6658-891C-FC0D-F2F2-2B9EB14C0A3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06306943"/>
              </p:ext>
            </p:extLst>
          </p:nvPr>
        </p:nvGraphicFramePr>
        <p:xfrm>
          <a:off x="10360152" y="1308131"/>
          <a:ext cx="1640332" cy="3430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4" imgW="971523" imgH="203058" progId="AcroExch.Document.DC">
                  <p:embed/>
                </p:oleObj>
              </mc:Choice>
              <mc:Fallback>
                <p:oleObj name="Acrobat Document" r:id="rId4" imgW="971523" imgH="203058" progId="AcroExch.Document.DC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3C4B6658-891C-FC0D-F2F2-2B9EB14C0A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360152" y="1308131"/>
                        <a:ext cx="1640332" cy="3430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9EE9C3E1-BC04-4CB6-E008-43E719E88E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16561" y="2986237"/>
            <a:ext cx="1728321" cy="4786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16D9ABC-FC31-BA7F-1EB8-C1716870DD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03702" y="3893084"/>
            <a:ext cx="1348567" cy="121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951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>
            <a:extLst>
              <a:ext uri="{FF2B5EF4-FFF2-40B4-BE49-F238E27FC236}">
                <a16:creationId xmlns:a16="http://schemas.microsoft.com/office/drawing/2014/main" id="{73752D6F-0C14-4A41-4AD6-69F7E068F8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2887" y="2131813"/>
            <a:ext cx="3683568" cy="200369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object 3">
            <a:extLst>
              <a:ext uri="{FF2B5EF4-FFF2-40B4-BE49-F238E27FC236}">
                <a16:creationId xmlns:a16="http://schemas.microsoft.com/office/drawing/2014/main" id="{32ADF925-FDB6-6051-69AE-2EA0410F44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4425" y="1556281"/>
            <a:ext cx="4841693" cy="258926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object 4">
            <a:extLst>
              <a:ext uri="{FF2B5EF4-FFF2-40B4-BE49-F238E27FC236}">
                <a16:creationId xmlns:a16="http://schemas.microsoft.com/office/drawing/2014/main" id="{FFA8D441-FF35-FECC-FD89-7FCF5F863D19}"/>
              </a:ext>
            </a:extLst>
          </p:cNvPr>
          <p:cNvSpPr/>
          <p:nvPr/>
        </p:nvSpPr>
        <p:spPr>
          <a:xfrm>
            <a:off x="5651348" y="2284527"/>
            <a:ext cx="0" cy="3402811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3402816"/>
              <a:gd name="f5" fmla="val 3402453"/>
              <a:gd name="f6" fmla="abs f0"/>
              <a:gd name="f7" fmla="abs f1"/>
              <a:gd name="f8" fmla="abs f2"/>
              <a:gd name="f9" fmla="*/ f1 1 3402816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3402816"/>
              <a:gd name="f17" fmla="*/ f12 1 21600"/>
              <a:gd name="f18" fmla="*/ f13 1 3402816"/>
              <a:gd name="f19" fmla="*/ 21600 f12 1"/>
              <a:gd name="f20" fmla="*/ 0 1 f15"/>
              <a:gd name="f21" fmla="*/ 1 1 f15"/>
              <a:gd name="f22" fmla="*/ 0 1 f16"/>
              <a:gd name="f23" fmla="*/ 3402816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3402816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2031" cap="flat">
            <a:solidFill>
              <a:srgbClr val="000000"/>
            </a:solidFill>
            <a:custDash>
              <a:ds d="799981" sp="100000"/>
            </a:custDash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CF973377-EA59-8E17-2358-61A1E2800DE8}"/>
              </a:ext>
            </a:extLst>
          </p:cNvPr>
          <p:cNvSpPr txBox="1"/>
          <p:nvPr/>
        </p:nvSpPr>
        <p:spPr>
          <a:xfrm>
            <a:off x="2684038" y="4455688"/>
            <a:ext cx="1373675" cy="22593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INSIDE</a:t>
            </a:r>
            <a:endParaRPr lang="en-US" sz="1400" b="1" i="0" u="none" strike="noStrike" kern="1200" cap="none" spc="0" baseline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E9864384-81D4-0A7E-78E8-48263505ECB3}"/>
              </a:ext>
            </a:extLst>
          </p:cNvPr>
          <p:cNvSpPr txBox="1"/>
          <p:nvPr/>
        </p:nvSpPr>
        <p:spPr>
          <a:xfrm>
            <a:off x="11755745" y="6504593"/>
            <a:ext cx="436255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63569FFC-27B2-464C-B31F-A85CDC7536E7}" type="slidenum">
              <a:rPr sz="1400">
                <a:solidFill>
                  <a:schemeClr val="bg1">
                    <a:lumMod val="65000"/>
                  </a:schemeClr>
                </a:solidFill>
              </a:rPr>
              <a:t>11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id="{43653B29-5894-20C5-3970-DDA7A9B5E630}"/>
              </a:ext>
            </a:extLst>
          </p:cNvPr>
          <p:cNvSpPr txBox="1"/>
          <p:nvPr/>
        </p:nvSpPr>
        <p:spPr>
          <a:xfrm>
            <a:off x="1406228" y="4735366"/>
            <a:ext cx="3683568" cy="10416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1" compatLnSpc="1">
            <a:spAutoFit/>
          </a:bodyPr>
          <a:lstStyle/>
          <a:p>
            <a:pPr marL="7699" marR="3081" lvl="0" indent="384" algn="ctr" defTabSz="914400" rtl="0" fontAlgn="auto" hangingPunct="1">
              <a:lnSpc>
                <a:spcPct val="1076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Inside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building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sloped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roof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enable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better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daylight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conditions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ith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8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light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8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from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roof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9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indows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reaching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deeper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8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into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plan.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Using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doubl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igh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pace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ith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skylights 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e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enable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better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lighting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conditions </a:t>
            </a:r>
            <a:r>
              <a:rPr lang="en-US" sz="1050" b="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for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lower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floor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here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daylight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i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most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carce.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Moreover,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it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enables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tack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effect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of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arm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air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for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natural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ventilation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through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overhead windows.</a:t>
            </a:r>
            <a:endParaRPr lang="en-US" sz="105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B9D0357D-412C-ED97-1BF5-5364AE56A8F9}"/>
              </a:ext>
            </a:extLst>
          </p:cNvPr>
          <p:cNvSpPr txBox="1"/>
          <p:nvPr/>
        </p:nvSpPr>
        <p:spPr>
          <a:xfrm>
            <a:off x="7998311" y="4455688"/>
            <a:ext cx="1134934" cy="22593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1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OUTSIDE</a:t>
            </a:r>
            <a:endParaRPr lang="en-US" sz="1400" b="1" i="0" u="none" strike="noStrike" kern="1200" cap="none" spc="0" baseline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757C7CFE-4E14-2C62-35F1-574B199901D1}"/>
              </a:ext>
            </a:extLst>
          </p:cNvPr>
          <p:cNvSpPr txBox="1"/>
          <p:nvPr/>
        </p:nvSpPr>
        <p:spPr>
          <a:xfrm>
            <a:off x="6313712" y="4824968"/>
            <a:ext cx="4236086" cy="103888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1" compatLnSpc="1">
            <a:spAutoFit/>
          </a:bodyPr>
          <a:lstStyle/>
          <a:p>
            <a:pPr marL="7699" marR="3081" lvl="0" indent="-768" algn="ctr" defTabSz="914400" rtl="0" fontAlgn="auto" hangingPunct="1">
              <a:lnSpc>
                <a:spcPct val="1076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Outside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at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a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community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cale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loped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roof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enables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8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direct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unlight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o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reach 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urrounding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urban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pace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a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well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a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facade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of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neighboring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buildings.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Breaking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façade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ith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sloped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roof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elp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o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cal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down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building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9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owards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their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urrounding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urban </a:t>
            </a:r>
            <a:r>
              <a:rPr lang="en-US" sz="1050" b="0" i="0" u="none" strike="noStrike" kern="1200" cap="none" spc="-18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paces.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is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enable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igher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density,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hile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maintaining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a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uman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cal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and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enhancing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daylight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conditions.</a:t>
            </a:r>
            <a:endParaRPr lang="en-US" sz="105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10" name="object 9">
            <a:extLst>
              <a:ext uri="{FF2B5EF4-FFF2-40B4-BE49-F238E27FC236}">
                <a16:creationId xmlns:a16="http://schemas.microsoft.com/office/drawing/2014/main" id="{EF4F2AA6-CAE7-2E33-B9C3-08810446CAA4}"/>
              </a:ext>
            </a:extLst>
          </p:cNvPr>
          <p:cNvSpPr txBox="1"/>
          <p:nvPr/>
        </p:nvSpPr>
        <p:spPr>
          <a:xfrm>
            <a:off x="589586" y="796542"/>
            <a:ext cx="4853781" cy="3684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08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i="0" u="none" strike="noStrike" kern="1200" cap="none" spc="-16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Revitalizing</a:t>
            </a:r>
            <a:r>
              <a:rPr lang="en-US" sz="2400" b="1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2400" b="1" i="0" u="none" strike="noStrike" kern="1200" cap="none" spc="-209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 </a:t>
            </a:r>
            <a:r>
              <a:rPr lang="en-US" sz="2400" b="1" i="0" u="none" strike="noStrike" kern="1200" cap="none" spc="-18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loped</a:t>
            </a:r>
            <a:r>
              <a:rPr lang="en-US" sz="2400" b="1" i="0" u="none" strike="noStrike" kern="1200" cap="none" spc="-6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2400" b="1" i="0" u="none" strike="noStrike" kern="1200" cap="none" spc="-182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roof</a:t>
            </a:r>
            <a:endParaRPr lang="en-US" sz="2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33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FB60BEC-9A69-49B1-451F-B319B90B2436}"/>
              </a:ext>
            </a:extLst>
          </p:cNvPr>
          <p:cNvCxnSpPr/>
          <p:nvPr/>
        </p:nvCxnSpPr>
        <p:spPr>
          <a:xfrm>
            <a:off x="0" y="0"/>
            <a:ext cx="914400" cy="0"/>
          </a:xfrm>
          <a:prstGeom prst="straightConnector1">
            <a:avLst/>
          </a:prstGeom>
          <a:noFill/>
          <a:ln w="0" cap="flat">
            <a:solidFill>
              <a:srgbClr val="FBFFFF"/>
            </a:solidFill>
            <a:prstDash val="solid"/>
            <a:miter/>
          </a:ln>
        </p:spPr>
      </p:cxnSp>
      <p:sp>
        <p:nvSpPr>
          <p:cNvPr id="4" name="object 9">
            <a:extLst>
              <a:ext uri="{FF2B5EF4-FFF2-40B4-BE49-F238E27FC236}">
                <a16:creationId xmlns:a16="http://schemas.microsoft.com/office/drawing/2014/main" id="{B46D1B55-C08E-C741-9B41-29B982F3D81C}"/>
              </a:ext>
            </a:extLst>
          </p:cNvPr>
          <p:cNvSpPr txBox="1"/>
          <p:nvPr/>
        </p:nvSpPr>
        <p:spPr>
          <a:xfrm>
            <a:off x="589586" y="796542"/>
            <a:ext cx="4853781" cy="3684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08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i="0" u="none" strike="noStrike" kern="1200" cap="none" spc="-16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Principles for Living Places</a:t>
            </a:r>
            <a:endParaRPr lang="en-US" sz="2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5" name="object 10">
            <a:extLst>
              <a:ext uri="{FF2B5EF4-FFF2-40B4-BE49-F238E27FC236}">
                <a16:creationId xmlns:a16="http://schemas.microsoft.com/office/drawing/2014/main" id="{9CFF36BE-D8EB-0553-5E97-A3A52C3246BE}"/>
              </a:ext>
            </a:extLst>
          </p:cNvPr>
          <p:cNvSpPr txBox="1"/>
          <p:nvPr/>
        </p:nvSpPr>
        <p:spPr>
          <a:xfrm>
            <a:off x="11755745" y="6504593"/>
            <a:ext cx="360055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C5F1240-9FB6-431B-83A5-6CCF2F4A0E7E}" type="slidenum">
              <a:rPr sz="1400">
                <a:solidFill>
                  <a:schemeClr val="bg1">
                    <a:lumMod val="65000"/>
                  </a:schemeClr>
                </a:solidFill>
              </a:rPr>
              <a:t>12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A98149-A792-2319-19C4-6ED694D389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741"/>
          <a:stretch/>
        </p:blipFill>
        <p:spPr>
          <a:xfrm>
            <a:off x="365763" y="1347399"/>
            <a:ext cx="11460474" cy="5381187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 name="Slide214737814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>
            <a:extLst>
              <a:ext uri="{FF2B5EF4-FFF2-40B4-BE49-F238E27FC236}">
                <a16:creationId xmlns:a16="http://schemas.microsoft.com/office/drawing/2014/main" id="{9CC3613C-ADA7-5B23-7B49-7B4B1B3FD5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3213" y="2049801"/>
            <a:ext cx="2354461" cy="249424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object 3">
            <a:extLst>
              <a:ext uri="{FF2B5EF4-FFF2-40B4-BE49-F238E27FC236}">
                <a16:creationId xmlns:a16="http://schemas.microsoft.com/office/drawing/2014/main" id="{9589B7C6-2E8C-32C4-AA3A-DFE158416A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8179" y="2049801"/>
            <a:ext cx="2354461" cy="249424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object 5">
            <a:extLst>
              <a:ext uri="{FF2B5EF4-FFF2-40B4-BE49-F238E27FC236}">
                <a16:creationId xmlns:a16="http://schemas.microsoft.com/office/drawing/2014/main" id="{C08CB3A9-5680-A332-E58D-D740E644575A}"/>
              </a:ext>
            </a:extLst>
          </p:cNvPr>
          <p:cNvSpPr txBox="1"/>
          <p:nvPr/>
        </p:nvSpPr>
        <p:spPr>
          <a:xfrm>
            <a:off x="2698979" y="4578556"/>
            <a:ext cx="1719309" cy="13058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244" rIns="0" bIns="0" anchor="t" anchorCtr="0" compatLnSpc="1">
            <a:spAutoFit/>
          </a:bodyPr>
          <a:lstStyle/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i="0" u="none" strike="noStrike" kern="0" cap="none" spc="27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TYPICAL</a:t>
            </a:r>
            <a:r>
              <a:rPr lang="en-US" sz="788" b="1" i="0" u="none" strike="noStrike" kern="0" cap="none" spc="8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8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SINGLE</a:t>
            </a:r>
            <a:r>
              <a:rPr lang="en-US" sz="788" b="1" i="0" u="none" strike="noStrike" kern="0" cap="none" spc="10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8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FAMILY</a:t>
            </a:r>
            <a:r>
              <a:rPr lang="en-US" sz="788" b="1" i="0" u="none" strike="noStrike" kern="0" cap="none" spc="8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88" b="1" i="0" u="none" strike="noStrike" kern="0" cap="none" spc="24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OUSE</a:t>
            </a:r>
            <a:endParaRPr lang="en-US" sz="78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2B4B685C-DB82-E23B-3C3F-F20E143BC047}"/>
              </a:ext>
            </a:extLst>
          </p:cNvPr>
          <p:cNvSpPr txBox="1"/>
          <p:nvPr/>
        </p:nvSpPr>
        <p:spPr>
          <a:xfrm>
            <a:off x="2564992" y="4868247"/>
            <a:ext cx="925308" cy="115401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Size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Floors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76626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Building</a:t>
            </a:r>
            <a:r>
              <a:rPr lang="en-US" sz="728" b="1" i="0" u="none" strike="noStrike" kern="0" cap="none" spc="69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principle: Foundation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298807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Floor</a:t>
            </a:r>
            <a:r>
              <a:rPr lang="en-US" sz="728" b="1" i="0" u="none" strike="noStrike" kern="0" cap="none" spc="5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ight: </a:t>
            </a: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Room</a:t>
            </a:r>
            <a:r>
              <a:rPr lang="en-US" sz="728" b="1" i="0" u="none" strike="noStrike" kern="0" cap="none" spc="58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ight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3081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ating</a:t>
            </a:r>
            <a:r>
              <a:rPr lang="en-US" sz="728" b="1" i="0" u="none" strike="noStrike" kern="0" cap="none" spc="67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application: </a:t>
            </a: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ating</a:t>
            </a:r>
            <a:r>
              <a:rPr lang="en-US" sz="728" b="1" i="0" u="none" strike="noStrike" kern="0" cap="none" spc="67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source: Ventilation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Solar</a:t>
            </a:r>
            <a:r>
              <a:rPr lang="en-US" sz="728" b="1" i="0" u="none" strike="noStrike" kern="0" cap="none" spc="61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pannels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  <p:sp>
        <p:nvSpPr>
          <p:cNvPr id="6" name="object 7">
            <a:extLst>
              <a:ext uri="{FF2B5EF4-FFF2-40B4-BE49-F238E27FC236}">
                <a16:creationId xmlns:a16="http://schemas.microsoft.com/office/drawing/2014/main" id="{B7CCC233-6BDE-A283-2A32-244F78A09C31}"/>
              </a:ext>
            </a:extLst>
          </p:cNvPr>
          <p:cNvSpPr txBox="1"/>
          <p:nvPr/>
        </p:nvSpPr>
        <p:spPr>
          <a:xfrm>
            <a:off x="7528218" y="4868247"/>
            <a:ext cx="925308" cy="115401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Size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Floors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76626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Building</a:t>
            </a:r>
            <a:r>
              <a:rPr lang="en-US" sz="728" b="1" i="0" u="none" strike="noStrike" kern="0" cap="none" spc="69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principle: Foundation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298807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Floor</a:t>
            </a:r>
            <a:r>
              <a:rPr lang="en-US" sz="728" b="1" i="0" u="none" strike="noStrike" kern="0" cap="none" spc="5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ight: </a:t>
            </a: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Room</a:t>
            </a:r>
            <a:r>
              <a:rPr lang="en-US" sz="728" b="1" i="0" u="none" strike="noStrike" kern="0" cap="none" spc="58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ight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3081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ating</a:t>
            </a:r>
            <a:r>
              <a:rPr lang="en-US" sz="728" b="1" i="0" u="none" strike="noStrike" kern="0" cap="none" spc="67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application: </a:t>
            </a: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ating</a:t>
            </a:r>
            <a:r>
              <a:rPr lang="en-US" sz="728" b="1" i="0" u="none" strike="noStrike" kern="0" cap="none" spc="67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source: Ventilation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Solar</a:t>
            </a:r>
            <a:r>
              <a:rPr lang="en-US" sz="728" b="1" i="0" u="none" strike="noStrike" kern="0" cap="none" spc="61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pannels: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ADE643D2-1732-A93D-6DCF-C3DDB159A8C6}"/>
              </a:ext>
            </a:extLst>
          </p:cNvPr>
          <p:cNvSpPr txBox="1"/>
          <p:nvPr/>
        </p:nvSpPr>
        <p:spPr>
          <a:xfrm>
            <a:off x="3847539" y="4868247"/>
            <a:ext cx="644981" cy="114735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-1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184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12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1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246055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Brick Concrete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2.7</a:t>
            </a:r>
            <a:r>
              <a:rPr lang="en-US" sz="728" b="0" i="0" u="none" strike="noStrike" kern="0" cap="none" spc="3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3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m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2.4</a:t>
            </a:r>
            <a:r>
              <a:rPr lang="en-US" sz="728" b="0" i="0" u="none" strike="noStrike" kern="0" cap="none" spc="3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3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m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3081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District</a:t>
            </a:r>
            <a:r>
              <a:rPr lang="en-US" sz="728" b="0" i="0" u="none" strike="noStrike" kern="0" cap="none" spc="4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ating </a:t>
            </a: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Floor</a:t>
            </a:r>
            <a:r>
              <a:rPr lang="en-US" sz="728" b="0" i="0" u="none" strike="noStrike" kern="0" cap="none" spc="5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ating Mechanical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7</a:t>
            </a:r>
            <a:r>
              <a:rPr lang="en-US" sz="728" b="0" i="0" u="none" strike="noStrike" kern="0" cap="none" spc="18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1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m²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  <p:sp>
        <p:nvSpPr>
          <p:cNvPr id="8" name="object 9">
            <a:extLst>
              <a:ext uri="{FF2B5EF4-FFF2-40B4-BE49-F238E27FC236}">
                <a16:creationId xmlns:a16="http://schemas.microsoft.com/office/drawing/2014/main" id="{4917CF00-CF46-B5CA-0CA2-1694820146B0}"/>
              </a:ext>
            </a:extLst>
          </p:cNvPr>
          <p:cNvSpPr txBox="1"/>
          <p:nvPr/>
        </p:nvSpPr>
        <p:spPr>
          <a:xfrm>
            <a:off x="8892000" y="4868247"/>
            <a:ext cx="1091656" cy="11431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-1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144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12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3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3081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Timberframe</a:t>
            </a:r>
            <a:r>
              <a:rPr lang="en-US" sz="728" b="0" i="0" u="none" strike="noStrike" kern="0" cap="none" spc="69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construction </a:t>
            </a: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Screw</a:t>
            </a:r>
            <a:r>
              <a:rPr lang="en-US" sz="728" b="0" i="0" u="none" strike="noStrike" kern="0" cap="none" spc="49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pile</a:t>
            </a:r>
            <a:r>
              <a:rPr lang="en-US" sz="728" b="0" i="0" u="none" strike="noStrike" kern="0" cap="none" spc="49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foundation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3</a:t>
            </a:r>
            <a:r>
              <a:rPr lang="en-US" sz="728" b="0" i="0" u="none" strike="noStrike" kern="0" cap="none" spc="18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3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m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2.6</a:t>
            </a:r>
            <a:r>
              <a:rPr lang="en-US" sz="728" b="0" i="0" u="none" strike="noStrike" kern="0" cap="none" spc="3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3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m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120911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Air</a:t>
            </a:r>
            <a:r>
              <a:rPr lang="en-US" sz="728" b="0" i="0" u="none" strike="noStrike" kern="0" cap="none" spc="33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to</a:t>
            </a:r>
            <a:r>
              <a:rPr lang="en-US" sz="728" b="0" i="0" u="none" strike="noStrike" kern="0" cap="none" spc="3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water</a:t>
            </a:r>
            <a:r>
              <a:rPr lang="en-US" sz="728" b="0" i="0" u="none" strike="noStrike" kern="0" cap="none" spc="3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eat</a:t>
            </a:r>
            <a:r>
              <a:rPr lang="en-US" sz="728" b="0" i="0" u="none" strike="noStrike" kern="0" cap="none" spc="3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12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pump </a:t>
            </a:r>
            <a:r>
              <a:rPr lang="en-US" sz="728" b="0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Radiators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  <a:p>
            <a:pPr marL="7699" marR="375050" lvl="0" indent="0" algn="l" defTabSz="554492" rtl="0" fontAlgn="auto" hangingPunct="1">
              <a:lnSpc>
                <a:spcPct val="103099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Natural</a:t>
            </a:r>
            <a:r>
              <a:rPr lang="en-US" sz="728" b="0" i="0" u="none" strike="noStrike" kern="0" cap="none" spc="39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or</a:t>
            </a:r>
            <a:r>
              <a:rPr lang="en-US" sz="728" b="0" i="0" u="none" strike="noStrike" kern="0" cap="none" spc="39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ybrid </a:t>
            </a:r>
            <a:r>
              <a:rPr lang="en-US" sz="728" b="0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12</a:t>
            </a:r>
            <a:r>
              <a:rPr lang="en-US" sz="728" b="0" i="0" u="none" strike="noStrike" kern="0" cap="none" spc="27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28" b="0" i="0" u="none" strike="noStrike" kern="0" cap="none" spc="-1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m²</a:t>
            </a:r>
            <a:endParaRPr lang="en-US" sz="72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F421FED9-335F-CB70-752A-501E489A86F6}"/>
              </a:ext>
            </a:extLst>
          </p:cNvPr>
          <p:cNvSpPr txBox="1"/>
          <p:nvPr/>
        </p:nvSpPr>
        <p:spPr>
          <a:xfrm>
            <a:off x="2339035" y="1570107"/>
            <a:ext cx="1031973" cy="4410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30422" rIns="0" bIns="0" anchor="t" anchorCtr="0" compatLnSpc="1">
            <a:spAutoFit/>
          </a:bodyPr>
          <a:lstStyle/>
          <a:p>
            <a:pPr marL="7699" marR="3081" lvl="0" indent="0" algn="l" defTabSz="554492" rtl="0" fontAlgn="auto" hangingPunct="1">
              <a:lnSpc>
                <a:spcPts val="1650"/>
              </a:lnSpc>
              <a:spcBef>
                <a:spcPts val="2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86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ow</a:t>
            </a:r>
            <a:r>
              <a:rPr lang="en-US" sz="1486" b="1" i="0" u="none" strike="noStrike" kern="0" cap="none" spc="-9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486" b="1" i="0" u="none" strike="noStrike" kern="0" cap="none" spc="-15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we </a:t>
            </a:r>
            <a:r>
              <a:rPr lang="en-US" sz="1486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build</a:t>
            </a:r>
            <a:r>
              <a:rPr lang="en-US" sz="1486" b="1" i="0" u="none" strike="noStrike" kern="0" cap="none" spc="3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486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today</a:t>
            </a:r>
            <a:endParaRPr lang="en-US" sz="1486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  <p:sp>
        <p:nvSpPr>
          <p:cNvPr id="10" name="object 11">
            <a:extLst>
              <a:ext uri="{FF2B5EF4-FFF2-40B4-BE49-F238E27FC236}">
                <a16:creationId xmlns:a16="http://schemas.microsoft.com/office/drawing/2014/main" id="{4F8A3FC7-8396-51DD-793A-626CCC64C089}"/>
              </a:ext>
            </a:extLst>
          </p:cNvPr>
          <p:cNvSpPr txBox="1"/>
          <p:nvPr/>
        </p:nvSpPr>
        <p:spPr>
          <a:xfrm>
            <a:off x="7336075" y="1570107"/>
            <a:ext cx="1624587" cy="4410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30422" rIns="0" bIns="0" anchor="t" anchorCtr="0" compatLnSpc="1">
            <a:spAutoFit/>
          </a:bodyPr>
          <a:lstStyle/>
          <a:p>
            <a:pPr marL="7699" marR="3081" lvl="0" indent="0" algn="l" defTabSz="554492" rtl="0" fontAlgn="auto" hangingPunct="1">
              <a:lnSpc>
                <a:spcPts val="1650"/>
              </a:lnSpc>
              <a:spcBef>
                <a:spcPts val="2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86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How we </a:t>
            </a:r>
            <a:r>
              <a:rPr lang="en-US" sz="1486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might </a:t>
            </a:r>
            <a:r>
              <a:rPr lang="en-US" sz="1486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build</a:t>
            </a:r>
            <a:r>
              <a:rPr lang="en-US" sz="1486" b="1" i="0" u="none" strike="noStrike" kern="0" cap="none" spc="3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486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in</a:t>
            </a:r>
            <a:r>
              <a:rPr lang="en-US" sz="1486" b="1" i="0" u="none" strike="noStrike" kern="0" cap="none" spc="3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486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the</a:t>
            </a:r>
            <a:r>
              <a:rPr lang="en-US" sz="1486" b="1" i="0" u="none" strike="noStrike" kern="0" cap="none" spc="3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486" b="1" i="0" u="none" strike="noStrike" kern="0" cap="none" spc="-6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future</a:t>
            </a:r>
            <a:endParaRPr lang="en-US" sz="1486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  <p:sp>
        <p:nvSpPr>
          <p:cNvPr id="11" name="object 12">
            <a:extLst>
              <a:ext uri="{FF2B5EF4-FFF2-40B4-BE49-F238E27FC236}">
                <a16:creationId xmlns:a16="http://schemas.microsoft.com/office/drawing/2014/main" id="{6138955C-227D-8A5B-566A-F4045554432D}"/>
              </a:ext>
            </a:extLst>
          </p:cNvPr>
          <p:cNvSpPr txBox="1"/>
          <p:nvPr/>
        </p:nvSpPr>
        <p:spPr>
          <a:xfrm>
            <a:off x="7947214" y="4578556"/>
            <a:ext cx="1386998" cy="13058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244" rIns="0" bIns="0" anchor="t" anchorCtr="0" compatLnSpc="1">
            <a:spAutoFit/>
          </a:bodyPr>
          <a:lstStyle/>
          <a:p>
            <a:pPr marL="7699" marR="0" lvl="0" indent="0" algn="l" defTabSz="554492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LIVING</a:t>
            </a:r>
            <a:r>
              <a:rPr lang="en-US" sz="788" b="1" i="0" u="none" strike="noStrike" kern="0" cap="none" spc="194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88" b="1" i="0" u="none" strike="noStrike" kern="0" cap="none" spc="0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PLACES</a:t>
            </a:r>
            <a:r>
              <a:rPr lang="en-US" sz="788" b="1" i="0" u="none" strike="noStrike" kern="0" cap="none" spc="197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788" b="1" i="0" u="none" strike="noStrike" kern="0" cap="none" spc="24" baseline="0">
                <a:solidFill>
                  <a:srgbClr val="000000"/>
                </a:solidFill>
                <a:uFillTx/>
                <a:latin typeface="VeluxForOffice"/>
                <a:cs typeface="Arial"/>
              </a:rPr>
              <a:t>CONCEPT</a:t>
            </a:r>
            <a:endParaRPr lang="en-US" sz="788" b="0" i="0" u="none" strike="noStrike" kern="0" cap="none" spc="0" baseline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48CFC437-72BE-D657-B19A-001A4437B642}"/>
              </a:ext>
            </a:extLst>
          </p:cNvPr>
          <p:cNvSpPr txBox="1"/>
          <p:nvPr/>
        </p:nvSpPr>
        <p:spPr>
          <a:xfrm>
            <a:off x="589586" y="796542"/>
            <a:ext cx="4853781" cy="3684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08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i="0" u="none" strike="noStrike" kern="1200" cap="none" spc="-16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ow we benchmarked</a:t>
            </a:r>
            <a:endParaRPr lang="en-US" sz="2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775A6AAE-C901-32B2-9436-4BC354DB581A}"/>
              </a:ext>
            </a:extLst>
          </p:cNvPr>
          <p:cNvSpPr txBox="1"/>
          <p:nvPr/>
        </p:nvSpPr>
        <p:spPr>
          <a:xfrm>
            <a:off x="11755745" y="6504593"/>
            <a:ext cx="350911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97C46B3-7120-4102-9210-CA3433229B2F}" type="slidenum">
              <a:rPr sz="1400">
                <a:solidFill>
                  <a:schemeClr val="bg1">
                    <a:lumMod val="65000"/>
                  </a:schemeClr>
                </a:solidFill>
              </a:rPr>
              <a:t>13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728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3">
            <a:extLst>
              <a:ext uri="{FF2B5EF4-FFF2-40B4-BE49-F238E27FC236}">
                <a16:creationId xmlns:a16="http://schemas.microsoft.com/office/drawing/2014/main" id="{3A27FF71-5119-BC4A-6435-5A899C83BD38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70000" contrast="-70000"/>
            <a:alphaModFix amt="50000"/>
          </a:blip>
          <a:stretch>
            <a:fillRect/>
          </a:stretch>
        </p:blipFill>
        <p:spPr>
          <a:xfrm>
            <a:off x="427" y="3686"/>
            <a:ext cx="12191146" cy="685431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Picture 2" descr="Living_Places_Planet">
            <a:extLst>
              <a:ext uri="{FF2B5EF4-FFF2-40B4-BE49-F238E27FC236}">
                <a16:creationId xmlns:a16="http://schemas.microsoft.com/office/drawing/2014/main" id="{A63DCE2A-66AE-BBC3-48BC-319587F8ED6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716316" y="166978"/>
            <a:ext cx="4853781" cy="654034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Picture 4" descr="Living_Places_Wellbeing">
            <a:extLst>
              <a:ext uri="{FF2B5EF4-FFF2-40B4-BE49-F238E27FC236}">
                <a16:creationId xmlns:a16="http://schemas.microsoft.com/office/drawing/2014/main" id="{1290DFB0-F2EC-0DEC-5D48-14A4FE94A1A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259833" y="166978"/>
            <a:ext cx="4667829" cy="651324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E3C88BE-3076-65E2-7FB7-88E7B50FD6BA}"/>
              </a:ext>
            </a:extLst>
          </p:cNvPr>
          <p:cNvSpPr txBox="1"/>
          <p:nvPr/>
        </p:nvSpPr>
        <p:spPr>
          <a:xfrm>
            <a:off x="332887" y="2244709"/>
            <a:ext cx="3434440" cy="23577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400" b="1" i="0" u="none" strike="noStrike" kern="1200" cap="all" spc="0" baseline="0" dirty="0">
              <a:solidFill>
                <a:srgbClr val="000000"/>
              </a:solidFill>
              <a:uFillTx/>
              <a:latin typeface="VeluxForOffice"/>
            </a:endParaRPr>
          </a:p>
          <a:p>
            <a:pPr marL="342900" marR="0" lvl="0" indent="-34290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800" b="1" i="0" u="none" strike="noStrike" kern="1200" cap="all" spc="0" baseline="0" dirty="0">
                <a:solidFill>
                  <a:srgbClr val="000000"/>
                </a:solidFill>
                <a:uFillTx/>
                <a:latin typeface="VeluxForOffice"/>
              </a:rPr>
              <a:t>Carbon CO2 EQ/m2/y:</a:t>
            </a:r>
          </a:p>
          <a:p>
            <a:pPr marL="457200" marR="0" lvl="1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8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From 12 to 3.8</a:t>
            </a:r>
          </a:p>
          <a:p>
            <a:pPr marL="457200" marR="0" lvl="1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</a:endParaRPr>
          </a:p>
          <a:p>
            <a:pPr marL="342900" marR="0" lvl="0" indent="-34290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800" b="1" i="0" u="none" strike="noStrike" kern="1200" cap="all" spc="0" baseline="0" dirty="0">
                <a:solidFill>
                  <a:srgbClr val="000000"/>
                </a:solidFill>
                <a:uFillTx/>
                <a:latin typeface="VeluxForOffice"/>
              </a:rPr>
              <a:t>Indoor climate CLASS</a:t>
            </a:r>
          </a:p>
          <a:p>
            <a:pPr marL="457200" marR="0" lvl="1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8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From III to I</a:t>
            </a:r>
            <a:endParaRPr lang="en-DK" sz="18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F2B90A88-E0FE-4CEC-7C2C-CFC1EF409CFC}"/>
              </a:ext>
            </a:extLst>
          </p:cNvPr>
          <p:cNvSpPr txBox="1"/>
          <p:nvPr/>
        </p:nvSpPr>
        <p:spPr>
          <a:xfrm>
            <a:off x="475377" y="755750"/>
            <a:ext cx="2240939" cy="75432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08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i="0" u="none" strike="noStrike" kern="1200" cap="none" spc="-16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Results:</a:t>
            </a:r>
          </a:p>
          <a:p>
            <a:pPr marL="7699" marR="3081" lvl="0" indent="0" algn="l" defTabSz="914400" rtl="0" fontAlgn="auto" hangingPunct="1">
              <a:lnSpc>
                <a:spcPct val="1008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i="0" u="none" strike="noStrike" kern="1200" cap="none" spc="-16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3x lower LCA</a:t>
            </a:r>
            <a:endParaRPr lang="en-US" sz="2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54D6A7E1-0359-C596-776A-2F31C42E26E3}"/>
              </a:ext>
            </a:extLst>
          </p:cNvPr>
          <p:cNvSpPr txBox="1"/>
          <p:nvPr/>
        </p:nvSpPr>
        <p:spPr>
          <a:xfrm>
            <a:off x="11755745" y="6504593"/>
            <a:ext cx="35786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C863F16C-178E-4371-83C1-0EF6EB9AC8BA}" type="slidenum">
              <a:rPr sz="1400">
                <a:solidFill>
                  <a:schemeClr val="bg1">
                    <a:lumMod val="65000"/>
                  </a:schemeClr>
                </a:solidFill>
              </a:rPr>
              <a:t>14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0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7E54839F-21E4-34D3-F438-A04B94D4F5C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CFA4FF4-311B-8BE9-11DB-8895EAADE6A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58865" y="1238253"/>
            <a:ext cx="6593016" cy="5047204"/>
          </a:xfrm>
        </p:spPr>
        <p:txBody>
          <a:bodyPr/>
          <a:lstStyle/>
          <a:p>
            <a:endParaRPr lang="en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B644C1-A1FD-4956-DCBB-971D422743D6}"/>
              </a:ext>
            </a:extLst>
          </p:cNvPr>
          <p:cNvSpPr txBox="1"/>
          <p:nvPr/>
        </p:nvSpPr>
        <p:spPr>
          <a:xfrm>
            <a:off x="4262402" y="6361197"/>
            <a:ext cx="7567199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rm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00" b="0" i="0" u="none" strike="noStrike" kern="1200" cap="all" spc="0" baseline="0">
                <a:solidFill>
                  <a:srgbClr val="B0B0B0"/>
                </a:solidFill>
                <a:uFillTx/>
                <a:latin typeface="VeluxForOffice"/>
              </a:rPr>
              <a:t>OUR LIVING PLACES SCIENCE TALK I 070923</a:t>
            </a:r>
          </a:p>
        </p:txBody>
      </p:sp>
      <p:pic>
        <p:nvPicPr>
          <p:cNvPr id="5" name="Picture 2" descr="Map&#10;&#10;Description automatically generated with medium confidence">
            <a:extLst>
              <a:ext uri="{FF2B5EF4-FFF2-40B4-BE49-F238E27FC236}">
                <a16:creationId xmlns:a16="http://schemas.microsoft.com/office/drawing/2014/main" id="{352AB4C2-9116-9CC9-B94D-C21CDC1AAF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1996" cy="6858000"/>
          </a:xfrm>
          <a:prstGeom prst="rect">
            <a:avLst/>
          </a:prstGeom>
          <a:noFill/>
          <a:ln cap="flat"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368FB04-0D52-5E92-A61C-4B779E71BB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1090" y="3144237"/>
            <a:ext cx="5171090" cy="32988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C58C674-4ADF-95F6-4F9B-76524D98C1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400" y="914148"/>
            <a:ext cx="7816576" cy="2230089"/>
          </a:xfrm>
          <a:prstGeom prst="rect">
            <a:avLst/>
          </a:prstGeom>
        </p:spPr>
      </p:pic>
      <p:sp>
        <p:nvSpPr>
          <p:cNvPr id="7" name="object 9">
            <a:extLst>
              <a:ext uri="{FF2B5EF4-FFF2-40B4-BE49-F238E27FC236}">
                <a16:creationId xmlns:a16="http://schemas.microsoft.com/office/drawing/2014/main" id="{B42AC6B9-4392-A614-71F2-F3920D52930F}"/>
              </a:ext>
            </a:extLst>
          </p:cNvPr>
          <p:cNvSpPr txBox="1"/>
          <p:nvPr/>
        </p:nvSpPr>
        <p:spPr>
          <a:xfrm>
            <a:off x="406039" y="810721"/>
            <a:ext cx="4853781" cy="3684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08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i="0" u="none" strike="noStrike" kern="1200" cap="none" spc="-16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ealth impact</a:t>
            </a:r>
            <a:endParaRPr lang="en-US" sz="2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443060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313EAF8-558A-4A94-1726-5A1A46A6B5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63456"/>
            <a:ext cx="12192000" cy="5094544"/>
          </a:xfrm>
          <a:prstGeom prst="rect">
            <a:avLst/>
          </a:prstGeom>
        </p:spPr>
      </p:pic>
      <p:sp>
        <p:nvSpPr>
          <p:cNvPr id="4" name="object 10">
            <a:extLst>
              <a:ext uri="{FF2B5EF4-FFF2-40B4-BE49-F238E27FC236}">
                <a16:creationId xmlns:a16="http://schemas.microsoft.com/office/drawing/2014/main" id="{F6EA4E21-7F88-BFA9-0CB1-8808D00AEFE3}"/>
              </a:ext>
            </a:extLst>
          </p:cNvPr>
          <p:cNvSpPr txBox="1"/>
          <p:nvPr/>
        </p:nvSpPr>
        <p:spPr>
          <a:xfrm>
            <a:off x="11755745" y="6504593"/>
            <a:ext cx="341767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527BDC70-729D-4886-8D83-D1C704F93DB6}" type="slidenum">
              <a:rPr sz="1400">
                <a:solidFill>
                  <a:schemeClr val="bg1">
                    <a:lumMod val="65000"/>
                  </a:schemeClr>
                </a:solidFill>
              </a:rPr>
              <a:t>17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58DAA838-BAB1-FECF-154A-423083C82753}"/>
              </a:ext>
            </a:extLst>
          </p:cNvPr>
          <p:cNvSpPr txBox="1"/>
          <p:nvPr/>
        </p:nvSpPr>
        <p:spPr>
          <a:xfrm>
            <a:off x="589586" y="796542"/>
            <a:ext cx="4853781" cy="36844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08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i="0" u="none" strike="noStrike" kern="1200" cap="none" spc="-16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Environmental impact</a:t>
            </a:r>
            <a:endParaRPr lang="en-US" sz="2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10" name="object 148">
            <a:extLst>
              <a:ext uri="{FF2B5EF4-FFF2-40B4-BE49-F238E27FC236}">
                <a16:creationId xmlns:a16="http://schemas.microsoft.com/office/drawing/2014/main" id="{3DB4028C-A4BE-F37F-4CFB-C5A85EF25A78}"/>
              </a:ext>
            </a:extLst>
          </p:cNvPr>
          <p:cNvSpPr txBox="1"/>
          <p:nvPr/>
        </p:nvSpPr>
        <p:spPr>
          <a:xfrm>
            <a:off x="609112" y="1303899"/>
            <a:ext cx="4853781" cy="3338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3099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The diagram</a:t>
            </a:r>
            <a:r>
              <a:rPr lang="en-US" sz="1050" b="0" i="0" u="none" strike="noStrike" kern="1200" cap="none" spc="61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compares the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CO</a:t>
            </a:r>
            <a:r>
              <a:rPr lang="en-US" sz="1050" b="0" i="0" u="none" strike="noStrike" kern="1200" cap="none" spc="0" baseline="-2500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2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emissions of the full life cycle of the Benchmark house and th</a:t>
            </a:r>
            <a:r>
              <a:rPr lang="en-US" sz="1050" dirty="0">
                <a:solidFill>
                  <a:srgbClr val="000000"/>
                </a:solidFill>
                <a:latin typeface="VeluxForOffice"/>
                <a:cs typeface="Arial"/>
              </a:rPr>
              <a:t>e Living Places house.</a:t>
            </a:r>
            <a:endParaRPr lang="en-US" sz="105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9FA7A671-B068-DF3F-81E8-9D1F8CCE9E42}"/>
              </a:ext>
            </a:extLst>
          </p:cNvPr>
          <p:cNvSpPr/>
          <p:nvPr/>
        </p:nvSpPr>
        <p:spPr>
          <a:xfrm>
            <a:off x="2722571" y="55773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9DD52D81-2F0A-7A4D-07E7-39F9C800E43C}"/>
              </a:ext>
            </a:extLst>
          </p:cNvPr>
          <p:cNvSpPr/>
          <p:nvPr/>
        </p:nvSpPr>
        <p:spPr>
          <a:xfrm>
            <a:off x="3544717" y="55773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87312F76-8669-6CDC-41ED-5E5283005C41}"/>
              </a:ext>
            </a:extLst>
          </p:cNvPr>
          <p:cNvSpPr/>
          <p:nvPr/>
        </p:nvSpPr>
        <p:spPr>
          <a:xfrm>
            <a:off x="5187254" y="573456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79F47901-C174-6A5E-036F-F5D9B64A38E2}"/>
              </a:ext>
            </a:extLst>
          </p:cNvPr>
          <p:cNvSpPr/>
          <p:nvPr/>
        </p:nvSpPr>
        <p:spPr>
          <a:xfrm>
            <a:off x="6008696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9F9AAB4F-91FB-F223-2CD1-265DEE812170}"/>
              </a:ext>
            </a:extLst>
          </p:cNvPr>
          <p:cNvSpPr/>
          <p:nvPr/>
        </p:nvSpPr>
        <p:spPr>
          <a:xfrm>
            <a:off x="6831198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69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0B1A88E4-8BD8-88E5-42CD-D210DA64135B}"/>
              </a:ext>
            </a:extLst>
          </p:cNvPr>
          <p:cNvSpPr/>
          <p:nvPr/>
        </p:nvSpPr>
        <p:spPr>
          <a:xfrm>
            <a:off x="7653098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69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4EA0B45A-F659-CCCE-E1BC-4577AE6FEFCC}"/>
              </a:ext>
            </a:extLst>
          </p:cNvPr>
          <p:cNvSpPr/>
          <p:nvPr/>
        </p:nvSpPr>
        <p:spPr>
          <a:xfrm>
            <a:off x="10118073" y="3773692"/>
            <a:ext cx="0" cy="249868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2498684"/>
              <a:gd name="f5" fmla="val 2498314"/>
              <a:gd name="f6" fmla="abs f0"/>
              <a:gd name="f7" fmla="abs f1"/>
              <a:gd name="f8" fmla="abs f2"/>
              <a:gd name="f9" fmla="*/ f1 1 2498684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2498684"/>
              <a:gd name="f17" fmla="*/ f12 1 21600"/>
              <a:gd name="f18" fmla="*/ f13 1 2498684"/>
              <a:gd name="f19" fmla="*/ 21600 f12 1"/>
              <a:gd name="f20" fmla="*/ 0 1 f15"/>
              <a:gd name="f21" fmla="*/ 1 1 f15"/>
              <a:gd name="f22" fmla="*/ 0 1 f16"/>
              <a:gd name="f23" fmla="*/ 2498684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2498684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2C7B0644-5698-3F03-1379-F57D2FD84ADE}"/>
              </a:ext>
            </a:extLst>
          </p:cNvPr>
          <p:cNvSpPr/>
          <p:nvPr/>
        </p:nvSpPr>
        <p:spPr>
          <a:xfrm>
            <a:off x="10118018" y="574828"/>
            <a:ext cx="0" cy="1755894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1755894"/>
              <a:gd name="f5" fmla="val 1755841"/>
              <a:gd name="f6" fmla="abs f0"/>
              <a:gd name="f7" fmla="abs f1"/>
              <a:gd name="f8" fmla="abs f2"/>
              <a:gd name="f9" fmla="*/ f1 1 1755894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1755894"/>
              <a:gd name="f17" fmla="*/ f12 1 21600"/>
              <a:gd name="f18" fmla="*/ f13 1 1755894"/>
              <a:gd name="f19" fmla="*/ 21600 f12 1"/>
              <a:gd name="f20" fmla="*/ 0 1 f15"/>
              <a:gd name="f21" fmla="*/ 1 1 f15"/>
              <a:gd name="f22" fmla="*/ 0 1 f16"/>
              <a:gd name="f23" fmla="*/ 1755894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1755894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CB918920-619B-8C38-5B39-E54AEA5EE8E2}"/>
              </a:ext>
            </a:extLst>
          </p:cNvPr>
          <p:cNvSpPr/>
          <p:nvPr/>
        </p:nvSpPr>
        <p:spPr>
          <a:xfrm>
            <a:off x="8474275" y="57482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293EAF80-E25B-4E28-FA46-585E4428669C}"/>
              </a:ext>
            </a:extLst>
          </p:cNvPr>
          <p:cNvSpPr/>
          <p:nvPr/>
        </p:nvSpPr>
        <p:spPr>
          <a:xfrm>
            <a:off x="9296887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grpSp>
        <p:nvGrpSpPr>
          <p:cNvPr id="12" name="object 12">
            <a:extLst>
              <a:ext uri="{FF2B5EF4-FFF2-40B4-BE49-F238E27FC236}">
                <a16:creationId xmlns:a16="http://schemas.microsoft.com/office/drawing/2014/main" id="{4CB87C26-C1A8-17B3-CB40-77F9A980ECE9}"/>
              </a:ext>
            </a:extLst>
          </p:cNvPr>
          <p:cNvGrpSpPr/>
          <p:nvPr/>
        </p:nvGrpSpPr>
        <p:grpSpPr>
          <a:xfrm>
            <a:off x="4188994" y="557738"/>
            <a:ext cx="528203" cy="5714350"/>
            <a:chOff x="4188994" y="557738"/>
            <a:chExt cx="528203" cy="5714350"/>
          </a:xfrm>
        </p:grpSpPr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2A17356A-021C-57FF-8859-FB1781AC2E48}"/>
                </a:ext>
              </a:extLst>
            </p:cNvPr>
            <p:cNvSpPr/>
            <p:nvPr/>
          </p:nvSpPr>
          <p:spPr>
            <a:xfrm>
              <a:off x="4365135" y="557738"/>
              <a:ext cx="0" cy="5697416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697415"/>
                <a:gd name="f5" fmla="val 5697175"/>
                <a:gd name="f6" fmla="abs f0"/>
                <a:gd name="f7" fmla="abs f1"/>
                <a:gd name="f8" fmla="abs f2"/>
                <a:gd name="f9" fmla="*/ f1 1 5697415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697415"/>
                <a:gd name="f17" fmla="*/ f12 1 21600"/>
                <a:gd name="f18" fmla="*/ f13 1 5697415"/>
                <a:gd name="f19" fmla="*/ 21600 f12 1"/>
                <a:gd name="f20" fmla="*/ 0 1 f15"/>
                <a:gd name="f21" fmla="*/ 1 1 f15"/>
                <a:gd name="f22" fmla="*/ 0 1 f16"/>
                <a:gd name="f23" fmla="*/ 5697415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697415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" name="object 14">
              <a:extLst>
                <a:ext uri="{FF2B5EF4-FFF2-40B4-BE49-F238E27FC236}">
                  <a16:creationId xmlns:a16="http://schemas.microsoft.com/office/drawing/2014/main" id="{2E0F37CF-FD3B-3D2E-2813-3E8A5E1901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90512" y="2103248"/>
              <a:ext cx="349940" cy="34445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7DCDBD26-BE1F-E65D-6F7A-22A6E03E8CFC}"/>
                </a:ext>
              </a:extLst>
            </p:cNvPr>
            <p:cNvSpPr/>
            <p:nvPr/>
          </p:nvSpPr>
          <p:spPr>
            <a:xfrm>
              <a:off x="4190512" y="210266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CC3C74CF-146D-1EE5-9BAD-9E688E8F2AA4}"/>
                </a:ext>
              </a:extLst>
            </p:cNvPr>
            <p:cNvSpPr/>
            <p:nvPr/>
          </p:nvSpPr>
          <p:spPr>
            <a:xfrm>
              <a:off x="4470062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62BE0514-8437-D399-82D9-DEFA2875A084}"/>
                </a:ext>
              </a:extLst>
            </p:cNvPr>
            <p:cNvSpPr/>
            <p:nvPr/>
          </p:nvSpPr>
          <p:spPr>
            <a:xfrm>
              <a:off x="4505084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B747A128-4B67-0E1F-08D1-F4C1C5671BB5}"/>
                </a:ext>
              </a:extLst>
            </p:cNvPr>
            <p:cNvSpPr/>
            <p:nvPr/>
          </p:nvSpPr>
          <p:spPr>
            <a:xfrm>
              <a:off x="4400019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A35749E5-003C-2F62-BBDC-C1F5255C6A1C}"/>
                </a:ext>
              </a:extLst>
            </p:cNvPr>
            <p:cNvSpPr/>
            <p:nvPr/>
          </p:nvSpPr>
          <p:spPr>
            <a:xfrm>
              <a:off x="4294955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D1FB69EF-0BBD-B349-3A63-595DD837E78E}"/>
                </a:ext>
              </a:extLst>
            </p:cNvPr>
            <p:cNvSpPr/>
            <p:nvPr/>
          </p:nvSpPr>
          <p:spPr>
            <a:xfrm>
              <a:off x="4330049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" name="object 21">
              <a:extLst>
                <a:ext uri="{FF2B5EF4-FFF2-40B4-BE49-F238E27FC236}">
                  <a16:creationId xmlns:a16="http://schemas.microsoft.com/office/drawing/2014/main" id="{A7264F8D-4856-F5B8-3D04-1B2AC42B7AFD}"/>
                </a:ext>
              </a:extLst>
            </p:cNvPr>
            <p:cNvSpPr/>
            <p:nvPr/>
          </p:nvSpPr>
          <p:spPr>
            <a:xfrm>
              <a:off x="4224912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FAB0301D-0197-05ED-B70C-2F4BB9BFD478}"/>
                </a:ext>
              </a:extLst>
            </p:cNvPr>
            <p:cNvSpPr/>
            <p:nvPr/>
          </p:nvSpPr>
          <p:spPr>
            <a:xfrm>
              <a:off x="4435041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4F4E5D6B-53D3-1561-E2B9-E99924DB0559}"/>
                </a:ext>
              </a:extLst>
            </p:cNvPr>
            <p:cNvSpPr/>
            <p:nvPr/>
          </p:nvSpPr>
          <p:spPr>
            <a:xfrm>
              <a:off x="4259933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" name="object 24">
              <a:extLst>
                <a:ext uri="{FF2B5EF4-FFF2-40B4-BE49-F238E27FC236}">
                  <a16:creationId xmlns:a16="http://schemas.microsoft.com/office/drawing/2014/main" id="{48306081-3EA3-225A-9CA0-3E8427B8CE76}"/>
                </a:ext>
              </a:extLst>
            </p:cNvPr>
            <p:cNvSpPr/>
            <p:nvPr/>
          </p:nvSpPr>
          <p:spPr>
            <a:xfrm>
              <a:off x="454010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67FDD6C9-7D27-5E10-1084-8C2E2A7A07F4}"/>
                </a:ext>
              </a:extLst>
            </p:cNvPr>
            <p:cNvSpPr/>
            <p:nvPr/>
          </p:nvSpPr>
          <p:spPr>
            <a:xfrm>
              <a:off x="436513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" name="object 26">
              <a:extLst>
                <a:ext uri="{FF2B5EF4-FFF2-40B4-BE49-F238E27FC236}">
                  <a16:creationId xmlns:a16="http://schemas.microsoft.com/office/drawing/2014/main" id="{114DFCC7-B068-24A7-667D-46652676848E}"/>
                </a:ext>
              </a:extLst>
            </p:cNvPr>
            <p:cNvSpPr/>
            <p:nvPr/>
          </p:nvSpPr>
          <p:spPr>
            <a:xfrm>
              <a:off x="4190164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C8233468-CF7A-C11B-B49E-A9DFE763013D}"/>
                </a:ext>
              </a:extLst>
            </p:cNvPr>
            <p:cNvSpPr/>
            <p:nvPr/>
          </p:nvSpPr>
          <p:spPr>
            <a:xfrm>
              <a:off x="436513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" name="object 28">
              <a:extLst>
                <a:ext uri="{FF2B5EF4-FFF2-40B4-BE49-F238E27FC236}">
                  <a16:creationId xmlns:a16="http://schemas.microsoft.com/office/drawing/2014/main" id="{9F615A41-0C6E-4FB2-249E-1B2039A0611B}"/>
                </a:ext>
              </a:extLst>
            </p:cNvPr>
            <p:cNvSpPr/>
            <p:nvPr/>
          </p:nvSpPr>
          <p:spPr>
            <a:xfrm>
              <a:off x="4190164" y="493233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50E39881-1C86-546F-C01F-9EA77261794E}"/>
                </a:ext>
              </a:extLst>
            </p:cNvPr>
            <p:cNvSpPr/>
            <p:nvPr/>
          </p:nvSpPr>
          <p:spPr>
            <a:xfrm>
              <a:off x="4645033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" name="object 30">
              <a:extLst>
                <a:ext uri="{FF2B5EF4-FFF2-40B4-BE49-F238E27FC236}">
                  <a16:creationId xmlns:a16="http://schemas.microsoft.com/office/drawing/2014/main" id="{F4837683-EA0D-45A3-08F0-D1A81DB8F7A4}"/>
                </a:ext>
              </a:extLst>
            </p:cNvPr>
            <p:cNvSpPr/>
            <p:nvPr/>
          </p:nvSpPr>
          <p:spPr>
            <a:xfrm>
              <a:off x="4680063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" name="object 31">
              <a:extLst>
                <a:ext uri="{FF2B5EF4-FFF2-40B4-BE49-F238E27FC236}">
                  <a16:creationId xmlns:a16="http://schemas.microsoft.com/office/drawing/2014/main" id="{2342E6C9-4173-5196-F0AA-11E66C461726}"/>
                </a:ext>
              </a:extLst>
            </p:cNvPr>
            <p:cNvSpPr/>
            <p:nvPr/>
          </p:nvSpPr>
          <p:spPr>
            <a:xfrm>
              <a:off x="4574990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" name="object 32">
              <a:extLst>
                <a:ext uri="{FF2B5EF4-FFF2-40B4-BE49-F238E27FC236}">
                  <a16:creationId xmlns:a16="http://schemas.microsoft.com/office/drawing/2014/main" id="{2E14FCA6-AB80-8CE6-9D2C-D7EE70288B11}"/>
                </a:ext>
              </a:extLst>
            </p:cNvPr>
            <p:cNvSpPr/>
            <p:nvPr/>
          </p:nvSpPr>
          <p:spPr>
            <a:xfrm>
              <a:off x="4610011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8C99D947-927F-6BBC-EA8D-5982C5A787EB}"/>
                </a:ext>
              </a:extLst>
            </p:cNvPr>
            <p:cNvSpPr/>
            <p:nvPr/>
          </p:nvSpPr>
          <p:spPr>
            <a:xfrm>
              <a:off x="471508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" name="object 34">
              <a:extLst>
                <a:ext uri="{FF2B5EF4-FFF2-40B4-BE49-F238E27FC236}">
                  <a16:creationId xmlns:a16="http://schemas.microsoft.com/office/drawing/2014/main" id="{0728D175-DCFE-CC45-F8C1-71CCBF8F880B}"/>
                </a:ext>
              </a:extLst>
            </p:cNvPr>
            <p:cNvSpPr/>
            <p:nvPr/>
          </p:nvSpPr>
          <p:spPr>
            <a:xfrm>
              <a:off x="4540105" y="4932337"/>
              <a:ext cx="17520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75204"/>
                <a:gd name="f5" fmla="val 87490"/>
                <a:gd name="f6" fmla="val 174974"/>
                <a:gd name="f7" fmla="abs f0"/>
                <a:gd name="f8" fmla="abs f1"/>
                <a:gd name="f9" fmla="abs f2"/>
                <a:gd name="f10" fmla="*/ f0 1 17520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175204"/>
                <a:gd name="f17" fmla="*/ f11 1 0"/>
                <a:gd name="f18" fmla="*/ f13 1 175204"/>
                <a:gd name="f19" fmla="*/ f14 1 21600"/>
                <a:gd name="f20" fmla="*/ 21600 f14 1"/>
                <a:gd name="f21" fmla="*/ 0 1 f16"/>
                <a:gd name="f22" fmla="*/ 17520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17520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A11456B6-0178-36B4-48FB-451C9AD830DA}"/>
                </a:ext>
              </a:extLst>
            </p:cNvPr>
            <p:cNvSpPr/>
            <p:nvPr/>
          </p:nvSpPr>
          <p:spPr>
            <a:xfrm>
              <a:off x="4189991" y="1084780"/>
              <a:ext cx="500972" cy="38725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826134"/>
                <a:gd name="f4" fmla="val 6386195"/>
                <a:gd name="f5" fmla="val 357466"/>
                <a:gd name="f6" fmla="val 84112"/>
                <a:gd name="f7" fmla="val 825690"/>
                <a:gd name="f8" fmla="val 6301448"/>
                <a:gd name="f9" fmla="val 469"/>
                <a:gd name="f10" fmla="val 6385585"/>
                <a:gd name="f11" fmla="*/ f0 1 826134"/>
                <a:gd name="f12" fmla="*/ f1 1 6386195"/>
                <a:gd name="f13" fmla="+- f4 0 f2"/>
                <a:gd name="f14" fmla="+- f3 0 f2"/>
                <a:gd name="f15" fmla="*/ f14 1 826134"/>
                <a:gd name="f16" fmla="*/ f13 1 6386195"/>
                <a:gd name="f17" fmla="*/ f2 1 f15"/>
                <a:gd name="f18" fmla="*/ f3 1 f15"/>
                <a:gd name="f19" fmla="*/ f2 1 f16"/>
                <a:gd name="f20" fmla="*/ f4 1 f16"/>
                <a:gd name="f21" fmla="*/ f17 f11 1"/>
                <a:gd name="f22" fmla="*/ f18 f11 1"/>
                <a:gd name="f23" fmla="*/ f20 f12 1"/>
                <a:gd name="f24" fmla="*/ f1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1" t="f24" r="f22" b="f23"/>
              <a:pathLst>
                <a:path w="826134" h="638619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  <a:path w="826134" h="6386195">
                  <a:moveTo>
                    <a:pt x="f7" y="f8"/>
                  </a:moveTo>
                  <a:lnTo>
                    <a:pt x="f9" y="f8"/>
                  </a:lnTo>
                  <a:lnTo>
                    <a:pt x="f9" y="f10"/>
                  </a:lnTo>
                  <a:lnTo>
                    <a:pt x="f7" y="f10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" name="object 36">
              <a:extLst>
                <a:ext uri="{FF2B5EF4-FFF2-40B4-BE49-F238E27FC236}">
                  <a16:creationId xmlns:a16="http://schemas.microsoft.com/office/drawing/2014/main" id="{F87A078A-61A4-E006-802D-34441A99F7E4}"/>
                </a:ext>
              </a:extLst>
            </p:cNvPr>
            <p:cNvSpPr/>
            <p:nvPr/>
          </p:nvSpPr>
          <p:spPr>
            <a:xfrm>
              <a:off x="4469907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C90C46C6-FCD3-7466-9933-52EA098C14C5}"/>
                </a:ext>
              </a:extLst>
            </p:cNvPr>
            <p:cNvSpPr/>
            <p:nvPr/>
          </p:nvSpPr>
          <p:spPr>
            <a:xfrm>
              <a:off x="4504928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" name="object 38">
              <a:extLst>
                <a:ext uri="{FF2B5EF4-FFF2-40B4-BE49-F238E27FC236}">
                  <a16:creationId xmlns:a16="http://schemas.microsoft.com/office/drawing/2014/main" id="{13BF6630-65C4-BB16-4D72-B4E6FED6D201}"/>
                </a:ext>
              </a:extLst>
            </p:cNvPr>
            <p:cNvSpPr/>
            <p:nvPr/>
          </p:nvSpPr>
          <p:spPr>
            <a:xfrm>
              <a:off x="4399864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" name="object 39">
              <a:extLst>
                <a:ext uri="{FF2B5EF4-FFF2-40B4-BE49-F238E27FC236}">
                  <a16:creationId xmlns:a16="http://schemas.microsoft.com/office/drawing/2014/main" id="{4C56A7B2-0366-098E-A3B1-1AD629E864C6}"/>
                </a:ext>
              </a:extLst>
            </p:cNvPr>
            <p:cNvSpPr/>
            <p:nvPr/>
          </p:nvSpPr>
          <p:spPr>
            <a:xfrm>
              <a:off x="4294790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691DC6C4-E631-E9B8-C0E9-879F2E24F3E6}"/>
                </a:ext>
              </a:extLst>
            </p:cNvPr>
            <p:cNvSpPr/>
            <p:nvPr/>
          </p:nvSpPr>
          <p:spPr>
            <a:xfrm>
              <a:off x="4329885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" name="object 41">
              <a:extLst>
                <a:ext uri="{FF2B5EF4-FFF2-40B4-BE49-F238E27FC236}">
                  <a16:creationId xmlns:a16="http://schemas.microsoft.com/office/drawing/2014/main" id="{348B2894-92DB-4E87-12D0-1CCC97866F38}"/>
                </a:ext>
              </a:extLst>
            </p:cNvPr>
            <p:cNvSpPr/>
            <p:nvPr/>
          </p:nvSpPr>
          <p:spPr>
            <a:xfrm>
              <a:off x="4224747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" name="object 42">
              <a:extLst>
                <a:ext uri="{FF2B5EF4-FFF2-40B4-BE49-F238E27FC236}">
                  <a16:creationId xmlns:a16="http://schemas.microsoft.com/office/drawing/2014/main" id="{B1D75D86-31CF-BB82-8B49-03DA947CC273}"/>
                </a:ext>
              </a:extLst>
            </p:cNvPr>
            <p:cNvSpPr/>
            <p:nvPr/>
          </p:nvSpPr>
          <p:spPr>
            <a:xfrm>
              <a:off x="4434885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" name="object 43">
              <a:extLst>
                <a:ext uri="{FF2B5EF4-FFF2-40B4-BE49-F238E27FC236}">
                  <a16:creationId xmlns:a16="http://schemas.microsoft.com/office/drawing/2014/main" id="{4F6C5556-4138-D4AE-603F-898A2C3A66B7}"/>
                </a:ext>
              </a:extLst>
            </p:cNvPr>
            <p:cNvSpPr/>
            <p:nvPr/>
          </p:nvSpPr>
          <p:spPr>
            <a:xfrm>
              <a:off x="4259768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" name="object 44">
              <a:extLst>
                <a:ext uri="{FF2B5EF4-FFF2-40B4-BE49-F238E27FC236}">
                  <a16:creationId xmlns:a16="http://schemas.microsoft.com/office/drawing/2014/main" id="{914E6ED8-FEE8-8747-D40F-115DDBC16B6B}"/>
                </a:ext>
              </a:extLst>
            </p:cNvPr>
            <p:cNvSpPr/>
            <p:nvPr/>
          </p:nvSpPr>
          <p:spPr>
            <a:xfrm>
              <a:off x="4539950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" name="object 45">
              <a:extLst>
                <a:ext uri="{FF2B5EF4-FFF2-40B4-BE49-F238E27FC236}">
                  <a16:creationId xmlns:a16="http://schemas.microsoft.com/office/drawing/2014/main" id="{98883389-A712-1A99-0C7B-331E775EAE7C}"/>
                </a:ext>
              </a:extLst>
            </p:cNvPr>
            <p:cNvSpPr/>
            <p:nvPr/>
          </p:nvSpPr>
          <p:spPr>
            <a:xfrm>
              <a:off x="4364979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" name="object 46">
              <a:extLst>
                <a:ext uri="{FF2B5EF4-FFF2-40B4-BE49-F238E27FC236}">
                  <a16:creationId xmlns:a16="http://schemas.microsoft.com/office/drawing/2014/main" id="{A8472B8E-0156-84D9-1A98-0B83D0278C8F}"/>
                </a:ext>
              </a:extLst>
            </p:cNvPr>
            <p:cNvSpPr/>
            <p:nvPr/>
          </p:nvSpPr>
          <p:spPr>
            <a:xfrm>
              <a:off x="4190000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" name="object 47">
              <a:extLst>
                <a:ext uri="{FF2B5EF4-FFF2-40B4-BE49-F238E27FC236}">
                  <a16:creationId xmlns:a16="http://schemas.microsoft.com/office/drawing/2014/main" id="{33D5CF4A-8679-7343-4646-3473EFEC84E7}"/>
                </a:ext>
              </a:extLst>
            </p:cNvPr>
            <p:cNvSpPr/>
            <p:nvPr/>
          </p:nvSpPr>
          <p:spPr>
            <a:xfrm>
              <a:off x="4364979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" name="object 48">
              <a:extLst>
                <a:ext uri="{FF2B5EF4-FFF2-40B4-BE49-F238E27FC236}">
                  <a16:creationId xmlns:a16="http://schemas.microsoft.com/office/drawing/2014/main" id="{2474C18A-18D1-1BF1-593B-2EDF1B045397}"/>
                </a:ext>
              </a:extLst>
            </p:cNvPr>
            <p:cNvSpPr/>
            <p:nvPr/>
          </p:nvSpPr>
          <p:spPr>
            <a:xfrm>
              <a:off x="4190000" y="111029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" name="object 49">
              <a:extLst>
                <a:ext uri="{FF2B5EF4-FFF2-40B4-BE49-F238E27FC236}">
                  <a16:creationId xmlns:a16="http://schemas.microsoft.com/office/drawing/2014/main" id="{4AD86A4E-8D70-7E25-C19D-B4988AB27691}"/>
                </a:ext>
              </a:extLst>
            </p:cNvPr>
            <p:cNvSpPr/>
            <p:nvPr/>
          </p:nvSpPr>
          <p:spPr>
            <a:xfrm>
              <a:off x="4190475" y="1157804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5"/>
                <a:gd name="f5" fmla="val 576307"/>
                <a:gd name="f6" fmla="val 84112"/>
                <a:gd name="f7" fmla="*/ f0 1 576579"/>
                <a:gd name="f8" fmla="*/ f1 1 84455"/>
                <a:gd name="f9" fmla="+- f4 0 f2"/>
                <a:gd name="f10" fmla="+- f3 0 f2"/>
                <a:gd name="f11" fmla="*/ f10 1 57657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" name="object 50">
              <a:extLst>
                <a:ext uri="{FF2B5EF4-FFF2-40B4-BE49-F238E27FC236}">
                  <a16:creationId xmlns:a16="http://schemas.microsoft.com/office/drawing/2014/main" id="{0DB4F2BC-55B7-8099-C3C2-97805C83FC24}"/>
                </a:ext>
              </a:extLst>
            </p:cNvPr>
            <p:cNvSpPr/>
            <p:nvPr/>
          </p:nvSpPr>
          <p:spPr>
            <a:xfrm>
              <a:off x="446990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" name="object 51">
              <a:extLst>
                <a:ext uri="{FF2B5EF4-FFF2-40B4-BE49-F238E27FC236}">
                  <a16:creationId xmlns:a16="http://schemas.microsoft.com/office/drawing/2014/main" id="{2837E2A6-1CDC-B4B0-7A50-6EA53367C5C4}"/>
                </a:ext>
              </a:extLst>
            </p:cNvPr>
            <p:cNvSpPr/>
            <p:nvPr/>
          </p:nvSpPr>
          <p:spPr>
            <a:xfrm>
              <a:off x="45049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" name="object 52">
              <a:extLst>
                <a:ext uri="{FF2B5EF4-FFF2-40B4-BE49-F238E27FC236}">
                  <a16:creationId xmlns:a16="http://schemas.microsoft.com/office/drawing/2014/main" id="{E1F9B04D-B629-7928-E296-CC01945573F9}"/>
                </a:ext>
              </a:extLst>
            </p:cNvPr>
            <p:cNvSpPr/>
            <p:nvPr/>
          </p:nvSpPr>
          <p:spPr>
            <a:xfrm>
              <a:off x="439986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" name="object 53">
              <a:extLst>
                <a:ext uri="{FF2B5EF4-FFF2-40B4-BE49-F238E27FC236}">
                  <a16:creationId xmlns:a16="http://schemas.microsoft.com/office/drawing/2014/main" id="{417C780A-30EB-16BB-61EE-CCC61ACDE414}"/>
                </a:ext>
              </a:extLst>
            </p:cNvPr>
            <p:cNvSpPr/>
            <p:nvPr/>
          </p:nvSpPr>
          <p:spPr>
            <a:xfrm>
              <a:off x="429479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" name="object 54">
              <a:extLst>
                <a:ext uri="{FF2B5EF4-FFF2-40B4-BE49-F238E27FC236}">
                  <a16:creationId xmlns:a16="http://schemas.microsoft.com/office/drawing/2014/main" id="{619DD2B6-F39D-8DD2-3959-3B332365415A}"/>
                </a:ext>
              </a:extLst>
            </p:cNvPr>
            <p:cNvSpPr/>
            <p:nvPr/>
          </p:nvSpPr>
          <p:spPr>
            <a:xfrm>
              <a:off x="432988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" name="object 55">
              <a:extLst>
                <a:ext uri="{FF2B5EF4-FFF2-40B4-BE49-F238E27FC236}">
                  <a16:creationId xmlns:a16="http://schemas.microsoft.com/office/drawing/2014/main" id="{4B26C902-ECC5-5CCF-C33E-48AA3977BB09}"/>
                </a:ext>
              </a:extLst>
            </p:cNvPr>
            <p:cNvSpPr/>
            <p:nvPr/>
          </p:nvSpPr>
          <p:spPr>
            <a:xfrm>
              <a:off x="422474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" name="object 56">
              <a:extLst>
                <a:ext uri="{FF2B5EF4-FFF2-40B4-BE49-F238E27FC236}">
                  <a16:creationId xmlns:a16="http://schemas.microsoft.com/office/drawing/2014/main" id="{E0FF7B24-1F00-B09B-B062-73E2FA947473}"/>
                </a:ext>
              </a:extLst>
            </p:cNvPr>
            <p:cNvSpPr/>
            <p:nvPr/>
          </p:nvSpPr>
          <p:spPr>
            <a:xfrm>
              <a:off x="443488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" name="object 57">
              <a:extLst>
                <a:ext uri="{FF2B5EF4-FFF2-40B4-BE49-F238E27FC236}">
                  <a16:creationId xmlns:a16="http://schemas.microsoft.com/office/drawing/2014/main" id="{B0E08C4C-DEAC-4B4B-626E-041174372608}"/>
                </a:ext>
              </a:extLst>
            </p:cNvPr>
            <p:cNvSpPr/>
            <p:nvPr/>
          </p:nvSpPr>
          <p:spPr>
            <a:xfrm>
              <a:off x="425976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" name="object 58">
              <a:extLst>
                <a:ext uri="{FF2B5EF4-FFF2-40B4-BE49-F238E27FC236}">
                  <a16:creationId xmlns:a16="http://schemas.microsoft.com/office/drawing/2014/main" id="{328654D0-E0D4-02B8-3DB1-EAB42B9CF775}"/>
                </a:ext>
              </a:extLst>
            </p:cNvPr>
            <p:cNvSpPr/>
            <p:nvPr/>
          </p:nvSpPr>
          <p:spPr>
            <a:xfrm>
              <a:off x="4539950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" name="object 59">
              <a:extLst>
                <a:ext uri="{FF2B5EF4-FFF2-40B4-BE49-F238E27FC236}">
                  <a16:creationId xmlns:a16="http://schemas.microsoft.com/office/drawing/2014/main" id="{35FA094E-8203-00F5-EF3A-90EE99EDBA7F}"/>
                </a:ext>
              </a:extLst>
            </p:cNvPr>
            <p:cNvSpPr/>
            <p:nvPr/>
          </p:nvSpPr>
          <p:spPr>
            <a:xfrm>
              <a:off x="436497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" name="object 60">
              <a:extLst>
                <a:ext uri="{FF2B5EF4-FFF2-40B4-BE49-F238E27FC236}">
                  <a16:creationId xmlns:a16="http://schemas.microsoft.com/office/drawing/2014/main" id="{72702E09-C86E-DBFE-7BB6-A16C55469002}"/>
                </a:ext>
              </a:extLst>
            </p:cNvPr>
            <p:cNvSpPr/>
            <p:nvPr/>
          </p:nvSpPr>
          <p:spPr>
            <a:xfrm>
              <a:off x="4190000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" name="object 61">
              <a:extLst>
                <a:ext uri="{FF2B5EF4-FFF2-40B4-BE49-F238E27FC236}">
                  <a16:creationId xmlns:a16="http://schemas.microsoft.com/office/drawing/2014/main" id="{243BD580-A826-D216-D09D-854BAA383E08}"/>
                </a:ext>
              </a:extLst>
            </p:cNvPr>
            <p:cNvSpPr/>
            <p:nvPr/>
          </p:nvSpPr>
          <p:spPr>
            <a:xfrm>
              <a:off x="436497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" name="object 62">
              <a:extLst>
                <a:ext uri="{FF2B5EF4-FFF2-40B4-BE49-F238E27FC236}">
                  <a16:creationId xmlns:a16="http://schemas.microsoft.com/office/drawing/2014/main" id="{A0B06CD5-C397-FADD-C9F9-7E38686D0BB8}"/>
                </a:ext>
              </a:extLst>
            </p:cNvPr>
            <p:cNvSpPr/>
            <p:nvPr/>
          </p:nvSpPr>
          <p:spPr>
            <a:xfrm>
              <a:off x="4190000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" name="object 63">
              <a:extLst>
                <a:ext uri="{FF2B5EF4-FFF2-40B4-BE49-F238E27FC236}">
                  <a16:creationId xmlns:a16="http://schemas.microsoft.com/office/drawing/2014/main" id="{98FB1B46-9750-AFD6-528D-CE50B44D3E97}"/>
                </a:ext>
              </a:extLst>
            </p:cNvPr>
            <p:cNvSpPr/>
            <p:nvPr/>
          </p:nvSpPr>
          <p:spPr>
            <a:xfrm>
              <a:off x="4190000" y="1847792"/>
              <a:ext cx="25876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6720"/>
                <a:gd name="f4" fmla="val 84455"/>
                <a:gd name="f5" fmla="val 426395"/>
                <a:gd name="f6" fmla="val 84123"/>
                <a:gd name="f7" fmla="*/ f0 1 426720"/>
                <a:gd name="f8" fmla="*/ f1 1 84455"/>
                <a:gd name="f9" fmla="+- f4 0 f2"/>
                <a:gd name="f10" fmla="+- f3 0 f2"/>
                <a:gd name="f11" fmla="*/ f10 1 42672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672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" name="object 64">
              <a:extLst>
                <a:ext uri="{FF2B5EF4-FFF2-40B4-BE49-F238E27FC236}">
                  <a16:creationId xmlns:a16="http://schemas.microsoft.com/office/drawing/2014/main" id="{60E0803C-3393-B12C-37CC-F1D93D29A677}"/>
                </a:ext>
              </a:extLst>
            </p:cNvPr>
            <p:cNvSpPr/>
            <p:nvPr/>
          </p:nvSpPr>
          <p:spPr>
            <a:xfrm>
              <a:off x="4469907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" name="object 65">
              <a:extLst>
                <a:ext uri="{FF2B5EF4-FFF2-40B4-BE49-F238E27FC236}">
                  <a16:creationId xmlns:a16="http://schemas.microsoft.com/office/drawing/2014/main" id="{7684AF18-2297-14BC-6C7A-9CA9B4CB6939}"/>
                </a:ext>
              </a:extLst>
            </p:cNvPr>
            <p:cNvSpPr/>
            <p:nvPr/>
          </p:nvSpPr>
          <p:spPr>
            <a:xfrm>
              <a:off x="4504928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" name="object 66">
              <a:extLst>
                <a:ext uri="{FF2B5EF4-FFF2-40B4-BE49-F238E27FC236}">
                  <a16:creationId xmlns:a16="http://schemas.microsoft.com/office/drawing/2014/main" id="{05DF70AB-988E-F8DD-E163-541DFB1F803B}"/>
                </a:ext>
              </a:extLst>
            </p:cNvPr>
            <p:cNvSpPr/>
            <p:nvPr/>
          </p:nvSpPr>
          <p:spPr>
            <a:xfrm>
              <a:off x="4399864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" name="object 67">
              <a:extLst>
                <a:ext uri="{FF2B5EF4-FFF2-40B4-BE49-F238E27FC236}">
                  <a16:creationId xmlns:a16="http://schemas.microsoft.com/office/drawing/2014/main" id="{E7B8E38A-06F8-4915-69A4-0E61BAFA892B}"/>
                </a:ext>
              </a:extLst>
            </p:cNvPr>
            <p:cNvSpPr/>
            <p:nvPr/>
          </p:nvSpPr>
          <p:spPr>
            <a:xfrm>
              <a:off x="4294790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" name="object 68">
              <a:extLst>
                <a:ext uri="{FF2B5EF4-FFF2-40B4-BE49-F238E27FC236}">
                  <a16:creationId xmlns:a16="http://schemas.microsoft.com/office/drawing/2014/main" id="{F1CA3226-E23A-2B5B-EC88-EC1FA0F6969A}"/>
                </a:ext>
              </a:extLst>
            </p:cNvPr>
            <p:cNvSpPr/>
            <p:nvPr/>
          </p:nvSpPr>
          <p:spPr>
            <a:xfrm>
              <a:off x="4329885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" name="object 69">
              <a:extLst>
                <a:ext uri="{FF2B5EF4-FFF2-40B4-BE49-F238E27FC236}">
                  <a16:creationId xmlns:a16="http://schemas.microsoft.com/office/drawing/2014/main" id="{E0B41F3B-5DF3-C85C-54A0-32AEF3653236}"/>
                </a:ext>
              </a:extLst>
            </p:cNvPr>
            <p:cNvSpPr/>
            <p:nvPr/>
          </p:nvSpPr>
          <p:spPr>
            <a:xfrm>
              <a:off x="4224747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" name="object 70">
              <a:extLst>
                <a:ext uri="{FF2B5EF4-FFF2-40B4-BE49-F238E27FC236}">
                  <a16:creationId xmlns:a16="http://schemas.microsoft.com/office/drawing/2014/main" id="{7586D2F9-B32C-0DDA-F56C-B519D64CB732}"/>
                </a:ext>
              </a:extLst>
            </p:cNvPr>
            <p:cNvSpPr/>
            <p:nvPr/>
          </p:nvSpPr>
          <p:spPr>
            <a:xfrm>
              <a:off x="4434885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" name="object 71">
              <a:extLst>
                <a:ext uri="{FF2B5EF4-FFF2-40B4-BE49-F238E27FC236}">
                  <a16:creationId xmlns:a16="http://schemas.microsoft.com/office/drawing/2014/main" id="{781C610B-AC30-EF14-3591-F136FACB376E}"/>
                </a:ext>
              </a:extLst>
            </p:cNvPr>
            <p:cNvSpPr/>
            <p:nvPr/>
          </p:nvSpPr>
          <p:spPr>
            <a:xfrm>
              <a:off x="4259768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" name="object 72">
              <a:extLst>
                <a:ext uri="{FF2B5EF4-FFF2-40B4-BE49-F238E27FC236}">
                  <a16:creationId xmlns:a16="http://schemas.microsoft.com/office/drawing/2014/main" id="{77600269-FEBF-762E-9E34-C6AC1A5ED3DF}"/>
                </a:ext>
              </a:extLst>
            </p:cNvPr>
            <p:cNvSpPr/>
            <p:nvPr/>
          </p:nvSpPr>
          <p:spPr>
            <a:xfrm>
              <a:off x="4539950" y="184778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" name="object 73">
              <a:extLst>
                <a:ext uri="{FF2B5EF4-FFF2-40B4-BE49-F238E27FC236}">
                  <a16:creationId xmlns:a16="http://schemas.microsoft.com/office/drawing/2014/main" id="{8B151790-6213-A03D-3B83-106586EFCA26}"/>
                </a:ext>
              </a:extLst>
            </p:cNvPr>
            <p:cNvSpPr/>
            <p:nvPr/>
          </p:nvSpPr>
          <p:spPr>
            <a:xfrm>
              <a:off x="4364979" y="184778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" name="object 74">
              <a:extLst>
                <a:ext uri="{FF2B5EF4-FFF2-40B4-BE49-F238E27FC236}">
                  <a16:creationId xmlns:a16="http://schemas.microsoft.com/office/drawing/2014/main" id="{D6C49256-BB84-65AC-48D2-36AC0958C25A}"/>
                </a:ext>
              </a:extLst>
            </p:cNvPr>
            <p:cNvSpPr/>
            <p:nvPr/>
          </p:nvSpPr>
          <p:spPr>
            <a:xfrm>
              <a:off x="4190000" y="184778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" name="object 75">
              <a:extLst>
                <a:ext uri="{FF2B5EF4-FFF2-40B4-BE49-F238E27FC236}">
                  <a16:creationId xmlns:a16="http://schemas.microsoft.com/office/drawing/2014/main" id="{987D387C-E54C-1FD2-5A3E-FDD8D84369F4}"/>
                </a:ext>
              </a:extLst>
            </p:cNvPr>
            <p:cNvSpPr/>
            <p:nvPr/>
          </p:nvSpPr>
          <p:spPr>
            <a:xfrm>
              <a:off x="4364979" y="184778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" name="object 76">
              <a:extLst>
                <a:ext uri="{FF2B5EF4-FFF2-40B4-BE49-F238E27FC236}">
                  <a16:creationId xmlns:a16="http://schemas.microsoft.com/office/drawing/2014/main" id="{55EFA7DC-676A-A4F8-5A66-678036061BFA}"/>
                </a:ext>
              </a:extLst>
            </p:cNvPr>
            <p:cNvSpPr/>
            <p:nvPr/>
          </p:nvSpPr>
          <p:spPr>
            <a:xfrm>
              <a:off x="4190000" y="187329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" name="object 77">
              <a:extLst>
                <a:ext uri="{FF2B5EF4-FFF2-40B4-BE49-F238E27FC236}">
                  <a16:creationId xmlns:a16="http://schemas.microsoft.com/office/drawing/2014/main" id="{E0E4F391-2FD4-A465-0B41-EC2DE4C22A71}"/>
                </a:ext>
              </a:extLst>
            </p:cNvPr>
            <p:cNvSpPr/>
            <p:nvPr/>
          </p:nvSpPr>
          <p:spPr>
            <a:xfrm>
              <a:off x="4190475" y="1920816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4"/>
                <a:gd name="f5" fmla="val 576307"/>
                <a:gd name="f6" fmla="val 84112"/>
                <a:gd name="f7" fmla="*/ f0 1 576579"/>
                <a:gd name="f8" fmla="*/ f1 1 84454"/>
                <a:gd name="f9" fmla="+- f4 0 f2"/>
                <a:gd name="f10" fmla="+- f3 0 f2"/>
                <a:gd name="f11" fmla="*/ f10 1 576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" name="object 78">
              <a:extLst>
                <a:ext uri="{FF2B5EF4-FFF2-40B4-BE49-F238E27FC236}">
                  <a16:creationId xmlns:a16="http://schemas.microsoft.com/office/drawing/2014/main" id="{93F41D5D-9C9C-0A9D-1B84-9C199DACC123}"/>
                </a:ext>
              </a:extLst>
            </p:cNvPr>
            <p:cNvSpPr/>
            <p:nvPr/>
          </p:nvSpPr>
          <p:spPr>
            <a:xfrm>
              <a:off x="4469907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" name="object 79">
              <a:extLst>
                <a:ext uri="{FF2B5EF4-FFF2-40B4-BE49-F238E27FC236}">
                  <a16:creationId xmlns:a16="http://schemas.microsoft.com/office/drawing/2014/main" id="{CDCD94FD-414A-0BB7-8185-9C2B15CFD1BB}"/>
                </a:ext>
              </a:extLst>
            </p:cNvPr>
            <p:cNvSpPr/>
            <p:nvPr/>
          </p:nvSpPr>
          <p:spPr>
            <a:xfrm>
              <a:off x="4504928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" name="object 80">
              <a:extLst>
                <a:ext uri="{FF2B5EF4-FFF2-40B4-BE49-F238E27FC236}">
                  <a16:creationId xmlns:a16="http://schemas.microsoft.com/office/drawing/2014/main" id="{1AFCF590-3EF3-DDAA-600D-9EB253BD5474}"/>
                </a:ext>
              </a:extLst>
            </p:cNvPr>
            <p:cNvSpPr/>
            <p:nvPr/>
          </p:nvSpPr>
          <p:spPr>
            <a:xfrm>
              <a:off x="4399864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" name="object 81">
              <a:extLst>
                <a:ext uri="{FF2B5EF4-FFF2-40B4-BE49-F238E27FC236}">
                  <a16:creationId xmlns:a16="http://schemas.microsoft.com/office/drawing/2014/main" id="{7A1D2A8F-E756-7797-5E6A-5A9A83C9D016}"/>
                </a:ext>
              </a:extLst>
            </p:cNvPr>
            <p:cNvSpPr/>
            <p:nvPr/>
          </p:nvSpPr>
          <p:spPr>
            <a:xfrm>
              <a:off x="4294790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" name="object 82">
              <a:extLst>
                <a:ext uri="{FF2B5EF4-FFF2-40B4-BE49-F238E27FC236}">
                  <a16:creationId xmlns:a16="http://schemas.microsoft.com/office/drawing/2014/main" id="{606B4FAA-AFB8-2024-3F5F-39324483DFD9}"/>
                </a:ext>
              </a:extLst>
            </p:cNvPr>
            <p:cNvSpPr/>
            <p:nvPr/>
          </p:nvSpPr>
          <p:spPr>
            <a:xfrm>
              <a:off x="4329885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" name="object 83">
              <a:extLst>
                <a:ext uri="{FF2B5EF4-FFF2-40B4-BE49-F238E27FC236}">
                  <a16:creationId xmlns:a16="http://schemas.microsoft.com/office/drawing/2014/main" id="{F3AFF16A-35EC-0346-AC90-F3F72D0250C0}"/>
                </a:ext>
              </a:extLst>
            </p:cNvPr>
            <p:cNvSpPr/>
            <p:nvPr/>
          </p:nvSpPr>
          <p:spPr>
            <a:xfrm>
              <a:off x="4224747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" name="object 84">
              <a:extLst>
                <a:ext uri="{FF2B5EF4-FFF2-40B4-BE49-F238E27FC236}">
                  <a16:creationId xmlns:a16="http://schemas.microsoft.com/office/drawing/2014/main" id="{1A726837-E25E-F1E4-BFAA-087A29C31280}"/>
                </a:ext>
              </a:extLst>
            </p:cNvPr>
            <p:cNvSpPr/>
            <p:nvPr/>
          </p:nvSpPr>
          <p:spPr>
            <a:xfrm>
              <a:off x="4434885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" name="object 85">
              <a:extLst>
                <a:ext uri="{FF2B5EF4-FFF2-40B4-BE49-F238E27FC236}">
                  <a16:creationId xmlns:a16="http://schemas.microsoft.com/office/drawing/2014/main" id="{D20EAC5E-984C-E551-CB5C-718BDE5A0E64}"/>
                </a:ext>
              </a:extLst>
            </p:cNvPr>
            <p:cNvSpPr/>
            <p:nvPr/>
          </p:nvSpPr>
          <p:spPr>
            <a:xfrm>
              <a:off x="4259768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" name="object 86">
              <a:extLst>
                <a:ext uri="{FF2B5EF4-FFF2-40B4-BE49-F238E27FC236}">
                  <a16:creationId xmlns:a16="http://schemas.microsoft.com/office/drawing/2014/main" id="{F09C8914-8EC3-51B4-9780-34613A7D9B08}"/>
                </a:ext>
              </a:extLst>
            </p:cNvPr>
            <p:cNvSpPr/>
            <p:nvPr/>
          </p:nvSpPr>
          <p:spPr>
            <a:xfrm>
              <a:off x="4539950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" name="object 87">
              <a:extLst>
                <a:ext uri="{FF2B5EF4-FFF2-40B4-BE49-F238E27FC236}">
                  <a16:creationId xmlns:a16="http://schemas.microsoft.com/office/drawing/2014/main" id="{AA4213CC-153A-70A9-5B1E-5ACEC8033B99}"/>
                </a:ext>
              </a:extLst>
            </p:cNvPr>
            <p:cNvSpPr/>
            <p:nvPr/>
          </p:nvSpPr>
          <p:spPr>
            <a:xfrm>
              <a:off x="4364979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" name="object 88">
              <a:extLst>
                <a:ext uri="{FF2B5EF4-FFF2-40B4-BE49-F238E27FC236}">
                  <a16:creationId xmlns:a16="http://schemas.microsoft.com/office/drawing/2014/main" id="{565DDF95-24CD-463D-8A52-7F6EF772DD2B}"/>
                </a:ext>
              </a:extLst>
            </p:cNvPr>
            <p:cNvSpPr/>
            <p:nvPr/>
          </p:nvSpPr>
          <p:spPr>
            <a:xfrm>
              <a:off x="4190000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" name="object 89">
              <a:extLst>
                <a:ext uri="{FF2B5EF4-FFF2-40B4-BE49-F238E27FC236}">
                  <a16:creationId xmlns:a16="http://schemas.microsoft.com/office/drawing/2014/main" id="{1B2C4D11-983C-517D-6B02-F118FE6FB344}"/>
                </a:ext>
              </a:extLst>
            </p:cNvPr>
            <p:cNvSpPr/>
            <p:nvPr/>
          </p:nvSpPr>
          <p:spPr>
            <a:xfrm>
              <a:off x="4364979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" name="object 90">
              <a:extLst>
                <a:ext uri="{FF2B5EF4-FFF2-40B4-BE49-F238E27FC236}">
                  <a16:creationId xmlns:a16="http://schemas.microsoft.com/office/drawing/2014/main" id="{AFFF4A6F-94E2-624F-B548-2C58D7F5EDA2}"/>
                </a:ext>
              </a:extLst>
            </p:cNvPr>
            <p:cNvSpPr/>
            <p:nvPr/>
          </p:nvSpPr>
          <p:spPr>
            <a:xfrm>
              <a:off x="4190000" y="194631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" name="object 91">
              <a:extLst>
                <a:ext uri="{FF2B5EF4-FFF2-40B4-BE49-F238E27FC236}">
                  <a16:creationId xmlns:a16="http://schemas.microsoft.com/office/drawing/2014/main" id="{7E4137BA-40B0-9416-A9F4-BE1CAA705CC2}"/>
                </a:ext>
              </a:extLst>
            </p:cNvPr>
            <p:cNvSpPr/>
            <p:nvPr/>
          </p:nvSpPr>
          <p:spPr>
            <a:xfrm>
              <a:off x="4190000" y="4145770"/>
              <a:ext cx="26569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8150"/>
                <a:gd name="f4" fmla="val 84454"/>
                <a:gd name="f5" fmla="val 437724"/>
                <a:gd name="f6" fmla="val 84133"/>
                <a:gd name="f7" fmla="*/ f0 1 438150"/>
                <a:gd name="f8" fmla="*/ f1 1 84454"/>
                <a:gd name="f9" fmla="+- f4 0 f2"/>
                <a:gd name="f10" fmla="+- f3 0 f2"/>
                <a:gd name="f11" fmla="*/ f10 1 4381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81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" name="object 92">
              <a:extLst>
                <a:ext uri="{FF2B5EF4-FFF2-40B4-BE49-F238E27FC236}">
                  <a16:creationId xmlns:a16="http://schemas.microsoft.com/office/drawing/2014/main" id="{307BB2A9-5B71-D47B-703C-AA647D854D9E}"/>
                </a:ext>
              </a:extLst>
            </p:cNvPr>
            <p:cNvSpPr/>
            <p:nvPr/>
          </p:nvSpPr>
          <p:spPr>
            <a:xfrm>
              <a:off x="4469907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" name="object 93">
              <a:extLst>
                <a:ext uri="{FF2B5EF4-FFF2-40B4-BE49-F238E27FC236}">
                  <a16:creationId xmlns:a16="http://schemas.microsoft.com/office/drawing/2014/main" id="{667144D5-614A-E09F-4282-1FD47AE9BCFA}"/>
                </a:ext>
              </a:extLst>
            </p:cNvPr>
            <p:cNvSpPr/>
            <p:nvPr/>
          </p:nvSpPr>
          <p:spPr>
            <a:xfrm>
              <a:off x="4504928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" name="object 94">
              <a:extLst>
                <a:ext uri="{FF2B5EF4-FFF2-40B4-BE49-F238E27FC236}">
                  <a16:creationId xmlns:a16="http://schemas.microsoft.com/office/drawing/2014/main" id="{2889934F-36DA-28F2-E2BF-325F0A073E4D}"/>
                </a:ext>
              </a:extLst>
            </p:cNvPr>
            <p:cNvSpPr/>
            <p:nvPr/>
          </p:nvSpPr>
          <p:spPr>
            <a:xfrm>
              <a:off x="4399864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" name="object 95">
              <a:extLst>
                <a:ext uri="{FF2B5EF4-FFF2-40B4-BE49-F238E27FC236}">
                  <a16:creationId xmlns:a16="http://schemas.microsoft.com/office/drawing/2014/main" id="{BD5BC52E-946B-1DF9-E61F-45DF7D11026A}"/>
                </a:ext>
              </a:extLst>
            </p:cNvPr>
            <p:cNvSpPr/>
            <p:nvPr/>
          </p:nvSpPr>
          <p:spPr>
            <a:xfrm>
              <a:off x="4294790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" name="object 96">
              <a:extLst>
                <a:ext uri="{FF2B5EF4-FFF2-40B4-BE49-F238E27FC236}">
                  <a16:creationId xmlns:a16="http://schemas.microsoft.com/office/drawing/2014/main" id="{79F32CCA-A34F-20AA-E220-81A8D99A7457}"/>
                </a:ext>
              </a:extLst>
            </p:cNvPr>
            <p:cNvSpPr/>
            <p:nvPr/>
          </p:nvSpPr>
          <p:spPr>
            <a:xfrm>
              <a:off x="4329885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" name="object 97">
              <a:extLst>
                <a:ext uri="{FF2B5EF4-FFF2-40B4-BE49-F238E27FC236}">
                  <a16:creationId xmlns:a16="http://schemas.microsoft.com/office/drawing/2014/main" id="{696E5D1E-9CA6-615C-6E0D-E56DF1B9FB0E}"/>
                </a:ext>
              </a:extLst>
            </p:cNvPr>
            <p:cNvSpPr/>
            <p:nvPr/>
          </p:nvSpPr>
          <p:spPr>
            <a:xfrm>
              <a:off x="4224747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" name="object 98">
              <a:extLst>
                <a:ext uri="{FF2B5EF4-FFF2-40B4-BE49-F238E27FC236}">
                  <a16:creationId xmlns:a16="http://schemas.microsoft.com/office/drawing/2014/main" id="{C0AFAA0D-7AFA-F8C6-0EA4-C2EBFDAD9DA7}"/>
                </a:ext>
              </a:extLst>
            </p:cNvPr>
            <p:cNvSpPr/>
            <p:nvPr/>
          </p:nvSpPr>
          <p:spPr>
            <a:xfrm>
              <a:off x="4434885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" name="object 99">
              <a:extLst>
                <a:ext uri="{FF2B5EF4-FFF2-40B4-BE49-F238E27FC236}">
                  <a16:creationId xmlns:a16="http://schemas.microsoft.com/office/drawing/2014/main" id="{D3BE25AE-856E-227A-2956-069F43F3460F}"/>
                </a:ext>
              </a:extLst>
            </p:cNvPr>
            <p:cNvSpPr/>
            <p:nvPr/>
          </p:nvSpPr>
          <p:spPr>
            <a:xfrm>
              <a:off x="4259768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" name="object 100">
              <a:extLst>
                <a:ext uri="{FF2B5EF4-FFF2-40B4-BE49-F238E27FC236}">
                  <a16:creationId xmlns:a16="http://schemas.microsoft.com/office/drawing/2014/main" id="{B0C94552-C240-550E-4AB4-176E62C4ED04}"/>
                </a:ext>
              </a:extLst>
            </p:cNvPr>
            <p:cNvSpPr/>
            <p:nvPr/>
          </p:nvSpPr>
          <p:spPr>
            <a:xfrm>
              <a:off x="4539950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" name="object 101">
              <a:extLst>
                <a:ext uri="{FF2B5EF4-FFF2-40B4-BE49-F238E27FC236}">
                  <a16:creationId xmlns:a16="http://schemas.microsoft.com/office/drawing/2014/main" id="{D7A83890-ED62-98FB-3BC1-9A368A004D3B}"/>
                </a:ext>
              </a:extLst>
            </p:cNvPr>
            <p:cNvSpPr/>
            <p:nvPr/>
          </p:nvSpPr>
          <p:spPr>
            <a:xfrm>
              <a:off x="4364979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" name="object 102">
              <a:extLst>
                <a:ext uri="{FF2B5EF4-FFF2-40B4-BE49-F238E27FC236}">
                  <a16:creationId xmlns:a16="http://schemas.microsoft.com/office/drawing/2014/main" id="{EFB4AFA3-8F4D-007E-6F7D-F577E3E053DB}"/>
                </a:ext>
              </a:extLst>
            </p:cNvPr>
            <p:cNvSpPr/>
            <p:nvPr/>
          </p:nvSpPr>
          <p:spPr>
            <a:xfrm>
              <a:off x="4190000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" name="object 103">
              <a:extLst>
                <a:ext uri="{FF2B5EF4-FFF2-40B4-BE49-F238E27FC236}">
                  <a16:creationId xmlns:a16="http://schemas.microsoft.com/office/drawing/2014/main" id="{4781AE8D-4CB7-C1D1-42F2-85E116B50DB6}"/>
                </a:ext>
              </a:extLst>
            </p:cNvPr>
            <p:cNvSpPr/>
            <p:nvPr/>
          </p:nvSpPr>
          <p:spPr>
            <a:xfrm>
              <a:off x="4364979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" name="object 104">
              <a:extLst>
                <a:ext uri="{FF2B5EF4-FFF2-40B4-BE49-F238E27FC236}">
                  <a16:creationId xmlns:a16="http://schemas.microsoft.com/office/drawing/2014/main" id="{EE6A33A8-1AAA-28C7-310C-A757ACC3D8C2}"/>
                </a:ext>
              </a:extLst>
            </p:cNvPr>
            <p:cNvSpPr/>
            <p:nvPr/>
          </p:nvSpPr>
          <p:spPr>
            <a:xfrm>
              <a:off x="4190000" y="41712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" name="object 105">
              <a:extLst>
                <a:ext uri="{FF2B5EF4-FFF2-40B4-BE49-F238E27FC236}">
                  <a16:creationId xmlns:a16="http://schemas.microsoft.com/office/drawing/2014/main" id="{ED61F6BA-8345-0070-D82F-1D6E5F953074}"/>
                </a:ext>
              </a:extLst>
            </p:cNvPr>
            <p:cNvSpPr/>
            <p:nvPr/>
          </p:nvSpPr>
          <p:spPr>
            <a:xfrm>
              <a:off x="4469907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" name="object 106">
              <a:extLst>
                <a:ext uri="{FF2B5EF4-FFF2-40B4-BE49-F238E27FC236}">
                  <a16:creationId xmlns:a16="http://schemas.microsoft.com/office/drawing/2014/main" id="{49FE059E-FDF7-F377-01B2-338F67F32628}"/>
                </a:ext>
              </a:extLst>
            </p:cNvPr>
            <p:cNvSpPr/>
            <p:nvPr/>
          </p:nvSpPr>
          <p:spPr>
            <a:xfrm>
              <a:off x="4504928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" name="object 107">
              <a:extLst>
                <a:ext uri="{FF2B5EF4-FFF2-40B4-BE49-F238E27FC236}">
                  <a16:creationId xmlns:a16="http://schemas.microsoft.com/office/drawing/2014/main" id="{657DD023-0E00-A713-4511-A1CFA2A87811}"/>
                </a:ext>
              </a:extLst>
            </p:cNvPr>
            <p:cNvSpPr/>
            <p:nvPr/>
          </p:nvSpPr>
          <p:spPr>
            <a:xfrm>
              <a:off x="4399864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" name="object 108">
              <a:extLst>
                <a:ext uri="{FF2B5EF4-FFF2-40B4-BE49-F238E27FC236}">
                  <a16:creationId xmlns:a16="http://schemas.microsoft.com/office/drawing/2014/main" id="{D194985F-9BEE-BA65-B5B3-77C4146F9DBE}"/>
                </a:ext>
              </a:extLst>
            </p:cNvPr>
            <p:cNvSpPr/>
            <p:nvPr/>
          </p:nvSpPr>
          <p:spPr>
            <a:xfrm>
              <a:off x="4294790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" name="object 109">
              <a:extLst>
                <a:ext uri="{FF2B5EF4-FFF2-40B4-BE49-F238E27FC236}">
                  <a16:creationId xmlns:a16="http://schemas.microsoft.com/office/drawing/2014/main" id="{B976351B-AC95-DC65-7A67-D0C8AEF01602}"/>
                </a:ext>
              </a:extLst>
            </p:cNvPr>
            <p:cNvSpPr/>
            <p:nvPr/>
          </p:nvSpPr>
          <p:spPr>
            <a:xfrm>
              <a:off x="4329885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" name="object 110">
              <a:extLst>
                <a:ext uri="{FF2B5EF4-FFF2-40B4-BE49-F238E27FC236}">
                  <a16:creationId xmlns:a16="http://schemas.microsoft.com/office/drawing/2014/main" id="{EE786C76-CC9C-DC38-A221-D52D22C2CBB1}"/>
                </a:ext>
              </a:extLst>
            </p:cNvPr>
            <p:cNvSpPr/>
            <p:nvPr/>
          </p:nvSpPr>
          <p:spPr>
            <a:xfrm>
              <a:off x="4224747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" name="object 111">
              <a:extLst>
                <a:ext uri="{FF2B5EF4-FFF2-40B4-BE49-F238E27FC236}">
                  <a16:creationId xmlns:a16="http://schemas.microsoft.com/office/drawing/2014/main" id="{D0F188CD-07CA-A84D-1B9B-A539D8CB96A1}"/>
                </a:ext>
              </a:extLst>
            </p:cNvPr>
            <p:cNvSpPr/>
            <p:nvPr/>
          </p:nvSpPr>
          <p:spPr>
            <a:xfrm>
              <a:off x="4434885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" name="object 112">
              <a:extLst>
                <a:ext uri="{FF2B5EF4-FFF2-40B4-BE49-F238E27FC236}">
                  <a16:creationId xmlns:a16="http://schemas.microsoft.com/office/drawing/2014/main" id="{3B429DFF-F1C3-741F-115F-D62F5F5EC0A0}"/>
                </a:ext>
              </a:extLst>
            </p:cNvPr>
            <p:cNvSpPr/>
            <p:nvPr/>
          </p:nvSpPr>
          <p:spPr>
            <a:xfrm>
              <a:off x="4259768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" name="object 113">
              <a:extLst>
                <a:ext uri="{FF2B5EF4-FFF2-40B4-BE49-F238E27FC236}">
                  <a16:creationId xmlns:a16="http://schemas.microsoft.com/office/drawing/2014/main" id="{E63C8277-3A11-6E36-86A8-BD601F8F4DE0}"/>
                </a:ext>
              </a:extLst>
            </p:cNvPr>
            <p:cNvSpPr/>
            <p:nvPr/>
          </p:nvSpPr>
          <p:spPr>
            <a:xfrm>
              <a:off x="4539950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" name="object 114">
              <a:extLst>
                <a:ext uri="{FF2B5EF4-FFF2-40B4-BE49-F238E27FC236}">
                  <a16:creationId xmlns:a16="http://schemas.microsoft.com/office/drawing/2014/main" id="{A4C30888-0D0D-F0FB-8419-EF7040989922}"/>
                </a:ext>
              </a:extLst>
            </p:cNvPr>
            <p:cNvSpPr/>
            <p:nvPr/>
          </p:nvSpPr>
          <p:spPr>
            <a:xfrm>
              <a:off x="4364979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" name="object 115">
              <a:extLst>
                <a:ext uri="{FF2B5EF4-FFF2-40B4-BE49-F238E27FC236}">
                  <a16:creationId xmlns:a16="http://schemas.microsoft.com/office/drawing/2014/main" id="{F2071AB8-B48E-EA79-CAC7-AE257CC74FAB}"/>
                </a:ext>
              </a:extLst>
            </p:cNvPr>
            <p:cNvSpPr/>
            <p:nvPr/>
          </p:nvSpPr>
          <p:spPr>
            <a:xfrm>
              <a:off x="4190000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" name="object 116">
              <a:extLst>
                <a:ext uri="{FF2B5EF4-FFF2-40B4-BE49-F238E27FC236}">
                  <a16:creationId xmlns:a16="http://schemas.microsoft.com/office/drawing/2014/main" id="{53FCAE13-980A-CB62-1104-DBE14A4482E9}"/>
                </a:ext>
              </a:extLst>
            </p:cNvPr>
            <p:cNvSpPr/>
            <p:nvPr/>
          </p:nvSpPr>
          <p:spPr>
            <a:xfrm>
              <a:off x="4364979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" name="object 117">
              <a:extLst>
                <a:ext uri="{FF2B5EF4-FFF2-40B4-BE49-F238E27FC236}">
                  <a16:creationId xmlns:a16="http://schemas.microsoft.com/office/drawing/2014/main" id="{FEDF64A4-3A3A-E482-00AD-FF7DECA48931}"/>
                </a:ext>
              </a:extLst>
            </p:cNvPr>
            <p:cNvSpPr/>
            <p:nvPr/>
          </p:nvSpPr>
          <p:spPr>
            <a:xfrm>
              <a:off x="4190000" y="424429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" name="object 118">
              <a:extLst>
                <a:ext uri="{FF2B5EF4-FFF2-40B4-BE49-F238E27FC236}">
                  <a16:creationId xmlns:a16="http://schemas.microsoft.com/office/drawing/2014/main" id="{DEAE9390-608B-257C-1523-A49306F8FCEE}"/>
                </a:ext>
              </a:extLst>
            </p:cNvPr>
            <p:cNvSpPr/>
            <p:nvPr/>
          </p:nvSpPr>
          <p:spPr>
            <a:xfrm>
              <a:off x="4190000" y="2612559"/>
              <a:ext cx="16403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70509"/>
                <a:gd name="f4" fmla="val 84454"/>
                <a:gd name="f5" fmla="val 270494"/>
                <a:gd name="f6" fmla="val 84112"/>
                <a:gd name="f7" fmla="*/ f0 1 270509"/>
                <a:gd name="f8" fmla="*/ f1 1 84454"/>
                <a:gd name="f9" fmla="+- f4 0 f2"/>
                <a:gd name="f10" fmla="+- f3 0 f2"/>
                <a:gd name="f11" fmla="*/ f10 1 2705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705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" name="object 119">
              <a:extLst>
                <a:ext uri="{FF2B5EF4-FFF2-40B4-BE49-F238E27FC236}">
                  <a16:creationId xmlns:a16="http://schemas.microsoft.com/office/drawing/2014/main" id="{4112B043-0AD6-133C-A4DF-301C607B0699}"/>
                </a:ext>
              </a:extLst>
            </p:cNvPr>
            <p:cNvSpPr/>
            <p:nvPr/>
          </p:nvSpPr>
          <p:spPr>
            <a:xfrm>
              <a:off x="4469907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" name="object 120">
              <a:extLst>
                <a:ext uri="{FF2B5EF4-FFF2-40B4-BE49-F238E27FC236}">
                  <a16:creationId xmlns:a16="http://schemas.microsoft.com/office/drawing/2014/main" id="{ECF75481-6065-6386-B175-F77DD1E2BA4B}"/>
                </a:ext>
              </a:extLst>
            </p:cNvPr>
            <p:cNvSpPr/>
            <p:nvPr/>
          </p:nvSpPr>
          <p:spPr>
            <a:xfrm>
              <a:off x="4504928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" name="object 121">
              <a:extLst>
                <a:ext uri="{FF2B5EF4-FFF2-40B4-BE49-F238E27FC236}">
                  <a16:creationId xmlns:a16="http://schemas.microsoft.com/office/drawing/2014/main" id="{58F36911-188D-9D4A-DB1C-4020DC5E346D}"/>
                </a:ext>
              </a:extLst>
            </p:cNvPr>
            <p:cNvSpPr/>
            <p:nvPr/>
          </p:nvSpPr>
          <p:spPr>
            <a:xfrm>
              <a:off x="4399864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" name="object 122">
              <a:extLst>
                <a:ext uri="{FF2B5EF4-FFF2-40B4-BE49-F238E27FC236}">
                  <a16:creationId xmlns:a16="http://schemas.microsoft.com/office/drawing/2014/main" id="{3FA0DBA2-6A13-A0A9-BC3A-DF7FF2600DBB}"/>
                </a:ext>
              </a:extLst>
            </p:cNvPr>
            <p:cNvSpPr/>
            <p:nvPr/>
          </p:nvSpPr>
          <p:spPr>
            <a:xfrm>
              <a:off x="4294790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" name="object 123">
              <a:extLst>
                <a:ext uri="{FF2B5EF4-FFF2-40B4-BE49-F238E27FC236}">
                  <a16:creationId xmlns:a16="http://schemas.microsoft.com/office/drawing/2014/main" id="{E3AB1C2B-6205-570A-9B90-6C83AD066559}"/>
                </a:ext>
              </a:extLst>
            </p:cNvPr>
            <p:cNvSpPr/>
            <p:nvPr/>
          </p:nvSpPr>
          <p:spPr>
            <a:xfrm>
              <a:off x="4329885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" name="object 124">
              <a:extLst>
                <a:ext uri="{FF2B5EF4-FFF2-40B4-BE49-F238E27FC236}">
                  <a16:creationId xmlns:a16="http://schemas.microsoft.com/office/drawing/2014/main" id="{99CDF303-F2DD-75BF-5890-FF24E88834D1}"/>
                </a:ext>
              </a:extLst>
            </p:cNvPr>
            <p:cNvSpPr/>
            <p:nvPr/>
          </p:nvSpPr>
          <p:spPr>
            <a:xfrm>
              <a:off x="4224747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" name="object 125">
              <a:extLst>
                <a:ext uri="{FF2B5EF4-FFF2-40B4-BE49-F238E27FC236}">
                  <a16:creationId xmlns:a16="http://schemas.microsoft.com/office/drawing/2014/main" id="{E9C79797-CAD6-4828-1FBF-D78709002619}"/>
                </a:ext>
              </a:extLst>
            </p:cNvPr>
            <p:cNvSpPr/>
            <p:nvPr/>
          </p:nvSpPr>
          <p:spPr>
            <a:xfrm>
              <a:off x="4434885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" name="object 126">
              <a:extLst>
                <a:ext uri="{FF2B5EF4-FFF2-40B4-BE49-F238E27FC236}">
                  <a16:creationId xmlns:a16="http://schemas.microsoft.com/office/drawing/2014/main" id="{446AD9EB-ACD6-2A4D-6E88-8DA589480041}"/>
                </a:ext>
              </a:extLst>
            </p:cNvPr>
            <p:cNvSpPr/>
            <p:nvPr/>
          </p:nvSpPr>
          <p:spPr>
            <a:xfrm>
              <a:off x="4259768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" name="object 127">
              <a:extLst>
                <a:ext uri="{FF2B5EF4-FFF2-40B4-BE49-F238E27FC236}">
                  <a16:creationId xmlns:a16="http://schemas.microsoft.com/office/drawing/2014/main" id="{32AC763E-EF42-C916-DBC5-0FBA60546AAA}"/>
                </a:ext>
              </a:extLst>
            </p:cNvPr>
            <p:cNvSpPr/>
            <p:nvPr/>
          </p:nvSpPr>
          <p:spPr>
            <a:xfrm>
              <a:off x="4539950" y="261255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" name="object 128">
              <a:extLst>
                <a:ext uri="{FF2B5EF4-FFF2-40B4-BE49-F238E27FC236}">
                  <a16:creationId xmlns:a16="http://schemas.microsoft.com/office/drawing/2014/main" id="{BACAD316-5E46-61A7-DC9A-02412F5CF81B}"/>
                </a:ext>
              </a:extLst>
            </p:cNvPr>
            <p:cNvSpPr/>
            <p:nvPr/>
          </p:nvSpPr>
          <p:spPr>
            <a:xfrm>
              <a:off x="4364979" y="261255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" name="object 129">
              <a:extLst>
                <a:ext uri="{FF2B5EF4-FFF2-40B4-BE49-F238E27FC236}">
                  <a16:creationId xmlns:a16="http://schemas.microsoft.com/office/drawing/2014/main" id="{2E747504-4CE0-5289-E522-DFF213D71777}"/>
                </a:ext>
              </a:extLst>
            </p:cNvPr>
            <p:cNvSpPr/>
            <p:nvPr/>
          </p:nvSpPr>
          <p:spPr>
            <a:xfrm>
              <a:off x="4190000" y="261255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" name="object 130">
              <a:extLst>
                <a:ext uri="{FF2B5EF4-FFF2-40B4-BE49-F238E27FC236}">
                  <a16:creationId xmlns:a16="http://schemas.microsoft.com/office/drawing/2014/main" id="{F4D3DFA4-4B7B-4737-A802-18124E872945}"/>
                </a:ext>
              </a:extLst>
            </p:cNvPr>
            <p:cNvSpPr/>
            <p:nvPr/>
          </p:nvSpPr>
          <p:spPr>
            <a:xfrm>
              <a:off x="4364979" y="261255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" name="object 131">
              <a:extLst>
                <a:ext uri="{FF2B5EF4-FFF2-40B4-BE49-F238E27FC236}">
                  <a16:creationId xmlns:a16="http://schemas.microsoft.com/office/drawing/2014/main" id="{CAD884D1-6D5B-C0F0-89C5-43530634D5BA}"/>
                </a:ext>
              </a:extLst>
            </p:cNvPr>
            <p:cNvSpPr/>
            <p:nvPr/>
          </p:nvSpPr>
          <p:spPr>
            <a:xfrm>
              <a:off x="4190000" y="263806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" name="object 132">
              <a:extLst>
                <a:ext uri="{FF2B5EF4-FFF2-40B4-BE49-F238E27FC236}">
                  <a16:creationId xmlns:a16="http://schemas.microsoft.com/office/drawing/2014/main" id="{C3A9E054-6C5F-C493-F7DE-9352DBAB3300}"/>
                </a:ext>
              </a:extLst>
            </p:cNvPr>
            <p:cNvSpPr/>
            <p:nvPr/>
          </p:nvSpPr>
          <p:spPr>
            <a:xfrm>
              <a:off x="4469907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" name="object 133">
              <a:extLst>
                <a:ext uri="{FF2B5EF4-FFF2-40B4-BE49-F238E27FC236}">
                  <a16:creationId xmlns:a16="http://schemas.microsoft.com/office/drawing/2014/main" id="{05A1CDED-2B28-11AF-5E86-20F794D9AA73}"/>
                </a:ext>
              </a:extLst>
            </p:cNvPr>
            <p:cNvSpPr/>
            <p:nvPr/>
          </p:nvSpPr>
          <p:spPr>
            <a:xfrm>
              <a:off x="4504928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" name="object 134">
              <a:extLst>
                <a:ext uri="{FF2B5EF4-FFF2-40B4-BE49-F238E27FC236}">
                  <a16:creationId xmlns:a16="http://schemas.microsoft.com/office/drawing/2014/main" id="{5022BBDF-8F86-AECC-D64E-254F4075E9C4}"/>
                </a:ext>
              </a:extLst>
            </p:cNvPr>
            <p:cNvSpPr/>
            <p:nvPr/>
          </p:nvSpPr>
          <p:spPr>
            <a:xfrm>
              <a:off x="4399864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" name="object 135">
              <a:extLst>
                <a:ext uri="{FF2B5EF4-FFF2-40B4-BE49-F238E27FC236}">
                  <a16:creationId xmlns:a16="http://schemas.microsoft.com/office/drawing/2014/main" id="{B7C27B34-0C8B-DAAC-4AC1-E02D81CA6794}"/>
                </a:ext>
              </a:extLst>
            </p:cNvPr>
            <p:cNvSpPr/>
            <p:nvPr/>
          </p:nvSpPr>
          <p:spPr>
            <a:xfrm>
              <a:off x="4294790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" name="object 136">
              <a:extLst>
                <a:ext uri="{FF2B5EF4-FFF2-40B4-BE49-F238E27FC236}">
                  <a16:creationId xmlns:a16="http://schemas.microsoft.com/office/drawing/2014/main" id="{03F1946C-0DDA-C315-24F7-3AA11285269B}"/>
                </a:ext>
              </a:extLst>
            </p:cNvPr>
            <p:cNvSpPr/>
            <p:nvPr/>
          </p:nvSpPr>
          <p:spPr>
            <a:xfrm>
              <a:off x="4329885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" name="object 137">
              <a:extLst>
                <a:ext uri="{FF2B5EF4-FFF2-40B4-BE49-F238E27FC236}">
                  <a16:creationId xmlns:a16="http://schemas.microsoft.com/office/drawing/2014/main" id="{92CA4AE2-C783-DAF7-81B2-D85FCEC8815D}"/>
                </a:ext>
              </a:extLst>
            </p:cNvPr>
            <p:cNvSpPr/>
            <p:nvPr/>
          </p:nvSpPr>
          <p:spPr>
            <a:xfrm>
              <a:off x="4224747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" name="object 138">
              <a:extLst>
                <a:ext uri="{FF2B5EF4-FFF2-40B4-BE49-F238E27FC236}">
                  <a16:creationId xmlns:a16="http://schemas.microsoft.com/office/drawing/2014/main" id="{30F6CE3B-4676-6AE6-9E18-822C59D3C73C}"/>
                </a:ext>
              </a:extLst>
            </p:cNvPr>
            <p:cNvSpPr/>
            <p:nvPr/>
          </p:nvSpPr>
          <p:spPr>
            <a:xfrm>
              <a:off x="4434885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" name="object 139">
              <a:extLst>
                <a:ext uri="{FF2B5EF4-FFF2-40B4-BE49-F238E27FC236}">
                  <a16:creationId xmlns:a16="http://schemas.microsoft.com/office/drawing/2014/main" id="{99CACE30-2FCE-FF11-2098-36DE0C765F19}"/>
                </a:ext>
              </a:extLst>
            </p:cNvPr>
            <p:cNvSpPr/>
            <p:nvPr/>
          </p:nvSpPr>
          <p:spPr>
            <a:xfrm>
              <a:off x="4259768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" name="object 140">
              <a:extLst>
                <a:ext uri="{FF2B5EF4-FFF2-40B4-BE49-F238E27FC236}">
                  <a16:creationId xmlns:a16="http://schemas.microsoft.com/office/drawing/2014/main" id="{53A958A0-A54F-E7AD-08BE-FA31F6F77558}"/>
                </a:ext>
              </a:extLst>
            </p:cNvPr>
            <p:cNvSpPr/>
            <p:nvPr/>
          </p:nvSpPr>
          <p:spPr>
            <a:xfrm>
              <a:off x="4539950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" name="object 141">
              <a:extLst>
                <a:ext uri="{FF2B5EF4-FFF2-40B4-BE49-F238E27FC236}">
                  <a16:creationId xmlns:a16="http://schemas.microsoft.com/office/drawing/2014/main" id="{5B5CDA78-6377-812A-E121-D89FFFE2E867}"/>
                </a:ext>
              </a:extLst>
            </p:cNvPr>
            <p:cNvSpPr/>
            <p:nvPr/>
          </p:nvSpPr>
          <p:spPr>
            <a:xfrm>
              <a:off x="4364979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" name="object 142">
              <a:extLst>
                <a:ext uri="{FF2B5EF4-FFF2-40B4-BE49-F238E27FC236}">
                  <a16:creationId xmlns:a16="http://schemas.microsoft.com/office/drawing/2014/main" id="{70907B6B-B906-E5B5-A665-092193E6E0A1}"/>
                </a:ext>
              </a:extLst>
            </p:cNvPr>
            <p:cNvSpPr/>
            <p:nvPr/>
          </p:nvSpPr>
          <p:spPr>
            <a:xfrm>
              <a:off x="4190000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" name="object 143">
              <a:extLst>
                <a:ext uri="{FF2B5EF4-FFF2-40B4-BE49-F238E27FC236}">
                  <a16:creationId xmlns:a16="http://schemas.microsoft.com/office/drawing/2014/main" id="{50B02E67-F625-4DA9-0078-F0CB23A8F631}"/>
                </a:ext>
              </a:extLst>
            </p:cNvPr>
            <p:cNvSpPr/>
            <p:nvPr/>
          </p:nvSpPr>
          <p:spPr>
            <a:xfrm>
              <a:off x="4364979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" name="object 144">
              <a:extLst>
                <a:ext uri="{FF2B5EF4-FFF2-40B4-BE49-F238E27FC236}">
                  <a16:creationId xmlns:a16="http://schemas.microsoft.com/office/drawing/2014/main" id="{009B6337-C3EB-9969-5996-83F7937C52FE}"/>
                </a:ext>
              </a:extLst>
            </p:cNvPr>
            <p:cNvSpPr/>
            <p:nvPr/>
          </p:nvSpPr>
          <p:spPr>
            <a:xfrm>
              <a:off x="4190000" y="271108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" name="object 145">
              <a:extLst>
                <a:ext uri="{FF2B5EF4-FFF2-40B4-BE49-F238E27FC236}">
                  <a16:creationId xmlns:a16="http://schemas.microsoft.com/office/drawing/2014/main" id="{FE5316ED-BA95-8C29-20F4-742F91CE6A78}"/>
                </a:ext>
              </a:extLst>
            </p:cNvPr>
            <p:cNvSpPr/>
            <p:nvPr/>
          </p:nvSpPr>
          <p:spPr>
            <a:xfrm>
              <a:off x="4190000" y="3376623"/>
              <a:ext cx="6546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7950"/>
                <a:gd name="f4" fmla="val 84454"/>
                <a:gd name="f5" fmla="val 107892"/>
                <a:gd name="f6" fmla="val 84112"/>
                <a:gd name="f7" fmla="*/ f0 1 107950"/>
                <a:gd name="f8" fmla="*/ f1 1 84454"/>
                <a:gd name="f9" fmla="+- f4 0 f2"/>
                <a:gd name="f10" fmla="+- f3 0 f2"/>
                <a:gd name="f11" fmla="*/ f10 1 1079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79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" name="object 146">
              <a:extLst>
                <a:ext uri="{FF2B5EF4-FFF2-40B4-BE49-F238E27FC236}">
                  <a16:creationId xmlns:a16="http://schemas.microsoft.com/office/drawing/2014/main" id="{41F4CB23-CD75-C5D3-3D9B-1E58D8CC019D}"/>
                </a:ext>
              </a:extLst>
            </p:cNvPr>
            <p:cNvSpPr/>
            <p:nvPr/>
          </p:nvSpPr>
          <p:spPr>
            <a:xfrm>
              <a:off x="4469907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" name="object 147">
              <a:extLst>
                <a:ext uri="{FF2B5EF4-FFF2-40B4-BE49-F238E27FC236}">
                  <a16:creationId xmlns:a16="http://schemas.microsoft.com/office/drawing/2014/main" id="{1974C459-AEF0-596D-12FD-DD66EA06CBAC}"/>
                </a:ext>
              </a:extLst>
            </p:cNvPr>
            <p:cNvSpPr/>
            <p:nvPr/>
          </p:nvSpPr>
          <p:spPr>
            <a:xfrm>
              <a:off x="4504928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" name="object 148">
              <a:extLst>
                <a:ext uri="{FF2B5EF4-FFF2-40B4-BE49-F238E27FC236}">
                  <a16:creationId xmlns:a16="http://schemas.microsoft.com/office/drawing/2014/main" id="{EA50B712-03AE-7AAE-9BD9-139CDD08614C}"/>
                </a:ext>
              </a:extLst>
            </p:cNvPr>
            <p:cNvSpPr/>
            <p:nvPr/>
          </p:nvSpPr>
          <p:spPr>
            <a:xfrm>
              <a:off x="4399864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" name="object 149">
              <a:extLst>
                <a:ext uri="{FF2B5EF4-FFF2-40B4-BE49-F238E27FC236}">
                  <a16:creationId xmlns:a16="http://schemas.microsoft.com/office/drawing/2014/main" id="{B62ADD47-8963-4FD1-7CD3-C72D8C790ADA}"/>
                </a:ext>
              </a:extLst>
            </p:cNvPr>
            <p:cNvSpPr/>
            <p:nvPr/>
          </p:nvSpPr>
          <p:spPr>
            <a:xfrm>
              <a:off x="4294790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" name="object 150">
              <a:extLst>
                <a:ext uri="{FF2B5EF4-FFF2-40B4-BE49-F238E27FC236}">
                  <a16:creationId xmlns:a16="http://schemas.microsoft.com/office/drawing/2014/main" id="{D257BFCD-B8F8-B5AD-1A8B-1CB37E765DA7}"/>
                </a:ext>
              </a:extLst>
            </p:cNvPr>
            <p:cNvSpPr/>
            <p:nvPr/>
          </p:nvSpPr>
          <p:spPr>
            <a:xfrm>
              <a:off x="4329885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" name="object 151">
              <a:extLst>
                <a:ext uri="{FF2B5EF4-FFF2-40B4-BE49-F238E27FC236}">
                  <a16:creationId xmlns:a16="http://schemas.microsoft.com/office/drawing/2014/main" id="{4ED46267-4FCF-294F-11F9-936C9FD10584}"/>
                </a:ext>
              </a:extLst>
            </p:cNvPr>
            <p:cNvSpPr/>
            <p:nvPr/>
          </p:nvSpPr>
          <p:spPr>
            <a:xfrm>
              <a:off x="4224747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" name="object 152">
              <a:extLst>
                <a:ext uri="{FF2B5EF4-FFF2-40B4-BE49-F238E27FC236}">
                  <a16:creationId xmlns:a16="http://schemas.microsoft.com/office/drawing/2014/main" id="{212C24A0-4C8D-1D95-8A69-7A4B5723B163}"/>
                </a:ext>
              </a:extLst>
            </p:cNvPr>
            <p:cNvSpPr/>
            <p:nvPr/>
          </p:nvSpPr>
          <p:spPr>
            <a:xfrm>
              <a:off x="4434885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" name="object 153">
              <a:extLst>
                <a:ext uri="{FF2B5EF4-FFF2-40B4-BE49-F238E27FC236}">
                  <a16:creationId xmlns:a16="http://schemas.microsoft.com/office/drawing/2014/main" id="{8225CD9B-AA85-C0F2-6749-4BF61F6A1782}"/>
                </a:ext>
              </a:extLst>
            </p:cNvPr>
            <p:cNvSpPr/>
            <p:nvPr/>
          </p:nvSpPr>
          <p:spPr>
            <a:xfrm>
              <a:off x="4259768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" name="object 154">
              <a:extLst>
                <a:ext uri="{FF2B5EF4-FFF2-40B4-BE49-F238E27FC236}">
                  <a16:creationId xmlns:a16="http://schemas.microsoft.com/office/drawing/2014/main" id="{EEBCA0AE-A289-504B-672A-3482FEB94970}"/>
                </a:ext>
              </a:extLst>
            </p:cNvPr>
            <p:cNvSpPr/>
            <p:nvPr/>
          </p:nvSpPr>
          <p:spPr>
            <a:xfrm>
              <a:off x="4539950" y="337662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" name="object 155">
              <a:extLst>
                <a:ext uri="{FF2B5EF4-FFF2-40B4-BE49-F238E27FC236}">
                  <a16:creationId xmlns:a16="http://schemas.microsoft.com/office/drawing/2014/main" id="{25C06637-3BA5-A1A0-4CD6-012002350C63}"/>
                </a:ext>
              </a:extLst>
            </p:cNvPr>
            <p:cNvSpPr/>
            <p:nvPr/>
          </p:nvSpPr>
          <p:spPr>
            <a:xfrm>
              <a:off x="4364979" y="337662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" name="object 156">
              <a:extLst>
                <a:ext uri="{FF2B5EF4-FFF2-40B4-BE49-F238E27FC236}">
                  <a16:creationId xmlns:a16="http://schemas.microsoft.com/office/drawing/2014/main" id="{C01D1F4E-0F92-4EE2-21F9-24D009769918}"/>
                </a:ext>
              </a:extLst>
            </p:cNvPr>
            <p:cNvSpPr/>
            <p:nvPr/>
          </p:nvSpPr>
          <p:spPr>
            <a:xfrm>
              <a:off x="4190000" y="337662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" name="object 157">
              <a:extLst>
                <a:ext uri="{FF2B5EF4-FFF2-40B4-BE49-F238E27FC236}">
                  <a16:creationId xmlns:a16="http://schemas.microsoft.com/office/drawing/2014/main" id="{D6F9A0A8-2F28-9249-783D-DA3FE7E21CBA}"/>
                </a:ext>
              </a:extLst>
            </p:cNvPr>
            <p:cNvSpPr/>
            <p:nvPr/>
          </p:nvSpPr>
          <p:spPr>
            <a:xfrm>
              <a:off x="4364979" y="337662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" name="object 158">
              <a:extLst>
                <a:ext uri="{FF2B5EF4-FFF2-40B4-BE49-F238E27FC236}">
                  <a16:creationId xmlns:a16="http://schemas.microsoft.com/office/drawing/2014/main" id="{7EC73A7A-3E2F-DB20-1F11-39F07017EDDE}"/>
                </a:ext>
              </a:extLst>
            </p:cNvPr>
            <p:cNvSpPr/>
            <p:nvPr/>
          </p:nvSpPr>
          <p:spPr>
            <a:xfrm>
              <a:off x="4190000" y="340212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" name="object 159">
              <a:extLst>
                <a:ext uri="{FF2B5EF4-FFF2-40B4-BE49-F238E27FC236}">
                  <a16:creationId xmlns:a16="http://schemas.microsoft.com/office/drawing/2014/main" id="{8105923A-3607-FB7C-8C0F-D1E69D091AD6}"/>
                </a:ext>
              </a:extLst>
            </p:cNvPr>
            <p:cNvSpPr/>
            <p:nvPr/>
          </p:nvSpPr>
          <p:spPr>
            <a:xfrm>
              <a:off x="4469907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" name="object 160">
              <a:extLst>
                <a:ext uri="{FF2B5EF4-FFF2-40B4-BE49-F238E27FC236}">
                  <a16:creationId xmlns:a16="http://schemas.microsoft.com/office/drawing/2014/main" id="{393E0115-A9D6-5A05-A61C-B33C9C30FB5A}"/>
                </a:ext>
              </a:extLst>
            </p:cNvPr>
            <p:cNvSpPr/>
            <p:nvPr/>
          </p:nvSpPr>
          <p:spPr>
            <a:xfrm>
              <a:off x="4504928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" name="object 161">
              <a:extLst>
                <a:ext uri="{FF2B5EF4-FFF2-40B4-BE49-F238E27FC236}">
                  <a16:creationId xmlns:a16="http://schemas.microsoft.com/office/drawing/2014/main" id="{37C529A6-2E39-EE52-6D19-D206E5A7E3BE}"/>
                </a:ext>
              </a:extLst>
            </p:cNvPr>
            <p:cNvSpPr/>
            <p:nvPr/>
          </p:nvSpPr>
          <p:spPr>
            <a:xfrm>
              <a:off x="4399864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" name="object 162">
              <a:extLst>
                <a:ext uri="{FF2B5EF4-FFF2-40B4-BE49-F238E27FC236}">
                  <a16:creationId xmlns:a16="http://schemas.microsoft.com/office/drawing/2014/main" id="{1B6BFC9C-B647-FBA1-7B3A-2D0A9D17E732}"/>
                </a:ext>
              </a:extLst>
            </p:cNvPr>
            <p:cNvSpPr/>
            <p:nvPr/>
          </p:nvSpPr>
          <p:spPr>
            <a:xfrm>
              <a:off x="4294790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" name="object 163">
              <a:extLst>
                <a:ext uri="{FF2B5EF4-FFF2-40B4-BE49-F238E27FC236}">
                  <a16:creationId xmlns:a16="http://schemas.microsoft.com/office/drawing/2014/main" id="{4B31C435-8A0D-2424-9432-F85A24DAFA20}"/>
                </a:ext>
              </a:extLst>
            </p:cNvPr>
            <p:cNvSpPr/>
            <p:nvPr/>
          </p:nvSpPr>
          <p:spPr>
            <a:xfrm>
              <a:off x="4329885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" name="object 164">
              <a:extLst>
                <a:ext uri="{FF2B5EF4-FFF2-40B4-BE49-F238E27FC236}">
                  <a16:creationId xmlns:a16="http://schemas.microsoft.com/office/drawing/2014/main" id="{1A063339-206C-EF4C-FCE7-C671683AAE41}"/>
                </a:ext>
              </a:extLst>
            </p:cNvPr>
            <p:cNvSpPr/>
            <p:nvPr/>
          </p:nvSpPr>
          <p:spPr>
            <a:xfrm>
              <a:off x="4224747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" name="object 165">
              <a:extLst>
                <a:ext uri="{FF2B5EF4-FFF2-40B4-BE49-F238E27FC236}">
                  <a16:creationId xmlns:a16="http://schemas.microsoft.com/office/drawing/2014/main" id="{E3E2B53B-3433-6F91-B244-E07454C63CA1}"/>
                </a:ext>
              </a:extLst>
            </p:cNvPr>
            <p:cNvSpPr/>
            <p:nvPr/>
          </p:nvSpPr>
          <p:spPr>
            <a:xfrm>
              <a:off x="4434885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" name="object 166">
              <a:extLst>
                <a:ext uri="{FF2B5EF4-FFF2-40B4-BE49-F238E27FC236}">
                  <a16:creationId xmlns:a16="http://schemas.microsoft.com/office/drawing/2014/main" id="{902D28FC-5ADB-D100-6505-E3BBE0B5074C}"/>
                </a:ext>
              </a:extLst>
            </p:cNvPr>
            <p:cNvSpPr/>
            <p:nvPr/>
          </p:nvSpPr>
          <p:spPr>
            <a:xfrm>
              <a:off x="4259768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" name="object 167">
              <a:extLst>
                <a:ext uri="{FF2B5EF4-FFF2-40B4-BE49-F238E27FC236}">
                  <a16:creationId xmlns:a16="http://schemas.microsoft.com/office/drawing/2014/main" id="{BDE7F1CE-ED77-D985-4B1B-FDDEE1F7238E}"/>
                </a:ext>
              </a:extLst>
            </p:cNvPr>
            <p:cNvSpPr/>
            <p:nvPr/>
          </p:nvSpPr>
          <p:spPr>
            <a:xfrm>
              <a:off x="4539950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" name="object 168">
              <a:extLst>
                <a:ext uri="{FF2B5EF4-FFF2-40B4-BE49-F238E27FC236}">
                  <a16:creationId xmlns:a16="http://schemas.microsoft.com/office/drawing/2014/main" id="{D3540651-3D22-9F87-1167-4A03FC9AF2CE}"/>
                </a:ext>
              </a:extLst>
            </p:cNvPr>
            <p:cNvSpPr/>
            <p:nvPr/>
          </p:nvSpPr>
          <p:spPr>
            <a:xfrm>
              <a:off x="4364979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" name="object 169">
              <a:extLst>
                <a:ext uri="{FF2B5EF4-FFF2-40B4-BE49-F238E27FC236}">
                  <a16:creationId xmlns:a16="http://schemas.microsoft.com/office/drawing/2014/main" id="{A0E0B017-9412-068B-DFD4-1A59DF480A5A}"/>
                </a:ext>
              </a:extLst>
            </p:cNvPr>
            <p:cNvSpPr/>
            <p:nvPr/>
          </p:nvSpPr>
          <p:spPr>
            <a:xfrm>
              <a:off x="4190000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" name="object 170">
              <a:extLst>
                <a:ext uri="{FF2B5EF4-FFF2-40B4-BE49-F238E27FC236}">
                  <a16:creationId xmlns:a16="http://schemas.microsoft.com/office/drawing/2014/main" id="{5179802F-84D2-2919-96F0-EA3E3EE9BA55}"/>
                </a:ext>
              </a:extLst>
            </p:cNvPr>
            <p:cNvSpPr/>
            <p:nvPr/>
          </p:nvSpPr>
          <p:spPr>
            <a:xfrm>
              <a:off x="4364979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" name="object 171">
              <a:extLst>
                <a:ext uri="{FF2B5EF4-FFF2-40B4-BE49-F238E27FC236}">
                  <a16:creationId xmlns:a16="http://schemas.microsoft.com/office/drawing/2014/main" id="{7EF74C0D-B493-CF0C-33DF-DF12BADBEBBC}"/>
                </a:ext>
              </a:extLst>
            </p:cNvPr>
            <p:cNvSpPr/>
            <p:nvPr/>
          </p:nvSpPr>
          <p:spPr>
            <a:xfrm>
              <a:off x="4190000" y="347514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2" name="object 172">
              <a:extLst>
                <a:ext uri="{FF2B5EF4-FFF2-40B4-BE49-F238E27FC236}">
                  <a16:creationId xmlns:a16="http://schemas.microsoft.com/office/drawing/2014/main" id="{001D76FF-F211-568B-0E5E-711710254E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91344" y="363679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3" name="object 173">
              <a:extLst>
                <a:ext uri="{FF2B5EF4-FFF2-40B4-BE49-F238E27FC236}">
                  <a16:creationId xmlns:a16="http://schemas.microsoft.com/office/drawing/2014/main" id="{C94B63D6-9416-24CE-125D-0084333AC93F}"/>
                </a:ext>
              </a:extLst>
            </p:cNvPr>
            <p:cNvSpPr/>
            <p:nvPr/>
          </p:nvSpPr>
          <p:spPr>
            <a:xfrm>
              <a:off x="4332820" y="3983199"/>
              <a:ext cx="6699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67001"/>
                <a:gd name="f5" fmla="val 66993"/>
                <a:gd name="f6" fmla="abs f0"/>
                <a:gd name="f7" fmla="abs f1"/>
                <a:gd name="f8" fmla="abs f2"/>
                <a:gd name="f9" fmla="*/ f0 1 67001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67001"/>
                <a:gd name="f16" fmla="*/ f10 1 0"/>
                <a:gd name="f17" fmla="*/ f12 1 67001"/>
                <a:gd name="f18" fmla="*/ f13 1 21600"/>
                <a:gd name="f19" fmla="*/ 21600 f13 1"/>
                <a:gd name="f20" fmla="*/ 0 1 f15"/>
                <a:gd name="f21" fmla="*/ 67001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67001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" name="object 174">
              <a:extLst>
                <a:ext uri="{FF2B5EF4-FFF2-40B4-BE49-F238E27FC236}">
                  <a16:creationId xmlns:a16="http://schemas.microsoft.com/office/drawing/2014/main" id="{F8F2C63E-481E-F654-0CD3-8344E81BEB21}"/>
                </a:ext>
              </a:extLst>
            </p:cNvPr>
            <p:cNvSpPr/>
            <p:nvPr/>
          </p:nvSpPr>
          <p:spPr>
            <a:xfrm>
              <a:off x="4191344" y="363680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5" name="object 175">
              <a:extLst>
                <a:ext uri="{FF2B5EF4-FFF2-40B4-BE49-F238E27FC236}">
                  <a16:creationId xmlns:a16="http://schemas.microsoft.com/office/drawing/2014/main" id="{718E5EE9-7191-2AE0-F1DE-873133100D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88994" y="4396672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6" name="object 176">
              <a:extLst>
                <a:ext uri="{FF2B5EF4-FFF2-40B4-BE49-F238E27FC236}">
                  <a16:creationId xmlns:a16="http://schemas.microsoft.com/office/drawing/2014/main" id="{31E6524C-73D5-4A22-648C-ED7AE8D3B69B}"/>
                </a:ext>
              </a:extLst>
            </p:cNvPr>
            <p:cNvSpPr/>
            <p:nvPr/>
          </p:nvSpPr>
          <p:spPr>
            <a:xfrm>
              <a:off x="4188994" y="439667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7" name="object 177">
              <a:extLst>
                <a:ext uri="{FF2B5EF4-FFF2-40B4-BE49-F238E27FC236}">
                  <a16:creationId xmlns:a16="http://schemas.microsoft.com/office/drawing/2014/main" id="{03E823AE-B2BD-1041-5EA3-B235D684FE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90512" y="569250"/>
              <a:ext cx="348011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8" name="object 178">
              <a:extLst>
                <a:ext uri="{FF2B5EF4-FFF2-40B4-BE49-F238E27FC236}">
                  <a16:creationId xmlns:a16="http://schemas.microsoft.com/office/drawing/2014/main" id="{889F6547-52F5-3455-17C5-945E2FC428E1}"/>
                </a:ext>
              </a:extLst>
            </p:cNvPr>
            <p:cNvSpPr/>
            <p:nvPr/>
          </p:nvSpPr>
          <p:spPr>
            <a:xfrm>
              <a:off x="4190512" y="5692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9" name="object 179">
              <a:extLst>
                <a:ext uri="{FF2B5EF4-FFF2-40B4-BE49-F238E27FC236}">
                  <a16:creationId xmlns:a16="http://schemas.microsoft.com/office/drawing/2014/main" id="{8BC26D7A-04ED-BE44-4640-41A852935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90512" y="1330488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80" name="object 180">
              <a:extLst>
                <a:ext uri="{FF2B5EF4-FFF2-40B4-BE49-F238E27FC236}">
                  <a16:creationId xmlns:a16="http://schemas.microsoft.com/office/drawing/2014/main" id="{C282E6DF-0BF0-3A67-A933-3F6B00DA2E55}"/>
                </a:ext>
              </a:extLst>
            </p:cNvPr>
            <p:cNvSpPr/>
            <p:nvPr/>
          </p:nvSpPr>
          <p:spPr>
            <a:xfrm>
              <a:off x="4190512" y="133048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81" name="object 181">
              <a:extLst>
                <a:ext uri="{FF2B5EF4-FFF2-40B4-BE49-F238E27FC236}">
                  <a16:creationId xmlns:a16="http://schemas.microsoft.com/office/drawing/2014/main" id="{12C2AA17-4181-8968-77D2-249C4CE11B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190512" y="2864604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82" name="object 182">
              <a:extLst>
                <a:ext uri="{FF2B5EF4-FFF2-40B4-BE49-F238E27FC236}">
                  <a16:creationId xmlns:a16="http://schemas.microsoft.com/office/drawing/2014/main" id="{F8A41D1F-B20E-9908-3A62-9F3B60FB8112}"/>
                </a:ext>
              </a:extLst>
            </p:cNvPr>
            <p:cNvSpPr/>
            <p:nvPr/>
          </p:nvSpPr>
          <p:spPr>
            <a:xfrm>
              <a:off x="4190512" y="286461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83" name="object 183">
              <a:extLst>
                <a:ext uri="{FF2B5EF4-FFF2-40B4-BE49-F238E27FC236}">
                  <a16:creationId xmlns:a16="http://schemas.microsoft.com/office/drawing/2014/main" id="{FB518E19-3BE4-6839-A605-80E75187979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88994" y="5159117"/>
              <a:ext cx="348935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84" name="object 184">
              <a:extLst>
                <a:ext uri="{FF2B5EF4-FFF2-40B4-BE49-F238E27FC236}">
                  <a16:creationId xmlns:a16="http://schemas.microsoft.com/office/drawing/2014/main" id="{ABA84EA2-9E17-213B-F18D-EE6917C2A8FD}"/>
                </a:ext>
              </a:extLst>
            </p:cNvPr>
            <p:cNvSpPr/>
            <p:nvPr/>
          </p:nvSpPr>
          <p:spPr>
            <a:xfrm>
              <a:off x="4188994" y="515911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85" name="object 185">
              <a:extLst>
                <a:ext uri="{FF2B5EF4-FFF2-40B4-BE49-F238E27FC236}">
                  <a16:creationId xmlns:a16="http://schemas.microsoft.com/office/drawing/2014/main" id="{ECAF41A6-FB33-29FC-F738-FB3544CAC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90695" y="5922065"/>
              <a:ext cx="3482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86" name="object 186">
              <a:extLst>
                <a:ext uri="{FF2B5EF4-FFF2-40B4-BE49-F238E27FC236}">
                  <a16:creationId xmlns:a16="http://schemas.microsoft.com/office/drawing/2014/main" id="{7DF70D33-77BB-C5FB-E55A-7AE0CF5E7EC9}"/>
                </a:ext>
              </a:extLst>
            </p:cNvPr>
            <p:cNvSpPr/>
            <p:nvPr/>
          </p:nvSpPr>
          <p:spPr>
            <a:xfrm>
              <a:off x="4188994" y="592206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" name="object 187">
              <a:extLst>
                <a:ext uri="{FF2B5EF4-FFF2-40B4-BE49-F238E27FC236}">
                  <a16:creationId xmlns:a16="http://schemas.microsoft.com/office/drawing/2014/main" id="{A3C4837C-0E1F-3E05-83A8-659ACBA9D5E6}"/>
                </a:ext>
              </a:extLst>
            </p:cNvPr>
            <p:cNvSpPr/>
            <p:nvPr/>
          </p:nvSpPr>
          <p:spPr>
            <a:xfrm>
              <a:off x="4470062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" name="object 188">
              <a:extLst>
                <a:ext uri="{FF2B5EF4-FFF2-40B4-BE49-F238E27FC236}">
                  <a16:creationId xmlns:a16="http://schemas.microsoft.com/office/drawing/2014/main" id="{F9E134FF-9B50-3DD5-96BE-7E231565B66B}"/>
                </a:ext>
              </a:extLst>
            </p:cNvPr>
            <p:cNvSpPr/>
            <p:nvPr/>
          </p:nvSpPr>
          <p:spPr>
            <a:xfrm>
              <a:off x="4505084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" name="object 189">
              <a:extLst>
                <a:ext uri="{FF2B5EF4-FFF2-40B4-BE49-F238E27FC236}">
                  <a16:creationId xmlns:a16="http://schemas.microsoft.com/office/drawing/2014/main" id="{A881BC89-F8B4-15F9-4F97-F1D4FC0048EC}"/>
                </a:ext>
              </a:extLst>
            </p:cNvPr>
            <p:cNvSpPr/>
            <p:nvPr/>
          </p:nvSpPr>
          <p:spPr>
            <a:xfrm>
              <a:off x="4400019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" name="object 190">
              <a:extLst>
                <a:ext uri="{FF2B5EF4-FFF2-40B4-BE49-F238E27FC236}">
                  <a16:creationId xmlns:a16="http://schemas.microsoft.com/office/drawing/2014/main" id="{C06811AE-FF4A-B846-3471-AD8B7CC414CD}"/>
                </a:ext>
              </a:extLst>
            </p:cNvPr>
            <p:cNvSpPr/>
            <p:nvPr/>
          </p:nvSpPr>
          <p:spPr>
            <a:xfrm>
              <a:off x="4294955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" name="object 191">
              <a:extLst>
                <a:ext uri="{FF2B5EF4-FFF2-40B4-BE49-F238E27FC236}">
                  <a16:creationId xmlns:a16="http://schemas.microsoft.com/office/drawing/2014/main" id="{A2FCCDF3-724D-14EA-D825-21381FFAD05E}"/>
                </a:ext>
              </a:extLst>
            </p:cNvPr>
            <p:cNvSpPr/>
            <p:nvPr/>
          </p:nvSpPr>
          <p:spPr>
            <a:xfrm>
              <a:off x="4330049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" name="object 192">
              <a:extLst>
                <a:ext uri="{FF2B5EF4-FFF2-40B4-BE49-F238E27FC236}">
                  <a16:creationId xmlns:a16="http://schemas.microsoft.com/office/drawing/2014/main" id="{2AF6CA31-CA90-BE0C-F06A-FC4138C0FF06}"/>
                </a:ext>
              </a:extLst>
            </p:cNvPr>
            <p:cNvSpPr/>
            <p:nvPr/>
          </p:nvSpPr>
          <p:spPr>
            <a:xfrm>
              <a:off x="4224912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" name="object 193">
              <a:extLst>
                <a:ext uri="{FF2B5EF4-FFF2-40B4-BE49-F238E27FC236}">
                  <a16:creationId xmlns:a16="http://schemas.microsoft.com/office/drawing/2014/main" id="{60607C37-C8DA-C89D-3A09-90FAFEA955D2}"/>
                </a:ext>
              </a:extLst>
            </p:cNvPr>
            <p:cNvSpPr/>
            <p:nvPr/>
          </p:nvSpPr>
          <p:spPr>
            <a:xfrm>
              <a:off x="4435041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" name="object 194">
              <a:extLst>
                <a:ext uri="{FF2B5EF4-FFF2-40B4-BE49-F238E27FC236}">
                  <a16:creationId xmlns:a16="http://schemas.microsoft.com/office/drawing/2014/main" id="{DF36A0FD-355C-8205-907E-2F6C2063B512}"/>
                </a:ext>
              </a:extLst>
            </p:cNvPr>
            <p:cNvSpPr/>
            <p:nvPr/>
          </p:nvSpPr>
          <p:spPr>
            <a:xfrm>
              <a:off x="4259933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" name="object 195">
              <a:extLst>
                <a:ext uri="{FF2B5EF4-FFF2-40B4-BE49-F238E27FC236}">
                  <a16:creationId xmlns:a16="http://schemas.microsoft.com/office/drawing/2014/main" id="{246392D1-9ACF-F52A-1CDB-B79F4799DE76}"/>
                </a:ext>
              </a:extLst>
            </p:cNvPr>
            <p:cNvSpPr/>
            <p:nvPr/>
          </p:nvSpPr>
          <p:spPr>
            <a:xfrm>
              <a:off x="4540105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" name="object 196">
              <a:extLst>
                <a:ext uri="{FF2B5EF4-FFF2-40B4-BE49-F238E27FC236}">
                  <a16:creationId xmlns:a16="http://schemas.microsoft.com/office/drawing/2014/main" id="{F9362277-6FDC-B9AD-87CF-FFACEE0DCE49}"/>
                </a:ext>
              </a:extLst>
            </p:cNvPr>
            <p:cNvSpPr/>
            <p:nvPr/>
          </p:nvSpPr>
          <p:spPr>
            <a:xfrm>
              <a:off x="4365135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" name="object 197">
              <a:extLst>
                <a:ext uri="{FF2B5EF4-FFF2-40B4-BE49-F238E27FC236}">
                  <a16:creationId xmlns:a16="http://schemas.microsoft.com/office/drawing/2014/main" id="{5FD68EF9-1D8D-D066-1CDF-8D2947815B32}"/>
                </a:ext>
              </a:extLst>
            </p:cNvPr>
            <p:cNvSpPr/>
            <p:nvPr/>
          </p:nvSpPr>
          <p:spPr>
            <a:xfrm>
              <a:off x="4190164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" name="object 198">
              <a:extLst>
                <a:ext uri="{FF2B5EF4-FFF2-40B4-BE49-F238E27FC236}">
                  <a16:creationId xmlns:a16="http://schemas.microsoft.com/office/drawing/2014/main" id="{C8DFB3B4-30E0-88B6-D544-64F880B421D0}"/>
                </a:ext>
              </a:extLst>
            </p:cNvPr>
            <p:cNvSpPr/>
            <p:nvPr/>
          </p:nvSpPr>
          <p:spPr>
            <a:xfrm>
              <a:off x="4365135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" name="object 199">
              <a:extLst>
                <a:ext uri="{FF2B5EF4-FFF2-40B4-BE49-F238E27FC236}">
                  <a16:creationId xmlns:a16="http://schemas.microsoft.com/office/drawing/2014/main" id="{AFC05766-DA49-E34D-31D8-BA6DDE095B91}"/>
                </a:ext>
              </a:extLst>
            </p:cNvPr>
            <p:cNvSpPr/>
            <p:nvPr/>
          </p:nvSpPr>
          <p:spPr>
            <a:xfrm>
              <a:off x="4190164" y="500342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" name="object 200">
              <a:extLst>
                <a:ext uri="{FF2B5EF4-FFF2-40B4-BE49-F238E27FC236}">
                  <a16:creationId xmlns:a16="http://schemas.microsoft.com/office/drawing/2014/main" id="{0644659C-A0C0-5981-5255-FBCCD1EAC6DB}"/>
                </a:ext>
              </a:extLst>
            </p:cNvPr>
            <p:cNvSpPr/>
            <p:nvPr/>
          </p:nvSpPr>
          <p:spPr>
            <a:xfrm>
              <a:off x="4471946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" name="object 201">
              <a:extLst>
                <a:ext uri="{FF2B5EF4-FFF2-40B4-BE49-F238E27FC236}">
                  <a16:creationId xmlns:a16="http://schemas.microsoft.com/office/drawing/2014/main" id="{2BEDB7EA-CE7A-B307-8746-32F0401E3F62}"/>
                </a:ext>
              </a:extLst>
            </p:cNvPr>
            <p:cNvSpPr/>
            <p:nvPr/>
          </p:nvSpPr>
          <p:spPr>
            <a:xfrm>
              <a:off x="450696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" name="object 202">
              <a:extLst>
                <a:ext uri="{FF2B5EF4-FFF2-40B4-BE49-F238E27FC236}">
                  <a16:creationId xmlns:a16="http://schemas.microsoft.com/office/drawing/2014/main" id="{B69FC027-4286-958C-1E9F-561BC22502D3}"/>
                </a:ext>
              </a:extLst>
            </p:cNvPr>
            <p:cNvSpPr/>
            <p:nvPr/>
          </p:nvSpPr>
          <p:spPr>
            <a:xfrm>
              <a:off x="440190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" name="object 203">
              <a:extLst>
                <a:ext uri="{FF2B5EF4-FFF2-40B4-BE49-F238E27FC236}">
                  <a16:creationId xmlns:a16="http://schemas.microsoft.com/office/drawing/2014/main" id="{49A2F3CB-202B-73A8-8EA4-F78878B64013}"/>
                </a:ext>
              </a:extLst>
            </p:cNvPr>
            <p:cNvSpPr/>
            <p:nvPr/>
          </p:nvSpPr>
          <p:spPr>
            <a:xfrm>
              <a:off x="4296838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4" name="object 204">
              <a:extLst>
                <a:ext uri="{FF2B5EF4-FFF2-40B4-BE49-F238E27FC236}">
                  <a16:creationId xmlns:a16="http://schemas.microsoft.com/office/drawing/2014/main" id="{71AA4B75-A2C2-46FA-9DF6-64E4212AE9D9}"/>
                </a:ext>
              </a:extLst>
            </p:cNvPr>
            <p:cNvSpPr/>
            <p:nvPr/>
          </p:nvSpPr>
          <p:spPr>
            <a:xfrm>
              <a:off x="433193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5" name="object 205">
              <a:extLst>
                <a:ext uri="{FF2B5EF4-FFF2-40B4-BE49-F238E27FC236}">
                  <a16:creationId xmlns:a16="http://schemas.microsoft.com/office/drawing/2014/main" id="{7D00D127-A35C-0036-A08C-58B918145B0A}"/>
                </a:ext>
              </a:extLst>
            </p:cNvPr>
            <p:cNvSpPr/>
            <p:nvPr/>
          </p:nvSpPr>
          <p:spPr>
            <a:xfrm>
              <a:off x="4226795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6" name="object 206">
              <a:extLst>
                <a:ext uri="{FF2B5EF4-FFF2-40B4-BE49-F238E27FC236}">
                  <a16:creationId xmlns:a16="http://schemas.microsoft.com/office/drawing/2014/main" id="{82B55B7B-85EB-D302-BE90-E0CF2F9D6DBE}"/>
                </a:ext>
              </a:extLst>
            </p:cNvPr>
            <p:cNvSpPr/>
            <p:nvPr/>
          </p:nvSpPr>
          <p:spPr>
            <a:xfrm>
              <a:off x="4436924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7" name="object 207">
              <a:extLst>
                <a:ext uri="{FF2B5EF4-FFF2-40B4-BE49-F238E27FC236}">
                  <a16:creationId xmlns:a16="http://schemas.microsoft.com/office/drawing/2014/main" id="{BB6DE917-0335-C376-B08F-A23E5B0FC4E5}"/>
                </a:ext>
              </a:extLst>
            </p:cNvPr>
            <p:cNvSpPr/>
            <p:nvPr/>
          </p:nvSpPr>
          <p:spPr>
            <a:xfrm>
              <a:off x="426181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8" name="object 208">
              <a:extLst>
                <a:ext uri="{FF2B5EF4-FFF2-40B4-BE49-F238E27FC236}">
                  <a16:creationId xmlns:a16="http://schemas.microsoft.com/office/drawing/2014/main" id="{79B787F8-A14A-9828-1312-F3CF42297F14}"/>
                </a:ext>
              </a:extLst>
            </p:cNvPr>
            <p:cNvSpPr/>
            <p:nvPr/>
          </p:nvSpPr>
          <p:spPr>
            <a:xfrm>
              <a:off x="4541989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9" name="object 209">
              <a:extLst>
                <a:ext uri="{FF2B5EF4-FFF2-40B4-BE49-F238E27FC236}">
                  <a16:creationId xmlns:a16="http://schemas.microsoft.com/office/drawing/2014/main" id="{3727BEF3-F761-5547-EDDF-F3CF4EBDD4AD}"/>
                </a:ext>
              </a:extLst>
            </p:cNvPr>
            <p:cNvSpPr/>
            <p:nvPr/>
          </p:nvSpPr>
          <p:spPr>
            <a:xfrm>
              <a:off x="436701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0" name="object 210">
              <a:extLst>
                <a:ext uri="{FF2B5EF4-FFF2-40B4-BE49-F238E27FC236}">
                  <a16:creationId xmlns:a16="http://schemas.microsoft.com/office/drawing/2014/main" id="{06F2BD62-8901-9F5E-C8B3-BF77A3C14AF2}"/>
                </a:ext>
              </a:extLst>
            </p:cNvPr>
            <p:cNvSpPr/>
            <p:nvPr/>
          </p:nvSpPr>
          <p:spPr>
            <a:xfrm>
              <a:off x="419204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1" name="object 211">
              <a:extLst>
                <a:ext uri="{FF2B5EF4-FFF2-40B4-BE49-F238E27FC236}">
                  <a16:creationId xmlns:a16="http://schemas.microsoft.com/office/drawing/2014/main" id="{0B0660DD-2B93-220C-6275-98668331F640}"/>
                </a:ext>
              </a:extLst>
            </p:cNvPr>
            <p:cNvSpPr/>
            <p:nvPr/>
          </p:nvSpPr>
          <p:spPr>
            <a:xfrm>
              <a:off x="436701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2" name="object 212">
              <a:extLst>
                <a:ext uri="{FF2B5EF4-FFF2-40B4-BE49-F238E27FC236}">
                  <a16:creationId xmlns:a16="http://schemas.microsoft.com/office/drawing/2014/main" id="{29368E28-0C53-DBCE-79AF-7C5FC613190F}"/>
                </a:ext>
              </a:extLst>
            </p:cNvPr>
            <p:cNvSpPr/>
            <p:nvPr/>
          </p:nvSpPr>
          <p:spPr>
            <a:xfrm>
              <a:off x="4192048" y="56952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3" name="object 213">
              <a:extLst>
                <a:ext uri="{FF2B5EF4-FFF2-40B4-BE49-F238E27FC236}">
                  <a16:creationId xmlns:a16="http://schemas.microsoft.com/office/drawing/2014/main" id="{18563530-A06C-2A9A-0F19-AED9EB0F51F6}"/>
                </a:ext>
              </a:extLst>
            </p:cNvPr>
            <p:cNvSpPr/>
            <p:nvPr/>
          </p:nvSpPr>
          <p:spPr>
            <a:xfrm>
              <a:off x="4646916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4" name="object 214">
              <a:extLst>
                <a:ext uri="{FF2B5EF4-FFF2-40B4-BE49-F238E27FC236}">
                  <a16:creationId xmlns:a16="http://schemas.microsoft.com/office/drawing/2014/main" id="{193186F7-4EBE-CFDE-3114-71EAE2CA828F}"/>
                </a:ext>
              </a:extLst>
            </p:cNvPr>
            <p:cNvSpPr/>
            <p:nvPr/>
          </p:nvSpPr>
          <p:spPr>
            <a:xfrm>
              <a:off x="4681938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5" name="object 215">
              <a:extLst>
                <a:ext uri="{FF2B5EF4-FFF2-40B4-BE49-F238E27FC236}">
                  <a16:creationId xmlns:a16="http://schemas.microsoft.com/office/drawing/2014/main" id="{A18E6809-1191-35DA-B642-FB3EB4A7285D}"/>
                </a:ext>
              </a:extLst>
            </p:cNvPr>
            <p:cNvSpPr/>
            <p:nvPr/>
          </p:nvSpPr>
          <p:spPr>
            <a:xfrm>
              <a:off x="457687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6" name="object 216">
              <a:extLst>
                <a:ext uri="{FF2B5EF4-FFF2-40B4-BE49-F238E27FC236}">
                  <a16:creationId xmlns:a16="http://schemas.microsoft.com/office/drawing/2014/main" id="{30BCEFE9-1730-1E2A-57AC-4C6FA9C845A4}"/>
                </a:ext>
              </a:extLst>
            </p:cNvPr>
            <p:cNvSpPr/>
            <p:nvPr/>
          </p:nvSpPr>
          <p:spPr>
            <a:xfrm>
              <a:off x="4611895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7" name="object 217">
              <a:extLst>
                <a:ext uri="{FF2B5EF4-FFF2-40B4-BE49-F238E27FC236}">
                  <a16:creationId xmlns:a16="http://schemas.microsoft.com/office/drawing/2014/main" id="{BE1B42CC-D65B-746D-D5F1-967117EED0D7}"/>
                </a:ext>
              </a:extLst>
            </p:cNvPr>
            <p:cNvSpPr/>
            <p:nvPr/>
          </p:nvSpPr>
          <p:spPr>
            <a:xfrm>
              <a:off x="4716959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8" name="object 218">
              <a:extLst>
                <a:ext uri="{FF2B5EF4-FFF2-40B4-BE49-F238E27FC236}">
                  <a16:creationId xmlns:a16="http://schemas.microsoft.com/office/drawing/2014/main" id="{78891F9F-C76F-4B36-09D2-35C6AF46C471}"/>
                </a:ext>
              </a:extLst>
            </p:cNvPr>
            <p:cNvSpPr/>
            <p:nvPr/>
          </p:nvSpPr>
          <p:spPr>
            <a:xfrm>
              <a:off x="4541989" y="5695221"/>
              <a:ext cx="17520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75204"/>
                <a:gd name="f5" fmla="val 87490"/>
                <a:gd name="f6" fmla="val 174974"/>
                <a:gd name="f7" fmla="abs f0"/>
                <a:gd name="f8" fmla="abs f1"/>
                <a:gd name="f9" fmla="abs f2"/>
                <a:gd name="f10" fmla="*/ f0 1 17520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175204"/>
                <a:gd name="f17" fmla="*/ f11 1 0"/>
                <a:gd name="f18" fmla="*/ f13 1 175204"/>
                <a:gd name="f19" fmla="*/ f14 1 21600"/>
                <a:gd name="f20" fmla="*/ 21600 f14 1"/>
                <a:gd name="f21" fmla="*/ 0 1 f16"/>
                <a:gd name="f22" fmla="*/ 17520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17520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9" name="object 219">
              <a:extLst>
                <a:ext uri="{FF2B5EF4-FFF2-40B4-BE49-F238E27FC236}">
                  <a16:creationId xmlns:a16="http://schemas.microsoft.com/office/drawing/2014/main" id="{0FBFFBA3-B555-3822-B16D-2B55962822BC}"/>
                </a:ext>
              </a:extLst>
            </p:cNvPr>
            <p:cNvSpPr/>
            <p:nvPr/>
          </p:nvSpPr>
          <p:spPr>
            <a:xfrm>
              <a:off x="4192176" y="5668868"/>
              <a:ext cx="52484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865504"/>
                <a:gd name="f4" fmla="val 84454"/>
                <a:gd name="f5" fmla="val 865408"/>
                <a:gd name="f6" fmla="val 84123"/>
                <a:gd name="f7" fmla="*/ f0 1 865504"/>
                <a:gd name="f8" fmla="*/ f1 1 84454"/>
                <a:gd name="f9" fmla="+- f4 0 f2"/>
                <a:gd name="f10" fmla="+- f3 0 f2"/>
                <a:gd name="f11" fmla="*/ f10 1 8655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8655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0" name="object 220">
              <a:extLst>
                <a:ext uri="{FF2B5EF4-FFF2-40B4-BE49-F238E27FC236}">
                  <a16:creationId xmlns:a16="http://schemas.microsoft.com/office/drawing/2014/main" id="{BC7F2A52-A81C-382F-14CD-C4A7743F448C}"/>
                </a:ext>
              </a:extLst>
            </p:cNvPr>
            <p:cNvSpPr/>
            <p:nvPr/>
          </p:nvSpPr>
          <p:spPr>
            <a:xfrm>
              <a:off x="4191993" y="5740795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4"/>
                <a:gd name="f5" fmla="val 576307"/>
                <a:gd name="f6" fmla="val 84123"/>
                <a:gd name="f7" fmla="*/ f0 1 576579"/>
                <a:gd name="f8" fmla="*/ f1 1 84454"/>
                <a:gd name="f9" fmla="+- f4 0 f2"/>
                <a:gd name="f10" fmla="+- f3 0 f2"/>
                <a:gd name="f11" fmla="*/ f10 1 576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1" name="object 221">
              <a:extLst>
                <a:ext uri="{FF2B5EF4-FFF2-40B4-BE49-F238E27FC236}">
                  <a16:creationId xmlns:a16="http://schemas.microsoft.com/office/drawing/2014/main" id="{5D9E379F-71F7-134C-2B75-0C6B3992727A}"/>
                </a:ext>
              </a:extLst>
            </p:cNvPr>
            <p:cNvSpPr/>
            <p:nvPr/>
          </p:nvSpPr>
          <p:spPr>
            <a:xfrm>
              <a:off x="4471434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2" name="object 222">
              <a:extLst>
                <a:ext uri="{FF2B5EF4-FFF2-40B4-BE49-F238E27FC236}">
                  <a16:creationId xmlns:a16="http://schemas.microsoft.com/office/drawing/2014/main" id="{6E3759C4-4A9E-4C23-584E-7451C00551DE}"/>
                </a:ext>
              </a:extLst>
            </p:cNvPr>
            <p:cNvSpPr/>
            <p:nvPr/>
          </p:nvSpPr>
          <p:spPr>
            <a:xfrm>
              <a:off x="4506455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3" name="object 223">
              <a:extLst>
                <a:ext uri="{FF2B5EF4-FFF2-40B4-BE49-F238E27FC236}">
                  <a16:creationId xmlns:a16="http://schemas.microsoft.com/office/drawing/2014/main" id="{9F0A9298-EFFF-E356-AD07-784BCB2CCF22}"/>
                </a:ext>
              </a:extLst>
            </p:cNvPr>
            <p:cNvSpPr/>
            <p:nvPr/>
          </p:nvSpPr>
          <p:spPr>
            <a:xfrm>
              <a:off x="4401391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4" name="object 224">
              <a:extLst>
                <a:ext uri="{FF2B5EF4-FFF2-40B4-BE49-F238E27FC236}">
                  <a16:creationId xmlns:a16="http://schemas.microsoft.com/office/drawing/2014/main" id="{07B7830A-2FD6-D048-47F9-620891E3814F}"/>
                </a:ext>
              </a:extLst>
            </p:cNvPr>
            <p:cNvSpPr/>
            <p:nvPr/>
          </p:nvSpPr>
          <p:spPr>
            <a:xfrm>
              <a:off x="4296317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5" name="object 225">
              <a:extLst>
                <a:ext uri="{FF2B5EF4-FFF2-40B4-BE49-F238E27FC236}">
                  <a16:creationId xmlns:a16="http://schemas.microsoft.com/office/drawing/2014/main" id="{936F7A4E-4CF8-EDE1-E1C4-4D995629FD3E}"/>
                </a:ext>
              </a:extLst>
            </p:cNvPr>
            <p:cNvSpPr/>
            <p:nvPr/>
          </p:nvSpPr>
          <p:spPr>
            <a:xfrm>
              <a:off x="4331412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6" name="object 226">
              <a:extLst>
                <a:ext uri="{FF2B5EF4-FFF2-40B4-BE49-F238E27FC236}">
                  <a16:creationId xmlns:a16="http://schemas.microsoft.com/office/drawing/2014/main" id="{EACEAD33-245B-D6FF-1435-ADD70F252232}"/>
                </a:ext>
              </a:extLst>
            </p:cNvPr>
            <p:cNvSpPr/>
            <p:nvPr/>
          </p:nvSpPr>
          <p:spPr>
            <a:xfrm>
              <a:off x="4226274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7" name="object 227">
              <a:extLst>
                <a:ext uri="{FF2B5EF4-FFF2-40B4-BE49-F238E27FC236}">
                  <a16:creationId xmlns:a16="http://schemas.microsoft.com/office/drawing/2014/main" id="{1CD15A40-D445-0574-D770-7964B3B061A8}"/>
                </a:ext>
              </a:extLst>
            </p:cNvPr>
            <p:cNvSpPr/>
            <p:nvPr/>
          </p:nvSpPr>
          <p:spPr>
            <a:xfrm>
              <a:off x="4436412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8" name="object 228">
              <a:extLst>
                <a:ext uri="{FF2B5EF4-FFF2-40B4-BE49-F238E27FC236}">
                  <a16:creationId xmlns:a16="http://schemas.microsoft.com/office/drawing/2014/main" id="{1FEBC870-FA74-E100-FE70-D590C1559497}"/>
                </a:ext>
              </a:extLst>
            </p:cNvPr>
            <p:cNvSpPr/>
            <p:nvPr/>
          </p:nvSpPr>
          <p:spPr>
            <a:xfrm>
              <a:off x="4261296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9" name="object 229">
              <a:extLst>
                <a:ext uri="{FF2B5EF4-FFF2-40B4-BE49-F238E27FC236}">
                  <a16:creationId xmlns:a16="http://schemas.microsoft.com/office/drawing/2014/main" id="{6B703E5A-DCF9-0127-731D-37BD9CD6C3F4}"/>
                </a:ext>
              </a:extLst>
            </p:cNvPr>
            <p:cNvSpPr/>
            <p:nvPr/>
          </p:nvSpPr>
          <p:spPr>
            <a:xfrm>
              <a:off x="4541477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0" name="object 230">
              <a:extLst>
                <a:ext uri="{FF2B5EF4-FFF2-40B4-BE49-F238E27FC236}">
                  <a16:creationId xmlns:a16="http://schemas.microsoft.com/office/drawing/2014/main" id="{1799B0A6-FEA0-B99C-FBA0-253D48FFFE47}"/>
                </a:ext>
              </a:extLst>
            </p:cNvPr>
            <p:cNvSpPr/>
            <p:nvPr/>
          </p:nvSpPr>
          <p:spPr>
            <a:xfrm>
              <a:off x="4366506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1" name="object 231">
              <a:extLst>
                <a:ext uri="{FF2B5EF4-FFF2-40B4-BE49-F238E27FC236}">
                  <a16:creationId xmlns:a16="http://schemas.microsoft.com/office/drawing/2014/main" id="{3C1E9FDC-8663-6006-8A9F-9B8430AAE01F}"/>
                </a:ext>
              </a:extLst>
            </p:cNvPr>
            <p:cNvSpPr/>
            <p:nvPr/>
          </p:nvSpPr>
          <p:spPr>
            <a:xfrm>
              <a:off x="4191536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2" name="object 232">
              <a:extLst>
                <a:ext uri="{FF2B5EF4-FFF2-40B4-BE49-F238E27FC236}">
                  <a16:creationId xmlns:a16="http://schemas.microsoft.com/office/drawing/2014/main" id="{5A450C78-35F4-0514-93FA-46FB37C18DA7}"/>
                </a:ext>
              </a:extLst>
            </p:cNvPr>
            <p:cNvSpPr/>
            <p:nvPr/>
          </p:nvSpPr>
          <p:spPr>
            <a:xfrm>
              <a:off x="4366506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3" name="object 233">
              <a:extLst>
                <a:ext uri="{FF2B5EF4-FFF2-40B4-BE49-F238E27FC236}">
                  <a16:creationId xmlns:a16="http://schemas.microsoft.com/office/drawing/2014/main" id="{9B32D0FD-4A9A-0C87-E5C5-9B621B273E17}"/>
                </a:ext>
              </a:extLst>
            </p:cNvPr>
            <p:cNvSpPr/>
            <p:nvPr/>
          </p:nvSpPr>
          <p:spPr>
            <a:xfrm>
              <a:off x="4191527" y="576629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3"/>
                <a:gd name="f5" fmla="val 174974"/>
                <a:gd name="f6" fmla="val 349942"/>
                <a:gd name="f7" fmla="abs f0"/>
                <a:gd name="f8" fmla="abs f1"/>
                <a:gd name="f9" fmla="abs f2"/>
                <a:gd name="f10" fmla="*/ f0 1 350023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3"/>
                <a:gd name="f17" fmla="*/ f11 1 0"/>
                <a:gd name="f18" fmla="*/ f13 1 350023"/>
                <a:gd name="f19" fmla="*/ f14 1 21600"/>
                <a:gd name="f20" fmla="*/ 21600 f14 1"/>
                <a:gd name="f21" fmla="*/ 0 1 f16"/>
                <a:gd name="f22" fmla="*/ 350023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3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234" name="object 234">
            <a:extLst>
              <a:ext uri="{FF2B5EF4-FFF2-40B4-BE49-F238E27FC236}">
                <a16:creationId xmlns:a16="http://schemas.microsoft.com/office/drawing/2014/main" id="{B68FE17D-C15A-57FA-6816-F64416862EBF}"/>
              </a:ext>
            </a:extLst>
          </p:cNvPr>
          <p:cNvSpPr txBox="1"/>
          <p:nvPr/>
        </p:nvSpPr>
        <p:spPr>
          <a:xfrm>
            <a:off x="2450454" y="106778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35" name="object 235">
            <a:extLst>
              <a:ext uri="{FF2B5EF4-FFF2-40B4-BE49-F238E27FC236}">
                <a16:creationId xmlns:a16="http://schemas.microsoft.com/office/drawing/2014/main" id="{73D58E68-617D-6F1C-BB9F-47C1DA61F93A}"/>
              </a:ext>
            </a:extLst>
          </p:cNvPr>
          <p:cNvSpPr txBox="1"/>
          <p:nvPr/>
        </p:nvSpPr>
        <p:spPr>
          <a:xfrm>
            <a:off x="2450454" y="182971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36" name="object 236">
            <a:extLst>
              <a:ext uri="{FF2B5EF4-FFF2-40B4-BE49-F238E27FC236}">
                <a16:creationId xmlns:a16="http://schemas.microsoft.com/office/drawing/2014/main" id="{65C1337B-92F9-B552-B833-4917B6232EDD}"/>
              </a:ext>
            </a:extLst>
          </p:cNvPr>
          <p:cNvSpPr txBox="1"/>
          <p:nvPr/>
        </p:nvSpPr>
        <p:spPr>
          <a:xfrm>
            <a:off x="2450454" y="259586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37" name="object 237">
            <a:extLst>
              <a:ext uri="{FF2B5EF4-FFF2-40B4-BE49-F238E27FC236}">
                <a16:creationId xmlns:a16="http://schemas.microsoft.com/office/drawing/2014/main" id="{8AF67C42-F998-F68E-F178-422B3C8FAD66}"/>
              </a:ext>
            </a:extLst>
          </p:cNvPr>
          <p:cNvSpPr txBox="1"/>
          <p:nvPr/>
        </p:nvSpPr>
        <p:spPr>
          <a:xfrm>
            <a:off x="2450454" y="336064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38" name="object 238">
            <a:extLst>
              <a:ext uri="{FF2B5EF4-FFF2-40B4-BE49-F238E27FC236}">
                <a16:creationId xmlns:a16="http://schemas.microsoft.com/office/drawing/2014/main" id="{D6E14508-8431-2A97-9E28-E0960AA2D06E}"/>
              </a:ext>
            </a:extLst>
          </p:cNvPr>
          <p:cNvSpPr txBox="1"/>
          <p:nvPr/>
        </p:nvSpPr>
        <p:spPr>
          <a:xfrm>
            <a:off x="3272957" y="106721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39" name="object 239">
            <a:extLst>
              <a:ext uri="{FF2B5EF4-FFF2-40B4-BE49-F238E27FC236}">
                <a16:creationId xmlns:a16="http://schemas.microsoft.com/office/drawing/2014/main" id="{76915F21-08CE-CB6D-D3C0-8CBEBA9DE130}"/>
              </a:ext>
            </a:extLst>
          </p:cNvPr>
          <p:cNvSpPr txBox="1"/>
          <p:nvPr/>
        </p:nvSpPr>
        <p:spPr>
          <a:xfrm>
            <a:off x="3272957" y="18291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0" name="object 240">
            <a:extLst>
              <a:ext uri="{FF2B5EF4-FFF2-40B4-BE49-F238E27FC236}">
                <a16:creationId xmlns:a16="http://schemas.microsoft.com/office/drawing/2014/main" id="{AB7B2237-8123-17E9-6625-6517C7D781B8}"/>
              </a:ext>
            </a:extLst>
          </p:cNvPr>
          <p:cNvSpPr txBox="1"/>
          <p:nvPr/>
        </p:nvSpPr>
        <p:spPr>
          <a:xfrm>
            <a:off x="3272957" y="25952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1" name="object 241">
            <a:extLst>
              <a:ext uri="{FF2B5EF4-FFF2-40B4-BE49-F238E27FC236}">
                <a16:creationId xmlns:a16="http://schemas.microsoft.com/office/drawing/2014/main" id="{58E7B3A1-6B4E-30BD-CD8D-5B830EB7E45D}"/>
              </a:ext>
            </a:extLst>
          </p:cNvPr>
          <p:cNvSpPr txBox="1"/>
          <p:nvPr/>
        </p:nvSpPr>
        <p:spPr>
          <a:xfrm>
            <a:off x="3272957" y="336008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2" name="object 242">
            <a:extLst>
              <a:ext uri="{FF2B5EF4-FFF2-40B4-BE49-F238E27FC236}">
                <a16:creationId xmlns:a16="http://schemas.microsoft.com/office/drawing/2014/main" id="{5254CA22-58A7-1D08-04F7-F5A3D108BF3F}"/>
              </a:ext>
            </a:extLst>
          </p:cNvPr>
          <p:cNvSpPr txBox="1"/>
          <p:nvPr/>
        </p:nvSpPr>
        <p:spPr>
          <a:xfrm>
            <a:off x="3272957" y="412812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3" name="object 243">
            <a:extLst>
              <a:ext uri="{FF2B5EF4-FFF2-40B4-BE49-F238E27FC236}">
                <a16:creationId xmlns:a16="http://schemas.microsoft.com/office/drawing/2014/main" id="{0F346FA0-977B-B722-A00C-3F555D5CD7C5}"/>
              </a:ext>
            </a:extLst>
          </p:cNvPr>
          <p:cNvSpPr txBox="1"/>
          <p:nvPr/>
        </p:nvSpPr>
        <p:spPr>
          <a:xfrm>
            <a:off x="3272957" y="488867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4" name="object 244">
            <a:extLst>
              <a:ext uri="{FF2B5EF4-FFF2-40B4-BE49-F238E27FC236}">
                <a16:creationId xmlns:a16="http://schemas.microsoft.com/office/drawing/2014/main" id="{997DE776-A1E8-B885-2950-27726809E3F1}"/>
              </a:ext>
            </a:extLst>
          </p:cNvPr>
          <p:cNvSpPr txBox="1"/>
          <p:nvPr/>
        </p:nvSpPr>
        <p:spPr>
          <a:xfrm>
            <a:off x="4096201" y="10677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5" name="object 245">
            <a:extLst>
              <a:ext uri="{FF2B5EF4-FFF2-40B4-BE49-F238E27FC236}">
                <a16:creationId xmlns:a16="http://schemas.microsoft.com/office/drawing/2014/main" id="{D550E3A3-B2C4-CB0B-6A23-A4AA9C8C7614}"/>
              </a:ext>
            </a:extLst>
          </p:cNvPr>
          <p:cNvSpPr txBox="1"/>
          <p:nvPr/>
        </p:nvSpPr>
        <p:spPr>
          <a:xfrm>
            <a:off x="4096201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6" name="object 246">
            <a:extLst>
              <a:ext uri="{FF2B5EF4-FFF2-40B4-BE49-F238E27FC236}">
                <a16:creationId xmlns:a16="http://schemas.microsoft.com/office/drawing/2014/main" id="{CBAA49E9-6D06-5DEF-DA7E-DC3343A723EB}"/>
              </a:ext>
            </a:extLst>
          </p:cNvPr>
          <p:cNvSpPr txBox="1"/>
          <p:nvPr/>
        </p:nvSpPr>
        <p:spPr>
          <a:xfrm>
            <a:off x="4096201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7" name="object 247">
            <a:extLst>
              <a:ext uri="{FF2B5EF4-FFF2-40B4-BE49-F238E27FC236}">
                <a16:creationId xmlns:a16="http://schemas.microsoft.com/office/drawing/2014/main" id="{0CB698A2-9C99-1DB7-92EE-747F716B152D}"/>
              </a:ext>
            </a:extLst>
          </p:cNvPr>
          <p:cNvSpPr txBox="1"/>
          <p:nvPr/>
        </p:nvSpPr>
        <p:spPr>
          <a:xfrm>
            <a:off x="4096201" y="336059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8" name="object 248">
            <a:extLst>
              <a:ext uri="{FF2B5EF4-FFF2-40B4-BE49-F238E27FC236}">
                <a16:creationId xmlns:a16="http://schemas.microsoft.com/office/drawing/2014/main" id="{A3A5D7CA-B777-D724-E920-0DB524BF696F}"/>
              </a:ext>
            </a:extLst>
          </p:cNvPr>
          <p:cNvSpPr txBox="1"/>
          <p:nvPr/>
        </p:nvSpPr>
        <p:spPr>
          <a:xfrm>
            <a:off x="4096201" y="412863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9" name="object 249">
            <a:extLst>
              <a:ext uri="{FF2B5EF4-FFF2-40B4-BE49-F238E27FC236}">
                <a16:creationId xmlns:a16="http://schemas.microsoft.com/office/drawing/2014/main" id="{91E63D05-B188-E534-10DA-B6ABBFFA6F5B}"/>
              </a:ext>
            </a:extLst>
          </p:cNvPr>
          <p:cNvSpPr txBox="1"/>
          <p:nvPr/>
        </p:nvSpPr>
        <p:spPr>
          <a:xfrm>
            <a:off x="4080317" y="4889196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4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0" name="object 250">
            <a:extLst>
              <a:ext uri="{FF2B5EF4-FFF2-40B4-BE49-F238E27FC236}">
                <a16:creationId xmlns:a16="http://schemas.microsoft.com/office/drawing/2014/main" id="{C9F023EC-981E-6544-8E22-85CB49995CE4}"/>
              </a:ext>
            </a:extLst>
          </p:cNvPr>
          <p:cNvSpPr txBox="1"/>
          <p:nvPr/>
        </p:nvSpPr>
        <p:spPr>
          <a:xfrm>
            <a:off x="4064087" y="5651403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2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1" name="object 251">
            <a:extLst>
              <a:ext uri="{FF2B5EF4-FFF2-40B4-BE49-F238E27FC236}">
                <a16:creationId xmlns:a16="http://schemas.microsoft.com/office/drawing/2014/main" id="{61332041-F2A0-8739-91EF-D616D3D664CB}"/>
              </a:ext>
            </a:extLst>
          </p:cNvPr>
          <p:cNvSpPr txBox="1"/>
          <p:nvPr/>
        </p:nvSpPr>
        <p:spPr>
          <a:xfrm>
            <a:off x="4914479" y="1067726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2" name="object 252">
            <a:extLst>
              <a:ext uri="{FF2B5EF4-FFF2-40B4-BE49-F238E27FC236}">
                <a16:creationId xmlns:a16="http://schemas.microsoft.com/office/drawing/2014/main" id="{AEE4F876-F6EB-993C-A3DB-E8B78FC00ECC}"/>
              </a:ext>
            </a:extLst>
          </p:cNvPr>
          <p:cNvSpPr txBox="1"/>
          <p:nvPr/>
        </p:nvSpPr>
        <p:spPr>
          <a:xfrm>
            <a:off x="4914479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3" name="object 253">
            <a:extLst>
              <a:ext uri="{FF2B5EF4-FFF2-40B4-BE49-F238E27FC236}">
                <a16:creationId xmlns:a16="http://schemas.microsoft.com/office/drawing/2014/main" id="{0AB741F2-41FD-01A7-A811-B455D7A8479D}"/>
              </a:ext>
            </a:extLst>
          </p:cNvPr>
          <p:cNvSpPr txBox="1"/>
          <p:nvPr/>
        </p:nvSpPr>
        <p:spPr>
          <a:xfrm>
            <a:off x="4914479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4" name="object 254">
            <a:extLst>
              <a:ext uri="{FF2B5EF4-FFF2-40B4-BE49-F238E27FC236}">
                <a16:creationId xmlns:a16="http://schemas.microsoft.com/office/drawing/2014/main" id="{EE90FE51-F1E8-1D83-AAB9-793F4219A51C}"/>
              </a:ext>
            </a:extLst>
          </p:cNvPr>
          <p:cNvSpPr txBox="1"/>
          <p:nvPr/>
        </p:nvSpPr>
        <p:spPr>
          <a:xfrm>
            <a:off x="4914479" y="336059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5" name="object 255">
            <a:extLst>
              <a:ext uri="{FF2B5EF4-FFF2-40B4-BE49-F238E27FC236}">
                <a16:creationId xmlns:a16="http://schemas.microsoft.com/office/drawing/2014/main" id="{DB896DB6-4ACD-909E-E4F2-09B038B887E5}"/>
              </a:ext>
            </a:extLst>
          </p:cNvPr>
          <p:cNvSpPr txBox="1"/>
          <p:nvPr/>
        </p:nvSpPr>
        <p:spPr>
          <a:xfrm>
            <a:off x="4914479" y="412863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6" name="object 256">
            <a:extLst>
              <a:ext uri="{FF2B5EF4-FFF2-40B4-BE49-F238E27FC236}">
                <a16:creationId xmlns:a16="http://schemas.microsoft.com/office/drawing/2014/main" id="{960E4896-B8D9-071C-776F-FD6B1FD92BCB}"/>
              </a:ext>
            </a:extLst>
          </p:cNvPr>
          <p:cNvSpPr txBox="1"/>
          <p:nvPr/>
        </p:nvSpPr>
        <p:spPr>
          <a:xfrm>
            <a:off x="4917679" y="488919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7" name="object 257">
            <a:extLst>
              <a:ext uri="{FF2B5EF4-FFF2-40B4-BE49-F238E27FC236}">
                <a16:creationId xmlns:a16="http://schemas.microsoft.com/office/drawing/2014/main" id="{7E3E2099-8FF8-CF06-7F4D-41BD5A08B18E}"/>
              </a:ext>
            </a:extLst>
          </p:cNvPr>
          <p:cNvSpPr txBox="1"/>
          <p:nvPr/>
        </p:nvSpPr>
        <p:spPr>
          <a:xfrm>
            <a:off x="4898303" y="565140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8" name="object 258">
            <a:extLst>
              <a:ext uri="{FF2B5EF4-FFF2-40B4-BE49-F238E27FC236}">
                <a16:creationId xmlns:a16="http://schemas.microsoft.com/office/drawing/2014/main" id="{BA441055-A8C5-05F0-B4A7-F703C24BFC19}"/>
              </a:ext>
            </a:extLst>
          </p:cNvPr>
          <p:cNvSpPr txBox="1"/>
          <p:nvPr/>
        </p:nvSpPr>
        <p:spPr>
          <a:xfrm>
            <a:off x="5737832" y="10677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9" name="object 259">
            <a:extLst>
              <a:ext uri="{FF2B5EF4-FFF2-40B4-BE49-F238E27FC236}">
                <a16:creationId xmlns:a16="http://schemas.microsoft.com/office/drawing/2014/main" id="{38F5A979-6E41-AF94-EAE5-D6FBE2303E33}"/>
              </a:ext>
            </a:extLst>
          </p:cNvPr>
          <p:cNvSpPr txBox="1"/>
          <p:nvPr/>
        </p:nvSpPr>
        <p:spPr>
          <a:xfrm>
            <a:off x="5737832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0" name="object 260">
            <a:extLst>
              <a:ext uri="{FF2B5EF4-FFF2-40B4-BE49-F238E27FC236}">
                <a16:creationId xmlns:a16="http://schemas.microsoft.com/office/drawing/2014/main" id="{47A1EF03-778F-58F1-DF21-610865C09BC6}"/>
              </a:ext>
            </a:extLst>
          </p:cNvPr>
          <p:cNvSpPr txBox="1"/>
          <p:nvPr/>
        </p:nvSpPr>
        <p:spPr>
          <a:xfrm>
            <a:off x="5737832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1" name="object 261">
            <a:extLst>
              <a:ext uri="{FF2B5EF4-FFF2-40B4-BE49-F238E27FC236}">
                <a16:creationId xmlns:a16="http://schemas.microsoft.com/office/drawing/2014/main" id="{987374DC-3D4D-6059-46E9-9A0B994F2D2D}"/>
              </a:ext>
            </a:extLst>
          </p:cNvPr>
          <p:cNvSpPr txBox="1"/>
          <p:nvPr/>
        </p:nvSpPr>
        <p:spPr>
          <a:xfrm>
            <a:off x="5737832" y="336059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2" name="object 262">
            <a:extLst>
              <a:ext uri="{FF2B5EF4-FFF2-40B4-BE49-F238E27FC236}">
                <a16:creationId xmlns:a16="http://schemas.microsoft.com/office/drawing/2014/main" id="{719CAF65-1FBB-6B27-B7A5-6F2439480675}"/>
              </a:ext>
            </a:extLst>
          </p:cNvPr>
          <p:cNvSpPr txBox="1"/>
          <p:nvPr/>
        </p:nvSpPr>
        <p:spPr>
          <a:xfrm>
            <a:off x="6553879" y="10677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3" name="object 263">
            <a:extLst>
              <a:ext uri="{FF2B5EF4-FFF2-40B4-BE49-F238E27FC236}">
                <a16:creationId xmlns:a16="http://schemas.microsoft.com/office/drawing/2014/main" id="{6FA56FBE-D2AF-268A-BC01-EB658AD9985B}"/>
              </a:ext>
            </a:extLst>
          </p:cNvPr>
          <p:cNvSpPr txBox="1"/>
          <p:nvPr/>
        </p:nvSpPr>
        <p:spPr>
          <a:xfrm>
            <a:off x="6553879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5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4" name="object 264">
            <a:extLst>
              <a:ext uri="{FF2B5EF4-FFF2-40B4-BE49-F238E27FC236}">
                <a16:creationId xmlns:a16="http://schemas.microsoft.com/office/drawing/2014/main" id="{D33B3AD3-18B7-4BEA-50A7-A35983FC9801}"/>
              </a:ext>
            </a:extLst>
          </p:cNvPr>
          <p:cNvSpPr txBox="1"/>
          <p:nvPr/>
        </p:nvSpPr>
        <p:spPr>
          <a:xfrm>
            <a:off x="6557080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5" name="object 265">
            <a:extLst>
              <a:ext uri="{FF2B5EF4-FFF2-40B4-BE49-F238E27FC236}">
                <a16:creationId xmlns:a16="http://schemas.microsoft.com/office/drawing/2014/main" id="{5D6E9082-294D-DF5B-5E79-9101450D2BC0}"/>
              </a:ext>
            </a:extLst>
          </p:cNvPr>
          <p:cNvSpPr txBox="1"/>
          <p:nvPr/>
        </p:nvSpPr>
        <p:spPr>
          <a:xfrm>
            <a:off x="7382957" y="106767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6" name="object 266">
            <a:extLst>
              <a:ext uri="{FF2B5EF4-FFF2-40B4-BE49-F238E27FC236}">
                <a16:creationId xmlns:a16="http://schemas.microsoft.com/office/drawing/2014/main" id="{278B2FAC-196F-106A-5277-6D3040CBB747}"/>
              </a:ext>
            </a:extLst>
          </p:cNvPr>
          <p:cNvSpPr txBox="1"/>
          <p:nvPr/>
        </p:nvSpPr>
        <p:spPr>
          <a:xfrm>
            <a:off x="7382957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7" name="object 267">
            <a:extLst>
              <a:ext uri="{FF2B5EF4-FFF2-40B4-BE49-F238E27FC236}">
                <a16:creationId xmlns:a16="http://schemas.microsoft.com/office/drawing/2014/main" id="{BEE38B61-3975-8C0D-B0A5-54BB2FFA91FE}"/>
              </a:ext>
            </a:extLst>
          </p:cNvPr>
          <p:cNvSpPr txBox="1"/>
          <p:nvPr/>
        </p:nvSpPr>
        <p:spPr>
          <a:xfrm>
            <a:off x="7386157" y="259575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8" name="object 268">
            <a:extLst>
              <a:ext uri="{FF2B5EF4-FFF2-40B4-BE49-F238E27FC236}">
                <a16:creationId xmlns:a16="http://schemas.microsoft.com/office/drawing/2014/main" id="{E3519C06-16E2-DE1F-EF00-6CECE4F23B01}"/>
              </a:ext>
            </a:extLst>
          </p:cNvPr>
          <p:cNvSpPr txBox="1"/>
          <p:nvPr/>
        </p:nvSpPr>
        <p:spPr>
          <a:xfrm>
            <a:off x="6553879" y="33605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9" name="object 269">
            <a:extLst>
              <a:ext uri="{FF2B5EF4-FFF2-40B4-BE49-F238E27FC236}">
                <a16:creationId xmlns:a16="http://schemas.microsoft.com/office/drawing/2014/main" id="{12908BE6-E519-D544-AA19-41FEA6ADEFD1}"/>
              </a:ext>
            </a:extLst>
          </p:cNvPr>
          <p:cNvSpPr txBox="1"/>
          <p:nvPr/>
        </p:nvSpPr>
        <p:spPr>
          <a:xfrm>
            <a:off x="5734696" y="4128580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0" name="object 270">
            <a:extLst>
              <a:ext uri="{FF2B5EF4-FFF2-40B4-BE49-F238E27FC236}">
                <a16:creationId xmlns:a16="http://schemas.microsoft.com/office/drawing/2014/main" id="{C5C0869C-A6DA-FEBF-BE75-F09B5FD2C6DF}"/>
              </a:ext>
            </a:extLst>
          </p:cNvPr>
          <p:cNvSpPr txBox="1"/>
          <p:nvPr/>
        </p:nvSpPr>
        <p:spPr>
          <a:xfrm>
            <a:off x="5731495" y="488913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1" name="object 271">
            <a:extLst>
              <a:ext uri="{FF2B5EF4-FFF2-40B4-BE49-F238E27FC236}">
                <a16:creationId xmlns:a16="http://schemas.microsoft.com/office/drawing/2014/main" id="{B37EBF39-71FD-968C-1AED-B646F3DB0D61}"/>
              </a:ext>
            </a:extLst>
          </p:cNvPr>
          <p:cNvSpPr txBox="1"/>
          <p:nvPr/>
        </p:nvSpPr>
        <p:spPr>
          <a:xfrm>
            <a:off x="8200714" y="1067671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2" name="object 272">
            <a:extLst>
              <a:ext uri="{FF2B5EF4-FFF2-40B4-BE49-F238E27FC236}">
                <a16:creationId xmlns:a16="http://schemas.microsoft.com/office/drawing/2014/main" id="{8045D8DD-D90C-E05E-56BA-C3C6A5C2951E}"/>
              </a:ext>
            </a:extLst>
          </p:cNvPr>
          <p:cNvSpPr txBox="1"/>
          <p:nvPr/>
        </p:nvSpPr>
        <p:spPr>
          <a:xfrm>
            <a:off x="8200714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3" name="object 273">
            <a:extLst>
              <a:ext uri="{FF2B5EF4-FFF2-40B4-BE49-F238E27FC236}">
                <a16:creationId xmlns:a16="http://schemas.microsoft.com/office/drawing/2014/main" id="{363FC386-E88E-10D6-66AE-CCF82694DFD9}"/>
              </a:ext>
            </a:extLst>
          </p:cNvPr>
          <p:cNvSpPr txBox="1"/>
          <p:nvPr/>
        </p:nvSpPr>
        <p:spPr>
          <a:xfrm>
            <a:off x="8200714" y="259575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4" name="object 274">
            <a:extLst>
              <a:ext uri="{FF2B5EF4-FFF2-40B4-BE49-F238E27FC236}">
                <a16:creationId xmlns:a16="http://schemas.microsoft.com/office/drawing/2014/main" id="{2A6EE82A-CB9D-92C5-AC15-39E977F26E34}"/>
              </a:ext>
            </a:extLst>
          </p:cNvPr>
          <p:cNvSpPr txBox="1"/>
          <p:nvPr/>
        </p:nvSpPr>
        <p:spPr>
          <a:xfrm>
            <a:off x="8200714" y="33605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5" name="object 275">
            <a:extLst>
              <a:ext uri="{FF2B5EF4-FFF2-40B4-BE49-F238E27FC236}">
                <a16:creationId xmlns:a16="http://schemas.microsoft.com/office/drawing/2014/main" id="{571480E6-121F-61FF-84F0-7F4721D23898}"/>
              </a:ext>
            </a:extLst>
          </p:cNvPr>
          <p:cNvSpPr txBox="1"/>
          <p:nvPr/>
        </p:nvSpPr>
        <p:spPr>
          <a:xfrm>
            <a:off x="9026133" y="106767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6" name="object 276">
            <a:extLst>
              <a:ext uri="{FF2B5EF4-FFF2-40B4-BE49-F238E27FC236}">
                <a16:creationId xmlns:a16="http://schemas.microsoft.com/office/drawing/2014/main" id="{F623B908-A9A2-6C07-7B26-C23FA7E95AE5}"/>
              </a:ext>
            </a:extLst>
          </p:cNvPr>
          <p:cNvSpPr txBox="1"/>
          <p:nvPr/>
        </p:nvSpPr>
        <p:spPr>
          <a:xfrm>
            <a:off x="9026133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7" name="object 277">
            <a:extLst>
              <a:ext uri="{FF2B5EF4-FFF2-40B4-BE49-F238E27FC236}">
                <a16:creationId xmlns:a16="http://schemas.microsoft.com/office/drawing/2014/main" id="{5171465C-5F27-251E-1685-B8414EE3193C}"/>
              </a:ext>
            </a:extLst>
          </p:cNvPr>
          <p:cNvSpPr txBox="1"/>
          <p:nvPr/>
        </p:nvSpPr>
        <p:spPr>
          <a:xfrm>
            <a:off x="9017785" y="2595752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0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8" name="object 278">
            <a:extLst>
              <a:ext uri="{FF2B5EF4-FFF2-40B4-BE49-F238E27FC236}">
                <a16:creationId xmlns:a16="http://schemas.microsoft.com/office/drawing/2014/main" id="{53B8FF9C-65D1-6725-5FD9-BA200A429A35}"/>
              </a:ext>
            </a:extLst>
          </p:cNvPr>
          <p:cNvSpPr txBox="1"/>
          <p:nvPr/>
        </p:nvSpPr>
        <p:spPr>
          <a:xfrm>
            <a:off x="9026133" y="33605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9" name="object 279">
            <a:extLst>
              <a:ext uri="{FF2B5EF4-FFF2-40B4-BE49-F238E27FC236}">
                <a16:creationId xmlns:a16="http://schemas.microsoft.com/office/drawing/2014/main" id="{913A8745-4F10-3E2A-110C-44A2F4A87E0C}"/>
              </a:ext>
            </a:extLst>
          </p:cNvPr>
          <p:cNvSpPr txBox="1"/>
          <p:nvPr/>
        </p:nvSpPr>
        <p:spPr>
          <a:xfrm>
            <a:off x="9026133" y="412921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0" name="object 280">
            <a:extLst>
              <a:ext uri="{FF2B5EF4-FFF2-40B4-BE49-F238E27FC236}">
                <a16:creationId xmlns:a16="http://schemas.microsoft.com/office/drawing/2014/main" id="{08869EE0-55A9-E983-E6D0-E119AA87FA03}"/>
              </a:ext>
            </a:extLst>
          </p:cNvPr>
          <p:cNvSpPr txBox="1"/>
          <p:nvPr/>
        </p:nvSpPr>
        <p:spPr>
          <a:xfrm>
            <a:off x="9026133" y="489113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1" name="object 281">
            <a:extLst>
              <a:ext uri="{FF2B5EF4-FFF2-40B4-BE49-F238E27FC236}">
                <a16:creationId xmlns:a16="http://schemas.microsoft.com/office/drawing/2014/main" id="{C275EC61-61C2-C2DE-7678-B6375C5D302D}"/>
              </a:ext>
            </a:extLst>
          </p:cNvPr>
          <p:cNvSpPr txBox="1"/>
          <p:nvPr/>
        </p:nvSpPr>
        <p:spPr>
          <a:xfrm>
            <a:off x="9026133" y="5656716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2" name="object 282">
            <a:extLst>
              <a:ext uri="{FF2B5EF4-FFF2-40B4-BE49-F238E27FC236}">
                <a16:creationId xmlns:a16="http://schemas.microsoft.com/office/drawing/2014/main" id="{062E9BB2-8C2C-F2D2-3140-172A3072654E}"/>
              </a:ext>
            </a:extLst>
          </p:cNvPr>
          <p:cNvSpPr txBox="1"/>
          <p:nvPr/>
        </p:nvSpPr>
        <p:spPr>
          <a:xfrm>
            <a:off x="9844979" y="106767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3" name="object 283">
            <a:extLst>
              <a:ext uri="{FF2B5EF4-FFF2-40B4-BE49-F238E27FC236}">
                <a16:creationId xmlns:a16="http://schemas.microsoft.com/office/drawing/2014/main" id="{99B9F4AA-3D5B-CF63-F7FE-94BD14B69675}"/>
              </a:ext>
            </a:extLst>
          </p:cNvPr>
          <p:cNvSpPr txBox="1"/>
          <p:nvPr/>
        </p:nvSpPr>
        <p:spPr>
          <a:xfrm>
            <a:off x="9844979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4" name="object 284">
            <a:extLst>
              <a:ext uri="{FF2B5EF4-FFF2-40B4-BE49-F238E27FC236}">
                <a16:creationId xmlns:a16="http://schemas.microsoft.com/office/drawing/2014/main" id="{2AA5F0DA-A9CC-BB07-9C3F-BAB9EDB64DCD}"/>
              </a:ext>
            </a:extLst>
          </p:cNvPr>
          <p:cNvSpPr txBox="1"/>
          <p:nvPr/>
        </p:nvSpPr>
        <p:spPr>
          <a:xfrm>
            <a:off x="9849944" y="4140467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5" name="object 285">
            <a:extLst>
              <a:ext uri="{FF2B5EF4-FFF2-40B4-BE49-F238E27FC236}">
                <a16:creationId xmlns:a16="http://schemas.microsoft.com/office/drawing/2014/main" id="{8B5401E6-390C-5A28-EAC5-05D8C150A141}"/>
              </a:ext>
            </a:extLst>
          </p:cNvPr>
          <p:cNvSpPr txBox="1"/>
          <p:nvPr/>
        </p:nvSpPr>
        <p:spPr>
          <a:xfrm>
            <a:off x="9849944" y="490239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6" name="object 286">
            <a:extLst>
              <a:ext uri="{FF2B5EF4-FFF2-40B4-BE49-F238E27FC236}">
                <a16:creationId xmlns:a16="http://schemas.microsoft.com/office/drawing/2014/main" id="{5C395137-31C2-5167-6A91-B3D4302AA4FD}"/>
              </a:ext>
            </a:extLst>
          </p:cNvPr>
          <p:cNvSpPr txBox="1"/>
          <p:nvPr/>
        </p:nvSpPr>
        <p:spPr>
          <a:xfrm>
            <a:off x="9844979" y="259517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7" name="object 287">
            <a:extLst>
              <a:ext uri="{FF2B5EF4-FFF2-40B4-BE49-F238E27FC236}">
                <a16:creationId xmlns:a16="http://schemas.microsoft.com/office/drawing/2014/main" id="{0B877225-6865-961D-D4B8-7787E8790EA7}"/>
              </a:ext>
            </a:extLst>
          </p:cNvPr>
          <p:cNvSpPr txBox="1"/>
          <p:nvPr/>
        </p:nvSpPr>
        <p:spPr>
          <a:xfrm>
            <a:off x="8203859" y="412858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8" name="object 288">
            <a:extLst>
              <a:ext uri="{FF2B5EF4-FFF2-40B4-BE49-F238E27FC236}">
                <a16:creationId xmlns:a16="http://schemas.microsoft.com/office/drawing/2014/main" id="{57DABA0C-4551-4A27-567C-98ACAD8AE0A5}"/>
              </a:ext>
            </a:extLst>
          </p:cNvPr>
          <p:cNvSpPr txBox="1"/>
          <p:nvPr/>
        </p:nvSpPr>
        <p:spPr>
          <a:xfrm>
            <a:off x="8200659" y="488913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9" name="object 289">
            <a:extLst>
              <a:ext uri="{FF2B5EF4-FFF2-40B4-BE49-F238E27FC236}">
                <a16:creationId xmlns:a16="http://schemas.microsoft.com/office/drawing/2014/main" id="{AC459D91-498A-EDFA-59B7-39731265A95E}"/>
              </a:ext>
            </a:extLst>
          </p:cNvPr>
          <p:cNvSpPr txBox="1"/>
          <p:nvPr/>
        </p:nvSpPr>
        <p:spPr>
          <a:xfrm>
            <a:off x="5721547" y="565134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90" name="object 290">
            <a:extLst>
              <a:ext uri="{FF2B5EF4-FFF2-40B4-BE49-F238E27FC236}">
                <a16:creationId xmlns:a16="http://schemas.microsoft.com/office/drawing/2014/main" id="{3E4707D2-1953-0EE8-3D5C-89A6768E690A}"/>
              </a:ext>
            </a:extLst>
          </p:cNvPr>
          <p:cNvSpPr txBox="1"/>
          <p:nvPr/>
        </p:nvSpPr>
        <p:spPr>
          <a:xfrm>
            <a:off x="8196827" y="565134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grpSp>
        <p:nvGrpSpPr>
          <p:cNvPr id="291" name="object 291">
            <a:extLst>
              <a:ext uri="{FF2B5EF4-FFF2-40B4-BE49-F238E27FC236}">
                <a16:creationId xmlns:a16="http://schemas.microsoft.com/office/drawing/2014/main" id="{F489428A-9F9F-FF66-BDD0-BC113C126571}"/>
              </a:ext>
            </a:extLst>
          </p:cNvPr>
          <p:cNvGrpSpPr/>
          <p:nvPr/>
        </p:nvGrpSpPr>
        <p:grpSpPr>
          <a:xfrm>
            <a:off x="6656228" y="2852735"/>
            <a:ext cx="350032" cy="350023"/>
            <a:chOff x="6656228" y="2852735"/>
            <a:chExt cx="350032" cy="350023"/>
          </a:xfrm>
        </p:grpSpPr>
        <p:pic>
          <p:nvPicPr>
            <p:cNvPr id="292" name="object 292">
              <a:extLst>
                <a:ext uri="{FF2B5EF4-FFF2-40B4-BE49-F238E27FC236}">
                  <a16:creationId xmlns:a16="http://schemas.microsoft.com/office/drawing/2014/main" id="{521CAF73-3F83-B0A0-2D51-C2E791104A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656228" y="2852735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93" name="object 293">
              <a:extLst>
                <a:ext uri="{FF2B5EF4-FFF2-40B4-BE49-F238E27FC236}">
                  <a16:creationId xmlns:a16="http://schemas.microsoft.com/office/drawing/2014/main" id="{93D2C1C2-C1CA-28AB-0C78-E5118779628C}"/>
                </a:ext>
              </a:extLst>
            </p:cNvPr>
            <p:cNvSpPr/>
            <p:nvPr/>
          </p:nvSpPr>
          <p:spPr>
            <a:xfrm>
              <a:off x="6656237" y="285273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94" name="object 294">
            <a:extLst>
              <a:ext uri="{FF2B5EF4-FFF2-40B4-BE49-F238E27FC236}">
                <a16:creationId xmlns:a16="http://schemas.microsoft.com/office/drawing/2014/main" id="{9DBF2C11-549B-1609-B8AE-E1CDDE7E6ED4}"/>
              </a:ext>
            </a:extLst>
          </p:cNvPr>
          <p:cNvGrpSpPr/>
          <p:nvPr/>
        </p:nvGrpSpPr>
        <p:grpSpPr>
          <a:xfrm>
            <a:off x="8301014" y="1325633"/>
            <a:ext cx="348093" cy="348093"/>
            <a:chOff x="8301014" y="1325633"/>
            <a:chExt cx="348093" cy="348093"/>
          </a:xfrm>
        </p:grpSpPr>
        <p:pic>
          <p:nvPicPr>
            <p:cNvPr id="295" name="object 295">
              <a:extLst>
                <a:ext uri="{FF2B5EF4-FFF2-40B4-BE49-F238E27FC236}">
                  <a16:creationId xmlns:a16="http://schemas.microsoft.com/office/drawing/2014/main" id="{11F18427-2DBE-D673-BB2A-F2C4834831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301014" y="1325642"/>
              <a:ext cx="347956" cy="34796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96" name="object 296">
              <a:extLst>
                <a:ext uri="{FF2B5EF4-FFF2-40B4-BE49-F238E27FC236}">
                  <a16:creationId xmlns:a16="http://schemas.microsoft.com/office/drawing/2014/main" id="{1044277E-D4C4-5CFB-C284-2573C59DB5EE}"/>
                </a:ext>
              </a:extLst>
            </p:cNvPr>
            <p:cNvSpPr/>
            <p:nvPr/>
          </p:nvSpPr>
          <p:spPr>
            <a:xfrm>
              <a:off x="8301014" y="1325633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40"/>
                <a:gd name="f4" fmla="val 574039"/>
                <a:gd name="f5" fmla="val 286912"/>
                <a:gd name="f6" fmla="val 3754"/>
                <a:gd name="f7" fmla="val 333451"/>
                <a:gd name="f8" fmla="val 14626"/>
                <a:gd name="f9" fmla="val 377599"/>
                <a:gd name="f10" fmla="val 32023"/>
                <a:gd name="f11" fmla="val 418767"/>
                <a:gd name="f12" fmla="val 55354"/>
                <a:gd name="f13" fmla="val 456362"/>
                <a:gd name="f14" fmla="val 84031"/>
                <a:gd name="f15" fmla="val 489795"/>
                <a:gd name="f16" fmla="val 117461"/>
                <a:gd name="f17" fmla="val 518474"/>
                <a:gd name="f18" fmla="val 155055"/>
                <a:gd name="f19" fmla="val 541808"/>
                <a:gd name="f20" fmla="val 196222"/>
                <a:gd name="f21" fmla="val 559207"/>
                <a:gd name="f22" fmla="val 240371"/>
                <a:gd name="f23" fmla="val 570080"/>
                <a:gd name="f24" fmla="val 573835"/>
                <a:gd name="f25" fmla="val 377598"/>
                <a:gd name="f26" fmla="val 418764"/>
                <a:gd name="f27" fmla="val 456358"/>
                <a:gd name="f28" fmla="val 489790"/>
                <a:gd name="f29" fmla="val 518467"/>
                <a:gd name="f30" fmla="val 541800"/>
                <a:gd name="f31" fmla="val 559198"/>
                <a:gd name="f32" fmla="val 570070"/>
                <a:gd name="f33" fmla="val 573825"/>
                <a:gd name="f34" fmla="val 240374"/>
                <a:gd name="f35" fmla="val 196226"/>
                <a:gd name="f36" fmla="val 155060"/>
                <a:gd name="f37" fmla="val 117466"/>
                <a:gd name="f38" fmla="val 84035"/>
                <a:gd name="f39" fmla="val 55357"/>
                <a:gd name="f40" fmla="val 32024"/>
                <a:gd name="f41" fmla="val 14627"/>
                <a:gd name="f42" fmla="val 3755"/>
                <a:gd name="f43" fmla="*/ f0 1 574040"/>
                <a:gd name="f44" fmla="*/ f1 1 574039"/>
                <a:gd name="f45" fmla="+- f4 0 f2"/>
                <a:gd name="f46" fmla="+- f3 0 f2"/>
                <a:gd name="f47" fmla="*/ f46 1 574040"/>
                <a:gd name="f48" fmla="*/ f45 1 574039"/>
                <a:gd name="f49" fmla="*/ f2 1 f47"/>
                <a:gd name="f50" fmla="*/ f3 1 f47"/>
                <a:gd name="f51" fmla="*/ f2 1 f48"/>
                <a:gd name="f52" fmla="*/ f4 1 f48"/>
                <a:gd name="f53" fmla="*/ f49 f43 1"/>
                <a:gd name="f54" fmla="*/ f50 f43 1"/>
                <a:gd name="f55" fmla="*/ f52 f44 1"/>
                <a:gd name="f56" fmla="*/ f51 f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3" t="f56" r="f54" b="f55"/>
              <a:pathLst>
                <a:path w="574040" h="574039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4"/>
                  </a:lnTo>
                  <a:lnTo>
                    <a:pt x="f7" y="f23"/>
                  </a:lnTo>
                  <a:lnTo>
                    <a:pt x="f25" y="f21"/>
                  </a:lnTo>
                  <a:lnTo>
                    <a:pt x="f26" y="f19"/>
                  </a:lnTo>
                  <a:lnTo>
                    <a:pt x="f27" y="f17"/>
                  </a:lnTo>
                  <a:lnTo>
                    <a:pt x="f28" y="f15"/>
                  </a:lnTo>
                  <a:lnTo>
                    <a:pt x="f29" y="f13"/>
                  </a:lnTo>
                  <a:lnTo>
                    <a:pt x="f30" y="f11"/>
                  </a:lnTo>
                  <a:lnTo>
                    <a:pt x="f31" y="f9"/>
                  </a:lnTo>
                  <a:lnTo>
                    <a:pt x="f32" y="f7"/>
                  </a:lnTo>
                  <a:lnTo>
                    <a:pt x="f33" y="f5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41"/>
                  </a:lnTo>
                  <a:lnTo>
                    <a:pt x="f7" y="f42"/>
                  </a:lnTo>
                  <a:lnTo>
                    <a:pt x="f5" y="f2"/>
                  </a:lnTo>
                  <a:lnTo>
                    <a:pt x="f22" y="f42"/>
                  </a:lnTo>
                  <a:lnTo>
                    <a:pt x="f20" y="f41"/>
                  </a:lnTo>
                  <a:lnTo>
                    <a:pt x="f18" y="f40"/>
                  </a:lnTo>
                  <a:lnTo>
                    <a:pt x="f16" y="f39"/>
                  </a:lnTo>
                  <a:lnTo>
                    <a:pt x="f14" y="f38"/>
                  </a:lnTo>
                  <a:lnTo>
                    <a:pt x="f12" y="f37"/>
                  </a:lnTo>
                  <a:lnTo>
                    <a:pt x="f10" y="f36"/>
                  </a:lnTo>
                  <a:lnTo>
                    <a:pt x="f8" y="f35"/>
                  </a:lnTo>
                  <a:lnTo>
                    <a:pt x="f6" y="f34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97" name="object 297">
            <a:extLst>
              <a:ext uri="{FF2B5EF4-FFF2-40B4-BE49-F238E27FC236}">
                <a16:creationId xmlns:a16="http://schemas.microsoft.com/office/drawing/2014/main" id="{1DA898E8-AC5E-AB4F-CB02-A79B0E343E67}"/>
              </a:ext>
            </a:extLst>
          </p:cNvPr>
          <p:cNvGrpSpPr/>
          <p:nvPr/>
        </p:nvGrpSpPr>
        <p:grpSpPr>
          <a:xfrm>
            <a:off x="6656402" y="1324846"/>
            <a:ext cx="350032" cy="350023"/>
            <a:chOff x="6656402" y="1324846"/>
            <a:chExt cx="350032" cy="350023"/>
          </a:xfrm>
        </p:grpSpPr>
        <p:pic>
          <p:nvPicPr>
            <p:cNvPr id="298" name="object 298">
              <a:extLst>
                <a:ext uri="{FF2B5EF4-FFF2-40B4-BE49-F238E27FC236}">
                  <a16:creationId xmlns:a16="http://schemas.microsoft.com/office/drawing/2014/main" id="{3FC25EDF-03ED-302E-1FD2-75B38C78C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656402" y="1329885"/>
              <a:ext cx="349940" cy="34490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99" name="object 299">
              <a:extLst>
                <a:ext uri="{FF2B5EF4-FFF2-40B4-BE49-F238E27FC236}">
                  <a16:creationId xmlns:a16="http://schemas.microsoft.com/office/drawing/2014/main" id="{49B1E955-FBE2-7119-34AD-AB7A85218406}"/>
                </a:ext>
              </a:extLst>
            </p:cNvPr>
            <p:cNvSpPr/>
            <p:nvPr/>
          </p:nvSpPr>
          <p:spPr>
            <a:xfrm>
              <a:off x="6656411" y="132484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00" name="object 300">
            <a:extLst>
              <a:ext uri="{FF2B5EF4-FFF2-40B4-BE49-F238E27FC236}">
                <a16:creationId xmlns:a16="http://schemas.microsoft.com/office/drawing/2014/main" id="{0E23BF35-C420-B420-1641-93811413787B}"/>
              </a:ext>
            </a:extLst>
          </p:cNvPr>
          <p:cNvGrpSpPr/>
          <p:nvPr/>
        </p:nvGrpSpPr>
        <p:grpSpPr>
          <a:xfrm>
            <a:off x="6654820" y="2100340"/>
            <a:ext cx="350023" cy="350023"/>
            <a:chOff x="6654820" y="2100340"/>
            <a:chExt cx="350023" cy="350023"/>
          </a:xfrm>
        </p:grpSpPr>
        <p:pic>
          <p:nvPicPr>
            <p:cNvPr id="301" name="object 301">
              <a:extLst>
                <a:ext uri="{FF2B5EF4-FFF2-40B4-BE49-F238E27FC236}">
                  <a16:creationId xmlns:a16="http://schemas.microsoft.com/office/drawing/2014/main" id="{DBB4EFCE-1296-8E9A-4B35-F4D76E15D5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654820" y="2100340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02" name="object 302">
              <a:extLst>
                <a:ext uri="{FF2B5EF4-FFF2-40B4-BE49-F238E27FC236}">
                  <a16:creationId xmlns:a16="http://schemas.microsoft.com/office/drawing/2014/main" id="{5DE14225-6F23-C85A-5BA1-46C3F98B05F5}"/>
                </a:ext>
              </a:extLst>
            </p:cNvPr>
            <p:cNvSpPr/>
            <p:nvPr/>
          </p:nvSpPr>
          <p:spPr>
            <a:xfrm>
              <a:off x="6654820" y="210034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03" name="object 303">
            <a:extLst>
              <a:ext uri="{FF2B5EF4-FFF2-40B4-BE49-F238E27FC236}">
                <a16:creationId xmlns:a16="http://schemas.microsoft.com/office/drawing/2014/main" id="{DE140923-5F72-E3C6-37B3-20211461D9A2}"/>
              </a:ext>
            </a:extLst>
          </p:cNvPr>
          <p:cNvGrpSpPr/>
          <p:nvPr/>
        </p:nvGrpSpPr>
        <p:grpSpPr>
          <a:xfrm>
            <a:off x="8300027" y="2862657"/>
            <a:ext cx="350023" cy="350023"/>
            <a:chOff x="8300027" y="2862657"/>
            <a:chExt cx="350023" cy="350023"/>
          </a:xfrm>
        </p:grpSpPr>
        <p:pic>
          <p:nvPicPr>
            <p:cNvPr id="304" name="object 304">
              <a:extLst>
                <a:ext uri="{FF2B5EF4-FFF2-40B4-BE49-F238E27FC236}">
                  <a16:creationId xmlns:a16="http://schemas.microsoft.com/office/drawing/2014/main" id="{6E0070F8-C7D7-E19F-2896-95B0A61167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300027" y="2862657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05" name="object 305">
              <a:extLst>
                <a:ext uri="{FF2B5EF4-FFF2-40B4-BE49-F238E27FC236}">
                  <a16:creationId xmlns:a16="http://schemas.microsoft.com/office/drawing/2014/main" id="{956DF9A5-DE79-1CAD-7F92-4AD40396EC7A}"/>
                </a:ext>
              </a:extLst>
            </p:cNvPr>
            <p:cNvSpPr/>
            <p:nvPr/>
          </p:nvSpPr>
          <p:spPr>
            <a:xfrm>
              <a:off x="8300027" y="286265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06" name="object 306">
            <a:extLst>
              <a:ext uri="{FF2B5EF4-FFF2-40B4-BE49-F238E27FC236}">
                <a16:creationId xmlns:a16="http://schemas.microsoft.com/office/drawing/2014/main" id="{9375B8DC-301B-5333-4B1A-B26EF219DFC7}"/>
              </a:ext>
            </a:extLst>
          </p:cNvPr>
          <p:cNvGrpSpPr/>
          <p:nvPr/>
        </p:nvGrpSpPr>
        <p:grpSpPr>
          <a:xfrm>
            <a:off x="8298024" y="3630680"/>
            <a:ext cx="350023" cy="350023"/>
            <a:chOff x="8298024" y="3630680"/>
            <a:chExt cx="350023" cy="350023"/>
          </a:xfrm>
        </p:grpSpPr>
        <p:pic>
          <p:nvPicPr>
            <p:cNvPr id="307" name="object 307">
              <a:extLst>
                <a:ext uri="{FF2B5EF4-FFF2-40B4-BE49-F238E27FC236}">
                  <a16:creationId xmlns:a16="http://schemas.microsoft.com/office/drawing/2014/main" id="{B3AFFC5A-BE96-E112-4A77-821AC748B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298024" y="3630680"/>
              <a:ext cx="34993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08" name="object 308">
              <a:extLst>
                <a:ext uri="{FF2B5EF4-FFF2-40B4-BE49-F238E27FC236}">
                  <a16:creationId xmlns:a16="http://schemas.microsoft.com/office/drawing/2014/main" id="{4D858718-9F9C-FF8B-0572-4E523D2198BB}"/>
                </a:ext>
              </a:extLst>
            </p:cNvPr>
            <p:cNvSpPr/>
            <p:nvPr/>
          </p:nvSpPr>
          <p:spPr>
            <a:xfrm>
              <a:off x="8298024" y="363068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09" name="object 309">
            <a:extLst>
              <a:ext uri="{FF2B5EF4-FFF2-40B4-BE49-F238E27FC236}">
                <a16:creationId xmlns:a16="http://schemas.microsoft.com/office/drawing/2014/main" id="{490DCB55-17C5-EFBC-8C3F-C92EA8650AF2}"/>
              </a:ext>
            </a:extLst>
          </p:cNvPr>
          <p:cNvGrpSpPr/>
          <p:nvPr/>
        </p:nvGrpSpPr>
        <p:grpSpPr>
          <a:xfrm>
            <a:off x="8298024" y="4382115"/>
            <a:ext cx="350023" cy="350023"/>
            <a:chOff x="8298024" y="4382115"/>
            <a:chExt cx="350023" cy="350023"/>
          </a:xfrm>
        </p:grpSpPr>
        <p:pic>
          <p:nvPicPr>
            <p:cNvPr id="310" name="object 310">
              <a:extLst>
                <a:ext uri="{FF2B5EF4-FFF2-40B4-BE49-F238E27FC236}">
                  <a16:creationId xmlns:a16="http://schemas.microsoft.com/office/drawing/2014/main" id="{1BFF071D-987D-80CE-4975-BF03DB1D73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8298024" y="4382115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11" name="object 311">
              <a:extLst>
                <a:ext uri="{FF2B5EF4-FFF2-40B4-BE49-F238E27FC236}">
                  <a16:creationId xmlns:a16="http://schemas.microsoft.com/office/drawing/2014/main" id="{90D4ADC4-6FF8-18FE-2BFE-58F8CFBAA4B1}"/>
                </a:ext>
              </a:extLst>
            </p:cNvPr>
            <p:cNvSpPr/>
            <p:nvPr/>
          </p:nvSpPr>
          <p:spPr>
            <a:xfrm>
              <a:off x="8298024" y="438211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12" name="object 312">
            <a:extLst>
              <a:ext uri="{FF2B5EF4-FFF2-40B4-BE49-F238E27FC236}">
                <a16:creationId xmlns:a16="http://schemas.microsoft.com/office/drawing/2014/main" id="{1FE57FA1-D1B1-EB6B-D92E-7D6D04F26026}"/>
              </a:ext>
            </a:extLst>
          </p:cNvPr>
          <p:cNvGrpSpPr/>
          <p:nvPr/>
        </p:nvGrpSpPr>
        <p:grpSpPr>
          <a:xfrm>
            <a:off x="8298024" y="5155935"/>
            <a:ext cx="350023" cy="350023"/>
            <a:chOff x="8298024" y="5155935"/>
            <a:chExt cx="350023" cy="350023"/>
          </a:xfrm>
        </p:grpSpPr>
        <p:pic>
          <p:nvPicPr>
            <p:cNvPr id="313" name="object 313">
              <a:extLst>
                <a:ext uri="{FF2B5EF4-FFF2-40B4-BE49-F238E27FC236}">
                  <a16:creationId xmlns:a16="http://schemas.microsoft.com/office/drawing/2014/main" id="{4DE8408C-195D-E709-5DAD-418D2A510D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8298024" y="5155935"/>
              <a:ext cx="349931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14" name="object 314">
              <a:extLst>
                <a:ext uri="{FF2B5EF4-FFF2-40B4-BE49-F238E27FC236}">
                  <a16:creationId xmlns:a16="http://schemas.microsoft.com/office/drawing/2014/main" id="{EEE0EA69-BFC5-74A8-57C4-2AA340470921}"/>
                </a:ext>
              </a:extLst>
            </p:cNvPr>
            <p:cNvSpPr/>
            <p:nvPr/>
          </p:nvSpPr>
          <p:spPr>
            <a:xfrm>
              <a:off x="8298024" y="515593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46"/>
                <a:gd name="f6" fmla="val 573305"/>
                <a:gd name="f7" fmla="val 241743"/>
                <a:gd name="f8" fmla="val 562372"/>
                <a:gd name="f9" fmla="val 197344"/>
                <a:gd name="f10" fmla="val 544876"/>
                <a:gd name="f11" fmla="val 155944"/>
                <a:gd name="f12" fmla="val 521411"/>
                <a:gd name="f13" fmla="val 118135"/>
                <a:gd name="f14" fmla="val 492572"/>
                <a:gd name="f15" fmla="val 84514"/>
                <a:gd name="f16" fmla="val 458952"/>
                <a:gd name="f17" fmla="val 55673"/>
                <a:gd name="f18" fmla="val 421146"/>
                <a:gd name="f19" fmla="val 32207"/>
                <a:gd name="f20" fmla="val 379746"/>
                <a:gd name="f21" fmla="val 14710"/>
                <a:gd name="f22" fmla="val 335348"/>
                <a:gd name="f23" fmla="val 3776"/>
                <a:gd name="f24" fmla="val 335349"/>
                <a:gd name="f25" fmla="val 379747"/>
                <a:gd name="f26" fmla="val 421148"/>
                <a:gd name="f27" fmla="val 458956"/>
                <a:gd name="f28" fmla="val 492577"/>
                <a:gd name="f29" fmla="val 521418"/>
                <a:gd name="f30" fmla="val 544884"/>
                <a:gd name="f31" fmla="val 562381"/>
                <a:gd name="f32" fmla="val 573315"/>
                <a:gd name="f33" fmla="val 577092"/>
                <a:gd name="f34" fmla="*/ f0 1 577215"/>
                <a:gd name="f35" fmla="*/ f1 1 577215"/>
                <a:gd name="f36" fmla="+- f3 0 f2"/>
                <a:gd name="f37" fmla="*/ f36 1 577215"/>
                <a:gd name="f38" fmla="*/ f2 1 f37"/>
                <a:gd name="f39" fmla="*/ f3 1 f37"/>
                <a:gd name="f40" fmla="*/ f38 f34 1"/>
                <a:gd name="f41" fmla="*/ f39 f34 1"/>
                <a:gd name="f42" fmla="*/ f39 f35 1"/>
                <a:gd name="f43" fmla="*/ f38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4"/>
                  </a:lnTo>
                  <a:lnTo>
                    <a:pt x="f21" y="f25"/>
                  </a:lnTo>
                  <a:lnTo>
                    <a:pt x="f19" y="f26"/>
                  </a:lnTo>
                  <a:lnTo>
                    <a:pt x="f17" y="f27"/>
                  </a:lnTo>
                  <a:lnTo>
                    <a:pt x="f15" y="f28"/>
                  </a:lnTo>
                  <a:lnTo>
                    <a:pt x="f13" y="f29"/>
                  </a:lnTo>
                  <a:lnTo>
                    <a:pt x="f11" y="f30"/>
                  </a:lnTo>
                  <a:lnTo>
                    <a:pt x="f9" y="f31"/>
                  </a:lnTo>
                  <a:lnTo>
                    <a:pt x="f7" y="f32"/>
                  </a:lnTo>
                  <a:lnTo>
                    <a:pt x="f5" y="f33"/>
                  </a:lnTo>
                  <a:lnTo>
                    <a:pt x="f22" y="f32"/>
                  </a:lnTo>
                  <a:lnTo>
                    <a:pt x="f20" y="f31"/>
                  </a:lnTo>
                  <a:lnTo>
                    <a:pt x="f18" y="f30"/>
                  </a:lnTo>
                  <a:lnTo>
                    <a:pt x="f16" y="f29"/>
                  </a:lnTo>
                  <a:lnTo>
                    <a:pt x="f14" y="f28"/>
                  </a:lnTo>
                  <a:lnTo>
                    <a:pt x="f12" y="f27"/>
                  </a:lnTo>
                  <a:lnTo>
                    <a:pt x="f10" y="f26"/>
                  </a:lnTo>
                  <a:lnTo>
                    <a:pt x="f8" y="f25"/>
                  </a:lnTo>
                  <a:lnTo>
                    <a:pt x="f6" y="f24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15" name="object 315">
            <a:extLst>
              <a:ext uri="{FF2B5EF4-FFF2-40B4-BE49-F238E27FC236}">
                <a16:creationId xmlns:a16="http://schemas.microsoft.com/office/drawing/2014/main" id="{E5EECC72-5AD7-1B7B-799D-D0C9D366BCE5}"/>
              </a:ext>
            </a:extLst>
          </p:cNvPr>
          <p:cNvGrpSpPr/>
          <p:nvPr/>
        </p:nvGrpSpPr>
        <p:grpSpPr>
          <a:xfrm>
            <a:off x="5009549" y="5154929"/>
            <a:ext cx="350023" cy="350023"/>
            <a:chOff x="5009549" y="5154929"/>
            <a:chExt cx="350023" cy="350023"/>
          </a:xfrm>
        </p:grpSpPr>
        <p:pic>
          <p:nvPicPr>
            <p:cNvPr id="316" name="object 316">
              <a:extLst>
                <a:ext uri="{FF2B5EF4-FFF2-40B4-BE49-F238E27FC236}">
                  <a16:creationId xmlns:a16="http://schemas.microsoft.com/office/drawing/2014/main" id="{4304AE0C-0A5F-AE44-CEDF-620168E19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009549" y="5154929"/>
              <a:ext cx="349940" cy="34688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17" name="object 317">
              <a:extLst>
                <a:ext uri="{FF2B5EF4-FFF2-40B4-BE49-F238E27FC236}">
                  <a16:creationId xmlns:a16="http://schemas.microsoft.com/office/drawing/2014/main" id="{A95995FE-6A8F-45AC-59CB-A99090F2C5BC}"/>
                </a:ext>
              </a:extLst>
            </p:cNvPr>
            <p:cNvSpPr/>
            <p:nvPr/>
          </p:nvSpPr>
          <p:spPr>
            <a:xfrm>
              <a:off x="5009549" y="515492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18" name="object 318">
            <a:extLst>
              <a:ext uri="{FF2B5EF4-FFF2-40B4-BE49-F238E27FC236}">
                <a16:creationId xmlns:a16="http://schemas.microsoft.com/office/drawing/2014/main" id="{CADF1202-3B1A-4B6F-198E-5CE1E15680E2}"/>
              </a:ext>
            </a:extLst>
          </p:cNvPr>
          <p:cNvGrpSpPr/>
          <p:nvPr/>
        </p:nvGrpSpPr>
        <p:grpSpPr>
          <a:xfrm>
            <a:off x="5010719" y="5911852"/>
            <a:ext cx="350023" cy="350023"/>
            <a:chOff x="5010719" y="5911852"/>
            <a:chExt cx="350023" cy="350023"/>
          </a:xfrm>
        </p:grpSpPr>
        <p:pic>
          <p:nvPicPr>
            <p:cNvPr id="319" name="object 319">
              <a:extLst>
                <a:ext uri="{FF2B5EF4-FFF2-40B4-BE49-F238E27FC236}">
                  <a16:creationId xmlns:a16="http://schemas.microsoft.com/office/drawing/2014/main" id="{56D324EA-3DF2-C21E-758A-91EDED30A6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010719" y="5911852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20" name="object 320">
              <a:extLst>
                <a:ext uri="{FF2B5EF4-FFF2-40B4-BE49-F238E27FC236}">
                  <a16:creationId xmlns:a16="http://schemas.microsoft.com/office/drawing/2014/main" id="{47C1B755-B4B7-29F8-488E-32B14944BD05}"/>
                </a:ext>
              </a:extLst>
            </p:cNvPr>
            <p:cNvSpPr/>
            <p:nvPr/>
          </p:nvSpPr>
          <p:spPr>
            <a:xfrm>
              <a:off x="5010719" y="591185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21" name="object 321">
            <a:extLst>
              <a:ext uri="{FF2B5EF4-FFF2-40B4-BE49-F238E27FC236}">
                <a16:creationId xmlns:a16="http://schemas.microsoft.com/office/drawing/2014/main" id="{569F653E-7700-CB78-5269-9803D639FF2B}"/>
              </a:ext>
            </a:extLst>
          </p:cNvPr>
          <p:cNvGrpSpPr/>
          <p:nvPr/>
        </p:nvGrpSpPr>
        <p:grpSpPr>
          <a:xfrm>
            <a:off x="5011680" y="4382115"/>
            <a:ext cx="350023" cy="350023"/>
            <a:chOff x="5011680" y="4382115"/>
            <a:chExt cx="350023" cy="350023"/>
          </a:xfrm>
        </p:grpSpPr>
        <p:pic>
          <p:nvPicPr>
            <p:cNvPr id="322" name="object 322">
              <a:extLst>
                <a:ext uri="{FF2B5EF4-FFF2-40B4-BE49-F238E27FC236}">
                  <a16:creationId xmlns:a16="http://schemas.microsoft.com/office/drawing/2014/main" id="{CC61E939-27E7-D90E-6340-C43FBAA96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011680" y="4382115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23" name="object 323">
              <a:extLst>
                <a:ext uri="{FF2B5EF4-FFF2-40B4-BE49-F238E27FC236}">
                  <a16:creationId xmlns:a16="http://schemas.microsoft.com/office/drawing/2014/main" id="{A9F47AD3-0AA7-1DCF-FF95-81B80C1FB67F}"/>
                </a:ext>
              </a:extLst>
            </p:cNvPr>
            <p:cNvSpPr/>
            <p:nvPr/>
          </p:nvSpPr>
          <p:spPr>
            <a:xfrm>
              <a:off x="5011680" y="438211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24" name="object 324">
            <a:extLst>
              <a:ext uri="{FF2B5EF4-FFF2-40B4-BE49-F238E27FC236}">
                <a16:creationId xmlns:a16="http://schemas.microsoft.com/office/drawing/2014/main" id="{15B1FB48-D2E7-F816-0AA4-DFB945D641F8}"/>
              </a:ext>
            </a:extLst>
          </p:cNvPr>
          <p:cNvGrpSpPr/>
          <p:nvPr/>
        </p:nvGrpSpPr>
        <p:grpSpPr>
          <a:xfrm>
            <a:off x="5011241" y="2870063"/>
            <a:ext cx="350023" cy="350023"/>
            <a:chOff x="5011241" y="2870063"/>
            <a:chExt cx="350023" cy="350023"/>
          </a:xfrm>
        </p:grpSpPr>
        <p:pic>
          <p:nvPicPr>
            <p:cNvPr id="325" name="object 325">
              <a:extLst>
                <a:ext uri="{FF2B5EF4-FFF2-40B4-BE49-F238E27FC236}">
                  <a16:creationId xmlns:a16="http://schemas.microsoft.com/office/drawing/2014/main" id="{BDF52369-697E-F460-C202-CDD9B6E2CA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011241" y="287006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26" name="object 326">
              <a:extLst>
                <a:ext uri="{FF2B5EF4-FFF2-40B4-BE49-F238E27FC236}">
                  <a16:creationId xmlns:a16="http://schemas.microsoft.com/office/drawing/2014/main" id="{327ACFAD-C3A8-D932-B9DA-9EA0663CB493}"/>
                </a:ext>
              </a:extLst>
            </p:cNvPr>
            <p:cNvSpPr/>
            <p:nvPr/>
          </p:nvSpPr>
          <p:spPr>
            <a:xfrm>
              <a:off x="5011241" y="287006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27" name="object 327">
            <a:extLst>
              <a:ext uri="{FF2B5EF4-FFF2-40B4-BE49-F238E27FC236}">
                <a16:creationId xmlns:a16="http://schemas.microsoft.com/office/drawing/2014/main" id="{59E6D31F-BEA9-ECA9-29B2-450458398097}"/>
              </a:ext>
            </a:extLst>
          </p:cNvPr>
          <p:cNvGrpSpPr/>
          <p:nvPr/>
        </p:nvGrpSpPr>
        <p:grpSpPr>
          <a:xfrm>
            <a:off x="5013106" y="2095420"/>
            <a:ext cx="350023" cy="350023"/>
            <a:chOff x="5013106" y="2095420"/>
            <a:chExt cx="350023" cy="350023"/>
          </a:xfrm>
        </p:grpSpPr>
        <p:pic>
          <p:nvPicPr>
            <p:cNvPr id="328" name="object 328">
              <a:extLst>
                <a:ext uri="{FF2B5EF4-FFF2-40B4-BE49-F238E27FC236}">
                  <a16:creationId xmlns:a16="http://schemas.microsoft.com/office/drawing/2014/main" id="{C859EE47-46DC-37D6-82DA-9895767E5B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5013106" y="2095420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29" name="object 329">
              <a:extLst>
                <a:ext uri="{FF2B5EF4-FFF2-40B4-BE49-F238E27FC236}">
                  <a16:creationId xmlns:a16="http://schemas.microsoft.com/office/drawing/2014/main" id="{55DAF059-7BE0-18D9-8893-4E1B509931A0}"/>
                </a:ext>
              </a:extLst>
            </p:cNvPr>
            <p:cNvSpPr/>
            <p:nvPr/>
          </p:nvSpPr>
          <p:spPr>
            <a:xfrm>
              <a:off x="5013106" y="209542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30" name="object 330">
            <a:extLst>
              <a:ext uri="{FF2B5EF4-FFF2-40B4-BE49-F238E27FC236}">
                <a16:creationId xmlns:a16="http://schemas.microsoft.com/office/drawing/2014/main" id="{0DB94103-4487-0169-DDE5-E51AD3ABD5A6}"/>
              </a:ext>
            </a:extLst>
          </p:cNvPr>
          <p:cNvGrpSpPr/>
          <p:nvPr/>
        </p:nvGrpSpPr>
        <p:grpSpPr>
          <a:xfrm>
            <a:off x="5012128" y="3634575"/>
            <a:ext cx="350023" cy="352821"/>
            <a:chOff x="5012128" y="3634575"/>
            <a:chExt cx="350023" cy="352821"/>
          </a:xfrm>
        </p:grpSpPr>
        <p:pic>
          <p:nvPicPr>
            <p:cNvPr id="331" name="object 331">
              <a:extLst>
                <a:ext uri="{FF2B5EF4-FFF2-40B4-BE49-F238E27FC236}">
                  <a16:creationId xmlns:a16="http://schemas.microsoft.com/office/drawing/2014/main" id="{29BB9A0C-2B85-B96F-A68B-34E3FAF58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012128" y="3634575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32" name="object 332">
              <a:extLst>
                <a:ext uri="{FF2B5EF4-FFF2-40B4-BE49-F238E27FC236}">
                  <a16:creationId xmlns:a16="http://schemas.microsoft.com/office/drawing/2014/main" id="{7A4805DB-24F5-A893-2C09-E53385A671AE}"/>
                </a:ext>
              </a:extLst>
            </p:cNvPr>
            <p:cNvSpPr/>
            <p:nvPr/>
          </p:nvSpPr>
          <p:spPr>
            <a:xfrm>
              <a:off x="5012128" y="36361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3" name="object 333">
              <a:extLst>
                <a:ext uri="{FF2B5EF4-FFF2-40B4-BE49-F238E27FC236}">
                  <a16:creationId xmlns:a16="http://schemas.microsoft.com/office/drawing/2014/main" id="{25FE7498-941F-EA97-BCC8-44CFD9A736F0}"/>
                </a:ext>
              </a:extLst>
            </p:cNvPr>
            <p:cNvSpPr/>
            <p:nvPr/>
          </p:nvSpPr>
          <p:spPr>
            <a:xfrm>
              <a:off x="5012128" y="36373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4" name="object 334">
              <a:extLst>
                <a:ext uri="{FF2B5EF4-FFF2-40B4-BE49-F238E27FC236}">
                  <a16:creationId xmlns:a16="http://schemas.microsoft.com/office/drawing/2014/main" id="{D22CA3E6-9426-E3A7-C30E-A2F5C14D9042}"/>
                </a:ext>
              </a:extLst>
            </p:cNvPr>
            <p:cNvSpPr/>
            <p:nvPr/>
          </p:nvSpPr>
          <p:spPr>
            <a:xfrm>
              <a:off x="5012128" y="36361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5" name="object 335">
              <a:extLst>
                <a:ext uri="{FF2B5EF4-FFF2-40B4-BE49-F238E27FC236}">
                  <a16:creationId xmlns:a16="http://schemas.microsoft.com/office/drawing/2014/main" id="{075597A9-A9A5-64F0-3784-ECCBF9F49FEC}"/>
                </a:ext>
              </a:extLst>
            </p:cNvPr>
            <p:cNvSpPr/>
            <p:nvPr/>
          </p:nvSpPr>
          <p:spPr>
            <a:xfrm>
              <a:off x="5012128" y="36373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6" name="object 336">
              <a:extLst>
                <a:ext uri="{FF2B5EF4-FFF2-40B4-BE49-F238E27FC236}">
                  <a16:creationId xmlns:a16="http://schemas.microsoft.com/office/drawing/2014/main" id="{FE09138C-F960-D494-95E9-A414FB640019}"/>
                </a:ext>
              </a:extLst>
            </p:cNvPr>
            <p:cNvSpPr/>
            <p:nvPr/>
          </p:nvSpPr>
          <p:spPr>
            <a:xfrm>
              <a:off x="5012128" y="36361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7" name="object 337">
              <a:extLst>
                <a:ext uri="{FF2B5EF4-FFF2-40B4-BE49-F238E27FC236}">
                  <a16:creationId xmlns:a16="http://schemas.microsoft.com/office/drawing/2014/main" id="{044566A8-086C-EA4C-E769-CEA46C2ED797}"/>
                </a:ext>
              </a:extLst>
            </p:cNvPr>
            <p:cNvSpPr/>
            <p:nvPr/>
          </p:nvSpPr>
          <p:spPr>
            <a:xfrm>
              <a:off x="5012128" y="36373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38" name="object 338">
            <a:extLst>
              <a:ext uri="{FF2B5EF4-FFF2-40B4-BE49-F238E27FC236}">
                <a16:creationId xmlns:a16="http://schemas.microsoft.com/office/drawing/2014/main" id="{ADC277A0-E350-EE7A-80EA-F60CC0322AE9}"/>
              </a:ext>
            </a:extLst>
          </p:cNvPr>
          <p:cNvGrpSpPr/>
          <p:nvPr/>
        </p:nvGrpSpPr>
        <p:grpSpPr>
          <a:xfrm>
            <a:off x="3369692" y="3377491"/>
            <a:ext cx="350023" cy="124779"/>
            <a:chOff x="3369692" y="3377491"/>
            <a:chExt cx="350023" cy="124779"/>
          </a:xfrm>
        </p:grpSpPr>
        <p:sp>
          <p:nvSpPr>
            <p:cNvPr id="339" name="object 339">
              <a:extLst>
                <a:ext uri="{FF2B5EF4-FFF2-40B4-BE49-F238E27FC236}">
                  <a16:creationId xmlns:a16="http://schemas.microsoft.com/office/drawing/2014/main" id="{615C4BD2-E404-9B15-1B80-B8472FA13F7B}"/>
                </a:ext>
              </a:extLst>
            </p:cNvPr>
            <p:cNvSpPr/>
            <p:nvPr/>
          </p:nvSpPr>
          <p:spPr>
            <a:xfrm>
              <a:off x="3380545" y="3451055"/>
              <a:ext cx="8047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714"/>
                <a:gd name="f4" fmla="val 84454"/>
                <a:gd name="f5" fmla="val 132153"/>
                <a:gd name="f6" fmla="val 84112"/>
                <a:gd name="f7" fmla="*/ f0 1 132714"/>
                <a:gd name="f8" fmla="*/ f1 1 84454"/>
                <a:gd name="f9" fmla="+- f4 0 f2"/>
                <a:gd name="f10" fmla="+- f3 0 f2"/>
                <a:gd name="f11" fmla="*/ f10 1 13271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71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0" name="object 340">
              <a:extLst>
                <a:ext uri="{FF2B5EF4-FFF2-40B4-BE49-F238E27FC236}">
                  <a16:creationId xmlns:a16="http://schemas.microsoft.com/office/drawing/2014/main" id="{C637E4BB-1481-7153-693E-96B26326980E}"/>
                </a:ext>
              </a:extLst>
            </p:cNvPr>
            <p:cNvSpPr/>
            <p:nvPr/>
          </p:nvSpPr>
          <p:spPr>
            <a:xfrm>
              <a:off x="3369692" y="3377500"/>
              <a:ext cx="25530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1004"/>
                <a:gd name="f4" fmla="val 84454"/>
                <a:gd name="f5" fmla="val 420866"/>
                <a:gd name="f6" fmla="val 84112"/>
                <a:gd name="f7" fmla="*/ f0 1 421004"/>
                <a:gd name="f8" fmla="*/ f1 1 84454"/>
                <a:gd name="f9" fmla="+- f4 0 f2"/>
                <a:gd name="f10" fmla="+- f3 0 f2"/>
                <a:gd name="f11" fmla="*/ f10 1 4210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10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1" name="object 341">
              <a:extLst>
                <a:ext uri="{FF2B5EF4-FFF2-40B4-BE49-F238E27FC236}">
                  <a16:creationId xmlns:a16="http://schemas.microsoft.com/office/drawing/2014/main" id="{1DC666E7-C67F-C43F-3B58-AD6DAD997926}"/>
                </a:ext>
              </a:extLst>
            </p:cNvPr>
            <p:cNvSpPr/>
            <p:nvPr/>
          </p:nvSpPr>
          <p:spPr>
            <a:xfrm>
              <a:off x="3649589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2" name="object 342">
              <a:extLst>
                <a:ext uri="{FF2B5EF4-FFF2-40B4-BE49-F238E27FC236}">
                  <a16:creationId xmlns:a16="http://schemas.microsoft.com/office/drawing/2014/main" id="{7ED8A264-6CF0-9AF8-A3F5-230C503BA020}"/>
                </a:ext>
              </a:extLst>
            </p:cNvPr>
            <p:cNvSpPr/>
            <p:nvPr/>
          </p:nvSpPr>
          <p:spPr>
            <a:xfrm>
              <a:off x="3579546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3" name="object 343">
              <a:extLst>
                <a:ext uri="{FF2B5EF4-FFF2-40B4-BE49-F238E27FC236}">
                  <a16:creationId xmlns:a16="http://schemas.microsoft.com/office/drawing/2014/main" id="{DBF73D8E-20F8-D26A-D94E-3CB120477DC8}"/>
                </a:ext>
              </a:extLst>
            </p:cNvPr>
            <p:cNvSpPr/>
            <p:nvPr/>
          </p:nvSpPr>
          <p:spPr>
            <a:xfrm>
              <a:off x="3474482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4" name="object 344">
              <a:extLst>
                <a:ext uri="{FF2B5EF4-FFF2-40B4-BE49-F238E27FC236}">
                  <a16:creationId xmlns:a16="http://schemas.microsoft.com/office/drawing/2014/main" id="{8AF5C9F8-E3AA-3A45-4200-4BB06A7185C0}"/>
                </a:ext>
              </a:extLst>
            </p:cNvPr>
            <p:cNvSpPr/>
            <p:nvPr/>
          </p:nvSpPr>
          <p:spPr>
            <a:xfrm>
              <a:off x="3509576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5" name="object 345">
              <a:extLst>
                <a:ext uri="{FF2B5EF4-FFF2-40B4-BE49-F238E27FC236}">
                  <a16:creationId xmlns:a16="http://schemas.microsoft.com/office/drawing/2014/main" id="{A05F38E2-D34E-4AC7-EB64-D8AE636C8FBE}"/>
                </a:ext>
              </a:extLst>
            </p:cNvPr>
            <p:cNvSpPr/>
            <p:nvPr/>
          </p:nvSpPr>
          <p:spPr>
            <a:xfrm>
              <a:off x="3404439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6" name="object 346">
              <a:extLst>
                <a:ext uri="{FF2B5EF4-FFF2-40B4-BE49-F238E27FC236}">
                  <a16:creationId xmlns:a16="http://schemas.microsoft.com/office/drawing/2014/main" id="{0B391E3A-CC0F-E2CF-9363-CE519BD15A25}"/>
                </a:ext>
              </a:extLst>
            </p:cNvPr>
            <p:cNvSpPr/>
            <p:nvPr/>
          </p:nvSpPr>
          <p:spPr>
            <a:xfrm>
              <a:off x="3614568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7" name="object 347">
              <a:extLst>
                <a:ext uri="{FF2B5EF4-FFF2-40B4-BE49-F238E27FC236}">
                  <a16:creationId xmlns:a16="http://schemas.microsoft.com/office/drawing/2014/main" id="{C631EA5D-47F0-7C26-9D32-7E3D48BD7E89}"/>
                </a:ext>
              </a:extLst>
            </p:cNvPr>
            <p:cNvSpPr/>
            <p:nvPr/>
          </p:nvSpPr>
          <p:spPr>
            <a:xfrm>
              <a:off x="3439460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8" name="object 348">
              <a:extLst>
                <a:ext uri="{FF2B5EF4-FFF2-40B4-BE49-F238E27FC236}">
                  <a16:creationId xmlns:a16="http://schemas.microsoft.com/office/drawing/2014/main" id="{9DBF457B-7AE1-A045-29E3-1F0331E94D9E}"/>
                </a:ext>
              </a:extLst>
            </p:cNvPr>
            <p:cNvSpPr/>
            <p:nvPr/>
          </p:nvSpPr>
          <p:spPr>
            <a:xfrm>
              <a:off x="354466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9" name="object 349">
              <a:extLst>
                <a:ext uri="{FF2B5EF4-FFF2-40B4-BE49-F238E27FC236}">
                  <a16:creationId xmlns:a16="http://schemas.microsoft.com/office/drawing/2014/main" id="{57E5D747-661D-A4F3-DAEC-4A78AAD40BC0}"/>
                </a:ext>
              </a:extLst>
            </p:cNvPr>
            <p:cNvSpPr/>
            <p:nvPr/>
          </p:nvSpPr>
          <p:spPr>
            <a:xfrm>
              <a:off x="336969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0" name="object 350">
              <a:extLst>
                <a:ext uri="{FF2B5EF4-FFF2-40B4-BE49-F238E27FC236}">
                  <a16:creationId xmlns:a16="http://schemas.microsoft.com/office/drawing/2014/main" id="{9D9499AB-F7F8-3FA2-7AEF-22F09329D20F}"/>
                </a:ext>
              </a:extLst>
            </p:cNvPr>
            <p:cNvSpPr/>
            <p:nvPr/>
          </p:nvSpPr>
          <p:spPr>
            <a:xfrm>
              <a:off x="354466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1" name="object 351">
              <a:extLst>
                <a:ext uri="{FF2B5EF4-FFF2-40B4-BE49-F238E27FC236}">
                  <a16:creationId xmlns:a16="http://schemas.microsoft.com/office/drawing/2014/main" id="{FEA533CD-C719-75F2-8A02-584052D63618}"/>
                </a:ext>
              </a:extLst>
            </p:cNvPr>
            <p:cNvSpPr/>
            <p:nvPr/>
          </p:nvSpPr>
          <p:spPr>
            <a:xfrm>
              <a:off x="3684611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2" name="object 352">
              <a:extLst>
                <a:ext uri="{FF2B5EF4-FFF2-40B4-BE49-F238E27FC236}">
                  <a16:creationId xmlns:a16="http://schemas.microsoft.com/office/drawing/2014/main" id="{B9C56B2A-6D80-2375-4961-B090D74640DC}"/>
                </a:ext>
              </a:extLst>
            </p:cNvPr>
            <p:cNvSpPr/>
            <p:nvPr/>
          </p:nvSpPr>
          <p:spPr>
            <a:xfrm>
              <a:off x="371963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3" name="object 353">
              <a:extLst>
                <a:ext uri="{FF2B5EF4-FFF2-40B4-BE49-F238E27FC236}">
                  <a16:creationId xmlns:a16="http://schemas.microsoft.com/office/drawing/2014/main" id="{A903337E-8ADE-E8F8-3CC1-480441A549F6}"/>
                </a:ext>
              </a:extLst>
            </p:cNvPr>
            <p:cNvSpPr/>
            <p:nvPr/>
          </p:nvSpPr>
          <p:spPr>
            <a:xfrm>
              <a:off x="3369692" y="340299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4" name="object 354">
              <a:extLst>
                <a:ext uri="{FF2B5EF4-FFF2-40B4-BE49-F238E27FC236}">
                  <a16:creationId xmlns:a16="http://schemas.microsoft.com/office/drawing/2014/main" id="{47FE6A96-7DE3-6F06-B813-5548AA5F6A19}"/>
                </a:ext>
              </a:extLst>
            </p:cNvPr>
            <p:cNvSpPr/>
            <p:nvPr/>
          </p:nvSpPr>
          <p:spPr>
            <a:xfrm>
              <a:off x="3649589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5" name="object 355">
              <a:extLst>
                <a:ext uri="{FF2B5EF4-FFF2-40B4-BE49-F238E27FC236}">
                  <a16:creationId xmlns:a16="http://schemas.microsoft.com/office/drawing/2014/main" id="{752E2D0D-DC9A-B690-F1B3-7B1BD9C9CD85}"/>
                </a:ext>
              </a:extLst>
            </p:cNvPr>
            <p:cNvSpPr/>
            <p:nvPr/>
          </p:nvSpPr>
          <p:spPr>
            <a:xfrm>
              <a:off x="3684611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6" name="object 356">
              <a:extLst>
                <a:ext uri="{FF2B5EF4-FFF2-40B4-BE49-F238E27FC236}">
                  <a16:creationId xmlns:a16="http://schemas.microsoft.com/office/drawing/2014/main" id="{8F997A9C-DDFB-0542-890A-91B9426083FE}"/>
                </a:ext>
              </a:extLst>
            </p:cNvPr>
            <p:cNvSpPr/>
            <p:nvPr/>
          </p:nvSpPr>
          <p:spPr>
            <a:xfrm>
              <a:off x="3579546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7" name="object 357">
              <a:extLst>
                <a:ext uri="{FF2B5EF4-FFF2-40B4-BE49-F238E27FC236}">
                  <a16:creationId xmlns:a16="http://schemas.microsoft.com/office/drawing/2014/main" id="{0152A4F2-2EAF-E235-6E62-C44AC8CA19C6}"/>
                </a:ext>
              </a:extLst>
            </p:cNvPr>
            <p:cNvSpPr/>
            <p:nvPr/>
          </p:nvSpPr>
          <p:spPr>
            <a:xfrm>
              <a:off x="3474482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8" name="object 358">
              <a:extLst>
                <a:ext uri="{FF2B5EF4-FFF2-40B4-BE49-F238E27FC236}">
                  <a16:creationId xmlns:a16="http://schemas.microsoft.com/office/drawing/2014/main" id="{AE94EC0D-B0FF-58D7-CE0F-A36DCB7BF5A9}"/>
                </a:ext>
              </a:extLst>
            </p:cNvPr>
            <p:cNvSpPr/>
            <p:nvPr/>
          </p:nvSpPr>
          <p:spPr>
            <a:xfrm>
              <a:off x="3509576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9" name="object 359">
              <a:extLst>
                <a:ext uri="{FF2B5EF4-FFF2-40B4-BE49-F238E27FC236}">
                  <a16:creationId xmlns:a16="http://schemas.microsoft.com/office/drawing/2014/main" id="{98B1BE3A-2B25-59A4-6225-7FA8D5894E49}"/>
                </a:ext>
              </a:extLst>
            </p:cNvPr>
            <p:cNvSpPr/>
            <p:nvPr/>
          </p:nvSpPr>
          <p:spPr>
            <a:xfrm>
              <a:off x="3404439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0" name="object 360">
              <a:extLst>
                <a:ext uri="{FF2B5EF4-FFF2-40B4-BE49-F238E27FC236}">
                  <a16:creationId xmlns:a16="http://schemas.microsoft.com/office/drawing/2014/main" id="{827E9018-7F42-AA15-D02D-CC556588477F}"/>
                </a:ext>
              </a:extLst>
            </p:cNvPr>
            <p:cNvSpPr/>
            <p:nvPr/>
          </p:nvSpPr>
          <p:spPr>
            <a:xfrm>
              <a:off x="3614568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1" name="object 361">
              <a:extLst>
                <a:ext uri="{FF2B5EF4-FFF2-40B4-BE49-F238E27FC236}">
                  <a16:creationId xmlns:a16="http://schemas.microsoft.com/office/drawing/2014/main" id="{BCAB4032-9FFB-B879-E278-A6FD239CAA98}"/>
                </a:ext>
              </a:extLst>
            </p:cNvPr>
            <p:cNvSpPr/>
            <p:nvPr/>
          </p:nvSpPr>
          <p:spPr>
            <a:xfrm>
              <a:off x="3439460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2" name="object 362">
              <a:extLst>
                <a:ext uri="{FF2B5EF4-FFF2-40B4-BE49-F238E27FC236}">
                  <a16:creationId xmlns:a16="http://schemas.microsoft.com/office/drawing/2014/main" id="{AD4C01D7-D822-9E3F-92B4-40E1C97ED3CE}"/>
                </a:ext>
              </a:extLst>
            </p:cNvPr>
            <p:cNvSpPr/>
            <p:nvPr/>
          </p:nvSpPr>
          <p:spPr>
            <a:xfrm>
              <a:off x="371963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3" name="object 363">
              <a:extLst>
                <a:ext uri="{FF2B5EF4-FFF2-40B4-BE49-F238E27FC236}">
                  <a16:creationId xmlns:a16="http://schemas.microsoft.com/office/drawing/2014/main" id="{610E43B0-DF5A-1B0B-BCF9-EB54BB8A3A51}"/>
                </a:ext>
              </a:extLst>
            </p:cNvPr>
            <p:cNvSpPr/>
            <p:nvPr/>
          </p:nvSpPr>
          <p:spPr>
            <a:xfrm>
              <a:off x="354466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4" name="object 364">
              <a:extLst>
                <a:ext uri="{FF2B5EF4-FFF2-40B4-BE49-F238E27FC236}">
                  <a16:creationId xmlns:a16="http://schemas.microsoft.com/office/drawing/2014/main" id="{33487BD0-A4BD-1254-E6CE-96816695ABCF}"/>
                </a:ext>
              </a:extLst>
            </p:cNvPr>
            <p:cNvSpPr/>
            <p:nvPr/>
          </p:nvSpPr>
          <p:spPr>
            <a:xfrm>
              <a:off x="336969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5" name="object 365">
              <a:extLst>
                <a:ext uri="{FF2B5EF4-FFF2-40B4-BE49-F238E27FC236}">
                  <a16:creationId xmlns:a16="http://schemas.microsoft.com/office/drawing/2014/main" id="{9592BA5C-07AD-01CD-E030-5FBD92434951}"/>
                </a:ext>
              </a:extLst>
            </p:cNvPr>
            <p:cNvSpPr/>
            <p:nvPr/>
          </p:nvSpPr>
          <p:spPr>
            <a:xfrm>
              <a:off x="354466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6" name="object 366">
              <a:extLst>
                <a:ext uri="{FF2B5EF4-FFF2-40B4-BE49-F238E27FC236}">
                  <a16:creationId xmlns:a16="http://schemas.microsoft.com/office/drawing/2014/main" id="{92A51A4C-07E4-C85F-CAED-3403A64377D6}"/>
                </a:ext>
              </a:extLst>
            </p:cNvPr>
            <p:cNvSpPr/>
            <p:nvPr/>
          </p:nvSpPr>
          <p:spPr>
            <a:xfrm>
              <a:off x="3369692" y="347601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67" name="object 367">
            <a:extLst>
              <a:ext uri="{FF2B5EF4-FFF2-40B4-BE49-F238E27FC236}">
                <a16:creationId xmlns:a16="http://schemas.microsoft.com/office/drawing/2014/main" id="{0F90C2AF-5E42-3C2F-97BE-E8A70A56D122}"/>
              </a:ext>
            </a:extLst>
          </p:cNvPr>
          <p:cNvGrpSpPr/>
          <p:nvPr/>
        </p:nvGrpSpPr>
        <p:grpSpPr>
          <a:xfrm>
            <a:off x="3369692" y="1084240"/>
            <a:ext cx="350023" cy="124248"/>
            <a:chOff x="3369692" y="1084240"/>
            <a:chExt cx="350023" cy="124248"/>
          </a:xfrm>
        </p:grpSpPr>
        <p:sp>
          <p:nvSpPr>
            <p:cNvPr id="368" name="object 368">
              <a:extLst>
                <a:ext uri="{FF2B5EF4-FFF2-40B4-BE49-F238E27FC236}">
                  <a16:creationId xmlns:a16="http://schemas.microsoft.com/office/drawing/2014/main" id="{C2087AE7-97AE-7DEA-EDE7-E8056B800E1E}"/>
                </a:ext>
              </a:extLst>
            </p:cNvPr>
            <p:cNvSpPr/>
            <p:nvPr/>
          </p:nvSpPr>
          <p:spPr>
            <a:xfrm>
              <a:off x="3369692" y="1084240"/>
              <a:ext cx="770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7000"/>
                <a:gd name="f4" fmla="val 84455"/>
                <a:gd name="f5" fmla="val 126833"/>
                <a:gd name="f6" fmla="val 84112"/>
                <a:gd name="f7" fmla="*/ f0 1 127000"/>
                <a:gd name="f8" fmla="*/ f1 1 84455"/>
                <a:gd name="f9" fmla="+- f4 0 f2"/>
                <a:gd name="f10" fmla="+- f3 0 f2"/>
                <a:gd name="f11" fmla="*/ f10 1 12700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700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9" name="object 369">
              <a:extLst>
                <a:ext uri="{FF2B5EF4-FFF2-40B4-BE49-F238E27FC236}">
                  <a16:creationId xmlns:a16="http://schemas.microsoft.com/office/drawing/2014/main" id="{29E89ED3-DEEE-9607-EDDC-22A2FFF26720}"/>
                </a:ext>
              </a:extLst>
            </p:cNvPr>
            <p:cNvSpPr/>
            <p:nvPr/>
          </p:nvSpPr>
          <p:spPr>
            <a:xfrm>
              <a:off x="3404439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0" name="object 370">
              <a:extLst>
                <a:ext uri="{FF2B5EF4-FFF2-40B4-BE49-F238E27FC236}">
                  <a16:creationId xmlns:a16="http://schemas.microsoft.com/office/drawing/2014/main" id="{E7E54825-57EA-317A-5FE6-9778B93F9927}"/>
                </a:ext>
              </a:extLst>
            </p:cNvPr>
            <p:cNvSpPr/>
            <p:nvPr/>
          </p:nvSpPr>
          <p:spPr>
            <a:xfrm>
              <a:off x="3439460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1" name="object 371">
              <a:extLst>
                <a:ext uri="{FF2B5EF4-FFF2-40B4-BE49-F238E27FC236}">
                  <a16:creationId xmlns:a16="http://schemas.microsoft.com/office/drawing/2014/main" id="{2B7BE4AF-73F5-8700-9E91-788A4213F01C}"/>
                </a:ext>
              </a:extLst>
            </p:cNvPr>
            <p:cNvSpPr/>
            <p:nvPr/>
          </p:nvSpPr>
          <p:spPr>
            <a:xfrm>
              <a:off x="3369692" y="10842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2" name="object 372">
              <a:extLst>
                <a:ext uri="{FF2B5EF4-FFF2-40B4-BE49-F238E27FC236}">
                  <a16:creationId xmlns:a16="http://schemas.microsoft.com/office/drawing/2014/main" id="{136B9123-46FB-540D-780B-0FE447DC0EDC}"/>
                </a:ext>
              </a:extLst>
            </p:cNvPr>
            <p:cNvSpPr/>
            <p:nvPr/>
          </p:nvSpPr>
          <p:spPr>
            <a:xfrm>
              <a:off x="3649589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3" name="object 373">
              <a:extLst>
                <a:ext uri="{FF2B5EF4-FFF2-40B4-BE49-F238E27FC236}">
                  <a16:creationId xmlns:a16="http://schemas.microsoft.com/office/drawing/2014/main" id="{59243D13-8707-F637-FBC7-D4C380856908}"/>
                </a:ext>
              </a:extLst>
            </p:cNvPr>
            <p:cNvSpPr/>
            <p:nvPr/>
          </p:nvSpPr>
          <p:spPr>
            <a:xfrm>
              <a:off x="3684611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4" name="object 374">
              <a:extLst>
                <a:ext uri="{FF2B5EF4-FFF2-40B4-BE49-F238E27FC236}">
                  <a16:creationId xmlns:a16="http://schemas.microsoft.com/office/drawing/2014/main" id="{99EFEF21-51FF-E183-5B8F-6F347A88BAE8}"/>
                </a:ext>
              </a:extLst>
            </p:cNvPr>
            <p:cNvSpPr/>
            <p:nvPr/>
          </p:nvSpPr>
          <p:spPr>
            <a:xfrm>
              <a:off x="3579546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5" name="object 375">
              <a:extLst>
                <a:ext uri="{FF2B5EF4-FFF2-40B4-BE49-F238E27FC236}">
                  <a16:creationId xmlns:a16="http://schemas.microsoft.com/office/drawing/2014/main" id="{CA6B2C7B-FD43-0475-0F1E-0C2AC6BD0F71}"/>
                </a:ext>
              </a:extLst>
            </p:cNvPr>
            <p:cNvSpPr/>
            <p:nvPr/>
          </p:nvSpPr>
          <p:spPr>
            <a:xfrm>
              <a:off x="3474482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6" name="object 376">
              <a:extLst>
                <a:ext uri="{FF2B5EF4-FFF2-40B4-BE49-F238E27FC236}">
                  <a16:creationId xmlns:a16="http://schemas.microsoft.com/office/drawing/2014/main" id="{2E8C79F9-81EE-FBA3-AE83-19D6950AC096}"/>
                </a:ext>
              </a:extLst>
            </p:cNvPr>
            <p:cNvSpPr/>
            <p:nvPr/>
          </p:nvSpPr>
          <p:spPr>
            <a:xfrm>
              <a:off x="3509576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7" name="object 377">
              <a:extLst>
                <a:ext uri="{FF2B5EF4-FFF2-40B4-BE49-F238E27FC236}">
                  <a16:creationId xmlns:a16="http://schemas.microsoft.com/office/drawing/2014/main" id="{F8DE24E2-ABB0-2972-8FDF-E02E89F7013F}"/>
                </a:ext>
              </a:extLst>
            </p:cNvPr>
            <p:cNvSpPr/>
            <p:nvPr/>
          </p:nvSpPr>
          <p:spPr>
            <a:xfrm>
              <a:off x="3614568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8" name="object 378">
              <a:extLst>
                <a:ext uri="{FF2B5EF4-FFF2-40B4-BE49-F238E27FC236}">
                  <a16:creationId xmlns:a16="http://schemas.microsoft.com/office/drawing/2014/main" id="{DA1B0DA1-F8A4-B18E-6C42-BC70BADB9658}"/>
                </a:ext>
              </a:extLst>
            </p:cNvPr>
            <p:cNvSpPr/>
            <p:nvPr/>
          </p:nvSpPr>
          <p:spPr>
            <a:xfrm>
              <a:off x="3719632" y="10842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9" name="object 379">
              <a:extLst>
                <a:ext uri="{FF2B5EF4-FFF2-40B4-BE49-F238E27FC236}">
                  <a16:creationId xmlns:a16="http://schemas.microsoft.com/office/drawing/2014/main" id="{540AB92B-B083-4091-8324-8F8EBCFF4927}"/>
                </a:ext>
              </a:extLst>
            </p:cNvPr>
            <p:cNvSpPr/>
            <p:nvPr/>
          </p:nvSpPr>
          <p:spPr>
            <a:xfrm>
              <a:off x="3544662" y="10842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0" name="object 380">
              <a:extLst>
                <a:ext uri="{FF2B5EF4-FFF2-40B4-BE49-F238E27FC236}">
                  <a16:creationId xmlns:a16="http://schemas.microsoft.com/office/drawing/2014/main" id="{09EB4B66-8731-463D-5EEB-30151248228F}"/>
                </a:ext>
              </a:extLst>
            </p:cNvPr>
            <p:cNvSpPr/>
            <p:nvPr/>
          </p:nvSpPr>
          <p:spPr>
            <a:xfrm>
              <a:off x="3369692" y="110975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1" name="object 381">
              <a:extLst>
                <a:ext uri="{FF2B5EF4-FFF2-40B4-BE49-F238E27FC236}">
                  <a16:creationId xmlns:a16="http://schemas.microsoft.com/office/drawing/2014/main" id="{157B4A6E-AB7F-A8A4-CA28-6553B691C8CC}"/>
                </a:ext>
              </a:extLst>
            </p:cNvPr>
            <p:cNvSpPr/>
            <p:nvPr/>
          </p:nvSpPr>
          <p:spPr>
            <a:xfrm>
              <a:off x="3370158" y="1157273"/>
              <a:ext cx="13362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0345"/>
                <a:gd name="f4" fmla="val 84455"/>
                <a:gd name="f5" fmla="val 220286"/>
                <a:gd name="f6" fmla="val 84102"/>
                <a:gd name="f7" fmla="*/ f0 1 220345"/>
                <a:gd name="f8" fmla="*/ f1 1 84455"/>
                <a:gd name="f9" fmla="+- f4 0 f2"/>
                <a:gd name="f10" fmla="+- f3 0 f2"/>
                <a:gd name="f11" fmla="*/ f10 1 22034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2034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2" name="object 382">
              <a:extLst>
                <a:ext uri="{FF2B5EF4-FFF2-40B4-BE49-F238E27FC236}">
                  <a16:creationId xmlns:a16="http://schemas.microsoft.com/office/drawing/2014/main" id="{14BC53F6-AAEE-5639-F7F1-050410F272A4}"/>
                </a:ext>
              </a:extLst>
            </p:cNvPr>
            <p:cNvSpPr/>
            <p:nvPr/>
          </p:nvSpPr>
          <p:spPr>
            <a:xfrm>
              <a:off x="3649589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3" name="object 383">
              <a:extLst>
                <a:ext uri="{FF2B5EF4-FFF2-40B4-BE49-F238E27FC236}">
                  <a16:creationId xmlns:a16="http://schemas.microsoft.com/office/drawing/2014/main" id="{67C1A219-AC39-271A-D63C-3E0F101EB65C}"/>
                </a:ext>
              </a:extLst>
            </p:cNvPr>
            <p:cNvSpPr/>
            <p:nvPr/>
          </p:nvSpPr>
          <p:spPr>
            <a:xfrm>
              <a:off x="3684611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4" name="object 384">
              <a:extLst>
                <a:ext uri="{FF2B5EF4-FFF2-40B4-BE49-F238E27FC236}">
                  <a16:creationId xmlns:a16="http://schemas.microsoft.com/office/drawing/2014/main" id="{93629885-B5BE-2666-1328-35572D85E6FD}"/>
                </a:ext>
              </a:extLst>
            </p:cNvPr>
            <p:cNvSpPr/>
            <p:nvPr/>
          </p:nvSpPr>
          <p:spPr>
            <a:xfrm>
              <a:off x="3579546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5" name="object 385">
              <a:extLst>
                <a:ext uri="{FF2B5EF4-FFF2-40B4-BE49-F238E27FC236}">
                  <a16:creationId xmlns:a16="http://schemas.microsoft.com/office/drawing/2014/main" id="{5ED9C121-6E7F-EFF8-4936-EA92338BDE4C}"/>
                </a:ext>
              </a:extLst>
            </p:cNvPr>
            <p:cNvSpPr/>
            <p:nvPr/>
          </p:nvSpPr>
          <p:spPr>
            <a:xfrm>
              <a:off x="3474482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6" name="object 386">
              <a:extLst>
                <a:ext uri="{FF2B5EF4-FFF2-40B4-BE49-F238E27FC236}">
                  <a16:creationId xmlns:a16="http://schemas.microsoft.com/office/drawing/2014/main" id="{3C17EBAC-C550-A4B8-8A2F-3C5467038D78}"/>
                </a:ext>
              </a:extLst>
            </p:cNvPr>
            <p:cNvSpPr/>
            <p:nvPr/>
          </p:nvSpPr>
          <p:spPr>
            <a:xfrm>
              <a:off x="3509576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7" name="object 387">
              <a:extLst>
                <a:ext uri="{FF2B5EF4-FFF2-40B4-BE49-F238E27FC236}">
                  <a16:creationId xmlns:a16="http://schemas.microsoft.com/office/drawing/2014/main" id="{5E192F67-B11F-53D2-0041-C8597359401C}"/>
                </a:ext>
              </a:extLst>
            </p:cNvPr>
            <p:cNvSpPr/>
            <p:nvPr/>
          </p:nvSpPr>
          <p:spPr>
            <a:xfrm>
              <a:off x="3404439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8" name="object 388">
              <a:extLst>
                <a:ext uri="{FF2B5EF4-FFF2-40B4-BE49-F238E27FC236}">
                  <a16:creationId xmlns:a16="http://schemas.microsoft.com/office/drawing/2014/main" id="{CBDE9830-3C35-B229-BC76-C3460C5ACBE2}"/>
                </a:ext>
              </a:extLst>
            </p:cNvPr>
            <p:cNvSpPr/>
            <p:nvPr/>
          </p:nvSpPr>
          <p:spPr>
            <a:xfrm>
              <a:off x="3614568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9" name="object 389">
              <a:extLst>
                <a:ext uri="{FF2B5EF4-FFF2-40B4-BE49-F238E27FC236}">
                  <a16:creationId xmlns:a16="http://schemas.microsoft.com/office/drawing/2014/main" id="{53C55D10-8DF0-FE44-4B44-4BEF85E70B14}"/>
                </a:ext>
              </a:extLst>
            </p:cNvPr>
            <p:cNvSpPr/>
            <p:nvPr/>
          </p:nvSpPr>
          <p:spPr>
            <a:xfrm>
              <a:off x="3439460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0" name="object 390">
              <a:extLst>
                <a:ext uri="{FF2B5EF4-FFF2-40B4-BE49-F238E27FC236}">
                  <a16:creationId xmlns:a16="http://schemas.microsoft.com/office/drawing/2014/main" id="{72D40F1A-C3A1-48EA-536D-4C2105E2A63D}"/>
                </a:ext>
              </a:extLst>
            </p:cNvPr>
            <p:cNvSpPr/>
            <p:nvPr/>
          </p:nvSpPr>
          <p:spPr>
            <a:xfrm>
              <a:off x="371963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1" name="object 391">
              <a:extLst>
                <a:ext uri="{FF2B5EF4-FFF2-40B4-BE49-F238E27FC236}">
                  <a16:creationId xmlns:a16="http://schemas.microsoft.com/office/drawing/2014/main" id="{ADF5ED9C-FF1D-AF48-6579-BD51234237F7}"/>
                </a:ext>
              </a:extLst>
            </p:cNvPr>
            <p:cNvSpPr/>
            <p:nvPr/>
          </p:nvSpPr>
          <p:spPr>
            <a:xfrm>
              <a:off x="354466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2" name="object 392">
              <a:extLst>
                <a:ext uri="{FF2B5EF4-FFF2-40B4-BE49-F238E27FC236}">
                  <a16:creationId xmlns:a16="http://schemas.microsoft.com/office/drawing/2014/main" id="{C68175AB-8E68-109E-53DD-9F3197ADE29E}"/>
                </a:ext>
              </a:extLst>
            </p:cNvPr>
            <p:cNvSpPr/>
            <p:nvPr/>
          </p:nvSpPr>
          <p:spPr>
            <a:xfrm>
              <a:off x="336969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3" name="object 393">
              <a:extLst>
                <a:ext uri="{FF2B5EF4-FFF2-40B4-BE49-F238E27FC236}">
                  <a16:creationId xmlns:a16="http://schemas.microsoft.com/office/drawing/2014/main" id="{8A5C1742-C8CF-9784-6EE0-0C01A0EC7502}"/>
                </a:ext>
              </a:extLst>
            </p:cNvPr>
            <p:cNvSpPr/>
            <p:nvPr/>
          </p:nvSpPr>
          <p:spPr>
            <a:xfrm>
              <a:off x="354466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4" name="object 394">
              <a:extLst>
                <a:ext uri="{FF2B5EF4-FFF2-40B4-BE49-F238E27FC236}">
                  <a16:creationId xmlns:a16="http://schemas.microsoft.com/office/drawing/2014/main" id="{626B0EBF-64ED-2EE2-CAE8-FDEA8CC987A6}"/>
                </a:ext>
              </a:extLst>
            </p:cNvPr>
            <p:cNvSpPr/>
            <p:nvPr/>
          </p:nvSpPr>
          <p:spPr>
            <a:xfrm>
              <a:off x="3369692" y="118277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95" name="object 395">
            <a:extLst>
              <a:ext uri="{FF2B5EF4-FFF2-40B4-BE49-F238E27FC236}">
                <a16:creationId xmlns:a16="http://schemas.microsoft.com/office/drawing/2014/main" id="{048386BC-CECB-221E-FF1B-65B7A26D9263}"/>
              </a:ext>
            </a:extLst>
          </p:cNvPr>
          <p:cNvGrpSpPr/>
          <p:nvPr/>
        </p:nvGrpSpPr>
        <p:grpSpPr>
          <a:xfrm>
            <a:off x="3369692" y="1847600"/>
            <a:ext cx="350023" cy="124239"/>
            <a:chOff x="3369692" y="1847600"/>
            <a:chExt cx="350023" cy="124239"/>
          </a:xfrm>
        </p:grpSpPr>
        <p:sp>
          <p:nvSpPr>
            <p:cNvPr id="396" name="object 396">
              <a:extLst>
                <a:ext uri="{FF2B5EF4-FFF2-40B4-BE49-F238E27FC236}">
                  <a16:creationId xmlns:a16="http://schemas.microsoft.com/office/drawing/2014/main" id="{8CFD6D4A-8345-39E9-511B-CD9341BD4D15}"/>
                </a:ext>
              </a:extLst>
            </p:cNvPr>
            <p:cNvSpPr/>
            <p:nvPr/>
          </p:nvSpPr>
          <p:spPr>
            <a:xfrm>
              <a:off x="3369692" y="1847609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5"/>
                <a:gd name="f4" fmla="val 84455"/>
                <a:gd name="f5" fmla="val 241406"/>
                <a:gd name="f6" fmla="val 84123"/>
                <a:gd name="f7" fmla="*/ f0 1 241935"/>
                <a:gd name="f8" fmla="*/ f1 1 84455"/>
                <a:gd name="f9" fmla="+- f4 0 f2"/>
                <a:gd name="f10" fmla="+- f3 0 f2"/>
                <a:gd name="f11" fmla="*/ f10 1 24193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7" name="object 397">
              <a:extLst>
                <a:ext uri="{FF2B5EF4-FFF2-40B4-BE49-F238E27FC236}">
                  <a16:creationId xmlns:a16="http://schemas.microsoft.com/office/drawing/2014/main" id="{53998175-DBF1-387F-D555-DC16EFD16780}"/>
                </a:ext>
              </a:extLst>
            </p:cNvPr>
            <p:cNvSpPr/>
            <p:nvPr/>
          </p:nvSpPr>
          <p:spPr>
            <a:xfrm>
              <a:off x="3474482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8" name="object 398">
              <a:extLst>
                <a:ext uri="{FF2B5EF4-FFF2-40B4-BE49-F238E27FC236}">
                  <a16:creationId xmlns:a16="http://schemas.microsoft.com/office/drawing/2014/main" id="{95B58A6E-798A-3CCB-3211-75EC83470A4E}"/>
                </a:ext>
              </a:extLst>
            </p:cNvPr>
            <p:cNvSpPr/>
            <p:nvPr/>
          </p:nvSpPr>
          <p:spPr>
            <a:xfrm>
              <a:off x="3509576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9" name="object 399">
              <a:extLst>
                <a:ext uri="{FF2B5EF4-FFF2-40B4-BE49-F238E27FC236}">
                  <a16:creationId xmlns:a16="http://schemas.microsoft.com/office/drawing/2014/main" id="{7E6788E3-6BD2-3EA6-BB92-B4508952FC5E}"/>
                </a:ext>
              </a:extLst>
            </p:cNvPr>
            <p:cNvSpPr/>
            <p:nvPr/>
          </p:nvSpPr>
          <p:spPr>
            <a:xfrm>
              <a:off x="3404439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0" name="object 400">
              <a:extLst>
                <a:ext uri="{FF2B5EF4-FFF2-40B4-BE49-F238E27FC236}">
                  <a16:creationId xmlns:a16="http://schemas.microsoft.com/office/drawing/2014/main" id="{0E4D3261-D4D2-772C-57D3-7C42126FD4D7}"/>
                </a:ext>
              </a:extLst>
            </p:cNvPr>
            <p:cNvSpPr/>
            <p:nvPr/>
          </p:nvSpPr>
          <p:spPr>
            <a:xfrm>
              <a:off x="3439460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1" name="object 401">
              <a:extLst>
                <a:ext uri="{FF2B5EF4-FFF2-40B4-BE49-F238E27FC236}">
                  <a16:creationId xmlns:a16="http://schemas.microsoft.com/office/drawing/2014/main" id="{73D9E582-88E2-22D4-5CF4-BFD742B13715}"/>
                </a:ext>
              </a:extLst>
            </p:cNvPr>
            <p:cNvSpPr/>
            <p:nvPr/>
          </p:nvSpPr>
          <p:spPr>
            <a:xfrm>
              <a:off x="3369692" y="184760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2" name="object 402">
              <a:extLst>
                <a:ext uri="{FF2B5EF4-FFF2-40B4-BE49-F238E27FC236}">
                  <a16:creationId xmlns:a16="http://schemas.microsoft.com/office/drawing/2014/main" id="{8E48EBFD-FDC2-026A-FCC3-D7A16B6B9079}"/>
                </a:ext>
              </a:extLst>
            </p:cNvPr>
            <p:cNvSpPr/>
            <p:nvPr/>
          </p:nvSpPr>
          <p:spPr>
            <a:xfrm>
              <a:off x="3649589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3" name="object 403">
              <a:extLst>
                <a:ext uri="{FF2B5EF4-FFF2-40B4-BE49-F238E27FC236}">
                  <a16:creationId xmlns:a16="http://schemas.microsoft.com/office/drawing/2014/main" id="{1C163D9C-1E1B-A475-DD5E-F5CB019A8121}"/>
                </a:ext>
              </a:extLst>
            </p:cNvPr>
            <p:cNvSpPr/>
            <p:nvPr/>
          </p:nvSpPr>
          <p:spPr>
            <a:xfrm>
              <a:off x="3684611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4" name="object 404">
              <a:extLst>
                <a:ext uri="{FF2B5EF4-FFF2-40B4-BE49-F238E27FC236}">
                  <a16:creationId xmlns:a16="http://schemas.microsoft.com/office/drawing/2014/main" id="{DD989ED9-DA47-AF7B-4985-CA96C5892AF7}"/>
                </a:ext>
              </a:extLst>
            </p:cNvPr>
            <p:cNvSpPr/>
            <p:nvPr/>
          </p:nvSpPr>
          <p:spPr>
            <a:xfrm>
              <a:off x="3579546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5" name="object 405">
              <a:extLst>
                <a:ext uri="{FF2B5EF4-FFF2-40B4-BE49-F238E27FC236}">
                  <a16:creationId xmlns:a16="http://schemas.microsoft.com/office/drawing/2014/main" id="{4AD57918-716C-3D53-7845-80B1E268F609}"/>
                </a:ext>
              </a:extLst>
            </p:cNvPr>
            <p:cNvSpPr/>
            <p:nvPr/>
          </p:nvSpPr>
          <p:spPr>
            <a:xfrm>
              <a:off x="3614568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6" name="object 406">
              <a:extLst>
                <a:ext uri="{FF2B5EF4-FFF2-40B4-BE49-F238E27FC236}">
                  <a16:creationId xmlns:a16="http://schemas.microsoft.com/office/drawing/2014/main" id="{BCCF382D-CC5A-3FEF-8DC0-32CC035CADBC}"/>
                </a:ext>
              </a:extLst>
            </p:cNvPr>
            <p:cNvSpPr/>
            <p:nvPr/>
          </p:nvSpPr>
          <p:spPr>
            <a:xfrm>
              <a:off x="3719632" y="184760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7" name="object 407">
              <a:extLst>
                <a:ext uri="{FF2B5EF4-FFF2-40B4-BE49-F238E27FC236}">
                  <a16:creationId xmlns:a16="http://schemas.microsoft.com/office/drawing/2014/main" id="{BBC0C559-0907-A681-E6BA-AAE32088FF5E}"/>
                </a:ext>
              </a:extLst>
            </p:cNvPr>
            <p:cNvSpPr/>
            <p:nvPr/>
          </p:nvSpPr>
          <p:spPr>
            <a:xfrm>
              <a:off x="3544662" y="184760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8" name="object 408">
              <a:extLst>
                <a:ext uri="{FF2B5EF4-FFF2-40B4-BE49-F238E27FC236}">
                  <a16:creationId xmlns:a16="http://schemas.microsoft.com/office/drawing/2014/main" id="{FA573BDC-B393-0136-8AD6-2FB1DB34A1CC}"/>
                </a:ext>
              </a:extLst>
            </p:cNvPr>
            <p:cNvSpPr/>
            <p:nvPr/>
          </p:nvSpPr>
          <p:spPr>
            <a:xfrm>
              <a:off x="3369692" y="187311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9" name="object 409">
              <a:extLst>
                <a:ext uri="{FF2B5EF4-FFF2-40B4-BE49-F238E27FC236}">
                  <a16:creationId xmlns:a16="http://schemas.microsoft.com/office/drawing/2014/main" id="{B8CF42B9-B5A7-A529-EB82-D3D318C2BA38}"/>
                </a:ext>
              </a:extLst>
            </p:cNvPr>
            <p:cNvSpPr/>
            <p:nvPr/>
          </p:nvSpPr>
          <p:spPr>
            <a:xfrm>
              <a:off x="3370158" y="1920624"/>
              <a:ext cx="6507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7314"/>
                <a:gd name="f4" fmla="val 84454"/>
                <a:gd name="f5" fmla="val 106834"/>
                <a:gd name="f6" fmla="val 84123"/>
                <a:gd name="f7" fmla="*/ f0 1 107314"/>
                <a:gd name="f8" fmla="*/ f1 1 84454"/>
                <a:gd name="f9" fmla="+- f4 0 f2"/>
                <a:gd name="f10" fmla="+- f3 0 f2"/>
                <a:gd name="f11" fmla="*/ f10 1 10731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731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0" name="object 410">
              <a:extLst>
                <a:ext uri="{FF2B5EF4-FFF2-40B4-BE49-F238E27FC236}">
                  <a16:creationId xmlns:a16="http://schemas.microsoft.com/office/drawing/2014/main" id="{D9D786F5-2010-FE0D-D61E-44082C88BE9E}"/>
                </a:ext>
              </a:extLst>
            </p:cNvPr>
            <p:cNvSpPr/>
            <p:nvPr/>
          </p:nvSpPr>
          <p:spPr>
            <a:xfrm>
              <a:off x="3649589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1" name="object 411">
              <a:extLst>
                <a:ext uri="{FF2B5EF4-FFF2-40B4-BE49-F238E27FC236}">
                  <a16:creationId xmlns:a16="http://schemas.microsoft.com/office/drawing/2014/main" id="{4445BCB2-33D4-8645-DCC7-E8C57E9C12E9}"/>
                </a:ext>
              </a:extLst>
            </p:cNvPr>
            <p:cNvSpPr/>
            <p:nvPr/>
          </p:nvSpPr>
          <p:spPr>
            <a:xfrm>
              <a:off x="3684611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2" name="object 412">
              <a:extLst>
                <a:ext uri="{FF2B5EF4-FFF2-40B4-BE49-F238E27FC236}">
                  <a16:creationId xmlns:a16="http://schemas.microsoft.com/office/drawing/2014/main" id="{3EFD22FF-2118-1AA2-D595-A0DA3F1D1B2C}"/>
                </a:ext>
              </a:extLst>
            </p:cNvPr>
            <p:cNvSpPr/>
            <p:nvPr/>
          </p:nvSpPr>
          <p:spPr>
            <a:xfrm>
              <a:off x="3579546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3" name="object 413">
              <a:extLst>
                <a:ext uri="{FF2B5EF4-FFF2-40B4-BE49-F238E27FC236}">
                  <a16:creationId xmlns:a16="http://schemas.microsoft.com/office/drawing/2014/main" id="{FF0CA5EA-A18E-381B-92E4-9F424C761F5B}"/>
                </a:ext>
              </a:extLst>
            </p:cNvPr>
            <p:cNvSpPr/>
            <p:nvPr/>
          </p:nvSpPr>
          <p:spPr>
            <a:xfrm>
              <a:off x="3474482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4" name="object 414">
              <a:extLst>
                <a:ext uri="{FF2B5EF4-FFF2-40B4-BE49-F238E27FC236}">
                  <a16:creationId xmlns:a16="http://schemas.microsoft.com/office/drawing/2014/main" id="{FE30454C-74AF-69F0-9D2F-D46AF4B67BDC}"/>
                </a:ext>
              </a:extLst>
            </p:cNvPr>
            <p:cNvSpPr/>
            <p:nvPr/>
          </p:nvSpPr>
          <p:spPr>
            <a:xfrm>
              <a:off x="3509576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5" name="object 415">
              <a:extLst>
                <a:ext uri="{FF2B5EF4-FFF2-40B4-BE49-F238E27FC236}">
                  <a16:creationId xmlns:a16="http://schemas.microsoft.com/office/drawing/2014/main" id="{37183BD6-C565-B0F4-9D54-5026010D0216}"/>
                </a:ext>
              </a:extLst>
            </p:cNvPr>
            <p:cNvSpPr/>
            <p:nvPr/>
          </p:nvSpPr>
          <p:spPr>
            <a:xfrm>
              <a:off x="3404439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6" name="object 416">
              <a:extLst>
                <a:ext uri="{FF2B5EF4-FFF2-40B4-BE49-F238E27FC236}">
                  <a16:creationId xmlns:a16="http://schemas.microsoft.com/office/drawing/2014/main" id="{9152A37F-B265-0814-84A5-EAB97F4F9C45}"/>
                </a:ext>
              </a:extLst>
            </p:cNvPr>
            <p:cNvSpPr/>
            <p:nvPr/>
          </p:nvSpPr>
          <p:spPr>
            <a:xfrm>
              <a:off x="3614568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7" name="object 417">
              <a:extLst>
                <a:ext uri="{FF2B5EF4-FFF2-40B4-BE49-F238E27FC236}">
                  <a16:creationId xmlns:a16="http://schemas.microsoft.com/office/drawing/2014/main" id="{12C7C86C-CDFA-E55D-9333-28F9EF6CA7FC}"/>
                </a:ext>
              </a:extLst>
            </p:cNvPr>
            <p:cNvSpPr/>
            <p:nvPr/>
          </p:nvSpPr>
          <p:spPr>
            <a:xfrm>
              <a:off x="3439460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8" name="object 418">
              <a:extLst>
                <a:ext uri="{FF2B5EF4-FFF2-40B4-BE49-F238E27FC236}">
                  <a16:creationId xmlns:a16="http://schemas.microsoft.com/office/drawing/2014/main" id="{D06EB0B5-CC27-2DB5-7F09-85F9298B6C43}"/>
                </a:ext>
              </a:extLst>
            </p:cNvPr>
            <p:cNvSpPr/>
            <p:nvPr/>
          </p:nvSpPr>
          <p:spPr>
            <a:xfrm>
              <a:off x="371963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9" name="object 419">
              <a:extLst>
                <a:ext uri="{FF2B5EF4-FFF2-40B4-BE49-F238E27FC236}">
                  <a16:creationId xmlns:a16="http://schemas.microsoft.com/office/drawing/2014/main" id="{7850F7ED-D0AC-E5D6-BDD8-F6C47946A215}"/>
                </a:ext>
              </a:extLst>
            </p:cNvPr>
            <p:cNvSpPr/>
            <p:nvPr/>
          </p:nvSpPr>
          <p:spPr>
            <a:xfrm>
              <a:off x="354466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0" name="object 420">
              <a:extLst>
                <a:ext uri="{FF2B5EF4-FFF2-40B4-BE49-F238E27FC236}">
                  <a16:creationId xmlns:a16="http://schemas.microsoft.com/office/drawing/2014/main" id="{3BFBF3E0-C534-9A1B-4948-0D704BC55A05}"/>
                </a:ext>
              </a:extLst>
            </p:cNvPr>
            <p:cNvSpPr/>
            <p:nvPr/>
          </p:nvSpPr>
          <p:spPr>
            <a:xfrm>
              <a:off x="336969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1" name="object 421">
              <a:extLst>
                <a:ext uri="{FF2B5EF4-FFF2-40B4-BE49-F238E27FC236}">
                  <a16:creationId xmlns:a16="http://schemas.microsoft.com/office/drawing/2014/main" id="{1DC65FDD-ADE4-FB04-E768-FE9E6BC56ACF}"/>
                </a:ext>
              </a:extLst>
            </p:cNvPr>
            <p:cNvSpPr/>
            <p:nvPr/>
          </p:nvSpPr>
          <p:spPr>
            <a:xfrm>
              <a:off x="354466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2" name="object 422">
              <a:extLst>
                <a:ext uri="{FF2B5EF4-FFF2-40B4-BE49-F238E27FC236}">
                  <a16:creationId xmlns:a16="http://schemas.microsoft.com/office/drawing/2014/main" id="{B7E10C8F-CCAF-E670-782F-B75BEDE5FF34}"/>
                </a:ext>
              </a:extLst>
            </p:cNvPr>
            <p:cNvSpPr/>
            <p:nvPr/>
          </p:nvSpPr>
          <p:spPr>
            <a:xfrm>
              <a:off x="3369692" y="194612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23" name="object 423">
            <a:extLst>
              <a:ext uri="{FF2B5EF4-FFF2-40B4-BE49-F238E27FC236}">
                <a16:creationId xmlns:a16="http://schemas.microsoft.com/office/drawing/2014/main" id="{3E7B7246-CDBC-FD93-AABA-6FEC43E82DD1}"/>
              </a:ext>
            </a:extLst>
          </p:cNvPr>
          <p:cNvGrpSpPr/>
          <p:nvPr/>
        </p:nvGrpSpPr>
        <p:grpSpPr>
          <a:xfrm>
            <a:off x="3369692" y="2612724"/>
            <a:ext cx="350023" cy="124239"/>
            <a:chOff x="3369692" y="2612724"/>
            <a:chExt cx="350023" cy="124239"/>
          </a:xfrm>
        </p:grpSpPr>
        <p:sp>
          <p:nvSpPr>
            <p:cNvPr id="424" name="object 424">
              <a:extLst>
                <a:ext uri="{FF2B5EF4-FFF2-40B4-BE49-F238E27FC236}">
                  <a16:creationId xmlns:a16="http://schemas.microsoft.com/office/drawing/2014/main" id="{AC211946-527E-3C18-A630-EB92A24BFC07}"/>
                </a:ext>
              </a:extLst>
            </p:cNvPr>
            <p:cNvSpPr/>
            <p:nvPr/>
          </p:nvSpPr>
          <p:spPr>
            <a:xfrm>
              <a:off x="3369692" y="2612724"/>
              <a:ext cx="9048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9225"/>
                <a:gd name="f4" fmla="val 84454"/>
                <a:gd name="f5" fmla="val 148623"/>
                <a:gd name="f6" fmla="val 84123"/>
                <a:gd name="f7" fmla="*/ f0 1 149225"/>
                <a:gd name="f8" fmla="*/ f1 1 84454"/>
                <a:gd name="f9" fmla="+- f4 0 f2"/>
                <a:gd name="f10" fmla="+- f3 0 f2"/>
                <a:gd name="f11" fmla="*/ f10 1 1492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92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5" name="object 425">
              <a:extLst>
                <a:ext uri="{FF2B5EF4-FFF2-40B4-BE49-F238E27FC236}">
                  <a16:creationId xmlns:a16="http://schemas.microsoft.com/office/drawing/2014/main" id="{BB6B14FF-CFEC-3D90-3527-AA02C7C7C037}"/>
                </a:ext>
              </a:extLst>
            </p:cNvPr>
            <p:cNvSpPr/>
            <p:nvPr/>
          </p:nvSpPr>
          <p:spPr>
            <a:xfrm>
              <a:off x="3474482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6" name="object 426">
              <a:extLst>
                <a:ext uri="{FF2B5EF4-FFF2-40B4-BE49-F238E27FC236}">
                  <a16:creationId xmlns:a16="http://schemas.microsoft.com/office/drawing/2014/main" id="{EA9E3CB2-0E50-203F-50B0-1470752170BE}"/>
                </a:ext>
              </a:extLst>
            </p:cNvPr>
            <p:cNvSpPr/>
            <p:nvPr/>
          </p:nvSpPr>
          <p:spPr>
            <a:xfrm>
              <a:off x="3404439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7" name="object 427">
              <a:extLst>
                <a:ext uri="{FF2B5EF4-FFF2-40B4-BE49-F238E27FC236}">
                  <a16:creationId xmlns:a16="http://schemas.microsoft.com/office/drawing/2014/main" id="{DE15614A-9244-CC42-99C7-42517598EEFC}"/>
                </a:ext>
              </a:extLst>
            </p:cNvPr>
            <p:cNvSpPr/>
            <p:nvPr/>
          </p:nvSpPr>
          <p:spPr>
            <a:xfrm>
              <a:off x="3439460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8" name="object 428">
              <a:extLst>
                <a:ext uri="{FF2B5EF4-FFF2-40B4-BE49-F238E27FC236}">
                  <a16:creationId xmlns:a16="http://schemas.microsoft.com/office/drawing/2014/main" id="{30E8EC81-E2AF-4B16-B181-B61B15417F0B}"/>
                </a:ext>
              </a:extLst>
            </p:cNvPr>
            <p:cNvSpPr/>
            <p:nvPr/>
          </p:nvSpPr>
          <p:spPr>
            <a:xfrm>
              <a:off x="3369692" y="26127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9" name="object 429">
              <a:extLst>
                <a:ext uri="{FF2B5EF4-FFF2-40B4-BE49-F238E27FC236}">
                  <a16:creationId xmlns:a16="http://schemas.microsoft.com/office/drawing/2014/main" id="{30EF774A-3EF4-1556-6738-C5BFC0392B97}"/>
                </a:ext>
              </a:extLst>
            </p:cNvPr>
            <p:cNvSpPr/>
            <p:nvPr/>
          </p:nvSpPr>
          <p:spPr>
            <a:xfrm>
              <a:off x="3649589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0" name="object 430">
              <a:extLst>
                <a:ext uri="{FF2B5EF4-FFF2-40B4-BE49-F238E27FC236}">
                  <a16:creationId xmlns:a16="http://schemas.microsoft.com/office/drawing/2014/main" id="{CAA9C714-584E-B247-E061-F131C27090FC}"/>
                </a:ext>
              </a:extLst>
            </p:cNvPr>
            <p:cNvSpPr/>
            <p:nvPr/>
          </p:nvSpPr>
          <p:spPr>
            <a:xfrm>
              <a:off x="3684611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1" name="object 431">
              <a:extLst>
                <a:ext uri="{FF2B5EF4-FFF2-40B4-BE49-F238E27FC236}">
                  <a16:creationId xmlns:a16="http://schemas.microsoft.com/office/drawing/2014/main" id="{1F71EEDB-7DC0-D077-E701-26B07BA4AAFC}"/>
                </a:ext>
              </a:extLst>
            </p:cNvPr>
            <p:cNvSpPr/>
            <p:nvPr/>
          </p:nvSpPr>
          <p:spPr>
            <a:xfrm>
              <a:off x="3579546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2" name="object 432">
              <a:extLst>
                <a:ext uri="{FF2B5EF4-FFF2-40B4-BE49-F238E27FC236}">
                  <a16:creationId xmlns:a16="http://schemas.microsoft.com/office/drawing/2014/main" id="{356D4CD0-CE3E-1971-D216-226594A511F3}"/>
                </a:ext>
              </a:extLst>
            </p:cNvPr>
            <p:cNvSpPr/>
            <p:nvPr/>
          </p:nvSpPr>
          <p:spPr>
            <a:xfrm>
              <a:off x="3509576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3" name="object 433">
              <a:extLst>
                <a:ext uri="{FF2B5EF4-FFF2-40B4-BE49-F238E27FC236}">
                  <a16:creationId xmlns:a16="http://schemas.microsoft.com/office/drawing/2014/main" id="{63CDDECB-141A-B8DD-981A-BA64D619B414}"/>
                </a:ext>
              </a:extLst>
            </p:cNvPr>
            <p:cNvSpPr/>
            <p:nvPr/>
          </p:nvSpPr>
          <p:spPr>
            <a:xfrm>
              <a:off x="3614568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4" name="object 434">
              <a:extLst>
                <a:ext uri="{FF2B5EF4-FFF2-40B4-BE49-F238E27FC236}">
                  <a16:creationId xmlns:a16="http://schemas.microsoft.com/office/drawing/2014/main" id="{C02F9395-EC91-3926-E473-429880357D6B}"/>
                </a:ext>
              </a:extLst>
            </p:cNvPr>
            <p:cNvSpPr/>
            <p:nvPr/>
          </p:nvSpPr>
          <p:spPr>
            <a:xfrm>
              <a:off x="3719632" y="26127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5" name="object 435">
              <a:extLst>
                <a:ext uri="{FF2B5EF4-FFF2-40B4-BE49-F238E27FC236}">
                  <a16:creationId xmlns:a16="http://schemas.microsoft.com/office/drawing/2014/main" id="{F9AB57B9-7AD2-ACE2-C1AC-E29A454FC772}"/>
                </a:ext>
              </a:extLst>
            </p:cNvPr>
            <p:cNvSpPr/>
            <p:nvPr/>
          </p:nvSpPr>
          <p:spPr>
            <a:xfrm>
              <a:off x="3544662" y="26127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6" name="object 436">
              <a:extLst>
                <a:ext uri="{FF2B5EF4-FFF2-40B4-BE49-F238E27FC236}">
                  <a16:creationId xmlns:a16="http://schemas.microsoft.com/office/drawing/2014/main" id="{F3EF4EAA-5BA9-EB65-2B5E-33064C311CEA}"/>
                </a:ext>
              </a:extLst>
            </p:cNvPr>
            <p:cNvSpPr/>
            <p:nvPr/>
          </p:nvSpPr>
          <p:spPr>
            <a:xfrm>
              <a:off x="3369692" y="263822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7" name="object 437">
              <a:extLst>
                <a:ext uri="{FF2B5EF4-FFF2-40B4-BE49-F238E27FC236}">
                  <a16:creationId xmlns:a16="http://schemas.microsoft.com/office/drawing/2014/main" id="{9143FFB6-2DE0-5C04-C9E3-9AAB2DCE9EFE}"/>
                </a:ext>
              </a:extLst>
            </p:cNvPr>
            <p:cNvSpPr/>
            <p:nvPr/>
          </p:nvSpPr>
          <p:spPr>
            <a:xfrm>
              <a:off x="3370158" y="2685748"/>
              <a:ext cx="635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4775"/>
                <a:gd name="f4" fmla="val 84454"/>
                <a:gd name="f5" fmla="val 104227"/>
                <a:gd name="f6" fmla="val 84112"/>
                <a:gd name="f7" fmla="*/ f0 1 104775"/>
                <a:gd name="f8" fmla="*/ f1 1 84454"/>
                <a:gd name="f9" fmla="+- f4 0 f2"/>
                <a:gd name="f10" fmla="+- f3 0 f2"/>
                <a:gd name="f11" fmla="*/ f10 1 1047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47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8" name="object 438">
              <a:extLst>
                <a:ext uri="{FF2B5EF4-FFF2-40B4-BE49-F238E27FC236}">
                  <a16:creationId xmlns:a16="http://schemas.microsoft.com/office/drawing/2014/main" id="{F7CEB720-1321-CC04-394D-68F78ED75416}"/>
                </a:ext>
              </a:extLst>
            </p:cNvPr>
            <p:cNvSpPr/>
            <p:nvPr/>
          </p:nvSpPr>
          <p:spPr>
            <a:xfrm>
              <a:off x="3649589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9" name="object 439">
              <a:extLst>
                <a:ext uri="{FF2B5EF4-FFF2-40B4-BE49-F238E27FC236}">
                  <a16:creationId xmlns:a16="http://schemas.microsoft.com/office/drawing/2014/main" id="{0A38C894-E16D-C62C-AC56-982FDFB845EA}"/>
                </a:ext>
              </a:extLst>
            </p:cNvPr>
            <p:cNvSpPr/>
            <p:nvPr/>
          </p:nvSpPr>
          <p:spPr>
            <a:xfrm>
              <a:off x="3684611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0" name="object 440">
              <a:extLst>
                <a:ext uri="{FF2B5EF4-FFF2-40B4-BE49-F238E27FC236}">
                  <a16:creationId xmlns:a16="http://schemas.microsoft.com/office/drawing/2014/main" id="{9D3A5CD2-39D7-1589-183A-F2FC1C96091A}"/>
                </a:ext>
              </a:extLst>
            </p:cNvPr>
            <p:cNvSpPr/>
            <p:nvPr/>
          </p:nvSpPr>
          <p:spPr>
            <a:xfrm>
              <a:off x="3579546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1" name="object 441">
              <a:extLst>
                <a:ext uri="{FF2B5EF4-FFF2-40B4-BE49-F238E27FC236}">
                  <a16:creationId xmlns:a16="http://schemas.microsoft.com/office/drawing/2014/main" id="{77A6011E-034F-4993-A0A8-8055A03DEE1F}"/>
                </a:ext>
              </a:extLst>
            </p:cNvPr>
            <p:cNvSpPr/>
            <p:nvPr/>
          </p:nvSpPr>
          <p:spPr>
            <a:xfrm>
              <a:off x="3474482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2" name="object 442">
              <a:extLst>
                <a:ext uri="{FF2B5EF4-FFF2-40B4-BE49-F238E27FC236}">
                  <a16:creationId xmlns:a16="http://schemas.microsoft.com/office/drawing/2014/main" id="{44E4FD50-C7F0-6BF8-F1A2-2A1AE19982DB}"/>
                </a:ext>
              </a:extLst>
            </p:cNvPr>
            <p:cNvSpPr/>
            <p:nvPr/>
          </p:nvSpPr>
          <p:spPr>
            <a:xfrm>
              <a:off x="3509576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3" name="object 443">
              <a:extLst>
                <a:ext uri="{FF2B5EF4-FFF2-40B4-BE49-F238E27FC236}">
                  <a16:creationId xmlns:a16="http://schemas.microsoft.com/office/drawing/2014/main" id="{5EB47314-4BF3-867A-D9E0-366C243FD8B0}"/>
                </a:ext>
              </a:extLst>
            </p:cNvPr>
            <p:cNvSpPr/>
            <p:nvPr/>
          </p:nvSpPr>
          <p:spPr>
            <a:xfrm>
              <a:off x="3404439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4" name="object 444">
              <a:extLst>
                <a:ext uri="{FF2B5EF4-FFF2-40B4-BE49-F238E27FC236}">
                  <a16:creationId xmlns:a16="http://schemas.microsoft.com/office/drawing/2014/main" id="{AD276A6F-7BC5-87F5-3055-F4B2B5271364}"/>
                </a:ext>
              </a:extLst>
            </p:cNvPr>
            <p:cNvSpPr/>
            <p:nvPr/>
          </p:nvSpPr>
          <p:spPr>
            <a:xfrm>
              <a:off x="3614568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5" name="object 445">
              <a:extLst>
                <a:ext uri="{FF2B5EF4-FFF2-40B4-BE49-F238E27FC236}">
                  <a16:creationId xmlns:a16="http://schemas.microsoft.com/office/drawing/2014/main" id="{F5E22490-27A3-BDE9-F02C-679600EB7D0A}"/>
                </a:ext>
              </a:extLst>
            </p:cNvPr>
            <p:cNvSpPr/>
            <p:nvPr/>
          </p:nvSpPr>
          <p:spPr>
            <a:xfrm>
              <a:off x="3439460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6" name="object 446">
              <a:extLst>
                <a:ext uri="{FF2B5EF4-FFF2-40B4-BE49-F238E27FC236}">
                  <a16:creationId xmlns:a16="http://schemas.microsoft.com/office/drawing/2014/main" id="{CB7F3EB0-0E6B-B3D4-8A06-C2380C2D2E88}"/>
                </a:ext>
              </a:extLst>
            </p:cNvPr>
            <p:cNvSpPr/>
            <p:nvPr/>
          </p:nvSpPr>
          <p:spPr>
            <a:xfrm>
              <a:off x="371963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7" name="object 447">
              <a:extLst>
                <a:ext uri="{FF2B5EF4-FFF2-40B4-BE49-F238E27FC236}">
                  <a16:creationId xmlns:a16="http://schemas.microsoft.com/office/drawing/2014/main" id="{A833D35E-AA5A-0ECB-19E4-676460C3D3D6}"/>
                </a:ext>
              </a:extLst>
            </p:cNvPr>
            <p:cNvSpPr/>
            <p:nvPr/>
          </p:nvSpPr>
          <p:spPr>
            <a:xfrm>
              <a:off x="354466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8" name="object 448">
              <a:extLst>
                <a:ext uri="{FF2B5EF4-FFF2-40B4-BE49-F238E27FC236}">
                  <a16:creationId xmlns:a16="http://schemas.microsoft.com/office/drawing/2014/main" id="{C6D7B101-060E-B7F8-6DBB-580FD040073D}"/>
                </a:ext>
              </a:extLst>
            </p:cNvPr>
            <p:cNvSpPr/>
            <p:nvPr/>
          </p:nvSpPr>
          <p:spPr>
            <a:xfrm>
              <a:off x="336969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9" name="object 449">
              <a:extLst>
                <a:ext uri="{FF2B5EF4-FFF2-40B4-BE49-F238E27FC236}">
                  <a16:creationId xmlns:a16="http://schemas.microsoft.com/office/drawing/2014/main" id="{E0D3AAAA-F6FB-AC48-5B9A-C7729FCC5E9A}"/>
                </a:ext>
              </a:extLst>
            </p:cNvPr>
            <p:cNvSpPr/>
            <p:nvPr/>
          </p:nvSpPr>
          <p:spPr>
            <a:xfrm>
              <a:off x="354466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0" name="object 450">
              <a:extLst>
                <a:ext uri="{FF2B5EF4-FFF2-40B4-BE49-F238E27FC236}">
                  <a16:creationId xmlns:a16="http://schemas.microsoft.com/office/drawing/2014/main" id="{645D3E86-8E93-C7D9-60A2-9C7EB18724DD}"/>
                </a:ext>
              </a:extLst>
            </p:cNvPr>
            <p:cNvSpPr/>
            <p:nvPr/>
          </p:nvSpPr>
          <p:spPr>
            <a:xfrm>
              <a:off x="3369692" y="271125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51" name="object 451">
            <a:extLst>
              <a:ext uri="{FF2B5EF4-FFF2-40B4-BE49-F238E27FC236}">
                <a16:creationId xmlns:a16="http://schemas.microsoft.com/office/drawing/2014/main" id="{D13661DA-0F76-305E-4129-5743BAE0BB8C}"/>
              </a:ext>
            </a:extLst>
          </p:cNvPr>
          <p:cNvGrpSpPr/>
          <p:nvPr/>
        </p:nvGrpSpPr>
        <p:grpSpPr>
          <a:xfrm>
            <a:off x="3370560" y="3636971"/>
            <a:ext cx="350023" cy="350023"/>
            <a:chOff x="3370560" y="3636971"/>
            <a:chExt cx="350023" cy="350023"/>
          </a:xfrm>
        </p:grpSpPr>
        <p:pic>
          <p:nvPicPr>
            <p:cNvPr id="452" name="object 452">
              <a:extLst>
                <a:ext uri="{FF2B5EF4-FFF2-40B4-BE49-F238E27FC236}">
                  <a16:creationId xmlns:a16="http://schemas.microsoft.com/office/drawing/2014/main" id="{86BFBE30-A8D4-5B73-D6DD-1EC25AF0FA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370560" y="3636971"/>
              <a:ext cx="349931" cy="34413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453" name="object 453">
              <a:extLst>
                <a:ext uri="{FF2B5EF4-FFF2-40B4-BE49-F238E27FC236}">
                  <a16:creationId xmlns:a16="http://schemas.microsoft.com/office/drawing/2014/main" id="{C52550A6-12B6-B850-4DB7-F77D62A9C127}"/>
                </a:ext>
              </a:extLst>
            </p:cNvPr>
            <p:cNvSpPr/>
            <p:nvPr/>
          </p:nvSpPr>
          <p:spPr>
            <a:xfrm>
              <a:off x="3370560" y="363697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54" name="object 454">
            <a:extLst>
              <a:ext uri="{FF2B5EF4-FFF2-40B4-BE49-F238E27FC236}">
                <a16:creationId xmlns:a16="http://schemas.microsoft.com/office/drawing/2014/main" id="{E18BB803-3B8C-827F-4909-FFE997360F57}"/>
              </a:ext>
            </a:extLst>
          </p:cNvPr>
          <p:cNvGrpSpPr/>
          <p:nvPr/>
        </p:nvGrpSpPr>
        <p:grpSpPr>
          <a:xfrm>
            <a:off x="2547829" y="1084780"/>
            <a:ext cx="350023" cy="124239"/>
            <a:chOff x="2547829" y="1084780"/>
            <a:chExt cx="350023" cy="124239"/>
          </a:xfrm>
        </p:grpSpPr>
        <p:sp>
          <p:nvSpPr>
            <p:cNvPr id="455" name="object 455">
              <a:extLst>
                <a:ext uri="{FF2B5EF4-FFF2-40B4-BE49-F238E27FC236}">
                  <a16:creationId xmlns:a16="http://schemas.microsoft.com/office/drawing/2014/main" id="{B0372F34-9511-44EE-5ADE-9FC1CBA8643A}"/>
                </a:ext>
              </a:extLst>
            </p:cNvPr>
            <p:cNvSpPr/>
            <p:nvPr/>
          </p:nvSpPr>
          <p:spPr>
            <a:xfrm>
              <a:off x="2827736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6" name="object 456">
              <a:extLst>
                <a:ext uri="{FF2B5EF4-FFF2-40B4-BE49-F238E27FC236}">
                  <a16:creationId xmlns:a16="http://schemas.microsoft.com/office/drawing/2014/main" id="{CE2C1B62-9B55-C247-89C9-FB4FB17FCE12}"/>
                </a:ext>
              </a:extLst>
            </p:cNvPr>
            <p:cNvSpPr/>
            <p:nvPr/>
          </p:nvSpPr>
          <p:spPr>
            <a:xfrm>
              <a:off x="2862757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7" name="object 457">
              <a:extLst>
                <a:ext uri="{FF2B5EF4-FFF2-40B4-BE49-F238E27FC236}">
                  <a16:creationId xmlns:a16="http://schemas.microsoft.com/office/drawing/2014/main" id="{C1B91002-6D99-82EF-C80A-B1EC617945C6}"/>
                </a:ext>
              </a:extLst>
            </p:cNvPr>
            <p:cNvSpPr/>
            <p:nvPr/>
          </p:nvSpPr>
          <p:spPr>
            <a:xfrm>
              <a:off x="2757693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8" name="object 458">
              <a:extLst>
                <a:ext uri="{FF2B5EF4-FFF2-40B4-BE49-F238E27FC236}">
                  <a16:creationId xmlns:a16="http://schemas.microsoft.com/office/drawing/2014/main" id="{41DBA881-31F0-F1D3-C266-F8DE67AB634A}"/>
                </a:ext>
              </a:extLst>
            </p:cNvPr>
            <p:cNvSpPr/>
            <p:nvPr/>
          </p:nvSpPr>
          <p:spPr>
            <a:xfrm>
              <a:off x="2652619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9" name="object 459">
              <a:extLst>
                <a:ext uri="{FF2B5EF4-FFF2-40B4-BE49-F238E27FC236}">
                  <a16:creationId xmlns:a16="http://schemas.microsoft.com/office/drawing/2014/main" id="{8447536F-7F7F-29B5-2F30-E34C5108E9A3}"/>
                </a:ext>
              </a:extLst>
            </p:cNvPr>
            <p:cNvSpPr/>
            <p:nvPr/>
          </p:nvSpPr>
          <p:spPr>
            <a:xfrm>
              <a:off x="2687714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0" name="object 460">
              <a:extLst>
                <a:ext uri="{FF2B5EF4-FFF2-40B4-BE49-F238E27FC236}">
                  <a16:creationId xmlns:a16="http://schemas.microsoft.com/office/drawing/2014/main" id="{30359455-D67D-762D-3A19-5BD394E544C2}"/>
                </a:ext>
              </a:extLst>
            </p:cNvPr>
            <p:cNvSpPr/>
            <p:nvPr/>
          </p:nvSpPr>
          <p:spPr>
            <a:xfrm>
              <a:off x="2582576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1" name="object 461">
              <a:extLst>
                <a:ext uri="{FF2B5EF4-FFF2-40B4-BE49-F238E27FC236}">
                  <a16:creationId xmlns:a16="http://schemas.microsoft.com/office/drawing/2014/main" id="{4ABD24F6-BFA9-F773-F840-72C373AA369A}"/>
                </a:ext>
              </a:extLst>
            </p:cNvPr>
            <p:cNvSpPr/>
            <p:nvPr/>
          </p:nvSpPr>
          <p:spPr>
            <a:xfrm>
              <a:off x="2792714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2" name="object 462">
              <a:extLst>
                <a:ext uri="{FF2B5EF4-FFF2-40B4-BE49-F238E27FC236}">
                  <a16:creationId xmlns:a16="http://schemas.microsoft.com/office/drawing/2014/main" id="{DFBE72CC-1DE4-D301-E620-B121BBE32C91}"/>
                </a:ext>
              </a:extLst>
            </p:cNvPr>
            <p:cNvSpPr/>
            <p:nvPr/>
          </p:nvSpPr>
          <p:spPr>
            <a:xfrm>
              <a:off x="2617598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3" name="object 463">
              <a:extLst>
                <a:ext uri="{FF2B5EF4-FFF2-40B4-BE49-F238E27FC236}">
                  <a16:creationId xmlns:a16="http://schemas.microsoft.com/office/drawing/2014/main" id="{F70E25F0-E4AC-6A36-99B3-5ACCCA06890A}"/>
                </a:ext>
              </a:extLst>
            </p:cNvPr>
            <p:cNvSpPr/>
            <p:nvPr/>
          </p:nvSpPr>
          <p:spPr>
            <a:xfrm>
              <a:off x="2897779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4" name="object 464">
              <a:extLst>
                <a:ext uri="{FF2B5EF4-FFF2-40B4-BE49-F238E27FC236}">
                  <a16:creationId xmlns:a16="http://schemas.microsoft.com/office/drawing/2014/main" id="{3405182A-5A0E-D258-5B36-3FE509CB76C2}"/>
                </a:ext>
              </a:extLst>
            </p:cNvPr>
            <p:cNvSpPr/>
            <p:nvPr/>
          </p:nvSpPr>
          <p:spPr>
            <a:xfrm>
              <a:off x="2722808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5" name="object 465">
              <a:extLst>
                <a:ext uri="{FF2B5EF4-FFF2-40B4-BE49-F238E27FC236}">
                  <a16:creationId xmlns:a16="http://schemas.microsoft.com/office/drawing/2014/main" id="{1516DF52-0613-37DD-80A3-58C148350D33}"/>
                </a:ext>
              </a:extLst>
            </p:cNvPr>
            <p:cNvSpPr/>
            <p:nvPr/>
          </p:nvSpPr>
          <p:spPr>
            <a:xfrm>
              <a:off x="2547838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6" name="object 466">
              <a:extLst>
                <a:ext uri="{FF2B5EF4-FFF2-40B4-BE49-F238E27FC236}">
                  <a16:creationId xmlns:a16="http://schemas.microsoft.com/office/drawing/2014/main" id="{CA14B35C-CD56-B4A2-C47D-758E992DE133}"/>
                </a:ext>
              </a:extLst>
            </p:cNvPr>
            <p:cNvSpPr/>
            <p:nvPr/>
          </p:nvSpPr>
          <p:spPr>
            <a:xfrm>
              <a:off x="2547829" y="111029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7" name="object 467">
              <a:extLst>
                <a:ext uri="{FF2B5EF4-FFF2-40B4-BE49-F238E27FC236}">
                  <a16:creationId xmlns:a16="http://schemas.microsoft.com/office/drawing/2014/main" id="{FDDF5A49-2C78-6F35-B7EF-6067E6F9478A}"/>
                </a:ext>
              </a:extLst>
            </p:cNvPr>
            <p:cNvSpPr/>
            <p:nvPr/>
          </p:nvSpPr>
          <p:spPr>
            <a:xfrm>
              <a:off x="2547838" y="1084780"/>
              <a:ext cx="14401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7489"/>
                <a:gd name="f4" fmla="val 84455"/>
                <a:gd name="f5" fmla="val 236924"/>
                <a:gd name="f6" fmla="val 84112"/>
                <a:gd name="f7" fmla="*/ f0 1 237489"/>
                <a:gd name="f8" fmla="*/ f1 1 84455"/>
                <a:gd name="f9" fmla="+- f4 0 f2"/>
                <a:gd name="f10" fmla="+- f3 0 f2"/>
                <a:gd name="f11" fmla="*/ f10 1 23748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748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8" name="object 468">
              <a:extLst>
                <a:ext uri="{FF2B5EF4-FFF2-40B4-BE49-F238E27FC236}">
                  <a16:creationId xmlns:a16="http://schemas.microsoft.com/office/drawing/2014/main" id="{791D1104-7503-3CD4-5B6B-A2872F814B88}"/>
                </a:ext>
              </a:extLst>
            </p:cNvPr>
            <p:cNvSpPr/>
            <p:nvPr/>
          </p:nvSpPr>
          <p:spPr>
            <a:xfrm>
              <a:off x="289777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9" name="object 469">
              <a:extLst>
                <a:ext uri="{FF2B5EF4-FFF2-40B4-BE49-F238E27FC236}">
                  <a16:creationId xmlns:a16="http://schemas.microsoft.com/office/drawing/2014/main" id="{ED80F816-9E83-FEF1-7A90-384BD05D8A80}"/>
                </a:ext>
              </a:extLst>
            </p:cNvPr>
            <p:cNvSpPr/>
            <p:nvPr/>
          </p:nvSpPr>
          <p:spPr>
            <a:xfrm>
              <a:off x="272280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0" name="object 470">
              <a:extLst>
                <a:ext uri="{FF2B5EF4-FFF2-40B4-BE49-F238E27FC236}">
                  <a16:creationId xmlns:a16="http://schemas.microsoft.com/office/drawing/2014/main" id="{61F4C825-BFA1-FD2A-6375-6398C689597A}"/>
                </a:ext>
              </a:extLst>
            </p:cNvPr>
            <p:cNvSpPr/>
            <p:nvPr/>
          </p:nvSpPr>
          <p:spPr>
            <a:xfrm>
              <a:off x="254783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1" name="object 471">
              <a:extLst>
                <a:ext uri="{FF2B5EF4-FFF2-40B4-BE49-F238E27FC236}">
                  <a16:creationId xmlns:a16="http://schemas.microsoft.com/office/drawing/2014/main" id="{BA7F57FD-7DB1-4338-6D0A-009A8B45B711}"/>
                </a:ext>
              </a:extLst>
            </p:cNvPr>
            <p:cNvSpPr/>
            <p:nvPr/>
          </p:nvSpPr>
          <p:spPr>
            <a:xfrm>
              <a:off x="272280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2" name="object 472">
              <a:extLst>
                <a:ext uri="{FF2B5EF4-FFF2-40B4-BE49-F238E27FC236}">
                  <a16:creationId xmlns:a16="http://schemas.microsoft.com/office/drawing/2014/main" id="{66481124-8A31-9BD1-80A8-63A221F7BB66}"/>
                </a:ext>
              </a:extLst>
            </p:cNvPr>
            <p:cNvSpPr/>
            <p:nvPr/>
          </p:nvSpPr>
          <p:spPr>
            <a:xfrm>
              <a:off x="282773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3" name="object 473">
              <a:extLst>
                <a:ext uri="{FF2B5EF4-FFF2-40B4-BE49-F238E27FC236}">
                  <a16:creationId xmlns:a16="http://schemas.microsoft.com/office/drawing/2014/main" id="{CFD93EE1-AE79-295E-58B5-BE726EA7745F}"/>
                </a:ext>
              </a:extLst>
            </p:cNvPr>
            <p:cNvSpPr/>
            <p:nvPr/>
          </p:nvSpPr>
          <p:spPr>
            <a:xfrm>
              <a:off x="286275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4" name="object 474">
              <a:extLst>
                <a:ext uri="{FF2B5EF4-FFF2-40B4-BE49-F238E27FC236}">
                  <a16:creationId xmlns:a16="http://schemas.microsoft.com/office/drawing/2014/main" id="{8A0F4BCF-A900-1D6D-CA54-5E967A4BF743}"/>
                </a:ext>
              </a:extLst>
            </p:cNvPr>
            <p:cNvSpPr/>
            <p:nvPr/>
          </p:nvSpPr>
          <p:spPr>
            <a:xfrm>
              <a:off x="275769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5" name="object 475">
              <a:extLst>
                <a:ext uri="{FF2B5EF4-FFF2-40B4-BE49-F238E27FC236}">
                  <a16:creationId xmlns:a16="http://schemas.microsoft.com/office/drawing/2014/main" id="{1BDBEB82-1C87-F4C1-CEF0-B081F2771BA5}"/>
                </a:ext>
              </a:extLst>
            </p:cNvPr>
            <p:cNvSpPr/>
            <p:nvPr/>
          </p:nvSpPr>
          <p:spPr>
            <a:xfrm>
              <a:off x="265261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6" name="object 476">
              <a:extLst>
                <a:ext uri="{FF2B5EF4-FFF2-40B4-BE49-F238E27FC236}">
                  <a16:creationId xmlns:a16="http://schemas.microsoft.com/office/drawing/2014/main" id="{068B237C-A9A3-8194-FA33-EF287493B727}"/>
                </a:ext>
              </a:extLst>
            </p:cNvPr>
            <p:cNvSpPr/>
            <p:nvPr/>
          </p:nvSpPr>
          <p:spPr>
            <a:xfrm>
              <a:off x="268771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7" name="object 477">
              <a:extLst>
                <a:ext uri="{FF2B5EF4-FFF2-40B4-BE49-F238E27FC236}">
                  <a16:creationId xmlns:a16="http://schemas.microsoft.com/office/drawing/2014/main" id="{1A57CB90-41AC-68BC-3D75-37B8B1223CE2}"/>
                </a:ext>
              </a:extLst>
            </p:cNvPr>
            <p:cNvSpPr/>
            <p:nvPr/>
          </p:nvSpPr>
          <p:spPr>
            <a:xfrm>
              <a:off x="258257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8" name="object 478">
              <a:extLst>
                <a:ext uri="{FF2B5EF4-FFF2-40B4-BE49-F238E27FC236}">
                  <a16:creationId xmlns:a16="http://schemas.microsoft.com/office/drawing/2014/main" id="{6D07649A-8BB0-B4AE-9303-E896270E96BB}"/>
                </a:ext>
              </a:extLst>
            </p:cNvPr>
            <p:cNvSpPr/>
            <p:nvPr/>
          </p:nvSpPr>
          <p:spPr>
            <a:xfrm>
              <a:off x="279271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9" name="object 479">
              <a:extLst>
                <a:ext uri="{FF2B5EF4-FFF2-40B4-BE49-F238E27FC236}">
                  <a16:creationId xmlns:a16="http://schemas.microsoft.com/office/drawing/2014/main" id="{D0829B74-EAE7-EA2E-9912-936A44E07648}"/>
                </a:ext>
              </a:extLst>
            </p:cNvPr>
            <p:cNvSpPr/>
            <p:nvPr/>
          </p:nvSpPr>
          <p:spPr>
            <a:xfrm>
              <a:off x="261759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0" name="object 480">
              <a:extLst>
                <a:ext uri="{FF2B5EF4-FFF2-40B4-BE49-F238E27FC236}">
                  <a16:creationId xmlns:a16="http://schemas.microsoft.com/office/drawing/2014/main" id="{AA919AA4-D1B1-1F40-3036-E8907631766A}"/>
                </a:ext>
              </a:extLst>
            </p:cNvPr>
            <p:cNvSpPr/>
            <p:nvPr/>
          </p:nvSpPr>
          <p:spPr>
            <a:xfrm>
              <a:off x="2547829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1" name="object 481">
              <a:extLst>
                <a:ext uri="{FF2B5EF4-FFF2-40B4-BE49-F238E27FC236}">
                  <a16:creationId xmlns:a16="http://schemas.microsoft.com/office/drawing/2014/main" id="{72335B98-2FAD-8DA0-6BCC-EE617F7BACB8}"/>
                </a:ext>
              </a:extLst>
            </p:cNvPr>
            <p:cNvSpPr/>
            <p:nvPr/>
          </p:nvSpPr>
          <p:spPr>
            <a:xfrm>
              <a:off x="2547838" y="1157804"/>
              <a:ext cx="7662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6364"/>
                <a:gd name="f4" fmla="val 84455"/>
                <a:gd name="f5" fmla="val 125818"/>
                <a:gd name="f6" fmla="val 84112"/>
                <a:gd name="f7" fmla="*/ f0 1 126364"/>
                <a:gd name="f8" fmla="*/ f1 1 84455"/>
                <a:gd name="f9" fmla="+- f4 0 f2"/>
                <a:gd name="f10" fmla="+- f3 0 f2"/>
                <a:gd name="f11" fmla="*/ f10 1 12636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636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82" name="object 482">
            <a:extLst>
              <a:ext uri="{FF2B5EF4-FFF2-40B4-BE49-F238E27FC236}">
                <a16:creationId xmlns:a16="http://schemas.microsoft.com/office/drawing/2014/main" id="{2EA7A24E-7EC8-7390-ADDF-C630072B51F4}"/>
              </a:ext>
            </a:extLst>
          </p:cNvPr>
          <p:cNvGrpSpPr/>
          <p:nvPr/>
        </p:nvGrpSpPr>
        <p:grpSpPr>
          <a:xfrm>
            <a:off x="5012411" y="1085502"/>
            <a:ext cx="350371" cy="123517"/>
            <a:chOff x="5012411" y="1085502"/>
            <a:chExt cx="350371" cy="123517"/>
          </a:xfrm>
        </p:grpSpPr>
        <p:sp>
          <p:nvSpPr>
            <p:cNvPr id="483" name="object 483">
              <a:extLst>
                <a:ext uri="{FF2B5EF4-FFF2-40B4-BE49-F238E27FC236}">
                  <a16:creationId xmlns:a16="http://schemas.microsoft.com/office/drawing/2014/main" id="{7BCBB9CA-18FA-0D1E-E2D6-0257E7F8A6C3}"/>
                </a:ext>
              </a:extLst>
            </p:cNvPr>
            <p:cNvSpPr/>
            <p:nvPr/>
          </p:nvSpPr>
          <p:spPr>
            <a:xfrm>
              <a:off x="529265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4" name="object 484">
              <a:extLst>
                <a:ext uri="{FF2B5EF4-FFF2-40B4-BE49-F238E27FC236}">
                  <a16:creationId xmlns:a16="http://schemas.microsoft.com/office/drawing/2014/main" id="{FB883186-6F7F-D505-EE29-38A3B6117058}"/>
                </a:ext>
              </a:extLst>
            </p:cNvPr>
            <p:cNvSpPr/>
            <p:nvPr/>
          </p:nvSpPr>
          <p:spPr>
            <a:xfrm>
              <a:off x="532767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5" name="object 485">
              <a:extLst>
                <a:ext uri="{FF2B5EF4-FFF2-40B4-BE49-F238E27FC236}">
                  <a16:creationId xmlns:a16="http://schemas.microsoft.com/office/drawing/2014/main" id="{6D7D8CEC-4D89-1624-4C20-CF063AC24DB1}"/>
                </a:ext>
              </a:extLst>
            </p:cNvPr>
            <p:cNvSpPr/>
            <p:nvPr/>
          </p:nvSpPr>
          <p:spPr>
            <a:xfrm>
              <a:off x="522261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6" name="object 486">
              <a:extLst>
                <a:ext uri="{FF2B5EF4-FFF2-40B4-BE49-F238E27FC236}">
                  <a16:creationId xmlns:a16="http://schemas.microsoft.com/office/drawing/2014/main" id="{AA6132CE-01A1-2665-6E30-F30CA03EC3D9}"/>
                </a:ext>
              </a:extLst>
            </p:cNvPr>
            <p:cNvSpPr/>
            <p:nvPr/>
          </p:nvSpPr>
          <p:spPr>
            <a:xfrm>
              <a:off x="511754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7" name="object 487">
              <a:extLst>
                <a:ext uri="{FF2B5EF4-FFF2-40B4-BE49-F238E27FC236}">
                  <a16:creationId xmlns:a16="http://schemas.microsoft.com/office/drawing/2014/main" id="{AAA511FE-E999-20B2-1776-4F57329992BF}"/>
                </a:ext>
              </a:extLst>
            </p:cNvPr>
            <p:cNvSpPr/>
            <p:nvPr/>
          </p:nvSpPr>
          <p:spPr>
            <a:xfrm>
              <a:off x="5152634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8" name="object 488">
              <a:extLst>
                <a:ext uri="{FF2B5EF4-FFF2-40B4-BE49-F238E27FC236}">
                  <a16:creationId xmlns:a16="http://schemas.microsoft.com/office/drawing/2014/main" id="{3C1CE6F6-42C7-234E-B34D-3B2E2BC9CBE6}"/>
                </a:ext>
              </a:extLst>
            </p:cNvPr>
            <p:cNvSpPr/>
            <p:nvPr/>
          </p:nvSpPr>
          <p:spPr>
            <a:xfrm>
              <a:off x="504750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9" name="object 489">
              <a:extLst>
                <a:ext uri="{FF2B5EF4-FFF2-40B4-BE49-F238E27FC236}">
                  <a16:creationId xmlns:a16="http://schemas.microsoft.com/office/drawing/2014/main" id="{E4A67E96-1880-D515-63A8-948E5DBA90B0}"/>
                </a:ext>
              </a:extLst>
            </p:cNvPr>
            <p:cNvSpPr/>
            <p:nvPr/>
          </p:nvSpPr>
          <p:spPr>
            <a:xfrm>
              <a:off x="525763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0" name="object 490">
              <a:extLst>
                <a:ext uri="{FF2B5EF4-FFF2-40B4-BE49-F238E27FC236}">
                  <a16:creationId xmlns:a16="http://schemas.microsoft.com/office/drawing/2014/main" id="{E660F9CF-91E3-0781-C0E1-EB92FDCF1972}"/>
                </a:ext>
              </a:extLst>
            </p:cNvPr>
            <p:cNvSpPr/>
            <p:nvPr/>
          </p:nvSpPr>
          <p:spPr>
            <a:xfrm>
              <a:off x="508252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1" name="object 491">
              <a:extLst>
                <a:ext uri="{FF2B5EF4-FFF2-40B4-BE49-F238E27FC236}">
                  <a16:creationId xmlns:a16="http://schemas.microsoft.com/office/drawing/2014/main" id="{3B2CFAFA-8E84-C2EA-3EF2-9A2FB9A74A8F}"/>
                </a:ext>
              </a:extLst>
            </p:cNvPr>
            <p:cNvSpPr/>
            <p:nvPr/>
          </p:nvSpPr>
          <p:spPr>
            <a:xfrm>
              <a:off x="536269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2" name="object 492">
              <a:extLst>
                <a:ext uri="{FF2B5EF4-FFF2-40B4-BE49-F238E27FC236}">
                  <a16:creationId xmlns:a16="http://schemas.microsoft.com/office/drawing/2014/main" id="{9AA976F9-7D73-326C-F800-EAAED2A61C49}"/>
                </a:ext>
              </a:extLst>
            </p:cNvPr>
            <p:cNvSpPr/>
            <p:nvPr/>
          </p:nvSpPr>
          <p:spPr>
            <a:xfrm>
              <a:off x="518772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3" name="object 493">
              <a:extLst>
                <a:ext uri="{FF2B5EF4-FFF2-40B4-BE49-F238E27FC236}">
                  <a16:creationId xmlns:a16="http://schemas.microsoft.com/office/drawing/2014/main" id="{81F11170-EF8A-76E9-0DEE-CE57E3CD4D81}"/>
                </a:ext>
              </a:extLst>
            </p:cNvPr>
            <p:cNvSpPr/>
            <p:nvPr/>
          </p:nvSpPr>
          <p:spPr>
            <a:xfrm>
              <a:off x="501275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4" name="object 494">
              <a:extLst>
                <a:ext uri="{FF2B5EF4-FFF2-40B4-BE49-F238E27FC236}">
                  <a16:creationId xmlns:a16="http://schemas.microsoft.com/office/drawing/2014/main" id="{8A2B0024-BF61-BC94-F1A1-397A8F516800}"/>
                </a:ext>
              </a:extLst>
            </p:cNvPr>
            <p:cNvSpPr/>
            <p:nvPr/>
          </p:nvSpPr>
          <p:spPr>
            <a:xfrm>
              <a:off x="5012759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5" name="object 495">
              <a:extLst>
                <a:ext uri="{FF2B5EF4-FFF2-40B4-BE49-F238E27FC236}">
                  <a16:creationId xmlns:a16="http://schemas.microsoft.com/office/drawing/2014/main" id="{5CB67AD7-3B6B-4C5E-F483-14DBEDEE6F71}"/>
                </a:ext>
              </a:extLst>
            </p:cNvPr>
            <p:cNvSpPr/>
            <p:nvPr/>
          </p:nvSpPr>
          <p:spPr>
            <a:xfrm>
              <a:off x="5012877" y="1085502"/>
              <a:ext cx="3157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2070"/>
                <a:gd name="f4" fmla="val 84455"/>
                <a:gd name="f5" fmla="val 51757"/>
                <a:gd name="f6" fmla="val 84123"/>
                <a:gd name="f7" fmla="*/ f0 1 52070"/>
                <a:gd name="f8" fmla="*/ f1 1 84455"/>
                <a:gd name="f9" fmla="+- f4 0 f2"/>
                <a:gd name="f10" fmla="+- f3 0 f2"/>
                <a:gd name="f11" fmla="*/ f10 1 5207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207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6" name="object 496">
              <a:extLst>
                <a:ext uri="{FF2B5EF4-FFF2-40B4-BE49-F238E27FC236}">
                  <a16:creationId xmlns:a16="http://schemas.microsoft.com/office/drawing/2014/main" id="{A08F3B31-5F5C-B993-2B29-26F2C92AC265}"/>
                </a:ext>
              </a:extLst>
            </p:cNvPr>
            <p:cNvSpPr/>
            <p:nvPr/>
          </p:nvSpPr>
          <p:spPr>
            <a:xfrm>
              <a:off x="5012877" y="1157804"/>
              <a:ext cx="11975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7484"/>
                <a:gd name="f4" fmla="val 84455"/>
                <a:gd name="f5" fmla="val 197459"/>
                <a:gd name="f6" fmla="val 84112"/>
                <a:gd name="f7" fmla="*/ f0 1 197484"/>
                <a:gd name="f8" fmla="*/ f1 1 84455"/>
                <a:gd name="f9" fmla="+- f4 0 f2"/>
                <a:gd name="f10" fmla="+- f3 0 f2"/>
                <a:gd name="f11" fmla="*/ f10 1 19748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748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7" name="object 497">
              <a:extLst>
                <a:ext uri="{FF2B5EF4-FFF2-40B4-BE49-F238E27FC236}">
                  <a16:creationId xmlns:a16="http://schemas.microsoft.com/office/drawing/2014/main" id="{3B32E60A-74EB-97D5-D41E-31E415E9EDDD}"/>
                </a:ext>
              </a:extLst>
            </p:cNvPr>
            <p:cNvSpPr/>
            <p:nvPr/>
          </p:nvSpPr>
          <p:spPr>
            <a:xfrm>
              <a:off x="529230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8" name="object 498">
              <a:extLst>
                <a:ext uri="{FF2B5EF4-FFF2-40B4-BE49-F238E27FC236}">
                  <a16:creationId xmlns:a16="http://schemas.microsoft.com/office/drawing/2014/main" id="{DC44E941-539B-124B-C953-6B9F79147A92}"/>
                </a:ext>
              </a:extLst>
            </p:cNvPr>
            <p:cNvSpPr/>
            <p:nvPr/>
          </p:nvSpPr>
          <p:spPr>
            <a:xfrm>
              <a:off x="532733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9" name="object 499">
              <a:extLst>
                <a:ext uri="{FF2B5EF4-FFF2-40B4-BE49-F238E27FC236}">
                  <a16:creationId xmlns:a16="http://schemas.microsoft.com/office/drawing/2014/main" id="{53EDD279-2E27-B7EF-4938-561DCE97E335}"/>
                </a:ext>
              </a:extLst>
            </p:cNvPr>
            <p:cNvSpPr/>
            <p:nvPr/>
          </p:nvSpPr>
          <p:spPr>
            <a:xfrm>
              <a:off x="522226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0" name="object 500">
              <a:extLst>
                <a:ext uri="{FF2B5EF4-FFF2-40B4-BE49-F238E27FC236}">
                  <a16:creationId xmlns:a16="http://schemas.microsoft.com/office/drawing/2014/main" id="{2B180007-C91D-A4B8-04E9-32390EC84A36}"/>
                </a:ext>
              </a:extLst>
            </p:cNvPr>
            <p:cNvSpPr/>
            <p:nvPr/>
          </p:nvSpPr>
          <p:spPr>
            <a:xfrm>
              <a:off x="511720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1" name="object 501">
              <a:extLst>
                <a:ext uri="{FF2B5EF4-FFF2-40B4-BE49-F238E27FC236}">
                  <a16:creationId xmlns:a16="http://schemas.microsoft.com/office/drawing/2014/main" id="{D8822509-DC02-8C2E-7ACE-9D78DD37E645}"/>
                </a:ext>
              </a:extLst>
            </p:cNvPr>
            <p:cNvSpPr/>
            <p:nvPr/>
          </p:nvSpPr>
          <p:spPr>
            <a:xfrm>
              <a:off x="515229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2" name="object 502">
              <a:extLst>
                <a:ext uri="{FF2B5EF4-FFF2-40B4-BE49-F238E27FC236}">
                  <a16:creationId xmlns:a16="http://schemas.microsoft.com/office/drawing/2014/main" id="{06A2EF42-439F-5BA1-A10E-428821C255C2}"/>
                </a:ext>
              </a:extLst>
            </p:cNvPr>
            <p:cNvSpPr/>
            <p:nvPr/>
          </p:nvSpPr>
          <p:spPr>
            <a:xfrm>
              <a:off x="504715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3" name="object 503">
              <a:extLst>
                <a:ext uri="{FF2B5EF4-FFF2-40B4-BE49-F238E27FC236}">
                  <a16:creationId xmlns:a16="http://schemas.microsoft.com/office/drawing/2014/main" id="{4EC5ACAF-0356-F406-B116-6133F15A4E2E}"/>
                </a:ext>
              </a:extLst>
            </p:cNvPr>
            <p:cNvSpPr/>
            <p:nvPr/>
          </p:nvSpPr>
          <p:spPr>
            <a:xfrm>
              <a:off x="525728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4" name="object 504">
              <a:extLst>
                <a:ext uri="{FF2B5EF4-FFF2-40B4-BE49-F238E27FC236}">
                  <a16:creationId xmlns:a16="http://schemas.microsoft.com/office/drawing/2014/main" id="{54970A98-AE9A-8D67-F2B4-223BC345A1E6}"/>
                </a:ext>
              </a:extLst>
            </p:cNvPr>
            <p:cNvSpPr/>
            <p:nvPr/>
          </p:nvSpPr>
          <p:spPr>
            <a:xfrm>
              <a:off x="508218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5" name="object 505">
              <a:extLst>
                <a:ext uri="{FF2B5EF4-FFF2-40B4-BE49-F238E27FC236}">
                  <a16:creationId xmlns:a16="http://schemas.microsoft.com/office/drawing/2014/main" id="{6E31B878-2C23-8F66-1638-EE51C6A06319}"/>
                </a:ext>
              </a:extLst>
            </p:cNvPr>
            <p:cNvSpPr/>
            <p:nvPr/>
          </p:nvSpPr>
          <p:spPr>
            <a:xfrm>
              <a:off x="5362352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6" name="object 506">
              <a:extLst>
                <a:ext uri="{FF2B5EF4-FFF2-40B4-BE49-F238E27FC236}">
                  <a16:creationId xmlns:a16="http://schemas.microsoft.com/office/drawing/2014/main" id="{4BA58A10-D8FE-2B1E-6F70-AB4B0275FFE4}"/>
                </a:ext>
              </a:extLst>
            </p:cNvPr>
            <p:cNvSpPr/>
            <p:nvPr/>
          </p:nvSpPr>
          <p:spPr>
            <a:xfrm>
              <a:off x="5187382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7" name="object 507">
              <a:extLst>
                <a:ext uri="{FF2B5EF4-FFF2-40B4-BE49-F238E27FC236}">
                  <a16:creationId xmlns:a16="http://schemas.microsoft.com/office/drawing/2014/main" id="{AFDE8FCB-E081-9810-840B-CC5D87A447C3}"/>
                </a:ext>
              </a:extLst>
            </p:cNvPr>
            <p:cNvSpPr/>
            <p:nvPr/>
          </p:nvSpPr>
          <p:spPr>
            <a:xfrm>
              <a:off x="501241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8" name="object 508">
              <a:extLst>
                <a:ext uri="{FF2B5EF4-FFF2-40B4-BE49-F238E27FC236}">
                  <a16:creationId xmlns:a16="http://schemas.microsoft.com/office/drawing/2014/main" id="{4D956550-6C16-CD0B-EC1A-460AC7B4937F}"/>
                </a:ext>
              </a:extLst>
            </p:cNvPr>
            <p:cNvSpPr/>
            <p:nvPr/>
          </p:nvSpPr>
          <p:spPr>
            <a:xfrm>
              <a:off x="5187382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9" name="object 509">
              <a:extLst>
                <a:ext uri="{FF2B5EF4-FFF2-40B4-BE49-F238E27FC236}">
                  <a16:creationId xmlns:a16="http://schemas.microsoft.com/office/drawing/2014/main" id="{3FB312FD-8995-728B-94D6-CA4D1A7BCD32}"/>
                </a:ext>
              </a:extLst>
            </p:cNvPr>
            <p:cNvSpPr/>
            <p:nvPr/>
          </p:nvSpPr>
          <p:spPr>
            <a:xfrm>
              <a:off x="5012411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10" name="object 510">
            <a:extLst>
              <a:ext uri="{FF2B5EF4-FFF2-40B4-BE49-F238E27FC236}">
                <a16:creationId xmlns:a16="http://schemas.microsoft.com/office/drawing/2014/main" id="{CB974566-0789-4983-DC2A-82E98BA49EFA}"/>
              </a:ext>
            </a:extLst>
          </p:cNvPr>
          <p:cNvGrpSpPr/>
          <p:nvPr/>
        </p:nvGrpSpPr>
        <p:grpSpPr>
          <a:xfrm>
            <a:off x="2547829" y="2613080"/>
            <a:ext cx="350023" cy="124239"/>
            <a:chOff x="2547829" y="2613080"/>
            <a:chExt cx="350023" cy="124239"/>
          </a:xfrm>
        </p:grpSpPr>
        <p:sp>
          <p:nvSpPr>
            <p:cNvPr id="511" name="object 511">
              <a:extLst>
                <a:ext uri="{FF2B5EF4-FFF2-40B4-BE49-F238E27FC236}">
                  <a16:creationId xmlns:a16="http://schemas.microsoft.com/office/drawing/2014/main" id="{3B752B71-374D-8051-8910-19236A7B0917}"/>
                </a:ext>
              </a:extLst>
            </p:cNvPr>
            <p:cNvSpPr/>
            <p:nvPr/>
          </p:nvSpPr>
          <p:spPr>
            <a:xfrm>
              <a:off x="2547838" y="2613199"/>
              <a:ext cx="7354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285"/>
                <a:gd name="f4" fmla="val 84454"/>
                <a:gd name="f5" fmla="val 120823"/>
                <a:gd name="f6" fmla="val 84112"/>
                <a:gd name="f7" fmla="*/ f0 1 121285"/>
                <a:gd name="f8" fmla="*/ f1 1 84454"/>
                <a:gd name="f9" fmla="+- f4 0 f2"/>
                <a:gd name="f10" fmla="+- f3 0 f2"/>
                <a:gd name="f11" fmla="*/ f10 1 12128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128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2" name="object 512">
              <a:extLst>
                <a:ext uri="{FF2B5EF4-FFF2-40B4-BE49-F238E27FC236}">
                  <a16:creationId xmlns:a16="http://schemas.microsoft.com/office/drawing/2014/main" id="{943AF623-5517-FE69-7DF5-93A4BCDBD7A1}"/>
                </a:ext>
              </a:extLst>
            </p:cNvPr>
            <p:cNvSpPr/>
            <p:nvPr/>
          </p:nvSpPr>
          <p:spPr>
            <a:xfrm>
              <a:off x="2582576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3" name="object 513">
              <a:extLst>
                <a:ext uri="{FF2B5EF4-FFF2-40B4-BE49-F238E27FC236}">
                  <a16:creationId xmlns:a16="http://schemas.microsoft.com/office/drawing/2014/main" id="{B995E8F0-840E-9A75-327D-445DE09D0C63}"/>
                </a:ext>
              </a:extLst>
            </p:cNvPr>
            <p:cNvSpPr/>
            <p:nvPr/>
          </p:nvSpPr>
          <p:spPr>
            <a:xfrm>
              <a:off x="2617598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4" name="object 514">
              <a:extLst>
                <a:ext uri="{FF2B5EF4-FFF2-40B4-BE49-F238E27FC236}">
                  <a16:creationId xmlns:a16="http://schemas.microsoft.com/office/drawing/2014/main" id="{5BAC8901-8F91-0218-4746-C0E0BD2069E9}"/>
                </a:ext>
              </a:extLst>
            </p:cNvPr>
            <p:cNvSpPr/>
            <p:nvPr/>
          </p:nvSpPr>
          <p:spPr>
            <a:xfrm>
              <a:off x="2547838" y="26130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5" name="object 515">
              <a:extLst>
                <a:ext uri="{FF2B5EF4-FFF2-40B4-BE49-F238E27FC236}">
                  <a16:creationId xmlns:a16="http://schemas.microsoft.com/office/drawing/2014/main" id="{420ACE04-A101-1092-A45F-72F5060B2D78}"/>
                </a:ext>
              </a:extLst>
            </p:cNvPr>
            <p:cNvSpPr/>
            <p:nvPr/>
          </p:nvSpPr>
          <p:spPr>
            <a:xfrm>
              <a:off x="2827736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6" name="object 516">
              <a:extLst>
                <a:ext uri="{FF2B5EF4-FFF2-40B4-BE49-F238E27FC236}">
                  <a16:creationId xmlns:a16="http://schemas.microsoft.com/office/drawing/2014/main" id="{9AECC703-1353-251A-A44A-AFCB7D2F7E79}"/>
                </a:ext>
              </a:extLst>
            </p:cNvPr>
            <p:cNvSpPr/>
            <p:nvPr/>
          </p:nvSpPr>
          <p:spPr>
            <a:xfrm>
              <a:off x="2862757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7" name="object 517">
              <a:extLst>
                <a:ext uri="{FF2B5EF4-FFF2-40B4-BE49-F238E27FC236}">
                  <a16:creationId xmlns:a16="http://schemas.microsoft.com/office/drawing/2014/main" id="{6405EDD1-C296-C580-5ACD-6D8CD7B29BA9}"/>
                </a:ext>
              </a:extLst>
            </p:cNvPr>
            <p:cNvSpPr/>
            <p:nvPr/>
          </p:nvSpPr>
          <p:spPr>
            <a:xfrm>
              <a:off x="2757693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8" name="object 518">
              <a:extLst>
                <a:ext uri="{FF2B5EF4-FFF2-40B4-BE49-F238E27FC236}">
                  <a16:creationId xmlns:a16="http://schemas.microsoft.com/office/drawing/2014/main" id="{6208F1EF-54B9-39DB-A0FB-082EAD596D06}"/>
                </a:ext>
              </a:extLst>
            </p:cNvPr>
            <p:cNvSpPr/>
            <p:nvPr/>
          </p:nvSpPr>
          <p:spPr>
            <a:xfrm>
              <a:off x="2652619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9" name="object 519">
              <a:extLst>
                <a:ext uri="{FF2B5EF4-FFF2-40B4-BE49-F238E27FC236}">
                  <a16:creationId xmlns:a16="http://schemas.microsoft.com/office/drawing/2014/main" id="{A12218CB-FCE5-DF35-3B97-37A0BDEC8430}"/>
                </a:ext>
              </a:extLst>
            </p:cNvPr>
            <p:cNvSpPr/>
            <p:nvPr/>
          </p:nvSpPr>
          <p:spPr>
            <a:xfrm>
              <a:off x="2687714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0" name="object 520">
              <a:extLst>
                <a:ext uri="{FF2B5EF4-FFF2-40B4-BE49-F238E27FC236}">
                  <a16:creationId xmlns:a16="http://schemas.microsoft.com/office/drawing/2014/main" id="{AF6DBA19-A88A-EB50-4C2E-121AED5FC6D7}"/>
                </a:ext>
              </a:extLst>
            </p:cNvPr>
            <p:cNvSpPr/>
            <p:nvPr/>
          </p:nvSpPr>
          <p:spPr>
            <a:xfrm>
              <a:off x="2792714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1" name="object 521">
              <a:extLst>
                <a:ext uri="{FF2B5EF4-FFF2-40B4-BE49-F238E27FC236}">
                  <a16:creationId xmlns:a16="http://schemas.microsoft.com/office/drawing/2014/main" id="{4318BD35-42FD-521A-C1CE-57FD81AA6AF0}"/>
                </a:ext>
              </a:extLst>
            </p:cNvPr>
            <p:cNvSpPr/>
            <p:nvPr/>
          </p:nvSpPr>
          <p:spPr>
            <a:xfrm>
              <a:off x="2897779" y="26130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2" name="object 522">
              <a:extLst>
                <a:ext uri="{FF2B5EF4-FFF2-40B4-BE49-F238E27FC236}">
                  <a16:creationId xmlns:a16="http://schemas.microsoft.com/office/drawing/2014/main" id="{66C558B3-A8AA-13C2-6E88-9AFF49D1767A}"/>
                </a:ext>
              </a:extLst>
            </p:cNvPr>
            <p:cNvSpPr/>
            <p:nvPr/>
          </p:nvSpPr>
          <p:spPr>
            <a:xfrm>
              <a:off x="2722808" y="26130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3" name="object 523">
              <a:extLst>
                <a:ext uri="{FF2B5EF4-FFF2-40B4-BE49-F238E27FC236}">
                  <a16:creationId xmlns:a16="http://schemas.microsoft.com/office/drawing/2014/main" id="{DEF10006-CFEE-63EB-D7D2-C9AA3DD6678A}"/>
                </a:ext>
              </a:extLst>
            </p:cNvPr>
            <p:cNvSpPr/>
            <p:nvPr/>
          </p:nvSpPr>
          <p:spPr>
            <a:xfrm>
              <a:off x="2547829" y="263859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4" name="object 524">
              <a:extLst>
                <a:ext uri="{FF2B5EF4-FFF2-40B4-BE49-F238E27FC236}">
                  <a16:creationId xmlns:a16="http://schemas.microsoft.com/office/drawing/2014/main" id="{E0424E00-7D5A-C7D1-6289-54A44C695114}"/>
                </a:ext>
              </a:extLst>
            </p:cNvPr>
            <p:cNvSpPr/>
            <p:nvPr/>
          </p:nvSpPr>
          <p:spPr>
            <a:xfrm>
              <a:off x="2897779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5" name="object 525">
              <a:extLst>
                <a:ext uri="{FF2B5EF4-FFF2-40B4-BE49-F238E27FC236}">
                  <a16:creationId xmlns:a16="http://schemas.microsoft.com/office/drawing/2014/main" id="{9E41CAEB-155D-2708-0012-785F766C58BC}"/>
                </a:ext>
              </a:extLst>
            </p:cNvPr>
            <p:cNvSpPr/>
            <p:nvPr/>
          </p:nvSpPr>
          <p:spPr>
            <a:xfrm>
              <a:off x="2722808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6" name="object 526">
              <a:extLst>
                <a:ext uri="{FF2B5EF4-FFF2-40B4-BE49-F238E27FC236}">
                  <a16:creationId xmlns:a16="http://schemas.microsoft.com/office/drawing/2014/main" id="{F58141C5-6A98-9D92-EAB7-5D63A7A282E9}"/>
                </a:ext>
              </a:extLst>
            </p:cNvPr>
            <p:cNvSpPr/>
            <p:nvPr/>
          </p:nvSpPr>
          <p:spPr>
            <a:xfrm>
              <a:off x="2547838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7" name="object 527">
              <a:extLst>
                <a:ext uri="{FF2B5EF4-FFF2-40B4-BE49-F238E27FC236}">
                  <a16:creationId xmlns:a16="http://schemas.microsoft.com/office/drawing/2014/main" id="{E44CB696-344A-5914-C820-974805D77B58}"/>
                </a:ext>
              </a:extLst>
            </p:cNvPr>
            <p:cNvSpPr/>
            <p:nvPr/>
          </p:nvSpPr>
          <p:spPr>
            <a:xfrm>
              <a:off x="2722808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8" name="object 528">
              <a:extLst>
                <a:ext uri="{FF2B5EF4-FFF2-40B4-BE49-F238E27FC236}">
                  <a16:creationId xmlns:a16="http://schemas.microsoft.com/office/drawing/2014/main" id="{0D556FF8-1242-B842-C926-99133838E1A3}"/>
                </a:ext>
              </a:extLst>
            </p:cNvPr>
            <p:cNvSpPr/>
            <p:nvPr/>
          </p:nvSpPr>
          <p:spPr>
            <a:xfrm>
              <a:off x="2827736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9" name="object 529">
              <a:extLst>
                <a:ext uri="{FF2B5EF4-FFF2-40B4-BE49-F238E27FC236}">
                  <a16:creationId xmlns:a16="http://schemas.microsoft.com/office/drawing/2014/main" id="{BE04704E-A814-F107-CBB1-A6155BF5D3C9}"/>
                </a:ext>
              </a:extLst>
            </p:cNvPr>
            <p:cNvSpPr/>
            <p:nvPr/>
          </p:nvSpPr>
          <p:spPr>
            <a:xfrm>
              <a:off x="2862757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0" name="object 530">
              <a:extLst>
                <a:ext uri="{FF2B5EF4-FFF2-40B4-BE49-F238E27FC236}">
                  <a16:creationId xmlns:a16="http://schemas.microsoft.com/office/drawing/2014/main" id="{488F7468-5045-37B3-4622-20EF31BBF383}"/>
                </a:ext>
              </a:extLst>
            </p:cNvPr>
            <p:cNvSpPr/>
            <p:nvPr/>
          </p:nvSpPr>
          <p:spPr>
            <a:xfrm>
              <a:off x="2757693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1" name="object 531">
              <a:extLst>
                <a:ext uri="{FF2B5EF4-FFF2-40B4-BE49-F238E27FC236}">
                  <a16:creationId xmlns:a16="http://schemas.microsoft.com/office/drawing/2014/main" id="{AF0E80A2-18D3-7AE8-1604-665561ED38BE}"/>
                </a:ext>
              </a:extLst>
            </p:cNvPr>
            <p:cNvSpPr/>
            <p:nvPr/>
          </p:nvSpPr>
          <p:spPr>
            <a:xfrm>
              <a:off x="2652619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2" name="object 532">
              <a:extLst>
                <a:ext uri="{FF2B5EF4-FFF2-40B4-BE49-F238E27FC236}">
                  <a16:creationId xmlns:a16="http://schemas.microsoft.com/office/drawing/2014/main" id="{2B05FB2D-2FC1-44ED-5F74-25A574191E3B}"/>
                </a:ext>
              </a:extLst>
            </p:cNvPr>
            <p:cNvSpPr/>
            <p:nvPr/>
          </p:nvSpPr>
          <p:spPr>
            <a:xfrm>
              <a:off x="2687714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3" name="object 533">
              <a:extLst>
                <a:ext uri="{FF2B5EF4-FFF2-40B4-BE49-F238E27FC236}">
                  <a16:creationId xmlns:a16="http://schemas.microsoft.com/office/drawing/2014/main" id="{5D77058C-FA9E-21C7-C3BB-90AEC2240482}"/>
                </a:ext>
              </a:extLst>
            </p:cNvPr>
            <p:cNvSpPr/>
            <p:nvPr/>
          </p:nvSpPr>
          <p:spPr>
            <a:xfrm>
              <a:off x="2582576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4" name="object 534">
              <a:extLst>
                <a:ext uri="{FF2B5EF4-FFF2-40B4-BE49-F238E27FC236}">
                  <a16:creationId xmlns:a16="http://schemas.microsoft.com/office/drawing/2014/main" id="{B2FA50B7-1D92-B34A-921D-F494542E7761}"/>
                </a:ext>
              </a:extLst>
            </p:cNvPr>
            <p:cNvSpPr/>
            <p:nvPr/>
          </p:nvSpPr>
          <p:spPr>
            <a:xfrm>
              <a:off x="2792714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5" name="object 535">
              <a:extLst>
                <a:ext uri="{FF2B5EF4-FFF2-40B4-BE49-F238E27FC236}">
                  <a16:creationId xmlns:a16="http://schemas.microsoft.com/office/drawing/2014/main" id="{44ED0240-0F94-5B33-A276-F952CF97A314}"/>
                </a:ext>
              </a:extLst>
            </p:cNvPr>
            <p:cNvSpPr/>
            <p:nvPr/>
          </p:nvSpPr>
          <p:spPr>
            <a:xfrm>
              <a:off x="2617598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6" name="object 536">
              <a:extLst>
                <a:ext uri="{FF2B5EF4-FFF2-40B4-BE49-F238E27FC236}">
                  <a16:creationId xmlns:a16="http://schemas.microsoft.com/office/drawing/2014/main" id="{85D11E64-D7CF-C561-067A-88A0EB713F48}"/>
                </a:ext>
              </a:extLst>
            </p:cNvPr>
            <p:cNvSpPr/>
            <p:nvPr/>
          </p:nvSpPr>
          <p:spPr>
            <a:xfrm>
              <a:off x="2547829" y="271161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7" name="object 537">
              <a:extLst>
                <a:ext uri="{FF2B5EF4-FFF2-40B4-BE49-F238E27FC236}">
                  <a16:creationId xmlns:a16="http://schemas.microsoft.com/office/drawing/2014/main" id="{4E545AB1-17CD-69F2-246E-CA0255F3C989}"/>
                </a:ext>
              </a:extLst>
            </p:cNvPr>
            <p:cNvSpPr/>
            <p:nvPr/>
          </p:nvSpPr>
          <p:spPr>
            <a:xfrm>
              <a:off x="2547838" y="2686104"/>
              <a:ext cx="6738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1125"/>
                <a:gd name="f4" fmla="val 84454"/>
                <a:gd name="f5" fmla="val 110687"/>
                <a:gd name="f6" fmla="val 84112"/>
                <a:gd name="f7" fmla="*/ f0 1 111125"/>
                <a:gd name="f8" fmla="*/ f1 1 84454"/>
                <a:gd name="f9" fmla="+- f4 0 f2"/>
                <a:gd name="f10" fmla="+- f3 0 f2"/>
                <a:gd name="f11" fmla="*/ f10 1 1111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11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38" name="object 538">
            <a:extLst>
              <a:ext uri="{FF2B5EF4-FFF2-40B4-BE49-F238E27FC236}">
                <a16:creationId xmlns:a16="http://schemas.microsoft.com/office/drawing/2014/main" id="{7E9FE77F-A8C0-B311-0833-21A815FE3DF9}"/>
              </a:ext>
            </a:extLst>
          </p:cNvPr>
          <p:cNvGrpSpPr/>
          <p:nvPr/>
        </p:nvGrpSpPr>
        <p:grpSpPr>
          <a:xfrm>
            <a:off x="5007373" y="1325121"/>
            <a:ext cx="359468" cy="359468"/>
            <a:chOff x="5007373" y="1325121"/>
            <a:chExt cx="359468" cy="359468"/>
          </a:xfrm>
        </p:grpSpPr>
        <p:pic>
          <p:nvPicPr>
            <p:cNvPr id="539" name="object 539">
              <a:extLst>
                <a:ext uri="{FF2B5EF4-FFF2-40B4-BE49-F238E27FC236}">
                  <a16:creationId xmlns:a16="http://schemas.microsoft.com/office/drawing/2014/main" id="{89E6E32F-4B93-1E61-039E-73ED1489BB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012128" y="1329885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40" name="object 540">
              <a:extLst>
                <a:ext uri="{FF2B5EF4-FFF2-40B4-BE49-F238E27FC236}">
                  <a16:creationId xmlns:a16="http://schemas.microsoft.com/office/drawing/2014/main" id="{60ACE931-06F1-5CC1-837C-AE2C6770CA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5007373" y="1325121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41" name="object 541">
              <a:extLst>
                <a:ext uri="{FF2B5EF4-FFF2-40B4-BE49-F238E27FC236}">
                  <a16:creationId xmlns:a16="http://schemas.microsoft.com/office/drawing/2014/main" id="{42CC050B-48EE-6420-C2F0-182E9AD5A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5007373" y="1325121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42" name="object 542">
              <a:extLst>
                <a:ext uri="{FF2B5EF4-FFF2-40B4-BE49-F238E27FC236}">
                  <a16:creationId xmlns:a16="http://schemas.microsoft.com/office/drawing/2014/main" id="{87F48547-98AC-301A-4BF2-7D6D5732D4B8}"/>
                </a:ext>
              </a:extLst>
            </p:cNvPr>
            <p:cNvSpPr/>
            <p:nvPr/>
          </p:nvSpPr>
          <p:spPr>
            <a:xfrm>
              <a:off x="5012128" y="132988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43" name="object 543">
            <a:extLst>
              <a:ext uri="{FF2B5EF4-FFF2-40B4-BE49-F238E27FC236}">
                <a16:creationId xmlns:a16="http://schemas.microsoft.com/office/drawing/2014/main" id="{0DF7A602-B9EB-6271-432D-A09D1384662A}"/>
              </a:ext>
            </a:extLst>
          </p:cNvPr>
          <p:cNvGrpSpPr/>
          <p:nvPr/>
        </p:nvGrpSpPr>
        <p:grpSpPr>
          <a:xfrm>
            <a:off x="6654820" y="569250"/>
            <a:ext cx="350023" cy="350023"/>
            <a:chOff x="6654820" y="569250"/>
            <a:chExt cx="350023" cy="350023"/>
          </a:xfrm>
        </p:grpSpPr>
        <p:pic>
          <p:nvPicPr>
            <p:cNvPr id="544" name="object 544">
              <a:extLst>
                <a:ext uri="{FF2B5EF4-FFF2-40B4-BE49-F238E27FC236}">
                  <a16:creationId xmlns:a16="http://schemas.microsoft.com/office/drawing/2014/main" id="{CDAE9069-CC8F-6103-A5B7-1218C5AB7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6654820" y="569250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45" name="object 545">
              <a:extLst>
                <a:ext uri="{FF2B5EF4-FFF2-40B4-BE49-F238E27FC236}">
                  <a16:creationId xmlns:a16="http://schemas.microsoft.com/office/drawing/2014/main" id="{4ACEC398-B484-9E3D-565C-4CF0498CA158}"/>
                </a:ext>
              </a:extLst>
            </p:cNvPr>
            <p:cNvSpPr/>
            <p:nvPr/>
          </p:nvSpPr>
          <p:spPr>
            <a:xfrm>
              <a:off x="6654820" y="688918"/>
              <a:ext cx="33887" cy="158648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5879"/>
                <a:gd name="f4" fmla="val 261619"/>
                <a:gd name="f5" fmla="val 14710"/>
                <a:gd name="f6" fmla="val 3776"/>
                <a:gd name="f7" fmla="val 44395"/>
                <a:gd name="f8" fmla="val 91198"/>
                <a:gd name="f9" fmla="val 138001"/>
                <a:gd name="f10" fmla="val 182399"/>
                <a:gd name="f11" fmla="val 32207"/>
                <a:gd name="f12" fmla="val 223800"/>
                <a:gd name="f13" fmla="val 55673"/>
                <a:gd name="f14" fmla="val 261608"/>
                <a:gd name="f15" fmla="*/ f0 1 55879"/>
                <a:gd name="f16" fmla="*/ f1 1 261619"/>
                <a:gd name="f17" fmla="+- f4 0 f2"/>
                <a:gd name="f18" fmla="+- f3 0 f2"/>
                <a:gd name="f19" fmla="*/ f18 1 55879"/>
                <a:gd name="f20" fmla="*/ f17 1 261619"/>
                <a:gd name="f21" fmla="*/ f2 1 f19"/>
                <a:gd name="f22" fmla="*/ f3 1 f19"/>
                <a:gd name="f23" fmla="*/ f2 1 f20"/>
                <a:gd name="f24" fmla="*/ f4 1 f20"/>
                <a:gd name="f25" fmla="*/ f21 f15 1"/>
                <a:gd name="f26" fmla="*/ f22 f15 1"/>
                <a:gd name="f27" fmla="*/ f24 f16 1"/>
                <a:gd name="f28" fmla="*/ f23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5" t="f28" r="f26" b="f27"/>
              <a:pathLst>
                <a:path w="55879" h="261619">
                  <a:moveTo>
                    <a:pt x="f5" y="f2"/>
                  </a:moveTo>
                  <a:lnTo>
                    <a:pt x="f6" y="f7"/>
                  </a:lnTo>
                  <a:lnTo>
                    <a:pt x="f2" y="f8"/>
                  </a:lnTo>
                  <a:lnTo>
                    <a:pt x="f6" y="f9"/>
                  </a:lnTo>
                  <a:lnTo>
                    <a:pt x="f5" y="f10"/>
                  </a:lnTo>
                  <a:lnTo>
                    <a:pt x="f11" y="f12"/>
                  </a:lnTo>
                  <a:lnTo>
                    <a:pt x="f13" y="f1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6" name="object 546">
              <a:extLst>
                <a:ext uri="{FF2B5EF4-FFF2-40B4-BE49-F238E27FC236}">
                  <a16:creationId xmlns:a16="http://schemas.microsoft.com/office/drawing/2014/main" id="{F3348D01-0ADC-AFEE-74F2-ED26F237CEEF}"/>
                </a:ext>
              </a:extLst>
            </p:cNvPr>
            <p:cNvSpPr/>
            <p:nvPr/>
          </p:nvSpPr>
          <p:spPr>
            <a:xfrm>
              <a:off x="6654820" y="5692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47" name="object 547">
            <a:extLst>
              <a:ext uri="{FF2B5EF4-FFF2-40B4-BE49-F238E27FC236}">
                <a16:creationId xmlns:a16="http://schemas.microsoft.com/office/drawing/2014/main" id="{1A100C9A-1936-18FF-F40E-EAE1547995C8}"/>
              </a:ext>
            </a:extLst>
          </p:cNvPr>
          <p:cNvGrpSpPr/>
          <p:nvPr/>
        </p:nvGrpSpPr>
        <p:grpSpPr>
          <a:xfrm>
            <a:off x="7479481" y="564504"/>
            <a:ext cx="359468" cy="359468"/>
            <a:chOff x="7479481" y="564504"/>
            <a:chExt cx="359468" cy="359468"/>
          </a:xfrm>
        </p:grpSpPr>
        <p:pic>
          <p:nvPicPr>
            <p:cNvPr id="548" name="object 548">
              <a:extLst>
                <a:ext uri="{FF2B5EF4-FFF2-40B4-BE49-F238E27FC236}">
                  <a16:creationId xmlns:a16="http://schemas.microsoft.com/office/drawing/2014/main" id="{94DC1126-5C48-360E-79D1-2E0849F7A5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7483275" y="569259"/>
              <a:ext cx="349950" cy="3499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49" name="object 549">
              <a:extLst>
                <a:ext uri="{FF2B5EF4-FFF2-40B4-BE49-F238E27FC236}">
                  <a16:creationId xmlns:a16="http://schemas.microsoft.com/office/drawing/2014/main" id="{7C73E5D7-A0A7-4091-025F-0353E78302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479481" y="564504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50" name="object 550">
              <a:extLst>
                <a:ext uri="{FF2B5EF4-FFF2-40B4-BE49-F238E27FC236}">
                  <a16:creationId xmlns:a16="http://schemas.microsoft.com/office/drawing/2014/main" id="{2ECB8DD6-8D00-6144-9441-08EA756FB4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479481" y="564504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51" name="object 551">
              <a:extLst>
                <a:ext uri="{FF2B5EF4-FFF2-40B4-BE49-F238E27FC236}">
                  <a16:creationId xmlns:a16="http://schemas.microsoft.com/office/drawing/2014/main" id="{6407376B-B662-8DC4-F2BA-B62C7534A796}"/>
                </a:ext>
              </a:extLst>
            </p:cNvPr>
            <p:cNvSpPr/>
            <p:nvPr/>
          </p:nvSpPr>
          <p:spPr>
            <a:xfrm>
              <a:off x="7484235" y="56925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52" name="object 552">
            <a:extLst>
              <a:ext uri="{FF2B5EF4-FFF2-40B4-BE49-F238E27FC236}">
                <a16:creationId xmlns:a16="http://schemas.microsoft.com/office/drawing/2014/main" id="{210C54CE-BC07-BABA-28A5-E9A193F1B116}"/>
              </a:ext>
            </a:extLst>
          </p:cNvPr>
          <p:cNvGrpSpPr/>
          <p:nvPr/>
        </p:nvGrpSpPr>
        <p:grpSpPr>
          <a:xfrm>
            <a:off x="7476710" y="2095658"/>
            <a:ext cx="359468" cy="359468"/>
            <a:chOff x="7476710" y="2095658"/>
            <a:chExt cx="359468" cy="359468"/>
          </a:xfrm>
        </p:grpSpPr>
        <p:pic>
          <p:nvPicPr>
            <p:cNvPr id="553" name="object 553">
              <a:extLst>
                <a:ext uri="{FF2B5EF4-FFF2-40B4-BE49-F238E27FC236}">
                  <a16:creationId xmlns:a16="http://schemas.microsoft.com/office/drawing/2014/main" id="{C89C1BD8-042B-C6E0-AC2D-CD5E54045A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7481465" y="210041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54" name="object 554">
              <a:extLst>
                <a:ext uri="{FF2B5EF4-FFF2-40B4-BE49-F238E27FC236}">
                  <a16:creationId xmlns:a16="http://schemas.microsoft.com/office/drawing/2014/main" id="{3664B04F-2AA0-5B14-134B-D9B29F73C9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7476710" y="2095658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555" name="object 555">
              <a:extLst>
                <a:ext uri="{FF2B5EF4-FFF2-40B4-BE49-F238E27FC236}">
                  <a16:creationId xmlns:a16="http://schemas.microsoft.com/office/drawing/2014/main" id="{03C4C0B8-CE3B-2834-C01A-DA12DE7F8C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7476710" y="2095658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56" name="object 556">
              <a:extLst>
                <a:ext uri="{FF2B5EF4-FFF2-40B4-BE49-F238E27FC236}">
                  <a16:creationId xmlns:a16="http://schemas.microsoft.com/office/drawing/2014/main" id="{859233E3-E839-CAB8-9274-1B3FDA84A51C}"/>
                </a:ext>
              </a:extLst>
            </p:cNvPr>
            <p:cNvSpPr/>
            <p:nvPr/>
          </p:nvSpPr>
          <p:spPr>
            <a:xfrm>
              <a:off x="7481474" y="210041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57" name="object 557">
            <a:extLst>
              <a:ext uri="{FF2B5EF4-FFF2-40B4-BE49-F238E27FC236}">
                <a16:creationId xmlns:a16="http://schemas.microsoft.com/office/drawing/2014/main" id="{8101D24F-A05C-7D47-4116-0E357222FF2F}"/>
              </a:ext>
            </a:extLst>
          </p:cNvPr>
          <p:cNvGrpSpPr/>
          <p:nvPr/>
        </p:nvGrpSpPr>
        <p:grpSpPr>
          <a:xfrm>
            <a:off x="7471809" y="1323420"/>
            <a:ext cx="350023" cy="350023"/>
            <a:chOff x="7471809" y="1323420"/>
            <a:chExt cx="350023" cy="350023"/>
          </a:xfrm>
        </p:grpSpPr>
        <p:pic>
          <p:nvPicPr>
            <p:cNvPr id="558" name="object 558">
              <a:extLst>
                <a:ext uri="{FF2B5EF4-FFF2-40B4-BE49-F238E27FC236}">
                  <a16:creationId xmlns:a16="http://schemas.microsoft.com/office/drawing/2014/main" id="{8E5D5747-D2DB-D7DA-674B-EEC2776058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7471809" y="1323420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59" name="object 559">
              <a:extLst>
                <a:ext uri="{FF2B5EF4-FFF2-40B4-BE49-F238E27FC236}">
                  <a16:creationId xmlns:a16="http://schemas.microsoft.com/office/drawing/2014/main" id="{50AAC5A4-6D3F-B990-F081-4F089AD1C895}"/>
                </a:ext>
              </a:extLst>
            </p:cNvPr>
            <p:cNvSpPr/>
            <p:nvPr/>
          </p:nvSpPr>
          <p:spPr>
            <a:xfrm>
              <a:off x="7471809" y="132342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60" name="object 560">
            <a:extLst>
              <a:ext uri="{FF2B5EF4-FFF2-40B4-BE49-F238E27FC236}">
                <a16:creationId xmlns:a16="http://schemas.microsoft.com/office/drawing/2014/main" id="{2A280EB5-98F7-2BEC-C3C4-13FC9D025ED0}"/>
              </a:ext>
            </a:extLst>
          </p:cNvPr>
          <p:cNvGrpSpPr/>
          <p:nvPr/>
        </p:nvGrpSpPr>
        <p:grpSpPr>
          <a:xfrm>
            <a:off x="4190000" y="6432163"/>
            <a:ext cx="350023" cy="124239"/>
            <a:chOff x="4190000" y="6432163"/>
            <a:chExt cx="350023" cy="124239"/>
          </a:xfrm>
        </p:grpSpPr>
        <p:sp>
          <p:nvSpPr>
            <p:cNvPr id="561" name="object 561">
              <a:extLst>
                <a:ext uri="{FF2B5EF4-FFF2-40B4-BE49-F238E27FC236}">
                  <a16:creationId xmlns:a16="http://schemas.microsoft.com/office/drawing/2014/main" id="{18282700-20C1-85A4-265A-B99AF2203C97}"/>
                </a:ext>
              </a:extLst>
            </p:cNvPr>
            <p:cNvSpPr/>
            <p:nvPr/>
          </p:nvSpPr>
          <p:spPr>
            <a:xfrm>
              <a:off x="4190000" y="6432173"/>
              <a:ext cx="1890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1784"/>
                <a:gd name="f4" fmla="val 84454"/>
                <a:gd name="f5" fmla="val 311215"/>
                <a:gd name="f6" fmla="val 84112"/>
                <a:gd name="f7" fmla="*/ f0 1 311784"/>
                <a:gd name="f8" fmla="*/ f1 1 84454"/>
                <a:gd name="f9" fmla="+- f4 0 f2"/>
                <a:gd name="f10" fmla="+- f3 0 f2"/>
                <a:gd name="f11" fmla="*/ f10 1 31178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178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2" name="object 562">
              <a:extLst>
                <a:ext uri="{FF2B5EF4-FFF2-40B4-BE49-F238E27FC236}">
                  <a16:creationId xmlns:a16="http://schemas.microsoft.com/office/drawing/2014/main" id="{E8847957-FBC3-0622-496F-823DD20E08B0}"/>
                </a:ext>
              </a:extLst>
            </p:cNvPr>
            <p:cNvSpPr/>
            <p:nvPr/>
          </p:nvSpPr>
          <p:spPr>
            <a:xfrm>
              <a:off x="4399864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3" name="object 563">
              <a:extLst>
                <a:ext uri="{FF2B5EF4-FFF2-40B4-BE49-F238E27FC236}">
                  <a16:creationId xmlns:a16="http://schemas.microsoft.com/office/drawing/2014/main" id="{062E1084-3B35-C5FA-8FEB-31A80F394FF4}"/>
                </a:ext>
              </a:extLst>
            </p:cNvPr>
            <p:cNvSpPr/>
            <p:nvPr/>
          </p:nvSpPr>
          <p:spPr>
            <a:xfrm>
              <a:off x="4294790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4" name="object 564">
              <a:extLst>
                <a:ext uri="{FF2B5EF4-FFF2-40B4-BE49-F238E27FC236}">
                  <a16:creationId xmlns:a16="http://schemas.microsoft.com/office/drawing/2014/main" id="{1D70A2A0-9702-2B91-312A-1CEC91AA795F}"/>
                </a:ext>
              </a:extLst>
            </p:cNvPr>
            <p:cNvSpPr/>
            <p:nvPr/>
          </p:nvSpPr>
          <p:spPr>
            <a:xfrm>
              <a:off x="4329885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5" name="object 565">
              <a:extLst>
                <a:ext uri="{FF2B5EF4-FFF2-40B4-BE49-F238E27FC236}">
                  <a16:creationId xmlns:a16="http://schemas.microsoft.com/office/drawing/2014/main" id="{C5D1D704-8F00-2ED4-679C-2A55E343D589}"/>
                </a:ext>
              </a:extLst>
            </p:cNvPr>
            <p:cNvSpPr/>
            <p:nvPr/>
          </p:nvSpPr>
          <p:spPr>
            <a:xfrm>
              <a:off x="4224747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6" name="object 566">
              <a:extLst>
                <a:ext uri="{FF2B5EF4-FFF2-40B4-BE49-F238E27FC236}">
                  <a16:creationId xmlns:a16="http://schemas.microsoft.com/office/drawing/2014/main" id="{28ED3A88-BE00-D33B-52DF-7163D0DF2A0B}"/>
                </a:ext>
              </a:extLst>
            </p:cNvPr>
            <p:cNvSpPr/>
            <p:nvPr/>
          </p:nvSpPr>
          <p:spPr>
            <a:xfrm>
              <a:off x="4259768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7" name="object 567">
              <a:extLst>
                <a:ext uri="{FF2B5EF4-FFF2-40B4-BE49-F238E27FC236}">
                  <a16:creationId xmlns:a16="http://schemas.microsoft.com/office/drawing/2014/main" id="{25F0592D-8128-BE5D-DE9D-4D417AA2BE3C}"/>
                </a:ext>
              </a:extLst>
            </p:cNvPr>
            <p:cNvSpPr/>
            <p:nvPr/>
          </p:nvSpPr>
          <p:spPr>
            <a:xfrm>
              <a:off x="4364979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8" name="object 568">
              <a:extLst>
                <a:ext uri="{FF2B5EF4-FFF2-40B4-BE49-F238E27FC236}">
                  <a16:creationId xmlns:a16="http://schemas.microsoft.com/office/drawing/2014/main" id="{110BF0D7-EE3D-C244-0521-528E2C0A3426}"/>
                </a:ext>
              </a:extLst>
            </p:cNvPr>
            <p:cNvSpPr/>
            <p:nvPr/>
          </p:nvSpPr>
          <p:spPr>
            <a:xfrm>
              <a:off x="4190000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9" name="object 569">
              <a:extLst>
                <a:ext uri="{FF2B5EF4-FFF2-40B4-BE49-F238E27FC236}">
                  <a16:creationId xmlns:a16="http://schemas.microsoft.com/office/drawing/2014/main" id="{7BA6B10E-7200-E3C9-7C88-789C4924114B}"/>
                </a:ext>
              </a:extLst>
            </p:cNvPr>
            <p:cNvSpPr/>
            <p:nvPr/>
          </p:nvSpPr>
          <p:spPr>
            <a:xfrm>
              <a:off x="4364979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0" name="object 570">
              <a:extLst>
                <a:ext uri="{FF2B5EF4-FFF2-40B4-BE49-F238E27FC236}">
                  <a16:creationId xmlns:a16="http://schemas.microsoft.com/office/drawing/2014/main" id="{F4AE7054-6101-E11E-3B81-76219438CFC1}"/>
                </a:ext>
              </a:extLst>
            </p:cNvPr>
            <p:cNvSpPr/>
            <p:nvPr/>
          </p:nvSpPr>
          <p:spPr>
            <a:xfrm>
              <a:off x="4469907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1" name="object 571">
              <a:extLst>
                <a:ext uri="{FF2B5EF4-FFF2-40B4-BE49-F238E27FC236}">
                  <a16:creationId xmlns:a16="http://schemas.microsoft.com/office/drawing/2014/main" id="{30C9BDB8-48DD-D1C6-FD10-E56D48331E51}"/>
                </a:ext>
              </a:extLst>
            </p:cNvPr>
            <p:cNvSpPr/>
            <p:nvPr/>
          </p:nvSpPr>
          <p:spPr>
            <a:xfrm>
              <a:off x="4504928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2" name="object 572">
              <a:extLst>
                <a:ext uri="{FF2B5EF4-FFF2-40B4-BE49-F238E27FC236}">
                  <a16:creationId xmlns:a16="http://schemas.microsoft.com/office/drawing/2014/main" id="{2F6B73EA-85C2-D4B4-B6B2-7C85E47A1283}"/>
                </a:ext>
              </a:extLst>
            </p:cNvPr>
            <p:cNvSpPr/>
            <p:nvPr/>
          </p:nvSpPr>
          <p:spPr>
            <a:xfrm>
              <a:off x="4434885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3" name="object 573">
              <a:extLst>
                <a:ext uri="{FF2B5EF4-FFF2-40B4-BE49-F238E27FC236}">
                  <a16:creationId xmlns:a16="http://schemas.microsoft.com/office/drawing/2014/main" id="{7A199517-1152-9C4B-B660-C119DFAAA0B9}"/>
                </a:ext>
              </a:extLst>
            </p:cNvPr>
            <p:cNvSpPr/>
            <p:nvPr/>
          </p:nvSpPr>
          <p:spPr>
            <a:xfrm>
              <a:off x="4539950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4" name="object 574">
              <a:extLst>
                <a:ext uri="{FF2B5EF4-FFF2-40B4-BE49-F238E27FC236}">
                  <a16:creationId xmlns:a16="http://schemas.microsoft.com/office/drawing/2014/main" id="{261D1C44-C9F7-0F4A-9D0F-743174B30E84}"/>
                </a:ext>
              </a:extLst>
            </p:cNvPr>
            <p:cNvSpPr/>
            <p:nvPr/>
          </p:nvSpPr>
          <p:spPr>
            <a:xfrm>
              <a:off x="4190000" y="645767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5" name="object 575">
              <a:extLst>
                <a:ext uri="{FF2B5EF4-FFF2-40B4-BE49-F238E27FC236}">
                  <a16:creationId xmlns:a16="http://schemas.microsoft.com/office/drawing/2014/main" id="{849EE4E6-BD22-3374-F016-F16D5D79C9AC}"/>
                </a:ext>
              </a:extLst>
            </p:cNvPr>
            <p:cNvSpPr/>
            <p:nvPr/>
          </p:nvSpPr>
          <p:spPr>
            <a:xfrm>
              <a:off x="4539950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6" name="object 576">
              <a:extLst>
                <a:ext uri="{FF2B5EF4-FFF2-40B4-BE49-F238E27FC236}">
                  <a16:creationId xmlns:a16="http://schemas.microsoft.com/office/drawing/2014/main" id="{C6781438-5FCF-4BEB-C2C5-BB93C0BE517A}"/>
                </a:ext>
              </a:extLst>
            </p:cNvPr>
            <p:cNvSpPr/>
            <p:nvPr/>
          </p:nvSpPr>
          <p:spPr>
            <a:xfrm>
              <a:off x="4364979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7" name="object 577">
              <a:extLst>
                <a:ext uri="{FF2B5EF4-FFF2-40B4-BE49-F238E27FC236}">
                  <a16:creationId xmlns:a16="http://schemas.microsoft.com/office/drawing/2014/main" id="{59ECAD53-740A-CD3B-E0A9-54CC5B6228D5}"/>
                </a:ext>
              </a:extLst>
            </p:cNvPr>
            <p:cNvSpPr/>
            <p:nvPr/>
          </p:nvSpPr>
          <p:spPr>
            <a:xfrm>
              <a:off x="4190000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8" name="object 578">
              <a:extLst>
                <a:ext uri="{FF2B5EF4-FFF2-40B4-BE49-F238E27FC236}">
                  <a16:creationId xmlns:a16="http://schemas.microsoft.com/office/drawing/2014/main" id="{ECCA84FB-98B5-2A7F-FC61-4E25DE554FA1}"/>
                </a:ext>
              </a:extLst>
            </p:cNvPr>
            <p:cNvSpPr/>
            <p:nvPr/>
          </p:nvSpPr>
          <p:spPr>
            <a:xfrm>
              <a:off x="4364979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9" name="object 579">
              <a:extLst>
                <a:ext uri="{FF2B5EF4-FFF2-40B4-BE49-F238E27FC236}">
                  <a16:creationId xmlns:a16="http://schemas.microsoft.com/office/drawing/2014/main" id="{28089233-F1F2-85D9-F6C8-D9099C65BE6F}"/>
                </a:ext>
              </a:extLst>
            </p:cNvPr>
            <p:cNvSpPr/>
            <p:nvPr/>
          </p:nvSpPr>
          <p:spPr>
            <a:xfrm>
              <a:off x="4469907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0" name="object 580">
              <a:extLst>
                <a:ext uri="{FF2B5EF4-FFF2-40B4-BE49-F238E27FC236}">
                  <a16:creationId xmlns:a16="http://schemas.microsoft.com/office/drawing/2014/main" id="{BDA390CA-7240-9056-F521-8EEFEDBFEA2B}"/>
                </a:ext>
              </a:extLst>
            </p:cNvPr>
            <p:cNvSpPr/>
            <p:nvPr/>
          </p:nvSpPr>
          <p:spPr>
            <a:xfrm>
              <a:off x="4504928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1" name="object 581">
              <a:extLst>
                <a:ext uri="{FF2B5EF4-FFF2-40B4-BE49-F238E27FC236}">
                  <a16:creationId xmlns:a16="http://schemas.microsoft.com/office/drawing/2014/main" id="{47F5B27B-324A-C6B4-14CA-85E5BD89F363}"/>
                </a:ext>
              </a:extLst>
            </p:cNvPr>
            <p:cNvSpPr/>
            <p:nvPr/>
          </p:nvSpPr>
          <p:spPr>
            <a:xfrm>
              <a:off x="4399864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2" name="object 582">
              <a:extLst>
                <a:ext uri="{FF2B5EF4-FFF2-40B4-BE49-F238E27FC236}">
                  <a16:creationId xmlns:a16="http://schemas.microsoft.com/office/drawing/2014/main" id="{73C45E3C-0730-5B0B-B858-7BFFE82B7A34}"/>
                </a:ext>
              </a:extLst>
            </p:cNvPr>
            <p:cNvSpPr/>
            <p:nvPr/>
          </p:nvSpPr>
          <p:spPr>
            <a:xfrm>
              <a:off x="4294790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3" name="object 583">
              <a:extLst>
                <a:ext uri="{FF2B5EF4-FFF2-40B4-BE49-F238E27FC236}">
                  <a16:creationId xmlns:a16="http://schemas.microsoft.com/office/drawing/2014/main" id="{C6081511-2F59-D09F-62E8-1C103387239A}"/>
                </a:ext>
              </a:extLst>
            </p:cNvPr>
            <p:cNvSpPr/>
            <p:nvPr/>
          </p:nvSpPr>
          <p:spPr>
            <a:xfrm>
              <a:off x="4329885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4" name="object 584">
              <a:extLst>
                <a:ext uri="{FF2B5EF4-FFF2-40B4-BE49-F238E27FC236}">
                  <a16:creationId xmlns:a16="http://schemas.microsoft.com/office/drawing/2014/main" id="{D661D609-702E-9969-6490-63A8A4A7D60D}"/>
                </a:ext>
              </a:extLst>
            </p:cNvPr>
            <p:cNvSpPr/>
            <p:nvPr/>
          </p:nvSpPr>
          <p:spPr>
            <a:xfrm>
              <a:off x="4224747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5" name="object 585">
              <a:extLst>
                <a:ext uri="{FF2B5EF4-FFF2-40B4-BE49-F238E27FC236}">
                  <a16:creationId xmlns:a16="http://schemas.microsoft.com/office/drawing/2014/main" id="{7E87105B-3AB5-FB0C-6404-E1D4B1FE8771}"/>
                </a:ext>
              </a:extLst>
            </p:cNvPr>
            <p:cNvSpPr/>
            <p:nvPr/>
          </p:nvSpPr>
          <p:spPr>
            <a:xfrm>
              <a:off x="4434885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6" name="object 586">
              <a:extLst>
                <a:ext uri="{FF2B5EF4-FFF2-40B4-BE49-F238E27FC236}">
                  <a16:creationId xmlns:a16="http://schemas.microsoft.com/office/drawing/2014/main" id="{2BCCADE7-8781-EBB9-9DCD-639DB4B73B14}"/>
                </a:ext>
              </a:extLst>
            </p:cNvPr>
            <p:cNvSpPr/>
            <p:nvPr/>
          </p:nvSpPr>
          <p:spPr>
            <a:xfrm>
              <a:off x="4259768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7" name="object 587">
              <a:extLst>
                <a:ext uri="{FF2B5EF4-FFF2-40B4-BE49-F238E27FC236}">
                  <a16:creationId xmlns:a16="http://schemas.microsoft.com/office/drawing/2014/main" id="{5074DB09-A0A4-9EEB-AF44-DB69E82AB25C}"/>
                </a:ext>
              </a:extLst>
            </p:cNvPr>
            <p:cNvSpPr/>
            <p:nvPr/>
          </p:nvSpPr>
          <p:spPr>
            <a:xfrm>
              <a:off x="4190000" y="653069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88" name="object 588">
            <a:extLst>
              <a:ext uri="{FF2B5EF4-FFF2-40B4-BE49-F238E27FC236}">
                <a16:creationId xmlns:a16="http://schemas.microsoft.com/office/drawing/2014/main" id="{8946BBE6-90A5-8C6E-5D28-BC735701ECCE}"/>
              </a:ext>
            </a:extLst>
          </p:cNvPr>
          <p:cNvGrpSpPr/>
          <p:nvPr/>
        </p:nvGrpSpPr>
        <p:grpSpPr>
          <a:xfrm>
            <a:off x="5833725" y="1085502"/>
            <a:ext cx="350371" cy="123517"/>
            <a:chOff x="5833725" y="1085502"/>
            <a:chExt cx="350371" cy="123517"/>
          </a:xfrm>
        </p:grpSpPr>
        <p:sp>
          <p:nvSpPr>
            <p:cNvPr id="589" name="object 589">
              <a:extLst>
                <a:ext uri="{FF2B5EF4-FFF2-40B4-BE49-F238E27FC236}">
                  <a16:creationId xmlns:a16="http://schemas.microsoft.com/office/drawing/2014/main" id="{5D2B5C57-B4A3-B1C1-FB6E-5A1811592CB9}"/>
                </a:ext>
              </a:extLst>
            </p:cNvPr>
            <p:cNvSpPr/>
            <p:nvPr/>
          </p:nvSpPr>
          <p:spPr>
            <a:xfrm>
              <a:off x="611397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0" name="object 590">
              <a:extLst>
                <a:ext uri="{FF2B5EF4-FFF2-40B4-BE49-F238E27FC236}">
                  <a16:creationId xmlns:a16="http://schemas.microsoft.com/office/drawing/2014/main" id="{836DB2D3-B0C1-0B84-C412-242BCBC8696E}"/>
                </a:ext>
              </a:extLst>
            </p:cNvPr>
            <p:cNvSpPr/>
            <p:nvPr/>
          </p:nvSpPr>
          <p:spPr>
            <a:xfrm>
              <a:off x="6148992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1" name="object 591">
              <a:extLst>
                <a:ext uri="{FF2B5EF4-FFF2-40B4-BE49-F238E27FC236}">
                  <a16:creationId xmlns:a16="http://schemas.microsoft.com/office/drawing/2014/main" id="{13C59CB5-FF06-ED27-A853-F7A9D20537C8}"/>
                </a:ext>
              </a:extLst>
            </p:cNvPr>
            <p:cNvSpPr/>
            <p:nvPr/>
          </p:nvSpPr>
          <p:spPr>
            <a:xfrm>
              <a:off x="604392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2" name="object 592">
              <a:extLst>
                <a:ext uri="{FF2B5EF4-FFF2-40B4-BE49-F238E27FC236}">
                  <a16:creationId xmlns:a16="http://schemas.microsoft.com/office/drawing/2014/main" id="{01C86F15-03FE-ED69-C77A-7DCD269660C8}"/>
                </a:ext>
              </a:extLst>
            </p:cNvPr>
            <p:cNvSpPr/>
            <p:nvPr/>
          </p:nvSpPr>
          <p:spPr>
            <a:xfrm>
              <a:off x="593886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3" name="object 593">
              <a:extLst>
                <a:ext uri="{FF2B5EF4-FFF2-40B4-BE49-F238E27FC236}">
                  <a16:creationId xmlns:a16="http://schemas.microsoft.com/office/drawing/2014/main" id="{427F7A14-75F9-F30E-1F6B-CCFABE2EBA81}"/>
                </a:ext>
              </a:extLst>
            </p:cNvPr>
            <p:cNvSpPr/>
            <p:nvPr/>
          </p:nvSpPr>
          <p:spPr>
            <a:xfrm>
              <a:off x="597395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4" name="object 594">
              <a:extLst>
                <a:ext uri="{FF2B5EF4-FFF2-40B4-BE49-F238E27FC236}">
                  <a16:creationId xmlns:a16="http://schemas.microsoft.com/office/drawing/2014/main" id="{DE7A39CC-58F4-D537-3722-B35D928CD1A1}"/>
                </a:ext>
              </a:extLst>
            </p:cNvPr>
            <p:cNvSpPr/>
            <p:nvPr/>
          </p:nvSpPr>
          <p:spPr>
            <a:xfrm>
              <a:off x="586882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5" name="object 595">
              <a:extLst>
                <a:ext uri="{FF2B5EF4-FFF2-40B4-BE49-F238E27FC236}">
                  <a16:creationId xmlns:a16="http://schemas.microsoft.com/office/drawing/2014/main" id="{C706408F-E9F1-8223-4EB8-89BE3E224481}"/>
                </a:ext>
              </a:extLst>
            </p:cNvPr>
            <p:cNvSpPr/>
            <p:nvPr/>
          </p:nvSpPr>
          <p:spPr>
            <a:xfrm>
              <a:off x="607894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6" name="object 596">
              <a:extLst>
                <a:ext uri="{FF2B5EF4-FFF2-40B4-BE49-F238E27FC236}">
                  <a16:creationId xmlns:a16="http://schemas.microsoft.com/office/drawing/2014/main" id="{C1B17687-C73B-5A33-7967-7BC995554B01}"/>
                </a:ext>
              </a:extLst>
            </p:cNvPr>
            <p:cNvSpPr/>
            <p:nvPr/>
          </p:nvSpPr>
          <p:spPr>
            <a:xfrm>
              <a:off x="590384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7" name="object 597">
              <a:extLst>
                <a:ext uri="{FF2B5EF4-FFF2-40B4-BE49-F238E27FC236}">
                  <a16:creationId xmlns:a16="http://schemas.microsoft.com/office/drawing/2014/main" id="{FCEEDD74-5A5F-E968-18A8-BA98503DFD42}"/>
                </a:ext>
              </a:extLst>
            </p:cNvPr>
            <p:cNvSpPr/>
            <p:nvPr/>
          </p:nvSpPr>
          <p:spPr>
            <a:xfrm>
              <a:off x="6184014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8" name="object 598">
              <a:extLst>
                <a:ext uri="{FF2B5EF4-FFF2-40B4-BE49-F238E27FC236}">
                  <a16:creationId xmlns:a16="http://schemas.microsoft.com/office/drawing/2014/main" id="{0F36F396-C3D0-AF72-B8A6-897D2AC92EA0}"/>
                </a:ext>
              </a:extLst>
            </p:cNvPr>
            <p:cNvSpPr/>
            <p:nvPr/>
          </p:nvSpPr>
          <p:spPr>
            <a:xfrm>
              <a:off x="6009043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9" name="object 599">
              <a:extLst>
                <a:ext uri="{FF2B5EF4-FFF2-40B4-BE49-F238E27FC236}">
                  <a16:creationId xmlns:a16="http://schemas.microsoft.com/office/drawing/2014/main" id="{633AD1E6-A9AB-8247-FBB5-CD9B38E30EEC}"/>
                </a:ext>
              </a:extLst>
            </p:cNvPr>
            <p:cNvSpPr/>
            <p:nvPr/>
          </p:nvSpPr>
          <p:spPr>
            <a:xfrm>
              <a:off x="5834073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0" name="object 600">
              <a:extLst>
                <a:ext uri="{FF2B5EF4-FFF2-40B4-BE49-F238E27FC236}">
                  <a16:creationId xmlns:a16="http://schemas.microsoft.com/office/drawing/2014/main" id="{49C25723-6C97-E817-E98A-9954717D4318}"/>
                </a:ext>
              </a:extLst>
            </p:cNvPr>
            <p:cNvSpPr/>
            <p:nvPr/>
          </p:nvSpPr>
          <p:spPr>
            <a:xfrm>
              <a:off x="5834073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1" name="object 601">
              <a:extLst>
                <a:ext uri="{FF2B5EF4-FFF2-40B4-BE49-F238E27FC236}">
                  <a16:creationId xmlns:a16="http://schemas.microsoft.com/office/drawing/2014/main" id="{09E634A8-C902-BEC3-826F-98E66A35DF1A}"/>
                </a:ext>
              </a:extLst>
            </p:cNvPr>
            <p:cNvSpPr/>
            <p:nvPr/>
          </p:nvSpPr>
          <p:spPr>
            <a:xfrm>
              <a:off x="5834192" y="1085502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5"/>
                <a:gd name="f5" fmla="val 241856"/>
                <a:gd name="f6" fmla="val 84123"/>
                <a:gd name="f7" fmla="*/ f0 1 241934"/>
                <a:gd name="f8" fmla="*/ f1 1 84455"/>
                <a:gd name="f9" fmla="+- f4 0 f2"/>
                <a:gd name="f10" fmla="+- f3 0 f2"/>
                <a:gd name="f11" fmla="*/ f10 1 241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2" name="object 602">
              <a:extLst>
                <a:ext uri="{FF2B5EF4-FFF2-40B4-BE49-F238E27FC236}">
                  <a16:creationId xmlns:a16="http://schemas.microsoft.com/office/drawing/2014/main" id="{7224DE5C-FC1B-1CC3-6486-BEFB59028874}"/>
                </a:ext>
              </a:extLst>
            </p:cNvPr>
            <p:cNvSpPr/>
            <p:nvPr/>
          </p:nvSpPr>
          <p:spPr>
            <a:xfrm>
              <a:off x="5834192" y="1157804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5"/>
                <a:gd name="f5" fmla="val 291436"/>
                <a:gd name="f6" fmla="val 84112"/>
                <a:gd name="f7" fmla="*/ f0 1 291465"/>
                <a:gd name="f8" fmla="*/ f1 1 84455"/>
                <a:gd name="f9" fmla="+- f4 0 f2"/>
                <a:gd name="f10" fmla="+- f3 0 f2"/>
                <a:gd name="f11" fmla="*/ f10 1 29146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3" name="object 603">
              <a:extLst>
                <a:ext uri="{FF2B5EF4-FFF2-40B4-BE49-F238E27FC236}">
                  <a16:creationId xmlns:a16="http://schemas.microsoft.com/office/drawing/2014/main" id="{131310D2-23CE-DCBE-F52E-5A062C15CE24}"/>
                </a:ext>
              </a:extLst>
            </p:cNvPr>
            <p:cNvSpPr/>
            <p:nvPr/>
          </p:nvSpPr>
          <p:spPr>
            <a:xfrm>
              <a:off x="611362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4" name="object 604">
              <a:extLst>
                <a:ext uri="{FF2B5EF4-FFF2-40B4-BE49-F238E27FC236}">
                  <a16:creationId xmlns:a16="http://schemas.microsoft.com/office/drawing/2014/main" id="{641BBA18-8A7C-2C83-1E12-AAAC1BB1B708}"/>
                </a:ext>
              </a:extLst>
            </p:cNvPr>
            <p:cNvSpPr/>
            <p:nvPr/>
          </p:nvSpPr>
          <p:spPr>
            <a:xfrm>
              <a:off x="614864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5" name="object 605">
              <a:extLst>
                <a:ext uri="{FF2B5EF4-FFF2-40B4-BE49-F238E27FC236}">
                  <a16:creationId xmlns:a16="http://schemas.microsoft.com/office/drawing/2014/main" id="{EFD80844-E625-893C-7A7A-A030C212BC3F}"/>
                </a:ext>
              </a:extLst>
            </p:cNvPr>
            <p:cNvSpPr/>
            <p:nvPr/>
          </p:nvSpPr>
          <p:spPr>
            <a:xfrm>
              <a:off x="604358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6" name="object 606">
              <a:extLst>
                <a:ext uri="{FF2B5EF4-FFF2-40B4-BE49-F238E27FC236}">
                  <a16:creationId xmlns:a16="http://schemas.microsoft.com/office/drawing/2014/main" id="{675924F9-FA11-DC07-AFAF-1FC3794496A9}"/>
                </a:ext>
              </a:extLst>
            </p:cNvPr>
            <p:cNvSpPr/>
            <p:nvPr/>
          </p:nvSpPr>
          <p:spPr>
            <a:xfrm>
              <a:off x="593851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7" name="object 607">
              <a:extLst>
                <a:ext uri="{FF2B5EF4-FFF2-40B4-BE49-F238E27FC236}">
                  <a16:creationId xmlns:a16="http://schemas.microsoft.com/office/drawing/2014/main" id="{43D639B3-E0A1-DBDA-E024-98665F486089}"/>
                </a:ext>
              </a:extLst>
            </p:cNvPr>
            <p:cNvSpPr/>
            <p:nvPr/>
          </p:nvSpPr>
          <p:spPr>
            <a:xfrm>
              <a:off x="597361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8" name="object 608">
              <a:extLst>
                <a:ext uri="{FF2B5EF4-FFF2-40B4-BE49-F238E27FC236}">
                  <a16:creationId xmlns:a16="http://schemas.microsoft.com/office/drawing/2014/main" id="{2E0E3628-70BE-DEB9-58F9-CCA51DDFC0C0}"/>
                </a:ext>
              </a:extLst>
            </p:cNvPr>
            <p:cNvSpPr/>
            <p:nvPr/>
          </p:nvSpPr>
          <p:spPr>
            <a:xfrm>
              <a:off x="586847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9" name="object 609">
              <a:extLst>
                <a:ext uri="{FF2B5EF4-FFF2-40B4-BE49-F238E27FC236}">
                  <a16:creationId xmlns:a16="http://schemas.microsoft.com/office/drawing/2014/main" id="{EA744E19-6CE8-15F7-7BA1-2BD248BF3D5F}"/>
                </a:ext>
              </a:extLst>
            </p:cNvPr>
            <p:cNvSpPr/>
            <p:nvPr/>
          </p:nvSpPr>
          <p:spPr>
            <a:xfrm>
              <a:off x="607860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0" name="object 610">
              <a:extLst>
                <a:ext uri="{FF2B5EF4-FFF2-40B4-BE49-F238E27FC236}">
                  <a16:creationId xmlns:a16="http://schemas.microsoft.com/office/drawing/2014/main" id="{C4A56E0D-5261-3C4F-8725-A1363C4C38B4}"/>
                </a:ext>
              </a:extLst>
            </p:cNvPr>
            <p:cNvSpPr/>
            <p:nvPr/>
          </p:nvSpPr>
          <p:spPr>
            <a:xfrm>
              <a:off x="590349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1" name="object 611">
              <a:extLst>
                <a:ext uri="{FF2B5EF4-FFF2-40B4-BE49-F238E27FC236}">
                  <a16:creationId xmlns:a16="http://schemas.microsoft.com/office/drawing/2014/main" id="{6C9F26A7-0084-A14D-C4FE-381891CC5E3C}"/>
                </a:ext>
              </a:extLst>
            </p:cNvPr>
            <p:cNvSpPr/>
            <p:nvPr/>
          </p:nvSpPr>
          <p:spPr>
            <a:xfrm>
              <a:off x="6183666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2" name="object 612">
              <a:extLst>
                <a:ext uri="{FF2B5EF4-FFF2-40B4-BE49-F238E27FC236}">
                  <a16:creationId xmlns:a16="http://schemas.microsoft.com/office/drawing/2014/main" id="{990B29A6-7B8C-D09E-17D0-676C6F221184}"/>
                </a:ext>
              </a:extLst>
            </p:cNvPr>
            <p:cNvSpPr/>
            <p:nvPr/>
          </p:nvSpPr>
          <p:spPr>
            <a:xfrm>
              <a:off x="6008696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3" name="object 613">
              <a:extLst>
                <a:ext uri="{FF2B5EF4-FFF2-40B4-BE49-F238E27FC236}">
                  <a16:creationId xmlns:a16="http://schemas.microsoft.com/office/drawing/2014/main" id="{088599DE-CEBB-498B-9CCA-2165D262BF33}"/>
                </a:ext>
              </a:extLst>
            </p:cNvPr>
            <p:cNvSpPr/>
            <p:nvPr/>
          </p:nvSpPr>
          <p:spPr>
            <a:xfrm>
              <a:off x="5833725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4" name="object 614">
              <a:extLst>
                <a:ext uri="{FF2B5EF4-FFF2-40B4-BE49-F238E27FC236}">
                  <a16:creationId xmlns:a16="http://schemas.microsoft.com/office/drawing/2014/main" id="{796F1FDD-8DCB-C013-E1E8-934931191052}"/>
                </a:ext>
              </a:extLst>
            </p:cNvPr>
            <p:cNvSpPr/>
            <p:nvPr/>
          </p:nvSpPr>
          <p:spPr>
            <a:xfrm>
              <a:off x="6008696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5" name="object 615">
              <a:extLst>
                <a:ext uri="{FF2B5EF4-FFF2-40B4-BE49-F238E27FC236}">
                  <a16:creationId xmlns:a16="http://schemas.microsoft.com/office/drawing/2014/main" id="{391D6DF5-99BE-F0BC-ED64-250B4E97CA79}"/>
                </a:ext>
              </a:extLst>
            </p:cNvPr>
            <p:cNvSpPr/>
            <p:nvPr/>
          </p:nvSpPr>
          <p:spPr>
            <a:xfrm>
              <a:off x="5833725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16" name="object 616">
            <a:extLst>
              <a:ext uri="{FF2B5EF4-FFF2-40B4-BE49-F238E27FC236}">
                <a16:creationId xmlns:a16="http://schemas.microsoft.com/office/drawing/2014/main" id="{BBF65247-A2B7-233E-C4BE-8007C1DF2DAE}"/>
              </a:ext>
            </a:extLst>
          </p:cNvPr>
          <p:cNvGrpSpPr/>
          <p:nvPr/>
        </p:nvGrpSpPr>
        <p:grpSpPr>
          <a:xfrm>
            <a:off x="6656054" y="1085502"/>
            <a:ext cx="350371" cy="123517"/>
            <a:chOff x="6656054" y="1085502"/>
            <a:chExt cx="350371" cy="123517"/>
          </a:xfrm>
        </p:grpSpPr>
        <p:sp>
          <p:nvSpPr>
            <p:cNvPr id="617" name="object 617">
              <a:extLst>
                <a:ext uri="{FF2B5EF4-FFF2-40B4-BE49-F238E27FC236}">
                  <a16:creationId xmlns:a16="http://schemas.microsoft.com/office/drawing/2014/main" id="{7A737A7B-2309-1FFF-F11D-CD5AFFA3D204}"/>
                </a:ext>
              </a:extLst>
            </p:cNvPr>
            <p:cNvSpPr/>
            <p:nvPr/>
          </p:nvSpPr>
          <p:spPr>
            <a:xfrm>
              <a:off x="693630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8" name="object 618">
              <a:extLst>
                <a:ext uri="{FF2B5EF4-FFF2-40B4-BE49-F238E27FC236}">
                  <a16:creationId xmlns:a16="http://schemas.microsoft.com/office/drawing/2014/main" id="{F462737A-F414-8887-D431-590B379ACB18}"/>
                </a:ext>
              </a:extLst>
            </p:cNvPr>
            <p:cNvSpPr/>
            <p:nvPr/>
          </p:nvSpPr>
          <p:spPr>
            <a:xfrm>
              <a:off x="697133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9" name="object 619">
              <a:extLst>
                <a:ext uri="{FF2B5EF4-FFF2-40B4-BE49-F238E27FC236}">
                  <a16:creationId xmlns:a16="http://schemas.microsoft.com/office/drawing/2014/main" id="{961A3F59-4550-E9EA-6A87-0ABEA4DDD148}"/>
                </a:ext>
              </a:extLst>
            </p:cNvPr>
            <p:cNvSpPr/>
            <p:nvPr/>
          </p:nvSpPr>
          <p:spPr>
            <a:xfrm>
              <a:off x="686625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0" name="object 620">
              <a:extLst>
                <a:ext uri="{FF2B5EF4-FFF2-40B4-BE49-F238E27FC236}">
                  <a16:creationId xmlns:a16="http://schemas.microsoft.com/office/drawing/2014/main" id="{5AB0B5DC-9486-4B53-F23E-59D57FCCF2EB}"/>
                </a:ext>
              </a:extLst>
            </p:cNvPr>
            <p:cNvSpPr/>
            <p:nvPr/>
          </p:nvSpPr>
          <p:spPr>
            <a:xfrm>
              <a:off x="6761192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1" name="object 621">
              <a:extLst>
                <a:ext uri="{FF2B5EF4-FFF2-40B4-BE49-F238E27FC236}">
                  <a16:creationId xmlns:a16="http://schemas.microsoft.com/office/drawing/2014/main" id="{761AEDE8-7E20-147D-26BB-8C46A8C40BFC}"/>
                </a:ext>
              </a:extLst>
            </p:cNvPr>
            <p:cNvSpPr/>
            <p:nvPr/>
          </p:nvSpPr>
          <p:spPr>
            <a:xfrm>
              <a:off x="679628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2" name="object 622">
              <a:extLst>
                <a:ext uri="{FF2B5EF4-FFF2-40B4-BE49-F238E27FC236}">
                  <a16:creationId xmlns:a16="http://schemas.microsoft.com/office/drawing/2014/main" id="{38FB79F9-E9E7-FAFE-3EAA-9E8B8A8F23F0}"/>
                </a:ext>
              </a:extLst>
            </p:cNvPr>
            <p:cNvSpPr/>
            <p:nvPr/>
          </p:nvSpPr>
          <p:spPr>
            <a:xfrm>
              <a:off x="669114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3" name="object 623">
              <a:extLst>
                <a:ext uri="{FF2B5EF4-FFF2-40B4-BE49-F238E27FC236}">
                  <a16:creationId xmlns:a16="http://schemas.microsoft.com/office/drawing/2014/main" id="{11107F4E-B6F9-7AFB-A6D9-718862E75C23}"/>
                </a:ext>
              </a:extLst>
            </p:cNvPr>
            <p:cNvSpPr/>
            <p:nvPr/>
          </p:nvSpPr>
          <p:spPr>
            <a:xfrm>
              <a:off x="690127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4" name="object 624">
              <a:extLst>
                <a:ext uri="{FF2B5EF4-FFF2-40B4-BE49-F238E27FC236}">
                  <a16:creationId xmlns:a16="http://schemas.microsoft.com/office/drawing/2014/main" id="{6B287460-BB38-1034-0E81-81DEF7433D7A}"/>
                </a:ext>
              </a:extLst>
            </p:cNvPr>
            <p:cNvSpPr/>
            <p:nvPr/>
          </p:nvSpPr>
          <p:spPr>
            <a:xfrm>
              <a:off x="672617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5" name="object 625">
              <a:extLst>
                <a:ext uri="{FF2B5EF4-FFF2-40B4-BE49-F238E27FC236}">
                  <a16:creationId xmlns:a16="http://schemas.microsoft.com/office/drawing/2014/main" id="{A84607A4-988E-7650-5EA5-CD9C6AEA14A0}"/>
                </a:ext>
              </a:extLst>
            </p:cNvPr>
            <p:cNvSpPr/>
            <p:nvPr/>
          </p:nvSpPr>
          <p:spPr>
            <a:xfrm>
              <a:off x="700635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6" name="object 626">
              <a:extLst>
                <a:ext uri="{FF2B5EF4-FFF2-40B4-BE49-F238E27FC236}">
                  <a16:creationId xmlns:a16="http://schemas.microsoft.com/office/drawing/2014/main" id="{6A0350CE-85C8-FCDC-CC13-1CB6305FB069}"/>
                </a:ext>
              </a:extLst>
            </p:cNvPr>
            <p:cNvSpPr/>
            <p:nvPr/>
          </p:nvSpPr>
          <p:spPr>
            <a:xfrm>
              <a:off x="683137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7" name="object 627">
              <a:extLst>
                <a:ext uri="{FF2B5EF4-FFF2-40B4-BE49-F238E27FC236}">
                  <a16:creationId xmlns:a16="http://schemas.microsoft.com/office/drawing/2014/main" id="{0E280B91-CEBC-A61E-4BF2-698795D75CE1}"/>
                </a:ext>
              </a:extLst>
            </p:cNvPr>
            <p:cNvSpPr/>
            <p:nvPr/>
          </p:nvSpPr>
          <p:spPr>
            <a:xfrm>
              <a:off x="665640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8" name="object 628">
              <a:extLst>
                <a:ext uri="{FF2B5EF4-FFF2-40B4-BE49-F238E27FC236}">
                  <a16:creationId xmlns:a16="http://schemas.microsoft.com/office/drawing/2014/main" id="{13F89E0B-229A-5AEE-97F6-A2B8BC11FC7A}"/>
                </a:ext>
              </a:extLst>
            </p:cNvPr>
            <p:cNvSpPr/>
            <p:nvPr/>
          </p:nvSpPr>
          <p:spPr>
            <a:xfrm>
              <a:off x="6656402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9" name="object 629">
              <a:extLst>
                <a:ext uri="{FF2B5EF4-FFF2-40B4-BE49-F238E27FC236}">
                  <a16:creationId xmlns:a16="http://schemas.microsoft.com/office/drawing/2014/main" id="{AC070C13-6DEB-1061-22AF-21FEB10B9D0F}"/>
                </a:ext>
              </a:extLst>
            </p:cNvPr>
            <p:cNvSpPr/>
            <p:nvPr/>
          </p:nvSpPr>
          <p:spPr>
            <a:xfrm>
              <a:off x="6656539" y="1085502"/>
              <a:ext cx="5891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97154"/>
                <a:gd name="f4" fmla="val 84455"/>
                <a:gd name="f5" fmla="val 96625"/>
                <a:gd name="f6" fmla="val 84123"/>
                <a:gd name="f7" fmla="*/ f0 1 97154"/>
                <a:gd name="f8" fmla="*/ f1 1 84455"/>
                <a:gd name="f9" fmla="+- f4 0 f2"/>
                <a:gd name="f10" fmla="+- f3 0 f2"/>
                <a:gd name="f11" fmla="*/ f10 1 9715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9715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0" name="object 630">
              <a:extLst>
                <a:ext uri="{FF2B5EF4-FFF2-40B4-BE49-F238E27FC236}">
                  <a16:creationId xmlns:a16="http://schemas.microsoft.com/office/drawing/2014/main" id="{BCED3EF0-0934-4878-B341-C5EA7049756D}"/>
                </a:ext>
              </a:extLst>
            </p:cNvPr>
            <p:cNvSpPr/>
            <p:nvPr/>
          </p:nvSpPr>
          <p:spPr>
            <a:xfrm>
              <a:off x="6656539" y="1157804"/>
              <a:ext cx="2884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75615"/>
                <a:gd name="f4" fmla="val 84455"/>
                <a:gd name="f5" fmla="val 475482"/>
                <a:gd name="f6" fmla="val 84112"/>
                <a:gd name="f7" fmla="*/ f0 1 475615"/>
                <a:gd name="f8" fmla="*/ f1 1 84455"/>
                <a:gd name="f9" fmla="+- f4 0 f2"/>
                <a:gd name="f10" fmla="+- f3 0 f2"/>
                <a:gd name="f11" fmla="*/ f10 1 47561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7561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1" name="object 631">
              <a:extLst>
                <a:ext uri="{FF2B5EF4-FFF2-40B4-BE49-F238E27FC236}">
                  <a16:creationId xmlns:a16="http://schemas.microsoft.com/office/drawing/2014/main" id="{73DAE497-425B-3E05-47C2-273CEF1A1D97}"/>
                </a:ext>
              </a:extLst>
            </p:cNvPr>
            <p:cNvSpPr/>
            <p:nvPr/>
          </p:nvSpPr>
          <p:spPr>
            <a:xfrm>
              <a:off x="693596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2" name="object 632">
              <a:extLst>
                <a:ext uri="{FF2B5EF4-FFF2-40B4-BE49-F238E27FC236}">
                  <a16:creationId xmlns:a16="http://schemas.microsoft.com/office/drawing/2014/main" id="{4CED88CE-98F4-9144-8BE0-F1381573595A}"/>
                </a:ext>
              </a:extLst>
            </p:cNvPr>
            <p:cNvSpPr/>
            <p:nvPr/>
          </p:nvSpPr>
          <p:spPr>
            <a:xfrm>
              <a:off x="697098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3" name="object 633">
              <a:extLst>
                <a:ext uri="{FF2B5EF4-FFF2-40B4-BE49-F238E27FC236}">
                  <a16:creationId xmlns:a16="http://schemas.microsoft.com/office/drawing/2014/main" id="{51D50568-30A2-31DE-D982-784CEAFA805E}"/>
                </a:ext>
              </a:extLst>
            </p:cNvPr>
            <p:cNvSpPr/>
            <p:nvPr/>
          </p:nvSpPr>
          <p:spPr>
            <a:xfrm>
              <a:off x="686591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4" name="object 634">
              <a:extLst>
                <a:ext uri="{FF2B5EF4-FFF2-40B4-BE49-F238E27FC236}">
                  <a16:creationId xmlns:a16="http://schemas.microsoft.com/office/drawing/2014/main" id="{CD9A1CF3-16A9-9C81-AD36-5D57FE4BBA03}"/>
                </a:ext>
              </a:extLst>
            </p:cNvPr>
            <p:cNvSpPr/>
            <p:nvPr/>
          </p:nvSpPr>
          <p:spPr>
            <a:xfrm>
              <a:off x="676084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5" name="object 635">
              <a:extLst>
                <a:ext uri="{FF2B5EF4-FFF2-40B4-BE49-F238E27FC236}">
                  <a16:creationId xmlns:a16="http://schemas.microsoft.com/office/drawing/2014/main" id="{B6C50E66-E6CB-6C13-A72D-DE97923F0A9E}"/>
                </a:ext>
              </a:extLst>
            </p:cNvPr>
            <p:cNvSpPr/>
            <p:nvPr/>
          </p:nvSpPr>
          <p:spPr>
            <a:xfrm>
              <a:off x="679593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6" name="object 636">
              <a:extLst>
                <a:ext uri="{FF2B5EF4-FFF2-40B4-BE49-F238E27FC236}">
                  <a16:creationId xmlns:a16="http://schemas.microsoft.com/office/drawing/2014/main" id="{4A8C7292-E158-CC80-13C6-3A788E54112C}"/>
                </a:ext>
              </a:extLst>
            </p:cNvPr>
            <p:cNvSpPr/>
            <p:nvPr/>
          </p:nvSpPr>
          <p:spPr>
            <a:xfrm>
              <a:off x="669080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7" name="object 637">
              <a:extLst>
                <a:ext uri="{FF2B5EF4-FFF2-40B4-BE49-F238E27FC236}">
                  <a16:creationId xmlns:a16="http://schemas.microsoft.com/office/drawing/2014/main" id="{EC755077-3B25-5FE0-F481-225929496274}"/>
                </a:ext>
              </a:extLst>
            </p:cNvPr>
            <p:cNvSpPr/>
            <p:nvPr/>
          </p:nvSpPr>
          <p:spPr>
            <a:xfrm>
              <a:off x="690094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8" name="object 638">
              <a:extLst>
                <a:ext uri="{FF2B5EF4-FFF2-40B4-BE49-F238E27FC236}">
                  <a16:creationId xmlns:a16="http://schemas.microsoft.com/office/drawing/2014/main" id="{A006D213-7D21-142D-669B-E0324AE07F2C}"/>
                </a:ext>
              </a:extLst>
            </p:cNvPr>
            <p:cNvSpPr/>
            <p:nvPr/>
          </p:nvSpPr>
          <p:spPr>
            <a:xfrm>
              <a:off x="672582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9" name="object 639">
              <a:extLst>
                <a:ext uri="{FF2B5EF4-FFF2-40B4-BE49-F238E27FC236}">
                  <a16:creationId xmlns:a16="http://schemas.microsoft.com/office/drawing/2014/main" id="{9552BFFF-B6B1-3E4E-7CE2-3FF1432C68E1}"/>
                </a:ext>
              </a:extLst>
            </p:cNvPr>
            <p:cNvSpPr/>
            <p:nvPr/>
          </p:nvSpPr>
          <p:spPr>
            <a:xfrm>
              <a:off x="700600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0" name="object 640">
              <a:extLst>
                <a:ext uri="{FF2B5EF4-FFF2-40B4-BE49-F238E27FC236}">
                  <a16:creationId xmlns:a16="http://schemas.microsoft.com/office/drawing/2014/main" id="{A2EDA982-886D-BB52-5B69-8CEFB31F05FC}"/>
                </a:ext>
              </a:extLst>
            </p:cNvPr>
            <p:cNvSpPr/>
            <p:nvPr/>
          </p:nvSpPr>
          <p:spPr>
            <a:xfrm>
              <a:off x="683103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1" name="object 641">
              <a:extLst>
                <a:ext uri="{FF2B5EF4-FFF2-40B4-BE49-F238E27FC236}">
                  <a16:creationId xmlns:a16="http://schemas.microsoft.com/office/drawing/2014/main" id="{C1279CB4-FEA6-C7D7-EBB3-D668307B792B}"/>
                </a:ext>
              </a:extLst>
            </p:cNvPr>
            <p:cNvSpPr/>
            <p:nvPr/>
          </p:nvSpPr>
          <p:spPr>
            <a:xfrm>
              <a:off x="665605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2" name="object 642">
              <a:extLst>
                <a:ext uri="{FF2B5EF4-FFF2-40B4-BE49-F238E27FC236}">
                  <a16:creationId xmlns:a16="http://schemas.microsoft.com/office/drawing/2014/main" id="{37143043-FD76-8B0A-73C9-493BA386C799}"/>
                </a:ext>
              </a:extLst>
            </p:cNvPr>
            <p:cNvSpPr/>
            <p:nvPr/>
          </p:nvSpPr>
          <p:spPr>
            <a:xfrm>
              <a:off x="683103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3" name="object 643">
              <a:extLst>
                <a:ext uri="{FF2B5EF4-FFF2-40B4-BE49-F238E27FC236}">
                  <a16:creationId xmlns:a16="http://schemas.microsoft.com/office/drawing/2014/main" id="{09812FCB-83B0-C514-88DB-5BBFEC330AD4}"/>
                </a:ext>
              </a:extLst>
            </p:cNvPr>
            <p:cNvSpPr/>
            <p:nvPr/>
          </p:nvSpPr>
          <p:spPr>
            <a:xfrm>
              <a:off x="6656054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44" name="object 644">
            <a:extLst>
              <a:ext uri="{FF2B5EF4-FFF2-40B4-BE49-F238E27FC236}">
                <a16:creationId xmlns:a16="http://schemas.microsoft.com/office/drawing/2014/main" id="{B67C3124-1093-DA5E-8C72-674BC4F81286}"/>
              </a:ext>
            </a:extLst>
          </p:cNvPr>
          <p:cNvGrpSpPr/>
          <p:nvPr/>
        </p:nvGrpSpPr>
        <p:grpSpPr>
          <a:xfrm>
            <a:off x="7477954" y="1085502"/>
            <a:ext cx="350370" cy="123517"/>
            <a:chOff x="7477954" y="1085502"/>
            <a:chExt cx="350370" cy="123517"/>
          </a:xfrm>
        </p:grpSpPr>
        <p:sp>
          <p:nvSpPr>
            <p:cNvPr id="645" name="object 645">
              <a:extLst>
                <a:ext uri="{FF2B5EF4-FFF2-40B4-BE49-F238E27FC236}">
                  <a16:creationId xmlns:a16="http://schemas.microsoft.com/office/drawing/2014/main" id="{94247E32-7BB0-D890-3944-945ACFACE831}"/>
                </a:ext>
              </a:extLst>
            </p:cNvPr>
            <p:cNvSpPr/>
            <p:nvPr/>
          </p:nvSpPr>
          <p:spPr>
            <a:xfrm>
              <a:off x="775819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6" name="object 646">
              <a:extLst>
                <a:ext uri="{FF2B5EF4-FFF2-40B4-BE49-F238E27FC236}">
                  <a16:creationId xmlns:a16="http://schemas.microsoft.com/office/drawing/2014/main" id="{EEB9DDF1-1D39-2153-7F21-3B2905C22DDB}"/>
                </a:ext>
              </a:extLst>
            </p:cNvPr>
            <p:cNvSpPr/>
            <p:nvPr/>
          </p:nvSpPr>
          <p:spPr>
            <a:xfrm>
              <a:off x="779322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7" name="object 647">
              <a:extLst>
                <a:ext uri="{FF2B5EF4-FFF2-40B4-BE49-F238E27FC236}">
                  <a16:creationId xmlns:a16="http://schemas.microsoft.com/office/drawing/2014/main" id="{D721D3C7-D56E-A926-BFE5-23FD43E14EAA}"/>
                </a:ext>
              </a:extLst>
            </p:cNvPr>
            <p:cNvSpPr/>
            <p:nvPr/>
          </p:nvSpPr>
          <p:spPr>
            <a:xfrm>
              <a:off x="768815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8" name="object 648">
              <a:extLst>
                <a:ext uri="{FF2B5EF4-FFF2-40B4-BE49-F238E27FC236}">
                  <a16:creationId xmlns:a16="http://schemas.microsoft.com/office/drawing/2014/main" id="{8D18BBF9-16F2-AC3B-37D9-9085A0C20FED}"/>
                </a:ext>
              </a:extLst>
            </p:cNvPr>
            <p:cNvSpPr/>
            <p:nvPr/>
          </p:nvSpPr>
          <p:spPr>
            <a:xfrm>
              <a:off x="758309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9" name="object 649">
              <a:extLst>
                <a:ext uri="{FF2B5EF4-FFF2-40B4-BE49-F238E27FC236}">
                  <a16:creationId xmlns:a16="http://schemas.microsoft.com/office/drawing/2014/main" id="{1621E97A-2F3C-D731-3C4E-308C9B727734}"/>
                </a:ext>
              </a:extLst>
            </p:cNvPr>
            <p:cNvSpPr/>
            <p:nvPr/>
          </p:nvSpPr>
          <p:spPr>
            <a:xfrm>
              <a:off x="761818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0" name="object 650">
              <a:extLst>
                <a:ext uri="{FF2B5EF4-FFF2-40B4-BE49-F238E27FC236}">
                  <a16:creationId xmlns:a16="http://schemas.microsoft.com/office/drawing/2014/main" id="{F10D0EDB-88F2-34EB-C094-9B5581F01F0A}"/>
                </a:ext>
              </a:extLst>
            </p:cNvPr>
            <p:cNvSpPr/>
            <p:nvPr/>
          </p:nvSpPr>
          <p:spPr>
            <a:xfrm>
              <a:off x="751304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1" name="object 651">
              <a:extLst>
                <a:ext uri="{FF2B5EF4-FFF2-40B4-BE49-F238E27FC236}">
                  <a16:creationId xmlns:a16="http://schemas.microsoft.com/office/drawing/2014/main" id="{E3C912F4-7CCD-FFFB-E9F2-577C00D2A6C2}"/>
                </a:ext>
              </a:extLst>
            </p:cNvPr>
            <p:cNvSpPr/>
            <p:nvPr/>
          </p:nvSpPr>
          <p:spPr>
            <a:xfrm>
              <a:off x="772317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2" name="object 652">
              <a:extLst>
                <a:ext uri="{FF2B5EF4-FFF2-40B4-BE49-F238E27FC236}">
                  <a16:creationId xmlns:a16="http://schemas.microsoft.com/office/drawing/2014/main" id="{9119A512-3A59-3F94-5032-A7A2D2D99A58}"/>
                </a:ext>
              </a:extLst>
            </p:cNvPr>
            <p:cNvSpPr/>
            <p:nvPr/>
          </p:nvSpPr>
          <p:spPr>
            <a:xfrm>
              <a:off x="754807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3" name="object 653">
              <a:extLst>
                <a:ext uri="{FF2B5EF4-FFF2-40B4-BE49-F238E27FC236}">
                  <a16:creationId xmlns:a16="http://schemas.microsoft.com/office/drawing/2014/main" id="{F6264943-E230-3921-5730-492514FD7EEB}"/>
                </a:ext>
              </a:extLst>
            </p:cNvPr>
            <p:cNvSpPr/>
            <p:nvPr/>
          </p:nvSpPr>
          <p:spPr>
            <a:xfrm>
              <a:off x="782824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4" name="object 654">
              <a:extLst>
                <a:ext uri="{FF2B5EF4-FFF2-40B4-BE49-F238E27FC236}">
                  <a16:creationId xmlns:a16="http://schemas.microsoft.com/office/drawing/2014/main" id="{921430B1-DB21-E656-F84C-CE495D5CCEE9}"/>
                </a:ext>
              </a:extLst>
            </p:cNvPr>
            <p:cNvSpPr/>
            <p:nvPr/>
          </p:nvSpPr>
          <p:spPr>
            <a:xfrm>
              <a:off x="7653271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5" name="object 655">
              <a:extLst>
                <a:ext uri="{FF2B5EF4-FFF2-40B4-BE49-F238E27FC236}">
                  <a16:creationId xmlns:a16="http://schemas.microsoft.com/office/drawing/2014/main" id="{3179282A-BCE9-3FA4-E000-8864480EC993}"/>
                </a:ext>
              </a:extLst>
            </p:cNvPr>
            <p:cNvSpPr/>
            <p:nvPr/>
          </p:nvSpPr>
          <p:spPr>
            <a:xfrm>
              <a:off x="7478301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6" name="object 656">
              <a:extLst>
                <a:ext uri="{FF2B5EF4-FFF2-40B4-BE49-F238E27FC236}">
                  <a16:creationId xmlns:a16="http://schemas.microsoft.com/office/drawing/2014/main" id="{C105BB3A-299B-C3B5-717B-C7956377E023}"/>
                </a:ext>
              </a:extLst>
            </p:cNvPr>
            <p:cNvSpPr/>
            <p:nvPr/>
          </p:nvSpPr>
          <p:spPr>
            <a:xfrm>
              <a:off x="7478301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7" name="object 657">
              <a:extLst>
                <a:ext uri="{FF2B5EF4-FFF2-40B4-BE49-F238E27FC236}">
                  <a16:creationId xmlns:a16="http://schemas.microsoft.com/office/drawing/2014/main" id="{1A7878ED-4B70-7679-213E-0B4AC6130360}"/>
                </a:ext>
              </a:extLst>
            </p:cNvPr>
            <p:cNvSpPr/>
            <p:nvPr/>
          </p:nvSpPr>
          <p:spPr>
            <a:xfrm>
              <a:off x="7478429" y="1085502"/>
              <a:ext cx="25568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1640"/>
                <a:gd name="f4" fmla="val 84455"/>
                <a:gd name="f5" fmla="val 421034"/>
                <a:gd name="f6" fmla="val 84123"/>
                <a:gd name="f7" fmla="*/ f0 1 421640"/>
                <a:gd name="f8" fmla="*/ f1 1 84455"/>
                <a:gd name="f9" fmla="+- f4 0 f2"/>
                <a:gd name="f10" fmla="+- f3 0 f2"/>
                <a:gd name="f11" fmla="*/ f10 1 42164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164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8" name="object 658">
              <a:extLst>
                <a:ext uri="{FF2B5EF4-FFF2-40B4-BE49-F238E27FC236}">
                  <a16:creationId xmlns:a16="http://schemas.microsoft.com/office/drawing/2014/main" id="{85981245-F678-068A-D78E-4B1B78C465BE}"/>
                </a:ext>
              </a:extLst>
            </p:cNvPr>
            <p:cNvSpPr/>
            <p:nvPr/>
          </p:nvSpPr>
          <p:spPr>
            <a:xfrm>
              <a:off x="7478429" y="1157804"/>
              <a:ext cx="33692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55625"/>
                <a:gd name="f4" fmla="val 84455"/>
                <a:gd name="f5" fmla="val 555250"/>
                <a:gd name="f6" fmla="val 84112"/>
                <a:gd name="f7" fmla="*/ f0 1 555625"/>
                <a:gd name="f8" fmla="*/ f1 1 84455"/>
                <a:gd name="f9" fmla="+- f4 0 f2"/>
                <a:gd name="f10" fmla="+- f3 0 f2"/>
                <a:gd name="f11" fmla="*/ f10 1 55562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5562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9" name="object 659">
              <a:extLst>
                <a:ext uri="{FF2B5EF4-FFF2-40B4-BE49-F238E27FC236}">
                  <a16:creationId xmlns:a16="http://schemas.microsoft.com/office/drawing/2014/main" id="{0D173FCB-6071-CC98-CCA6-DC5692314335}"/>
                </a:ext>
              </a:extLst>
            </p:cNvPr>
            <p:cNvSpPr/>
            <p:nvPr/>
          </p:nvSpPr>
          <p:spPr>
            <a:xfrm>
              <a:off x="775785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0" name="object 660">
              <a:extLst>
                <a:ext uri="{FF2B5EF4-FFF2-40B4-BE49-F238E27FC236}">
                  <a16:creationId xmlns:a16="http://schemas.microsoft.com/office/drawing/2014/main" id="{3B9A388C-4066-23C1-1C24-FAFB23E733B6}"/>
                </a:ext>
              </a:extLst>
            </p:cNvPr>
            <p:cNvSpPr/>
            <p:nvPr/>
          </p:nvSpPr>
          <p:spPr>
            <a:xfrm>
              <a:off x="779287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1" name="object 661">
              <a:extLst>
                <a:ext uri="{FF2B5EF4-FFF2-40B4-BE49-F238E27FC236}">
                  <a16:creationId xmlns:a16="http://schemas.microsoft.com/office/drawing/2014/main" id="{4D674169-D962-0EA7-0C8E-2003EB3444EE}"/>
                </a:ext>
              </a:extLst>
            </p:cNvPr>
            <p:cNvSpPr/>
            <p:nvPr/>
          </p:nvSpPr>
          <p:spPr>
            <a:xfrm>
              <a:off x="768780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2" name="object 662">
              <a:extLst>
                <a:ext uri="{FF2B5EF4-FFF2-40B4-BE49-F238E27FC236}">
                  <a16:creationId xmlns:a16="http://schemas.microsoft.com/office/drawing/2014/main" id="{51027906-9D36-88D0-C821-0EF62AC759D4}"/>
                </a:ext>
              </a:extLst>
            </p:cNvPr>
            <p:cNvSpPr/>
            <p:nvPr/>
          </p:nvSpPr>
          <p:spPr>
            <a:xfrm>
              <a:off x="758274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3" name="object 663">
              <a:extLst>
                <a:ext uri="{FF2B5EF4-FFF2-40B4-BE49-F238E27FC236}">
                  <a16:creationId xmlns:a16="http://schemas.microsoft.com/office/drawing/2014/main" id="{0C53E4D9-2A9F-95F7-4105-47D3E77AD0F1}"/>
                </a:ext>
              </a:extLst>
            </p:cNvPr>
            <p:cNvSpPr/>
            <p:nvPr/>
          </p:nvSpPr>
          <p:spPr>
            <a:xfrm>
              <a:off x="761783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4" name="object 664">
              <a:extLst>
                <a:ext uri="{FF2B5EF4-FFF2-40B4-BE49-F238E27FC236}">
                  <a16:creationId xmlns:a16="http://schemas.microsoft.com/office/drawing/2014/main" id="{AAE796F1-47A0-896A-5D65-2C7CB039F578}"/>
                </a:ext>
              </a:extLst>
            </p:cNvPr>
            <p:cNvSpPr/>
            <p:nvPr/>
          </p:nvSpPr>
          <p:spPr>
            <a:xfrm>
              <a:off x="751270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5" name="object 665">
              <a:extLst>
                <a:ext uri="{FF2B5EF4-FFF2-40B4-BE49-F238E27FC236}">
                  <a16:creationId xmlns:a16="http://schemas.microsoft.com/office/drawing/2014/main" id="{CFB648FF-69E6-898B-AA47-66461BBE036D}"/>
                </a:ext>
              </a:extLst>
            </p:cNvPr>
            <p:cNvSpPr/>
            <p:nvPr/>
          </p:nvSpPr>
          <p:spPr>
            <a:xfrm>
              <a:off x="772283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6" name="object 666">
              <a:extLst>
                <a:ext uri="{FF2B5EF4-FFF2-40B4-BE49-F238E27FC236}">
                  <a16:creationId xmlns:a16="http://schemas.microsoft.com/office/drawing/2014/main" id="{8AD993AA-7C9F-3CF4-A44D-7EF30BD983EF}"/>
                </a:ext>
              </a:extLst>
            </p:cNvPr>
            <p:cNvSpPr/>
            <p:nvPr/>
          </p:nvSpPr>
          <p:spPr>
            <a:xfrm>
              <a:off x="754772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7" name="object 667">
              <a:extLst>
                <a:ext uri="{FF2B5EF4-FFF2-40B4-BE49-F238E27FC236}">
                  <a16:creationId xmlns:a16="http://schemas.microsoft.com/office/drawing/2014/main" id="{865F3026-0368-72FF-6BCF-895846064E9E}"/>
                </a:ext>
              </a:extLst>
            </p:cNvPr>
            <p:cNvSpPr/>
            <p:nvPr/>
          </p:nvSpPr>
          <p:spPr>
            <a:xfrm>
              <a:off x="782789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8" name="object 668">
              <a:extLst>
                <a:ext uri="{FF2B5EF4-FFF2-40B4-BE49-F238E27FC236}">
                  <a16:creationId xmlns:a16="http://schemas.microsoft.com/office/drawing/2014/main" id="{FC039FE2-08DB-2AEE-FEFF-8E536E7575BE}"/>
                </a:ext>
              </a:extLst>
            </p:cNvPr>
            <p:cNvSpPr/>
            <p:nvPr/>
          </p:nvSpPr>
          <p:spPr>
            <a:xfrm>
              <a:off x="765292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9" name="object 669">
              <a:extLst>
                <a:ext uri="{FF2B5EF4-FFF2-40B4-BE49-F238E27FC236}">
                  <a16:creationId xmlns:a16="http://schemas.microsoft.com/office/drawing/2014/main" id="{F4383B1B-CE13-5D6F-292A-3392FCF97D1B}"/>
                </a:ext>
              </a:extLst>
            </p:cNvPr>
            <p:cNvSpPr/>
            <p:nvPr/>
          </p:nvSpPr>
          <p:spPr>
            <a:xfrm>
              <a:off x="747795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0" name="object 670">
              <a:extLst>
                <a:ext uri="{FF2B5EF4-FFF2-40B4-BE49-F238E27FC236}">
                  <a16:creationId xmlns:a16="http://schemas.microsoft.com/office/drawing/2014/main" id="{EEDACBD3-6B3B-C6EB-60C0-0F6AC3288F6B}"/>
                </a:ext>
              </a:extLst>
            </p:cNvPr>
            <p:cNvSpPr/>
            <p:nvPr/>
          </p:nvSpPr>
          <p:spPr>
            <a:xfrm>
              <a:off x="765292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1" name="object 671">
              <a:extLst>
                <a:ext uri="{FF2B5EF4-FFF2-40B4-BE49-F238E27FC236}">
                  <a16:creationId xmlns:a16="http://schemas.microsoft.com/office/drawing/2014/main" id="{B4214FF6-8D38-105E-D06A-3C8367162A77}"/>
                </a:ext>
              </a:extLst>
            </p:cNvPr>
            <p:cNvSpPr/>
            <p:nvPr/>
          </p:nvSpPr>
          <p:spPr>
            <a:xfrm>
              <a:off x="7477954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72" name="object 672">
            <a:extLst>
              <a:ext uri="{FF2B5EF4-FFF2-40B4-BE49-F238E27FC236}">
                <a16:creationId xmlns:a16="http://schemas.microsoft.com/office/drawing/2014/main" id="{9C2CE9D3-4F23-07BD-DE13-6A60EDBF9077}"/>
              </a:ext>
            </a:extLst>
          </p:cNvPr>
          <p:cNvGrpSpPr/>
          <p:nvPr/>
        </p:nvGrpSpPr>
        <p:grpSpPr>
          <a:xfrm>
            <a:off x="8299130" y="1085502"/>
            <a:ext cx="350371" cy="123517"/>
            <a:chOff x="8299130" y="1085502"/>
            <a:chExt cx="350371" cy="123517"/>
          </a:xfrm>
        </p:grpSpPr>
        <p:sp>
          <p:nvSpPr>
            <p:cNvPr id="673" name="object 673">
              <a:extLst>
                <a:ext uri="{FF2B5EF4-FFF2-40B4-BE49-F238E27FC236}">
                  <a16:creationId xmlns:a16="http://schemas.microsoft.com/office/drawing/2014/main" id="{9DDD374F-7E0F-1B93-63C6-A97322BE63AB}"/>
                </a:ext>
              </a:extLst>
            </p:cNvPr>
            <p:cNvSpPr/>
            <p:nvPr/>
          </p:nvSpPr>
          <p:spPr>
            <a:xfrm>
              <a:off x="857937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4" name="object 674">
              <a:extLst>
                <a:ext uri="{FF2B5EF4-FFF2-40B4-BE49-F238E27FC236}">
                  <a16:creationId xmlns:a16="http://schemas.microsoft.com/office/drawing/2014/main" id="{2A02CAE2-C1CA-861D-6AD9-5F93764C6367}"/>
                </a:ext>
              </a:extLst>
            </p:cNvPr>
            <p:cNvSpPr/>
            <p:nvPr/>
          </p:nvSpPr>
          <p:spPr>
            <a:xfrm>
              <a:off x="861439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5" name="object 675">
              <a:extLst>
                <a:ext uri="{FF2B5EF4-FFF2-40B4-BE49-F238E27FC236}">
                  <a16:creationId xmlns:a16="http://schemas.microsoft.com/office/drawing/2014/main" id="{C98FE72D-7C76-B88F-0C75-9BD5E948F5D5}"/>
                </a:ext>
              </a:extLst>
            </p:cNvPr>
            <p:cNvSpPr/>
            <p:nvPr/>
          </p:nvSpPr>
          <p:spPr>
            <a:xfrm>
              <a:off x="850933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6" name="object 676">
              <a:extLst>
                <a:ext uri="{FF2B5EF4-FFF2-40B4-BE49-F238E27FC236}">
                  <a16:creationId xmlns:a16="http://schemas.microsoft.com/office/drawing/2014/main" id="{9FD31DB5-6AC1-9922-9C03-049D325A18FF}"/>
                </a:ext>
              </a:extLst>
            </p:cNvPr>
            <p:cNvSpPr/>
            <p:nvPr/>
          </p:nvSpPr>
          <p:spPr>
            <a:xfrm>
              <a:off x="840426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7" name="object 677">
              <a:extLst>
                <a:ext uri="{FF2B5EF4-FFF2-40B4-BE49-F238E27FC236}">
                  <a16:creationId xmlns:a16="http://schemas.microsoft.com/office/drawing/2014/main" id="{93B00D17-C684-9880-21E8-49D94DC4856B}"/>
                </a:ext>
              </a:extLst>
            </p:cNvPr>
            <p:cNvSpPr/>
            <p:nvPr/>
          </p:nvSpPr>
          <p:spPr>
            <a:xfrm>
              <a:off x="8439354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8" name="object 678">
              <a:extLst>
                <a:ext uri="{FF2B5EF4-FFF2-40B4-BE49-F238E27FC236}">
                  <a16:creationId xmlns:a16="http://schemas.microsoft.com/office/drawing/2014/main" id="{A834DB0A-C5C4-90A6-B6E3-457A04363C8E}"/>
                </a:ext>
              </a:extLst>
            </p:cNvPr>
            <p:cNvSpPr/>
            <p:nvPr/>
          </p:nvSpPr>
          <p:spPr>
            <a:xfrm>
              <a:off x="833422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9" name="object 679">
              <a:extLst>
                <a:ext uri="{FF2B5EF4-FFF2-40B4-BE49-F238E27FC236}">
                  <a16:creationId xmlns:a16="http://schemas.microsoft.com/office/drawing/2014/main" id="{EFFD1365-EC8C-F6AA-4FA9-8CE531F1C2CF}"/>
                </a:ext>
              </a:extLst>
            </p:cNvPr>
            <p:cNvSpPr/>
            <p:nvPr/>
          </p:nvSpPr>
          <p:spPr>
            <a:xfrm>
              <a:off x="8544354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0" name="object 680">
              <a:extLst>
                <a:ext uri="{FF2B5EF4-FFF2-40B4-BE49-F238E27FC236}">
                  <a16:creationId xmlns:a16="http://schemas.microsoft.com/office/drawing/2014/main" id="{6AE94BD8-0388-F5C4-BB76-453531917354}"/>
                </a:ext>
              </a:extLst>
            </p:cNvPr>
            <p:cNvSpPr/>
            <p:nvPr/>
          </p:nvSpPr>
          <p:spPr>
            <a:xfrm>
              <a:off x="836924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1" name="object 681">
              <a:extLst>
                <a:ext uri="{FF2B5EF4-FFF2-40B4-BE49-F238E27FC236}">
                  <a16:creationId xmlns:a16="http://schemas.microsoft.com/office/drawing/2014/main" id="{46418226-2958-4C6F-7A9D-C731750479A5}"/>
                </a:ext>
              </a:extLst>
            </p:cNvPr>
            <p:cNvSpPr/>
            <p:nvPr/>
          </p:nvSpPr>
          <p:spPr>
            <a:xfrm>
              <a:off x="864941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2" name="object 682">
              <a:extLst>
                <a:ext uri="{FF2B5EF4-FFF2-40B4-BE49-F238E27FC236}">
                  <a16:creationId xmlns:a16="http://schemas.microsoft.com/office/drawing/2014/main" id="{B3F07001-60C3-3518-D49E-EC674C26268D}"/>
                </a:ext>
              </a:extLst>
            </p:cNvPr>
            <p:cNvSpPr/>
            <p:nvPr/>
          </p:nvSpPr>
          <p:spPr>
            <a:xfrm>
              <a:off x="8474448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3" name="object 683">
              <a:extLst>
                <a:ext uri="{FF2B5EF4-FFF2-40B4-BE49-F238E27FC236}">
                  <a16:creationId xmlns:a16="http://schemas.microsoft.com/office/drawing/2014/main" id="{8F4BBDEB-0FB7-1302-26E9-26BB6A8BE89B}"/>
                </a:ext>
              </a:extLst>
            </p:cNvPr>
            <p:cNvSpPr/>
            <p:nvPr/>
          </p:nvSpPr>
          <p:spPr>
            <a:xfrm>
              <a:off x="8299478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4" name="object 684">
              <a:extLst>
                <a:ext uri="{FF2B5EF4-FFF2-40B4-BE49-F238E27FC236}">
                  <a16:creationId xmlns:a16="http://schemas.microsoft.com/office/drawing/2014/main" id="{06A4202A-D24D-494B-A465-84D5828E29CD}"/>
                </a:ext>
              </a:extLst>
            </p:cNvPr>
            <p:cNvSpPr/>
            <p:nvPr/>
          </p:nvSpPr>
          <p:spPr>
            <a:xfrm>
              <a:off x="8299478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5" name="object 685">
              <a:extLst>
                <a:ext uri="{FF2B5EF4-FFF2-40B4-BE49-F238E27FC236}">
                  <a16:creationId xmlns:a16="http://schemas.microsoft.com/office/drawing/2014/main" id="{719ECF4C-0F11-16E4-1D4F-9063B0EF8B6A}"/>
                </a:ext>
              </a:extLst>
            </p:cNvPr>
            <p:cNvSpPr/>
            <p:nvPr/>
          </p:nvSpPr>
          <p:spPr>
            <a:xfrm>
              <a:off x="8299588" y="1085502"/>
              <a:ext cx="1386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859"/>
                <a:gd name="f4" fmla="val 84455"/>
                <a:gd name="f5" fmla="val 22334"/>
                <a:gd name="f6" fmla="val 84123"/>
                <a:gd name="f7" fmla="*/ f0 1 22859"/>
                <a:gd name="f8" fmla="*/ f1 1 84455"/>
                <a:gd name="f9" fmla="+- f4 0 f2"/>
                <a:gd name="f10" fmla="+- f3 0 f2"/>
                <a:gd name="f11" fmla="*/ f10 1 2285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285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6" name="object 686">
              <a:extLst>
                <a:ext uri="{FF2B5EF4-FFF2-40B4-BE49-F238E27FC236}">
                  <a16:creationId xmlns:a16="http://schemas.microsoft.com/office/drawing/2014/main" id="{8435640A-9F57-3A12-3014-EEBD0E222573}"/>
                </a:ext>
              </a:extLst>
            </p:cNvPr>
            <p:cNvSpPr/>
            <p:nvPr/>
          </p:nvSpPr>
          <p:spPr>
            <a:xfrm>
              <a:off x="8299588" y="1157804"/>
              <a:ext cx="119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684"/>
                <a:gd name="f4" fmla="val 84455"/>
                <a:gd name="f5" fmla="val 19392"/>
                <a:gd name="f6" fmla="val 84112"/>
                <a:gd name="f7" fmla="*/ f0 1 19684"/>
                <a:gd name="f8" fmla="*/ f1 1 84455"/>
                <a:gd name="f9" fmla="+- f4 0 f2"/>
                <a:gd name="f10" fmla="+- f3 0 f2"/>
                <a:gd name="f11" fmla="*/ f10 1 1968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68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7" name="object 687">
              <a:extLst>
                <a:ext uri="{FF2B5EF4-FFF2-40B4-BE49-F238E27FC236}">
                  <a16:creationId xmlns:a16="http://schemas.microsoft.com/office/drawing/2014/main" id="{6ABB0BF8-0BBB-DB8C-73AA-0E3BB1381F95}"/>
                </a:ext>
              </a:extLst>
            </p:cNvPr>
            <p:cNvSpPr/>
            <p:nvPr/>
          </p:nvSpPr>
          <p:spPr>
            <a:xfrm>
              <a:off x="85790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8" name="object 688">
              <a:extLst>
                <a:ext uri="{FF2B5EF4-FFF2-40B4-BE49-F238E27FC236}">
                  <a16:creationId xmlns:a16="http://schemas.microsoft.com/office/drawing/2014/main" id="{549569F0-27B6-2D3F-A5B4-7ACE5206B659}"/>
                </a:ext>
              </a:extLst>
            </p:cNvPr>
            <p:cNvSpPr/>
            <p:nvPr/>
          </p:nvSpPr>
          <p:spPr>
            <a:xfrm>
              <a:off x="861405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9" name="object 689">
              <a:extLst>
                <a:ext uri="{FF2B5EF4-FFF2-40B4-BE49-F238E27FC236}">
                  <a16:creationId xmlns:a16="http://schemas.microsoft.com/office/drawing/2014/main" id="{2ED7527C-02BF-E398-FC84-5C48D341B882}"/>
                </a:ext>
              </a:extLst>
            </p:cNvPr>
            <p:cNvSpPr/>
            <p:nvPr/>
          </p:nvSpPr>
          <p:spPr>
            <a:xfrm>
              <a:off x="850898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0" name="object 690">
              <a:extLst>
                <a:ext uri="{FF2B5EF4-FFF2-40B4-BE49-F238E27FC236}">
                  <a16:creationId xmlns:a16="http://schemas.microsoft.com/office/drawing/2014/main" id="{AB2ACABE-0E0A-57AF-D7F0-F31A35E1DB2D}"/>
                </a:ext>
              </a:extLst>
            </p:cNvPr>
            <p:cNvSpPr/>
            <p:nvPr/>
          </p:nvSpPr>
          <p:spPr>
            <a:xfrm>
              <a:off x="840392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1" name="object 691">
              <a:extLst>
                <a:ext uri="{FF2B5EF4-FFF2-40B4-BE49-F238E27FC236}">
                  <a16:creationId xmlns:a16="http://schemas.microsoft.com/office/drawing/2014/main" id="{34D3D502-4944-E208-7733-359FBE7EDAB1}"/>
                </a:ext>
              </a:extLst>
            </p:cNvPr>
            <p:cNvSpPr/>
            <p:nvPr/>
          </p:nvSpPr>
          <p:spPr>
            <a:xfrm>
              <a:off x="843901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2" name="object 692">
              <a:extLst>
                <a:ext uri="{FF2B5EF4-FFF2-40B4-BE49-F238E27FC236}">
                  <a16:creationId xmlns:a16="http://schemas.microsoft.com/office/drawing/2014/main" id="{F66B9216-A4C3-0085-D770-9472546B0438}"/>
                </a:ext>
              </a:extLst>
            </p:cNvPr>
            <p:cNvSpPr/>
            <p:nvPr/>
          </p:nvSpPr>
          <p:spPr>
            <a:xfrm>
              <a:off x="833387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3" name="object 693">
              <a:extLst>
                <a:ext uri="{FF2B5EF4-FFF2-40B4-BE49-F238E27FC236}">
                  <a16:creationId xmlns:a16="http://schemas.microsoft.com/office/drawing/2014/main" id="{B5D6CDD6-E291-7B2D-9748-B8BC80345CE4}"/>
                </a:ext>
              </a:extLst>
            </p:cNvPr>
            <p:cNvSpPr/>
            <p:nvPr/>
          </p:nvSpPr>
          <p:spPr>
            <a:xfrm>
              <a:off x="854400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4" name="object 694">
              <a:extLst>
                <a:ext uri="{FF2B5EF4-FFF2-40B4-BE49-F238E27FC236}">
                  <a16:creationId xmlns:a16="http://schemas.microsoft.com/office/drawing/2014/main" id="{7127F958-231C-AC2C-900F-DEFDF60E8535}"/>
                </a:ext>
              </a:extLst>
            </p:cNvPr>
            <p:cNvSpPr/>
            <p:nvPr/>
          </p:nvSpPr>
          <p:spPr>
            <a:xfrm>
              <a:off x="836889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5" name="object 695">
              <a:extLst>
                <a:ext uri="{FF2B5EF4-FFF2-40B4-BE49-F238E27FC236}">
                  <a16:creationId xmlns:a16="http://schemas.microsoft.com/office/drawing/2014/main" id="{F7991031-EE16-AF43-6C88-5CE7A9376E00}"/>
                </a:ext>
              </a:extLst>
            </p:cNvPr>
            <p:cNvSpPr/>
            <p:nvPr/>
          </p:nvSpPr>
          <p:spPr>
            <a:xfrm>
              <a:off x="864907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6" name="object 696">
              <a:extLst>
                <a:ext uri="{FF2B5EF4-FFF2-40B4-BE49-F238E27FC236}">
                  <a16:creationId xmlns:a16="http://schemas.microsoft.com/office/drawing/2014/main" id="{D08559E5-457D-8224-BEFD-9ED248130FF2}"/>
                </a:ext>
              </a:extLst>
            </p:cNvPr>
            <p:cNvSpPr/>
            <p:nvPr/>
          </p:nvSpPr>
          <p:spPr>
            <a:xfrm>
              <a:off x="847410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7" name="object 697">
              <a:extLst>
                <a:ext uri="{FF2B5EF4-FFF2-40B4-BE49-F238E27FC236}">
                  <a16:creationId xmlns:a16="http://schemas.microsoft.com/office/drawing/2014/main" id="{C4C9DF73-7A44-5CB5-5D12-6B00619B4D81}"/>
                </a:ext>
              </a:extLst>
            </p:cNvPr>
            <p:cNvSpPr/>
            <p:nvPr/>
          </p:nvSpPr>
          <p:spPr>
            <a:xfrm>
              <a:off x="8299130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8" name="object 698">
              <a:extLst>
                <a:ext uri="{FF2B5EF4-FFF2-40B4-BE49-F238E27FC236}">
                  <a16:creationId xmlns:a16="http://schemas.microsoft.com/office/drawing/2014/main" id="{B8DB099C-0785-B3E3-D94F-63D9A7E5D8B6}"/>
                </a:ext>
              </a:extLst>
            </p:cNvPr>
            <p:cNvSpPr/>
            <p:nvPr/>
          </p:nvSpPr>
          <p:spPr>
            <a:xfrm>
              <a:off x="847410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9" name="object 699">
              <a:extLst>
                <a:ext uri="{FF2B5EF4-FFF2-40B4-BE49-F238E27FC236}">
                  <a16:creationId xmlns:a16="http://schemas.microsoft.com/office/drawing/2014/main" id="{660E0AA9-9CFC-6972-FC40-1652F150800C}"/>
                </a:ext>
              </a:extLst>
            </p:cNvPr>
            <p:cNvSpPr/>
            <p:nvPr/>
          </p:nvSpPr>
          <p:spPr>
            <a:xfrm>
              <a:off x="8299130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00" name="object 700">
            <a:extLst>
              <a:ext uri="{FF2B5EF4-FFF2-40B4-BE49-F238E27FC236}">
                <a16:creationId xmlns:a16="http://schemas.microsoft.com/office/drawing/2014/main" id="{48DEDF9A-6734-0440-9712-14EE01ED0766}"/>
              </a:ext>
            </a:extLst>
          </p:cNvPr>
          <p:cNvGrpSpPr/>
          <p:nvPr/>
        </p:nvGrpSpPr>
        <p:grpSpPr>
          <a:xfrm>
            <a:off x="9121743" y="1085502"/>
            <a:ext cx="350370" cy="123517"/>
            <a:chOff x="9121743" y="1085502"/>
            <a:chExt cx="350370" cy="123517"/>
          </a:xfrm>
        </p:grpSpPr>
        <p:sp>
          <p:nvSpPr>
            <p:cNvPr id="701" name="object 701">
              <a:extLst>
                <a:ext uri="{FF2B5EF4-FFF2-40B4-BE49-F238E27FC236}">
                  <a16:creationId xmlns:a16="http://schemas.microsoft.com/office/drawing/2014/main" id="{9B02DFD9-3BE1-1C73-BD8B-343CA48C5C7A}"/>
                </a:ext>
              </a:extLst>
            </p:cNvPr>
            <p:cNvSpPr/>
            <p:nvPr/>
          </p:nvSpPr>
          <p:spPr>
            <a:xfrm>
              <a:off x="940198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2" name="object 702">
              <a:extLst>
                <a:ext uri="{FF2B5EF4-FFF2-40B4-BE49-F238E27FC236}">
                  <a16:creationId xmlns:a16="http://schemas.microsoft.com/office/drawing/2014/main" id="{82E62C71-B899-BB5E-7E01-AB4821CE0683}"/>
                </a:ext>
              </a:extLst>
            </p:cNvPr>
            <p:cNvSpPr/>
            <p:nvPr/>
          </p:nvSpPr>
          <p:spPr>
            <a:xfrm>
              <a:off x="943701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3" name="object 703">
              <a:extLst>
                <a:ext uri="{FF2B5EF4-FFF2-40B4-BE49-F238E27FC236}">
                  <a16:creationId xmlns:a16="http://schemas.microsoft.com/office/drawing/2014/main" id="{9287C752-316C-1C5A-F0E9-E6CE69E6F4C0}"/>
                </a:ext>
              </a:extLst>
            </p:cNvPr>
            <p:cNvSpPr/>
            <p:nvPr/>
          </p:nvSpPr>
          <p:spPr>
            <a:xfrm>
              <a:off x="933194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4" name="object 704">
              <a:extLst>
                <a:ext uri="{FF2B5EF4-FFF2-40B4-BE49-F238E27FC236}">
                  <a16:creationId xmlns:a16="http://schemas.microsoft.com/office/drawing/2014/main" id="{69CE4EDE-EA45-F358-AEDB-7F7E260211DE}"/>
                </a:ext>
              </a:extLst>
            </p:cNvPr>
            <p:cNvSpPr/>
            <p:nvPr/>
          </p:nvSpPr>
          <p:spPr>
            <a:xfrm>
              <a:off x="922688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5" name="object 705">
              <a:extLst>
                <a:ext uri="{FF2B5EF4-FFF2-40B4-BE49-F238E27FC236}">
                  <a16:creationId xmlns:a16="http://schemas.microsoft.com/office/drawing/2014/main" id="{580FFEB3-D434-F458-4373-1D6A0A97A277}"/>
                </a:ext>
              </a:extLst>
            </p:cNvPr>
            <p:cNvSpPr/>
            <p:nvPr/>
          </p:nvSpPr>
          <p:spPr>
            <a:xfrm>
              <a:off x="926197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6" name="object 706">
              <a:extLst>
                <a:ext uri="{FF2B5EF4-FFF2-40B4-BE49-F238E27FC236}">
                  <a16:creationId xmlns:a16="http://schemas.microsoft.com/office/drawing/2014/main" id="{5EE1835F-C7B1-452D-795B-8DAD290F3C21}"/>
                </a:ext>
              </a:extLst>
            </p:cNvPr>
            <p:cNvSpPr/>
            <p:nvPr/>
          </p:nvSpPr>
          <p:spPr>
            <a:xfrm>
              <a:off x="915683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7" name="object 707">
              <a:extLst>
                <a:ext uri="{FF2B5EF4-FFF2-40B4-BE49-F238E27FC236}">
                  <a16:creationId xmlns:a16="http://schemas.microsoft.com/office/drawing/2014/main" id="{1C37F755-5663-EA8C-1EF8-B4E7B5B6678F}"/>
                </a:ext>
              </a:extLst>
            </p:cNvPr>
            <p:cNvSpPr/>
            <p:nvPr/>
          </p:nvSpPr>
          <p:spPr>
            <a:xfrm>
              <a:off x="936697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8" name="object 708">
              <a:extLst>
                <a:ext uri="{FF2B5EF4-FFF2-40B4-BE49-F238E27FC236}">
                  <a16:creationId xmlns:a16="http://schemas.microsoft.com/office/drawing/2014/main" id="{4E872B96-49B0-2FBB-AC3C-5020CF009DEF}"/>
                </a:ext>
              </a:extLst>
            </p:cNvPr>
            <p:cNvSpPr/>
            <p:nvPr/>
          </p:nvSpPr>
          <p:spPr>
            <a:xfrm>
              <a:off x="919185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9" name="object 709">
              <a:extLst>
                <a:ext uri="{FF2B5EF4-FFF2-40B4-BE49-F238E27FC236}">
                  <a16:creationId xmlns:a16="http://schemas.microsoft.com/office/drawing/2014/main" id="{A73CED68-1944-F8BD-9081-F0F310F99E84}"/>
                </a:ext>
              </a:extLst>
            </p:cNvPr>
            <p:cNvSpPr/>
            <p:nvPr/>
          </p:nvSpPr>
          <p:spPr>
            <a:xfrm>
              <a:off x="9472041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0" name="object 710">
              <a:extLst>
                <a:ext uri="{FF2B5EF4-FFF2-40B4-BE49-F238E27FC236}">
                  <a16:creationId xmlns:a16="http://schemas.microsoft.com/office/drawing/2014/main" id="{B1CC23DF-7E8A-930D-9D56-40C92C530C25}"/>
                </a:ext>
              </a:extLst>
            </p:cNvPr>
            <p:cNvSpPr/>
            <p:nvPr/>
          </p:nvSpPr>
          <p:spPr>
            <a:xfrm>
              <a:off x="9297070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1" name="object 711">
              <a:extLst>
                <a:ext uri="{FF2B5EF4-FFF2-40B4-BE49-F238E27FC236}">
                  <a16:creationId xmlns:a16="http://schemas.microsoft.com/office/drawing/2014/main" id="{34FB8103-ED0F-6072-3ED4-E4A92EFCE042}"/>
                </a:ext>
              </a:extLst>
            </p:cNvPr>
            <p:cNvSpPr/>
            <p:nvPr/>
          </p:nvSpPr>
          <p:spPr>
            <a:xfrm>
              <a:off x="9122090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2" name="object 712">
              <a:extLst>
                <a:ext uri="{FF2B5EF4-FFF2-40B4-BE49-F238E27FC236}">
                  <a16:creationId xmlns:a16="http://schemas.microsoft.com/office/drawing/2014/main" id="{FAED32AC-CC5B-AA80-1764-F755820D8CF9}"/>
                </a:ext>
              </a:extLst>
            </p:cNvPr>
            <p:cNvSpPr/>
            <p:nvPr/>
          </p:nvSpPr>
          <p:spPr>
            <a:xfrm>
              <a:off x="9122090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3" name="object 713">
              <a:extLst>
                <a:ext uri="{FF2B5EF4-FFF2-40B4-BE49-F238E27FC236}">
                  <a16:creationId xmlns:a16="http://schemas.microsoft.com/office/drawing/2014/main" id="{E64E2541-EA06-53F6-A5F3-40A46BCF6A27}"/>
                </a:ext>
              </a:extLst>
            </p:cNvPr>
            <p:cNvSpPr/>
            <p:nvPr/>
          </p:nvSpPr>
          <p:spPr>
            <a:xfrm>
              <a:off x="9122228" y="1085502"/>
              <a:ext cx="26838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42594"/>
                <a:gd name="f4" fmla="val 84455"/>
                <a:gd name="f5" fmla="val 442593"/>
                <a:gd name="f6" fmla="val 84123"/>
                <a:gd name="f7" fmla="*/ f0 1 442594"/>
                <a:gd name="f8" fmla="*/ f1 1 84455"/>
                <a:gd name="f9" fmla="+- f4 0 f2"/>
                <a:gd name="f10" fmla="+- f3 0 f2"/>
                <a:gd name="f11" fmla="*/ f10 1 44259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4259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4" name="object 714">
              <a:extLst>
                <a:ext uri="{FF2B5EF4-FFF2-40B4-BE49-F238E27FC236}">
                  <a16:creationId xmlns:a16="http://schemas.microsoft.com/office/drawing/2014/main" id="{B50222FF-57C3-C68F-A405-8E610E6237BE}"/>
                </a:ext>
              </a:extLst>
            </p:cNvPr>
            <p:cNvSpPr/>
            <p:nvPr/>
          </p:nvSpPr>
          <p:spPr>
            <a:xfrm>
              <a:off x="9122228" y="1157804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19"/>
                <a:gd name="f4" fmla="val 84455"/>
                <a:gd name="f5" fmla="val 172560"/>
                <a:gd name="f6" fmla="val 84112"/>
                <a:gd name="f7" fmla="*/ f0 1 172719"/>
                <a:gd name="f8" fmla="*/ f1 1 84455"/>
                <a:gd name="f9" fmla="+- f4 0 f2"/>
                <a:gd name="f10" fmla="+- f3 0 f2"/>
                <a:gd name="f11" fmla="*/ f10 1 17271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1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5" name="object 715">
              <a:extLst>
                <a:ext uri="{FF2B5EF4-FFF2-40B4-BE49-F238E27FC236}">
                  <a16:creationId xmlns:a16="http://schemas.microsoft.com/office/drawing/2014/main" id="{5322FF08-0D0D-1F11-DAB3-C638DE513F4F}"/>
                </a:ext>
              </a:extLst>
            </p:cNvPr>
            <p:cNvSpPr/>
            <p:nvPr/>
          </p:nvSpPr>
          <p:spPr>
            <a:xfrm>
              <a:off x="940165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6" name="object 716">
              <a:extLst>
                <a:ext uri="{FF2B5EF4-FFF2-40B4-BE49-F238E27FC236}">
                  <a16:creationId xmlns:a16="http://schemas.microsoft.com/office/drawing/2014/main" id="{915C890B-6282-F607-6B62-DA54558A388C}"/>
                </a:ext>
              </a:extLst>
            </p:cNvPr>
            <p:cNvSpPr/>
            <p:nvPr/>
          </p:nvSpPr>
          <p:spPr>
            <a:xfrm>
              <a:off x="943667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7" name="object 717">
              <a:extLst>
                <a:ext uri="{FF2B5EF4-FFF2-40B4-BE49-F238E27FC236}">
                  <a16:creationId xmlns:a16="http://schemas.microsoft.com/office/drawing/2014/main" id="{190536B4-5004-30ED-FB19-3F127722A614}"/>
                </a:ext>
              </a:extLst>
            </p:cNvPr>
            <p:cNvSpPr/>
            <p:nvPr/>
          </p:nvSpPr>
          <p:spPr>
            <a:xfrm>
              <a:off x="933160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8" name="object 718">
              <a:extLst>
                <a:ext uri="{FF2B5EF4-FFF2-40B4-BE49-F238E27FC236}">
                  <a16:creationId xmlns:a16="http://schemas.microsoft.com/office/drawing/2014/main" id="{AEAA29D2-8739-D6D9-624B-42608E4CA275}"/>
                </a:ext>
              </a:extLst>
            </p:cNvPr>
            <p:cNvSpPr/>
            <p:nvPr/>
          </p:nvSpPr>
          <p:spPr>
            <a:xfrm>
              <a:off x="922653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9" name="object 719">
              <a:extLst>
                <a:ext uri="{FF2B5EF4-FFF2-40B4-BE49-F238E27FC236}">
                  <a16:creationId xmlns:a16="http://schemas.microsoft.com/office/drawing/2014/main" id="{0034F144-5704-4602-E596-F7BA475A3413}"/>
                </a:ext>
              </a:extLst>
            </p:cNvPr>
            <p:cNvSpPr/>
            <p:nvPr/>
          </p:nvSpPr>
          <p:spPr>
            <a:xfrm>
              <a:off x="92616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0" name="object 720">
              <a:extLst>
                <a:ext uri="{FF2B5EF4-FFF2-40B4-BE49-F238E27FC236}">
                  <a16:creationId xmlns:a16="http://schemas.microsoft.com/office/drawing/2014/main" id="{244BF831-6FF5-1379-057D-382903A03224}"/>
                </a:ext>
              </a:extLst>
            </p:cNvPr>
            <p:cNvSpPr/>
            <p:nvPr/>
          </p:nvSpPr>
          <p:spPr>
            <a:xfrm>
              <a:off x="915649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1" name="object 721">
              <a:extLst>
                <a:ext uri="{FF2B5EF4-FFF2-40B4-BE49-F238E27FC236}">
                  <a16:creationId xmlns:a16="http://schemas.microsoft.com/office/drawing/2014/main" id="{076346F1-2144-3636-C68B-2E29B7DE253E}"/>
                </a:ext>
              </a:extLst>
            </p:cNvPr>
            <p:cNvSpPr/>
            <p:nvPr/>
          </p:nvSpPr>
          <p:spPr>
            <a:xfrm>
              <a:off x="93666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2" name="object 722">
              <a:extLst>
                <a:ext uri="{FF2B5EF4-FFF2-40B4-BE49-F238E27FC236}">
                  <a16:creationId xmlns:a16="http://schemas.microsoft.com/office/drawing/2014/main" id="{5EFBE8F3-4E2F-1D73-296C-74FCF3BEB8DC}"/>
                </a:ext>
              </a:extLst>
            </p:cNvPr>
            <p:cNvSpPr/>
            <p:nvPr/>
          </p:nvSpPr>
          <p:spPr>
            <a:xfrm>
              <a:off x="919151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3" name="object 723">
              <a:extLst>
                <a:ext uri="{FF2B5EF4-FFF2-40B4-BE49-F238E27FC236}">
                  <a16:creationId xmlns:a16="http://schemas.microsoft.com/office/drawing/2014/main" id="{7F9BAC7F-0472-0CD9-CB13-6BFA48C7A1DB}"/>
                </a:ext>
              </a:extLst>
            </p:cNvPr>
            <p:cNvSpPr/>
            <p:nvPr/>
          </p:nvSpPr>
          <p:spPr>
            <a:xfrm>
              <a:off x="947169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4" name="object 724">
              <a:extLst>
                <a:ext uri="{FF2B5EF4-FFF2-40B4-BE49-F238E27FC236}">
                  <a16:creationId xmlns:a16="http://schemas.microsoft.com/office/drawing/2014/main" id="{3A86E462-ACF1-F986-CC19-525DCEC68524}"/>
                </a:ext>
              </a:extLst>
            </p:cNvPr>
            <p:cNvSpPr/>
            <p:nvPr/>
          </p:nvSpPr>
          <p:spPr>
            <a:xfrm>
              <a:off x="929672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5" name="object 725">
              <a:extLst>
                <a:ext uri="{FF2B5EF4-FFF2-40B4-BE49-F238E27FC236}">
                  <a16:creationId xmlns:a16="http://schemas.microsoft.com/office/drawing/2014/main" id="{037EE6AC-7860-5E84-F0B6-CC3AD62661F1}"/>
                </a:ext>
              </a:extLst>
            </p:cNvPr>
            <p:cNvSpPr/>
            <p:nvPr/>
          </p:nvSpPr>
          <p:spPr>
            <a:xfrm>
              <a:off x="912174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6" name="object 726">
              <a:extLst>
                <a:ext uri="{FF2B5EF4-FFF2-40B4-BE49-F238E27FC236}">
                  <a16:creationId xmlns:a16="http://schemas.microsoft.com/office/drawing/2014/main" id="{99F98C15-C2BB-692A-8E7C-86161DD7AEE8}"/>
                </a:ext>
              </a:extLst>
            </p:cNvPr>
            <p:cNvSpPr/>
            <p:nvPr/>
          </p:nvSpPr>
          <p:spPr>
            <a:xfrm>
              <a:off x="929672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7" name="object 727">
              <a:extLst>
                <a:ext uri="{FF2B5EF4-FFF2-40B4-BE49-F238E27FC236}">
                  <a16:creationId xmlns:a16="http://schemas.microsoft.com/office/drawing/2014/main" id="{AC9B2C1D-05AF-2AFF-9D22-D0EAFA06449F}"/>
                </a:ext>
              </a:extLst>
            </p:cNvPr>
            <p:cNvSpPr/>
            <p:nvPr/>
          </p:nvSpPr>
          <p:spPr>
            <a:xfrm>
              <a:off x="9121743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28" name="object 728">
            <a:extLst>
              <a:ext uri="{FF2B5EF4-FFF2-40B4-BE49-F238E27FC236}">
                <a16:creationId xmlns:a16="http://schemas.microsoft.com/office/drawing/2014/main" id="{8D1C6879-CE16-2113-5578-0B53D2DF77B3}"/>
              </a:ext>
            </a:extLst>
          </p:cNvPr>
          <p:cNvGrpSpPr/>
          <p:nvPr/>
        </p:nvGrpSpPr>
        <p:grpSpPr>
          <a:xfrm>
            <a:off x="9943048" y="1085502"/>
            <a:ext cx="350370" cy="123517"/>
            <a:chOff x="9943048" y="1085502"/>
            <a:chExt cx="350370" cy="123517"/>
          </a:xfrm>
        </p:grpSpPr>
        <p:sp>
          <p:nvSpPr>
            <p:cNvPr id="729" name="object 729">
              <a:extLst>
                <a:ext uri="{FF2B5EF4-FFF2-40B4-BE49-F238E27FC236}">
                  <a16:creationId xmlns:a16="http://schemas.microsoft.com/office/drawing/2014/main" id="{693B64E8-D279-6DA9-BB15-066265B4FD6B}"/>
                </a:ext>
              </a:extLst>
            </p:cNvPr>
            <p:cNvSpPr/>
            <p:nvPr/>
          </p:nvSpPr>
          <p:spPr>
            <a:xfrm>
              <a:off x="1022329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0" name="object 730">
              <a:extLst>
                <a:ext uri="{FF2B5EF4-FFF2-40B4-BE49-F238E27FC236}">
                  <a16:creationId xmlns:a16="http://schemas.microsoft.com/office/drawing/2014/main" id="{56E8510B-F247-EF35-3AAD-E72779790909}"/>
                </a:ext>
              </a:extLst>
            </p:cNvPr>
            <p:cNvSpPr/>
            <p:nvPr/>
          </p:nvSpPr>
          <p:spPr>
            <a:xfrm>
              <a:off x="1025831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1" name="object 731">
              <a:extLst>
                <a:ext uri="{FF2B5EF4-FFF2-40B4-BE49-F238E27FC236}">
                  <a16:creationId xmlns:a16="http://schemas.microsoft.com/office/drawing/2014/main" id="{68E579B2-35C5-069E-F16D-7A10085AC8B9}"/>
                </a:ext>
              </a:extLst>
            </p:cNvPr>
            <p:cNvSpPr/>
            <p:nvPr/>
          </p:nvSpPr>
          <p:spPr>
            <a:xfrm>
              <a:off x="1015324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2" name="object 732">
              <a:extLst>
                <a:ext uri="{FF2B5EF4-FFF2-40B4-BE49-F238E27FC236}">
                  <a16:creationId xmlns:a16="http://schemas.microsoft.com/office/drawing/2014/main" id="{E320CC2D-CBFE-E0AF-C3A5-4FD839358E46}"/>
                </a:ext>
              </a:extLst>
            </p:cNvPr>
            <p:cNvSpPr/>
            <p:nvPr/>
          </p:nvSpPr>
          <p:spPr>
            <a:xfrm>
              <a:off x="1004817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3" name="object 733">
              <a:extLst>
                <a:ext uri="{FF2B5EF4-FFF2-40B4-BE49-F238E27FC236}">
                  <a16:creationId xmlns:a16="http://schemas.microsoft.com/office/drawing/2014/main" id="{F9524321-AD6A-7157-40E0-B22FD337C6D9}"/>
                </a:ext>
              </a:extLst>
            </p:cNvPr>
            <p:cNvSpPr/>
            <p:nvPr/>
          </p:nvSpPr>
          <p:spPr>
            <a:xfrm>
              <a:off x="1008327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4" name="object 734">
              <a:extLst>
                <a:ext uri="{FF2B5EF4-FFF2-40B4-BE49-F238E27FC236}">
                  <a16:creationId xmlns:a16="http://schemas.microsoft.com/office/drawing/2014/main" id="{F744F458-A66F-4B42-FEB0-8791EBDC72EF}"/>
                </a:ext>
              </a:extLst>
            </p:cNvPr>
            <p:cNvSpPr/>
            <p:nvPr/>
          </p:nvSpPr>
          <p:spPr>
            <a:xfrm>
              <a:off x="997813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5" name="object 735">
              <a:extLst>
                <a:ext uri="{FF2B5EF4-FFF2-40B4-BE49-F238E27FC236}">
                  <a16:creationId xmlns:a16="http://schemas.microsoft.com/office/drawing/2014/main" id="{6AD1F332-2F1C-146D-E53B-4CA2BDECEC2D}"/>
                </a:ext>
              </a:extLst>
            </p:cNvPr>
            <p:cNvSpPr/>
            <p:nvPr/>
          </p:nvSpPr>
          <p:spPr>
            <a:xfrm>
              <a:off x="1018826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6" name="object 736">
              <a:extLst>
                <a:ext uri="{FF2B5EF4-FFF2-40B4-BE49-F238E27FC236}">
                  <a16:creationId xmlns:a16="http://schemas.microsoft.com/office/drawing/2014/main" id="{0BE55EA8-6214-6FB7-4B85-0D300FCCF134}"/>
                </a:ext>
              </a:extLst>
            </p:cNvPr>
            <p:cNvSpPr/>
            <p:nvPr/>
          </p:nvSpPr>
          <p:spPr>
            <a:xfrm>
              <a:off x="1001315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7" name="object 737">
              <a:extLst>
                <a:ext uri="{FF2B5EF4-FFF2-40B4-BE49-F238E27FC236}">
                  <a16:creationId xmlns:a16="http://schemas.microsoft.com/office/drawing/2014/main" id="{BBE383A7-608E-8858-1177-504372FCE3B8}"/>
                </a:ext>
              </a:extLst>
            </p:cNvPr>
            <p:cNvSpPr/>
            <p:nvPr/>
          </p:nvSpPr>
          <p:spPr>
            <a:xfrm>
              <a:off x="10293336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8" name="object 738">
              <a:extLst>
                <a:ext uri="{FF2B5EF4-FFF2-40B4-BE49-F238E27FC236}">
                  <a16:creationId xmlns:a16="http://schemas.microsoft.com/office/drawing/2014/main" id="{DF4A7591-F2EC-BD3B-E64D-2FD3CA4C58D9}"/>
                </a:ext>
              </a:extLst>
            </p:cNvPr>
            <p:cNvSpPr/>
            <p:nvPr/>
          </p:nvSpPr>
          <p:spPr>
            <a:xfrm>
              <a:off x="10118366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9" name="object 739">
              <a:extLst>
                <a:ext uri="{FF2B5EF4-FFF2-40B4-BE49-F238E27FC236}">
                  <a16:creationId xmlns:a16="http://schemas.microsoft.com/office/drawing/2014/main" id="{05185F07-F0AE-5B27-DF3E-E0675EFC965A}"/>
                </a:ext>
              </a:extLst>
            </p:cNvPr>
            <p:cNvSpPr/>
            <p:nvPr/>
          </p:nvSpPr>
          <p:spPr>
            <a:xfrm>
              <a:off x="9943386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0" name="object 740">
              <a:extLst>
                <a:ext uri="{FF2B5EF4-FFF2-40B4-BE49-F238E27FC236}">
                  <a16:creationId xmlns:a16="http://schemas.microsoft.com/office/drawing/2014/main" id="{048F8761-D246-1345-A779-84E288A0513F}"/>
                </a:ext>
              </a:extLst>
            </p:cNvPr>
            <p:cNvSpPr/>
            <p:nvPr/>
          </p:nvSpPr>
          <p:spPr>
            <a:xfrm>
              <a:off x="9943395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1" name="object 741">
              <a:extLst>
                <a:ext uri="{FF2B5EF4-FFF2-40B4-BE49-F238E27FC236}">
                  <a16:creationId xmlns:a16="http://schemas.microsoft.com/office/drawing/2014/main" id="{92E85A06-08E7-EE5D-D37C-87634063F189}"/>
                </a:ext>
              </a:extLst>
            </p:cNvPr>
            <p:cNvSpPr/>
            <p:nvPr/>
          </p:nvSpPr>
          <p:spPr>
            <a:xfrm>
              <a:off x="9943514" y="1085502"/>
              <a:ext cx="696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4934"/>
                <a:gd name="f4" fmla="val 84455"/>
                <a:gd name="f5" fmla="val 114844"/>
                <a:gd name="f6" fmla="val 84123"/>
                <a:gd name="f7" fmla="*/ f0 1 114934"/>
                <a:gd name="f8" fmla="*/ f1 1 84455"/>
                <a:gd name="f9" fmla="+- f4 0 f2"/>
                <a:gd name="f10" fmla="+- f3 0 f2"/>
                <a:gd name="f11" fmla="*/ f10 1 114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4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2" name="object 742">
              <a:extLst>
                <a:ext uri="{FF2B5EF4-FFF2-40B4-BE49-F238E27FC236}">
                  <a16:creationId xmlns:a16="http://schemas.microsoft.com/office/drawing/2014/main" id="{8D51AEF4-10F4-87F7-D7A5-6335F0B52DC0}"/>
                </a:ext>
              </a:extLst>
            </p:cNvPr>
            <p:cNvSpPr/>
            <p:nvPr/>
          </p:nvSpPr>
          <p:spPr>
            <a:xfrm>
              <a:off x="1029298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3" name="object 743">
              <a:extLst>
                <a:ext uri="{FF2B5EF4-FFF2-40B4-BE49-F238E27FC236}">
                  <a16:creationId xmlns:a16="http://schemas.microsoft.com/office/drawing/2014/main" id="{3850E595-9175-F996-C9B1-D4DAED34135D}"/>
                </a:ext>
              </a:extLst>
            </p:cNvPr>
            <p:cNvSpPr/>
            <p:nvPr/>
          </p:nvSpPr>
          <p:spPr>
            <a:xfrm>
              <a:off x="1011801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4" name="object 744">
              <a:extLst>
                <a:ext uri="{FF2B5EF4-FFF2-40B4-BE49-F238E27FC236}">
                  <a16:creationId xmlns:a16="http://schemas.microsoft.com/office/drawing/2014/main" id="{78AD845F-CD3D-61F2-5439-05C8D662631B}"/>
                </a:ext>
              </a:extLst>
            </p:cNvPr>
            <p:cNvSpPr/>
            <p:nvPr/>
          </p:nvSpPr>
          <p:spPr>
            <a:xfrm>
              <a:off x="994304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5" name="object 745">
              <a:extLst>
                <a:ext uri="{FF2B5EF4-FFF2-40B4-BE49-F238E27FC236}">
                  <a16:creationId xmlns:a16="http://schemas.microsoft.com/office/drawing/2014/main" id="{248426B5-8CAA-A822-5511-CEC79B1EF85D}"/>
                </a:ext>
              </a:extLst>
            </p:cNvPr>
            <p:cNvSpPr/>
            <p:nvPr/>
          </p:nvSpPr>
          <p:spPr>
            <a:xfrm>
              <a:off x="1011801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6" name="object 746">
              <a:extLst>
                <a:ext uri="{FF2B5EF4-FFF2-40B4-BE49-F238E27FC236}">
                  <a16:creationId xmlns:a16="http://schemas.microsoft.com/office/drawing/2014/main" id="{4003A0CC-3D9E-C8FF-A135-5B7CF59F7106}"/>
                </a:ext>
              </a:extLst>
            </p:cNvPr>
            <p:cNvSpPr/>
            <p:nvPr/>
          </p:nvSpPr>
          <p:spPr>
            <a:xfrm>
              <a:off x="1022294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7" name="object 747">
              <a:extLst>
                <a:ext uri="{FF2B5EF4-FFF2-40B4-BE49-F238E27FC236}">
                  <a16:creationId xmlns:a16="http://schemas.microsoft.com/office/drawing/2014/main" id="{D7EBD10C-7443-CF8B-EC1B-695E925F3494}"/>
                </a:ext>
              </a:extLst>
            </p:cNvPr>
            <p:cNvSpPr/>
            <p:nvPr/>
          </p:nvSpPr>
          <p:spPr>
            <a:xfrm>
              <a:off x="1025796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8" name="object 748">
              <a:extLst>
                <a:ext uri="{FF2B5EF4-FFF2-40B4-BE49-F238E27FC236}">
                  <a16:creationId xmlns:a16="http://schemas.microsoft.com/office/drawing/2014/main" id="{B25B1D91-E282-4E4F-72C8-82627BDE456E}"/>
                </a:ext>
              </a:extLst>
            </p:cNvPr>
            <p:cNvSpPr/>
            <p:nvPr/>
          </p:nvSpPr>
          <p:spPr>
            <a:xfrm>
              <a:off x="1015290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9" name="object 749">
              <a:extLst>
                <a:ext uri="{FF2B5EF4-FFF2-40B4-BE49-F238E27FC236}">
                  <a16:creationId xmlns:a16="http://schemas.microsoft.com/office/drawing/2014/main" id="{00B55746-4797-6E10-EB9D-009A2A0368CB}"/>
                </a:ext>
              </a:extLst>
            </p:cNvPr>
            <p:cNvSpPr/>
            <p:nvPr/>
          </p:nvSpPr>
          <p:spPr>
            <a:xfrm>
              <a:off x="1004782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0" name="object 750">
              <a:extLst>
                <a:ext uri="{FF2B5EF4-FFF2-40B4-BE49-F238E27FC236}">
                  <a16:creationId xmlns:a16="http://schemas.microsoft.com/office/drawing/2014/main" id="{6287BF99-C593-D5D5-B688-30C01C4E662A}"/>
                </a:ext>
              </a:extLst>
            </p:cNvPr>
            <p:cNvSpPr/>
            <p:nvPr/>
          </p:nvSpPr>
          <p:spPr>
            <a:xfrm>
              <a:off x="1008292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1" name="object 751">
              <a:extLst>
                <a:ext uri="{FF2B5EF4-FFF2-40B4-BE49-F238E27FC236}">
                  <a16:creationId xmlns:a16="http://schemas.microsoft.com/office/drawing/2014/main" id="{2ACA606A-012E-DD58-90CA-ECFDD5FFB2BC}"/>
                </a:ext>
              </a:extLst>
            </p:cNvPr>
            <p:cNvSpPr/>
            <p:nvPr/>
          </p:nvSpPr>
          <p:spPr>
            <a:xfrm>
              <a:off x="997778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2" name="object 752">
              <a:extLst>
                <a:ext uri="{FF2B5EF4-FFF2-40B4-BE49-F238E27FC236}">
                  <a16:creationId xmlns:a16="http://schemas.microsoft.com/office/drawing/2014/main" id="{94089D8D-3957-6263-8AAC-23CF8DCCBE7D}"/>
                </a:ext>
              </a:extLst>
            </p:cNvPr>
            <p:cNvSpPr/>
            <p:nvPr/>
          </p:nvSpPr>
          <p:spPr>
            <a:xfrm>
              <a:off x="1018792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3" name="object 753">
              <a:extLst>
                <a:ext uri="{FF2B5EF4-FFF2-40B4-BE49-F238E27FC236}">
                  <a16:creationId xmlns:a16="http://schemas.microsoft.com/office/drawing/2014/main" id="{AC0FFDAA-3B11-F933-79BF-8BFDDD051590}"/>
                </a:ext>
              </a:extLst>
            </p:cNvPr>
            <p:cNvSpPr/>
            <p:nvPr/>
          </p:nvSpPr>
          <p:spPr>
            <a:xfrm>
              <a:off x="1001280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4" name="object 754">
              <a:extLst>
                <a:ext uri="{FF2B5EF4-FFF2-40B4-BE49-F238E27FC236}">
                  <a16:creationId xmlns:a16="http://schemas.microsoft.com/office/drawing/2014/main" id="{407456FB-0C63-FE38-003A-BDA79F93EC1D}"/>
                </a:ext>
              </a:extLst>
            </p:cNvPr>
            <p:cNvSpPr/>
            <p:nvPr/>
          </p:nvSpPr>
          <p:spPr>
            <a:xfrm>
              <a:off x="9943048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55" name="object 755">
            <a:extLst>
              <a:ext uri="{FF2B5EF4-FFF2-40B4-BE49-F238E27FC236}">
                <a16:creationId xmlns:a16="http://schemas.microsoft.com/office/drawing/2014/main" id="{56296C8B-2B53-849D-1C98-123806CA8409}"/>
              </a:ext>
            </a:extLst>
          </p:cNvPr>
          <p:cNvGrpSpPr/>
          <p:nvPr/>
        </p:nvGrpSpPr>
        <p:grpSpPr>
          <a:xfrm>
            <a:off x="9943048" y="1848916"/>
            <a:ext cx="350370" cy="123508"/>
            <a:chOff x="9943048" y="1848916"/>
            <a:chExt cx="350370" cy="123508"/>
          </a:xfrm>
        </p:grpSpPr>
        <p:sp>
          <p:nvSpPr>
            <p:cNvPr id="756" name="object 756">
              <a:extLst>
                <a:ext uri="{FF2B5EF4-FFF2-40B4-BE49-F238E27FC236}">
                  <a16:creationId xmlns:a16="http://schemas.microsoft.com/office/drawing/2014/main" id="{D4F86631-3A37-708A-6EA3-BCF556AF73F7}"/>
                </a:ext>
              </a:extLst>
            </p:cNvPr>
            <p:cNvSpPr/>
            <p:nvPr/>
          </p:nvSpPr>
          <p:spPr>
            <a:xfrm>
              <a:off x="1022329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7" name="object 757">
              <a:extLst>
                <a:ext uri="{FF2B5EF4-FFF2-40B4-BE49-F238E27FC236}">
                  <a16:creationId xmlns:a16="http://schemas.microsoft.com/office/drawing/2014/main" id="{F0F75444-80F0-9483-7203-A7EBC97C08AC}"/>
                </a:ext>
              </a:extLst>
            </p:cNvPr>
            <p:cNvSpPr/>
            <p:nvPr/>
          </p:nvSpPr>
          <p:spPr>
            <a:xfrm>
              <a:off x="1025831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8" name="object 758">
              <a:extLst>
                <a:ext uri="{FF2B5EF4-FFF2-40B4-BE49-F238E27FC236}">
                  <a16:creationId xmlns:a16="http://schemas.microsoft.com/office/drawing/2014/main" id="{488CD217-B53B-A89E-EA8A-ABFB47FD56B6}"/>
                </a:ext>
              </a:extLst>
            </p:cNvPr>
            <p:cNvSpPr/>
            <p:nvPr/>
          </p:nvSpPr>
          <p:spPr>
            <a:xfrm>
              <a:off x="1015324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9" name="object 759">
              <a:extLst>
                <a:ext uri="{FF2B5EF4-FFF2-40B4-BE49-F238E27FC236}">
                  <a16:creationId xmlns:a16="http://schemas.microsoft.com/office/drawing/2014/main" id="{9485BFF6-083B-3CA8-FBD4-D601A3FB8A54}"/>
                </a:ext>
              </a:extLst>
            </p:cNvPr>
            <p:cNvSpPr/>
            <p:nvPr/>
          </p:nvSpPr>
          <p:spPr>
            <a:xfrm>
              <a:off x="1004817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0" name="object 760">
              <a:extLst>
                <a:ext uri="{FF2B5EF4-FFF2-40B4-BE49-F238E27FC236}">
                  <a16:creationId xmlns:a16="http://schemas.microsoft.com/office/drawing/2014/main" id="{C7EAF1D6-03F1-E017-AEE0-3F65D0806B1F}"/>
                </a:ext>
              </a:extLst>
            </p:cNvPr>
            <p:cNvSpPr/>
            <p:nvPr/>
          </p:nvSpPr>
          <p:spPr>
            <a:xfrm>
              <a:off x="1008327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1" name="object 761">
              <a:extLst>
                <a:ext uri="{FF2B5EF4-FFF2-40B4-BE49-F238E27FC236}">
                  <a16:creationId xmlns:a16="http://schemas.microsoft.com/office/drawing/2014/main" id="{25A47EE3-8C78-71E4-1309-5687AB32E017}"/>
                </a:ext>
              </a:extLst>
            </p:cNvPr>
            <p:cNvSpPr/>
            <p:nvPr/>
          </p:nvSpPr>
          <p:spPr>
            <a:xfrm>
              <a:off x="997813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2" name="object 762">
              <a:extLst>
                <a:ext uri="{FF2B5EF4-FFF2-40B4-BE49-F238E27FC236}">
                  <a16:creationId xmlns:a16="http://schemas.microsoft.com/office/drawing/2014/main" id="{7BE559C8-9D97-0514-AEED-FE1BC57A50B9}"/>
                </a:ext>
              </a:extLst>
            </p:cNvPr>
            <p:cNvSpPr/>
            <p:nvPr/>
          </p:nvSpPr>
          <p:spPr>
            <a:xfrm>
              <a:off x="1018826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3" name="object 763">
              <a:extLst>
                <a:ext uri="{FF2B5EF4-FFF2-40B4-BE49-F238E27FC236}">
                  <a16:creationId xmlns:a16="http://schemas.microsoft.com/office/drawing/2014/main" id="{3FDD111B-5CFF-40E7-B97F-17CFE179ABD3}"/>
                </a:ext>
              </a:extLst>
            </p:cNvPr>
            <p:cNvSpPr/>
            <p:nvPr/>
          </p:nvSpPr>
          <p:spPr>
            <a:xfrm>
              <a:off x="1001315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4" name="object 764">
              <a:extLst>
                <a:ext uri="{FF2B5EF4-FFF2-40B4-BE49-F238E27FC236}">
                  <a16:creationId xmlns:a16="http://schemas.microsoft.com/office/drawing/2014/main" id="{4600863F-43B5-C0CD-9AEA-BC177C2BBF56}"/>
                </a:ext>
              </a:extLst>
            </p:cNvPr>
            <p:cNvSpPr/>
            <p:nvPr/>
          </p:nvSpPr>
          <p:spPr>
            <a:xfrm>
              <a:off x="10293336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5" name="object 765">
              <a:extLst>
                <a:ext uri="{FF2B5EF4-FFF2-40B4-BE49-F238E27FC236}">
                  <a16:creationId xmlns:a16="http://schemas.microsoft.com/office/drawing/2014/main" id="{5C72E0DF-D74C-A3AE-FC98-AB92E2549803}"/>
                </a:ext>
              </a:extLst>
            </p:cNvPr>
            <p:cNvSpPr/>
            <p:nvPr/>
          </p:nvSpPr>
          <p:spPr>
            <a:xfrm>
              <a:off x="10118366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6" name="object 766">
              <a:extLst>
                <a:ext uri="{FF2B5EF4-FFF2-40B4-BE49-F238E27FC236}">
                  <a16:creationId xmlns:a16="http://schemas.microsoft.com/office/drawing/2014/main" id="{BA7D97AD-7BC0-8E61-E6D1-2EA2383A9183}"/>
                </a:ext>
              </a:extLst>
            </p:cNvPr>
            <p:cNvSpPr/>
            <p:nvPr/>
          </p:nvSpPr>
          <p:spPr>
            <a:xfrm>
              <a:off x="9943386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7" name="object 767">
              <a:extLst>
                <a:ext uri="{FF2B5EF4-FFF2-40B4-BE49-F238E27FC236}">
                  <a16:creationId xmlns:a16="http://schemas.microsoft.com/office/drawing/2014/main" id="{0DE796E3-4BE3-C80B-1F9D-E723150D412F}"/>
                </a:ext>
              </a:extLst>
            </p:cNvPr>
            <p:cNvSpPr/>
            <p:nvPr/>
          </p:nvSpPr>
          <p:spPr>
            <a:xfrm>
              <a:off x="9943395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8" name="object 768">
              <a:extLst>
                <a:ext uri="{FF2B5EF4-FFF2-40B4-BE49-F238E27FC236}">
                  <a16:creationId xmlns:a16="http://schemas.microsoft.com/office/drawing/2014/main" id="{64AAC38F-CB42-609F-598B-08672947BD2D}"/>
                </a:ext>
              </a:extLst>
            </p:cNvPr>
            <p:cNvSpPr/>
            <p:nvPr/>
          </p:nvSpPr>
          <p:spPr>
            <a:xfrm>
              <a:off x="9943514" y="1848916"/>
              <a:ext cx="419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9215"/>
                <a:gd name="f4" fmla="val 84455"/>
                <a:gd name="f5" fmla="val 68689"/>
                <a:gd name="f6" fmla="val 84112"/>
                <a:gd name="f7" fmla="*/ f0 1 69215"/>
                <a:gd name="f8" fmla="*/ f1 1 84455"/>
                <a:gd name="f9" fmla="+- f4 0 f2"/>
                <a:gd name="f10" fmla="+- f3 0 f2"/>
                <a:gd name="f11" fmla="*/ f10 1 6921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921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9" name="object 769">
              <a:extLst>
                <a:ext uri="{FF2B5EF4-FFF2-40B4-BE49-F238E27FC236}">
                  <a16:creationId xmlns:a16="http://schemas.microsoft.com/office/drawing/2014/main" id="{21A13D60-2676-214B-A7CD-5F96F486ACA2}"/>
                </a:ext>
              </a:extLst>
            </p:cNvPr>
            <p:cNvSpPr/>
            <p:nvPr/>
          </p:nvSpPr>
          <p:spPr>
            <a:xfrm>
              <a:off x="10292989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0" name="object 770">
              <a:extLst>
                <a:ext uri="{FF2B5EF4-FFF2-40B4-BE49-F238E27FC236}">
                  <a16:creationId xmlns:a16="http://schemas.microsoft.com/office/drawing/2014/main" id="{F1470C84-38F4-76B2-7B57-AD0DDDE589F6}"/>
                </a:ext>
              </a:extLst>
            </p:cNvPr>
            <p:cNvSpPr/>
            <p:nvPr/>
          </p:nvSpPr>
          <p:spPr>
            <a:xfrm>
              <a:off x="10118018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1" name="object 771">
              <a:extLst>
                <a:ext uri="{FF2B5EF4-FFF2-40B4-BE49-F238E27FC236}">
                  <a16:creationId xmlns:a16="http://schemas.microsoft.com/office/drawing/2014/main" id="{21B293C9-FA47-868B-C3D7-5B81F1B085D2}"/>
                </a:ext>
              </a:extLst>
            </p:cNvPr>
            <p:cNvSpPr/>
            <p:nvPr/>
          </p:nvSpPr>
          <p:spPr>
            <a:xfrm>
              <a:off x="9943048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2" name="object 772">
              <a:extLst>
                <a:ext uri="{FF2B5EF4-FFF2-40B4-BE49-F238E27FC236}">
                  <a16:creationId xmlns:a16="http://schemas.microsoft.com/office/drawing/2014/main" id="{C33330CA-07CB-40F0-49B2-15517B787F2C}"/>
                </a:ext>
              </a:extLst>
            </p:cNvPr>
            <p:cNvSpPr/>
            <p:nvPr/>
          </p:nvSpPr>
          <p:spPr>
            <a:xfrm>
              <a:off x="10118018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3" name="object 773">
              <a:extLst>
                <a:ext uri="{FF2B5EF4-FFF2-40B4-BE49-F238E27FC236}">
                  <a16:creationId xmlns:a16="http://schemas.microsoft.com/office/drawing/2014/main" id="{CD00CEFC-AB5E-2D31-5FDE-3E47DD45982D}"/>
                </a:ext>
              </a:extLst>
            </p:cNvPr>
            <p:cNvSpPr/>
            <p:nvPr/>
          </p:nvSpPr>
          <p:spPr>
            <a:xfrm>
              <a:off x="1022294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4" name="object 774">
              <a:extLst>
                <a:ext uri="{FF2B5EF4-FFF2-40B4-BE49-F238E27FC236}">
                  <a16:creationId xmlns:a16="http://schemas.microsoft.com/office/drawing/2014/main" id="{D5C8BC1D-0A50-82C6-9423-CD6DAE2E9DAF}"/>
                </a:ext>
              </a:extLst>
            </p:cNvPr>
            <p:cNvSpPr/>
            <p:nvPr/>
          </p:nvSpPr>
          <p:spPr>
            <a:xfrm>
              <a:off x="10257967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5" name="object 775">
              <a:extLst>
                <a:ext uri="{FF2B5EF4-FFF2-40B4-BE49-F238E27FC236}">
                  <a16:creationId xmlns:a16="http://schemas.microsoft.com/office/drawing/2014/main" id="{2A7A8333-EB27-6F7A-7AE0-07B7EFAA699C}"/>
                </a:ext>
              </a:extLst>
            </p:cNvPr>
            <p:cNvSpPr/>
            <p:nvPr/>
          </p:nvSpPr>
          <p:spPr>
            <a:xfrm>
              <a:off x="1015290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6" name="object 776">
              <a:extLst>
                <a:ext uri="{FF2B5EF4-FFF2-40B4-BE49-F238E27FC236}">
                  <a16:creationId xmlns:a16="http://schemas.microsoft.com/office/drawing/2014/main" id="{AB802C9D-86C6-C997-DAE5-9A56214C704C}"/>
                </a:ext>
              </a:extLst>
            </p:cNvPr>
            <p:cNvSpPr/>
            <p:nvPr/>
          </p:nvSpPr>
          <p:spPr>
            <a:xfrm>
              <a:off x="1004782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7" name="object 777">
              <a:extLst>
                <a:ext uri="{FF2B5EF4-FFF2-40B4-BE49-F238E27FC236}">
                  <a16:creationId xmlns:a16="http://schemas.microsoft.com/office/drawing/2014/main" id="{0D9C654C-4196-F9F7-BCD6-6674453289A9}"/>
                </a:ext>
              </a:extLst>
            </p:cNvPr>
            <p:cNvSpPr/>
            <p:nvPr/>
          </p:nvSpPr>
          <p:spPr>
            <a:xfrm>
              <a:off x="1008292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8" name="object 778">
              <a:extLst>
                <a:ext uri="{FF2B5EF4-FFF2-40B4-BE49-F238E27FC236}">
                  <a16:creationId xmlns:a16="http://schemas.microsoft.com/office/drawing/2014/main" id="{6C5B570D-19F7-D913-7298-CCCE0B8072D1}"/>
                </a:ext>
              </a:extLst>
            </p:cNvPr>
            <p:cNvSpPr/>
            <p:nvPr/>
          </p:nvSpPr>
          <p:spPr>
            <a:xfrm>
              <a:off x="997778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9" name="object 779">
              <a:extLst>
                <a:ext uri="{FF2B5EF4-FFF2-40B4-BE49-F238E27FC236}">
                  <a16:creationId xmlns:a16="http://schemas.microsoft.com/office/drawing/2014/main" id="{96A1E646-5202-BDC7-012F-B791233767E3}"/>
                </a:ext>
              </a:extLst>
            </p:cNvPr>
            <p:cNvSpPr/>
            <p:nvPr/>
          </p:nvSpPr>
          <p:spPr>
            <a:xfrm>
              <a:off x="1018792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0" name="object 780">
              <a:extLst>
                <a:ext uri="{FF2B5EF4-FFF2-40B4-BE49-F238E27FC236}">
                  <a16:creationId xmlns:a16="http://schemas.microsoft.com/office/drawing/2014/main" id="{89C307FF-5224-6D53-15A8-5D17D7187392}"/>
                </a:ext>
              </a:extLst>
            </p:cNvPr>
            <p:cNvSpPr/>
            <p:nvPr/>
          </p:nvSpPr>
          <p:spPr>
            <a:xfrm>
              <a:off x="1001280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1" name="object 781">
              <a:extLst>
                <a:ext uri="{FF2B5EF4-FFF2-40B4-BE49-F238E27FC236}">
                  <a16:creationId xmlns:a16="http://schemas.microsoft.com/office/drawing/2014/main" id="{54BB67EC-94FA-651B-DFC5-DE2CDDEA3D50}"/>
                </a:ext>
              </a:extLst>
            </p:cNvPr>
            <p:cNvSpPr/>
            <p:nvPr/>
          </p:nvSpPr>
          <p:spPr>
            <a:xfrm>
              <a:off x="9943048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82" name="object 782">
            <a:extLst>
              <a:ext uri="{FF2B5EF4-FFF2-40B4-BE49-F238E27FC236}">
                <a16:creationId xmlns:a16="http://schemas.microsoft.com/office/drawing/2014/main" id="{541ABF15-B41E-3CF4-E5ED-CBC251744EF4}"/>
              </a:ext>
            </a:extLst>
          </p:cNvPr>
          <p:cNvGrpSpPr/>
          <p:nvPr/>
        </p:nvGrpSpPr>
        <p:grpSpPr>
          <a:xfrm>
            <a:off x="9121743" y="1847133"/>
            <a:ext cx="350370" cy="123508"/>
            <a:chOff x="9121743" y="1847133"/>
            <a:chExt cx="350370" cy="123508"/>
          </a:xfrm>
        </p:grpSpPr>
        <p:sp>
          <p:nvSpPr>
            <p:cNvPr id="783" name="object 783">
              <a:extLst>
                <a:ext uri="{FF2B5EF4-FFF2-40B4-BE49-F238E27FC236}">
                  <a16:creationId xmlns:a16="http://schemas.microsoft.com/office/drawing/2014/main" id="{E3965836-D198-EF0D-D69D-C580264A301A}"/>
                </a:ext>
              </a:extLst>
            </p:cNvPr>
            <p:cNvSpPr/>
            <p:nvPr/>
          </p:nvSpPr>
          <p:spPr>
            <a:xfrm>
              <a:off x="9401988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4" name="object 784">
              <a:extLst>
                <a:ext uri="{FF2B5EF4-FFF2-40B4-BE49-F238E27FC236}">
                  <a16:creationId xmlns:a16="http://schemas.microsoft.com/office/drawing/2014/main" id="{F0DBABBD-6F85-8273-7C9F-BE99A18E00B4}"/>
                </a:ext>
              </a:extLst>
            </p:cNvPr>
            <p:cNvSpPr/>
            <p:nvPr/>
          </p:nvSpPr>
          <p:spPr>
            <a:xfrm>
              <a:off x="9437019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5" name="object 785">
              <a:extLst>
                <a:ext uri="{FF2B5EF4-FFF2-40B4-BE49-F238E27FC236}">
                  <a16:creationId xmlns:a16="http://schemas.microsoft.com/office/drawing/2014/main" id="{4FD926B7-7620-617E-B12F-947D35EA0120}"/>
                </a:ext>
              </a:extLst>
            </p:cNvPr>
            <p:cNvSpPr/>
            <p:nvPr/>
          </p:nvSpPr>
          <p:spPr>
            <a:xfrm>
              <a:off x="9331945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6" name="object 786">
              <a:extLst>
                <a:ext uri="{FF2B5EF4-FFF2-40B4-BE49-F238E27FC236}">
                  <a16:creationId xmlns:a16="http://schemas.microsoft.com/office/drawing/2014/main" id="{A421E02B-D2BB-B8E1-79E8-9177DD106AD9}"/>
                </a:ext>
              </a:extLst>
            </p:cNvPr>
            <p:cNvSpPr/>
            <p:nvPr/>
          </p:nvSpPr>
          <p:spPr>
            <a:xfrm>
              <a:off x="9226881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7" name="object 787">
              <a:extLst>
                <a:ext uri="{FF2B5EF4-FFF2-40B4-BE49-F238E27FC236}">
                  <a16:creationId xmlns:a16="http://schemas.microsoft.com/office/drawing/2014/main" id="{DF4550F7-29AC-7381-FD4F-E6435176AC5B}"/>
                </a:ext>
              </a:extLst>
            </p:cNvPr>
            <p:cNvSpPr/>
            <p:nvPr/>
          </p:nvSpPr>
          <p:spPr>
            <a:xfrm>
              <a:off x="9261975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8" name="object 788">
              <a:extLst>
                <a:ext uri="{FF2B5EF4-FFF2-40B4-BE49-F238E27FC236}">
                  <a16:creationId xmlns:a16="http://schemas.microsoft.com/office/drawing/2014/main" id="{50582B7A-FF3D-FC42-8FD9-179C6580482C}"/>
                </a:ext>
              </a:extLst>
            </p:cNvPr>
            <p:cNvSpPr/>
            <p:nvPr/>
          </p:nvSpPr>
          <p:spPr>
            <a:xfrm>
              <a:off x="9156838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9" name="object 789">
              <a:extLst>
                <a:ext uri="{FF2B5EF4-FFF2-40B4-BE49-F238E27FC236}">
                  <a16:creationId xmlns:a16="http://schemas.microsoft.com/office/drawing/2014/main" id="{F1E1B392-0A53-C86C-7A57-97E86E9A382A}"/>
                </a:ext>
              </a:extLst>
            </p:cNvPr>
            <p:cNvSpPr/>
            <p:nvPr/>
          </p:nvSpPr>
          <p:spPr>
            <a:xfrm>
              <a:off x="9366976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0" name="object 790">
              <a:extLst>
                <a:ext uri="{FF2B5EF4-FFF2-40B4-BE49-F238E27FC236}">
                  <a16:creationId xmlns:a16="http://schemas.microsoft.com/office/drawing/2014/main" id="{DA868F4A-A31A-AC52-AA3B-26ECF62C8C08}"/>
                </a:ext>
              </a:extLst>
            </p:cNvPr>
            <p:cNvSpPr/>
            <p:nvPr/>
          </p:nvSpPr>
          <p:spPr>
            <a:xfrm>
              <a:off x="9191859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1" name="object 791">
              <a:extLst>
                <a:ext uri="{FF2B5EF4-FFF2-40B4-BE49-F238E27FC236}">
                  <a16:creationId xmlns:a16="http://schemas.microsoft.com/office/drawing/2014/main" id="{0C124459-D14F-5B2B-F49D-FAE60CF1EB6E}"/>
                </a:ext>
              </a:extLst>
            </p:cNvPr>
            <p:cNvSpPr/>
            <p:nvPr/>
          </p:nvSpPr>
          <p:spPr>
            <a:xfrm>
              <a:off x="9472041" y="18471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2" name="object 792">
              <a:extLst>
                <a:ext uri="{FF2B5EF4-FFF2-40B4-BE49-F238E27FC236}">
                  <a16:creationId xmlns:a16="http://schemas.microsoft.com/office/drawing/2014/main" id="{80B2A2DC-6A0E-62B2-D319-F31D716CC103}"/>
                </a:ext>
              </a:extLst>
            </p:cNvPr>
            <p:cNvSpPr/>
            <p:nvPr/>
          </p:nvSpPr>
          <p:spPr>
            <a:xfrm>
              <a:off x="9297070" y="18471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3" name="object 793">
              <a:extLst>
                <a:ext uri="{FF2B5EF4-FFF2-40B4-BE49-F238E27FC236}">
                  <a16:creationId xmlns:a16="http://schemas.microsoft.com/office/drawing/2014/main" id="{CED88D8C-36E3-3ADA-33A7-8D57A909BDC0}"/>
                </a:ext>
              </a:extLst>
            </p:cNvPr>
            <p:cNvSpPr/>
            <p:nvPr/>
          </p:nvSpPr>
          <p:spPr>
            <a:xfrm>
              <a:off x="9122090" y="18471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4" name="object 794">
              <a:extLst>
                <a:ext uri="{FF2B5EF4-FFF2-40B4-BE49-F238E27FC236}">
                  <a16:creationId xmlns:a16="http://schemas.microsoft.com/office/drawing/2014/main" id="{BB6AC1D1-14B7-C259-4114-16AF6E0891AE}"/>
                </a:ext>
              </a:extLst>
            </p:cNvPr>
            <p:cNvSpPr/>
            <p:nvPr/>
          </p:nvSpPr>
          <p:spPr>
            <a:xfrm>
              <a:off x="9122090" y="187264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5" name="object 795">
              <a:extLst>
                <a:ext uri="{FF2B5EF4-FFF2-40B4-BE49-F238E27FC236}">
                  <a16:creationId xmlns:a16="http://schemas.microsoft.com/office/drawing/2014/main" id="{75EFDDA7-34FE-373D-D090-06639C781111}"/>
                </a:ext>
              </a:extLst>
            </p:cNvPr>
            <p:cNvSpPr/>
            <p:nvPr/>
          </p:nvSpPr>
          <p:spPr>
            <a:xfrm>
              <a:off x="9122228" y="1847133"/>
              <a:ext cx="1952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1944"/>
                <a:gd name="f4" fmla="val 84455"/>
                <a:gd name="f5" fmla="val 321592"/>
                <a:gd name="f6" fmla="val 84123"/>
                <a:gd name="f7" fmla="*/ f0 1 321944"/>
                <a:gd name="f8" fmla="*/ f1 1 84455"/>
                <a:gd name="f9" fmla="+- f4 0 f2"/>
                <a:gd name="f10" fmla="+- f3 0 f2"/>
                <a:gd name="f11" fmla="*/ f10 1 32194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2194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6" name="object 796">
              <a:extLst>
                <a:ext uri="{FF2B5EF4-FFF2-40B4-BE49-F238E27FC236}">
                  <a16:creationId xmlns:a16="http://schemas.microsoft.com/office/drawing/2014/main" id="{D1011D4A-34CD-1EA2-F1BA-BAF11AACF1AD}"/>
                </a:ext>
              </a:extLst>
            </p:cNvPr>
            <p:cNvSpPr/>
            <p:nvPr/>
          </p:nvSpPr>
          <p:spPr>
            <a:xfrm>
              <a:off x="9122228" y="1919426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19"/>
                <a:gd name="f4" fmla="val 84455"/>
                <a:gd name="f5" fmla="val 172560"/>
                <a:gd name="f6" fmla="val 84123"/>
                <a:gd name="f7" fmla="*/ f0 1 172719"/>
                <a:gd name="f8" fmla="*/ f1 1 84455"/>
                <a:gd name="f9" fmla="+- f4 0 f2"/>
                <a:gd name="f10" fmla="+- f3 0 f2"/>
                <a:gd name="f11" fmla="*/ f10 1 17271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1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7" name="object 797">
              <a:extLst>
                <a:ext uri="{FF2B5EF4-FFF2-40B4-BE49-F238E27FC236}">
                  <a16:creationId xmlns:a16="http://schemas.microsoft.com/office/drawing/2014/main" id="{2DCDA884-570E-AAF2-7B58-F54E7FE147F5}"/>
                </a:ext>
              </a:extLst>
            </p:cNvPr>
            <p:cNvSpPr/>
            <p:nvPr/>
          </p:nvSpPr>
          <p:spPr>
            <a:xfrm>
              <a:off x="9401650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8" name="object 798">
              <a:extLst>
                <a:ext uri="{FF2B5EF4-FFF2-40B4-BE49-F238E27FC236}">
                  <a16:creationId xmlns:a16="http://schemas.microsoft.com/office/drawing/2014/main" id="{CFF13FDD-3846-5507-420A-893465D3E6E8}"/>
                </a:ext>
              </a:extLst>
            </p:cNvPr>
            <p:cNvSpPr/>
            <p:nvPr/>
          </p:nvSpPr>
          <p:spPr>
            <a:xfrm>
              <a:off x="9436672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9" name="object 799">
              <a:extLst>
                <a:ext uri="{FF2B5EF4-FFF2-40B4-BE49-F238E27FC236}">
                  <a16:creationId xmlns:a16="http://schemas.microsoft.com/office/drawing/2014/main" id="{921A8B06-134F-F662-CEDC-6B3D379C055F}"/>
                </a:ext>
              </a:extLst>
            </p:cNvPr>
            <p:cNvSpPr/>
            <p:nvPr/>
          </p:nvSpPr>
          <p:spPr>
            <a:xfrm>
              <a:off x="9331607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0" name="object 800">
              <a:extLst>
                <a:ext uri="{FF2B5EF4-FFF2-40B4-BE49-F238E27FC236}">
                  <a16:creationId xmlns:a16="http://schemas.microsoft.com/office/drawing/2014/main" id="{218BEF38-C07D-B3C3-89D1-5A06A5D95D71}"/>
                </a:ext>
              </a:extLst>
            </p:cNvPr>
            <p:cNvSpPr/>
            <p:nvPr/>
          </p:nvSpPr>
          <p:spPr>
            <a:xfrm>
              <a:off x="9226533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1" name="object 801">
              <a:extLst>
                <a:ext uri="{FF2B5EF4-FFF2-40B4-BE49-F238E27FC236}">
                  <a16:creationId xmlns:a16="http://schemas.microsoft.com/office/drawing/2014/main" id="{7853028D-2FA8-83FA-D284-F7BB0FBCA1F3}"/>
                </a:ext>
              </a:extLst>
            </p:cNvPr>
            <p:cNvSpPr/>
            <p:nvPr/>
          </p:nvSpPr>
          <p:spPr>
            <a:xfrm>
              <a:off x="9261628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2" name="object 802">
              <a:extLst>
                <a:ext uri="{FF2B5EF4-FFF2-40B4-BE49-F238E27FC236}">
                  <a16:creationId xmlns:a16="http://schemas.microsoft.com/office/drawing/2014/main" id="{BFEDEDA2-CA99-C82D-7BB7-EF0D9BF8B59F}"/>
                </a:ext>
              </a:extLst>
            </p:cNvPr>
            <p:cNvSpPr/>
            <p:nvPr/>
          </p:nvSpPr>
          <p:spPr>
            <a:xfrm>
              <a:off x="9156490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3" name="object 803">
              <a:extLst>
                <a:ext uri="{FF2B5EF4-FFF2-40B4-BE49-F238E27FC236}">
                  <a16:creationId xmlns:a16="http://schemas.microsoft.com/office/drawing/2014/main" id="{FE55E971-CC8C-FD6E-7B11-5D8382DA98A3}"/>
                </a:ext>
              </a:extLst>
            </p:cNvPr>
            <p:cNvSpPr/>
            <p:nvPr/>
          </p:nvSpPr>
          <p:spPr>
            <a:xfrm>
              <a:off x="9366628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4" name="object 804">
              <a:extLst>
                <a:ext uri="{FF2B5EF4-FFF2-40B4-BE49-F238E27FC236}">
                  <a16:creationId xmlns:a16="http://schemas.microsoft.com/office/drawing/2014/main" id="{163D3CD4-1B6B-3937-7628-F384327BFFBE}"/>
                </a:ext>
              </a:extLst>
            </p:cNvPr>
            <p:cNvSpPr/>
            <p:nvPr/>
          </p:nvSpPr>
          <p:spPr>
            <a:xfrm>
              <a:off x="9191512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5" name="object 805">
              <a:extLst>
                <a:ext uri="{FF2B5EF4-FFF2-40B4-BE49-F238E27FC236}">
                  <a16:creationId xmlns:a16="http://schemas.microsoft.com/office/drawing/2014/main" id="{227A5823-E8A6-BEB0-50DB-E75ECAEE115B}"/>
                </a:ext>
              </a:extLst>
            </p:cNvPr>
            <p:cNvSpPr/>
            <p:nvPr/>
          </p:nvSpPr>
          <p:spPr>
            <a:xfrm>
              <a:off x="947169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6" name="object 806">
              <a:extLst>
                <a:ext uri="{FF2B5EF4-FFF2-40B4-BE49-F238E27FC236}">
                  <a16:creationId xmlns:a16="http://schemas.microsoft.com/office/drawing/2014/main" id="{055F7BE5-915B-4DDD-73F3-928349ABC361}"/>
                </a:ext>
              </a:extLst>
            </p:cNvPr>
            <p:cNvSpPr/>
            <p:nvPr/>
          </p:nvSpPr>
          <p:spPr>
            <a:xfrm>
              <a:off x="929672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7" name="object 807">
              <a:extLst>
                <a:ext uri="{FF2B5EF4-FFF2-40B4-BE49-F238E27FC236}">
                  <a16:creationId xmlns:a16="http://schemas.microsoft.com/office/drawing/2014/main" id="{58996D23-F5EF-DEB9-5201-6244A66BD0AD}"/>
                </a:ext>
              </a:extLst>
            </p:cNvPr>
            <p:cNvSpPr/>
            <p:nvPr/>
          </p:nvSpPr>
          <p:spPr>
            <a:xfrm>
              <a:off x="912174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8" name="object 808">
              <a:extLst>
                <a:ext uri="{FF2B5EF4-FFF2-40B4-BE49-F238E27FC236}">
                  <a16:creationId xmlns:a16="http://schemas.microsoft.com/office/drawing/2014/main" id="{AD1D660F-D458-213D-0380-7AF6ECA6268C}"/>
                </a:ext>
              </a:extLst>
            </p:cNvPr>
            <p:cNvSpPr/>
            <p:nvPr/>
          </p:nvSpPr>
          <p:spPr>
            <a:xfrm>
              <a:off x="929672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9" name="object 809">
              <a:extLst>
                <a:ext uri="{FF2B5EF4-FFF2-40B4-BE49-F238E27FC236}">
                  <a16:creationId xmlns:a16="http://schemas.microsoft.com/office/drawing/2014/main" id="{F4B9C93A-DAF1-7471-5105-E3ABD0AC9F7D}"/>
                </a:ext>
              </a:extLst>
            </p:cNvPr>
            <p:cNvSpPr/>
            <p:nvPr/>
          </p:nvSpPr>
          <p:spPr>
            <a:xfrm>
              <a:off x="9121743" y="194493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10" name="object 810">
            <a:extLst>
              <a:ext uri="{FF2B5EF4-FFF2-40B4-BE49-F238E27FC236}">
                <a16:creationId xmlns:a16="http://schemas.microsoft.com/office/drawing/2014/main" id="{B14F7185-A3D8-6A20-7403-86AA78778BF1}"/>
              </a:ext>
            </a:extLst>
          </p:cNvPr>
          <p:cNvGrpSpPr/>
          <p:nvPr/>
        </p:nvGrpSpPr>
        <p:grpSpPr>
          <a:xfrm>
            <a:off x="9121743" y="2613309"/>
            <a:ext cx="357055" cy="123535"/>
            <a:chOff x="9121743" y="2613309"/>
            <a:chExt cx="357055" cy="123535"/>
          </a:xfrm>
        </p:grpSpPr>
        <p:sp>
          <p:nvSpPr>
            <p:cNvPr id="811" name="object 811">
              <a:extLst>
                <a:ext uri="{FF2B5EF4-FFF2-40B4-BE49-F238E27FC236}">
                  <a16:creationId xmlns:a16="http://schemas.microsoft.com/office/drawing/2014/main" id="{D0B540C7-2C0F-F081-5AB0-93E549FB099F}"/>
                </a:ext>
              </a:extLst>
            </p:cNvPr>
            <p:cNvSpPr/>
            <p:nvPr/>
          </p:nvSpPr>
          <p:spPr>
            <a:xfrm>
              <a:off x="940198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2" name="object 812">
              <a:extLst>
                <a:ext uri="{FF2B5EF4-FFF2-40B4-BE49-F238E27FC236}">
                  <a16:creationId xmlns:a16="http://schemas.microsoft.com/office/drawing/2014/main" id="{4BE91C35-CB94-1EEA-9D57-DE353EAD9CA1}"/>
                </a:ext>
              </a:extLst>
            </p:cNvPr>
            <p:cNvSpPr/>
            <p:nvPr/>
          </p:nvSpPr>
          <p:spPr>
            <a:xfrm>
              <a:off x="943701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3" name="object 813">
              <a:extLst>
                <a:ext uri="{FF2B5EF4-FFF2-40B4-BE49-F238E27FC236}">
                  <a16:creationId xmlns:a16="http://schemas.microsoft.com/office/drawing/2014/main" id="{9E7CB99A-3202-6A73-574E-823CDC3BA37F}"/>
                </a:ext>
              </a:extLst>
            </p:cNvPr>
            <p:cNvSpPr/>
            <p:nvPr/>
          </p:nvSpPr>
          <p:spPr>
            <a:xfrm>
              <a:off x="933194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4" name="object 814">
              <a:extLst>
                <a:ext uri="{FF2B5EF4-FFF2-40B4-BE49-F238E27FC236}">
                  <a16:creationId xmlns:a16="http://schemas.microsoft.com/office/drawing/2014/main" id="{D5D73F2A-4D66-59EC-16C1-40304978DEAB}"/>
                </a:ext>
              </a:extLst>
            </p:cNvPr>
            <p:cNvSpPr/>
            <p:nvPr/>
          </p:nvSpPr>
          <p:spPr>
            <a:xfrm>
              <a:off x="922688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5" name="object 815">
              <a:extLst>
                <a:ext uri="{FF2B5EF4-FFF2-40B4-BE49-F238E27FC236}">
                  <a16:creationId xmlns:a16="http://schemas.microsoft.com/office/drawing/2014/main" id="{C2D62913-2E90-13FC-3CCE-E7B838638BBC}"/>
                </a:ext>
              </a:extLst>
            </p:cNvPr>
            <p:cNvSpPr/>
            <p:nvPr/>
          </p:nvSpPr>
          <p:spPr>
            <a:xfrm>
              <a:off x="926197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6" name="object 816">
              <a:extLst>
                <a:ext uri="{FF2B5EF4-FFF2-40B4-BE49-F238E27FC236}">
                  <a16:creationId xmlns:a16="http://schemas.microsoft.com/office/drawing/2014/main" id="{53F8830B-7198-1E40-2169-35DE12D3D830}"/>
                </a:ext>
              </a:extLst>
            </p:cNvPr>
            <p:cNvSpPr/>
            <p:nvPr/>
          </p:nvSpPr>
          <p:spPr>
            <a:xfrm>
              <a:off x="915683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7" name="object 817">
              <a:extLst>
                <a:ext uri="{FF2B5EF4-FFF2-40B4-BE49-F238E27FC236}">
                  <a16:creationId xmlns:a16="http://schemas.microsoft.com/office/drawing/2014/main" id="{40138F08-7EF5-3660-7455-D2C10F14B04A}"/>
                </a:ext>
              </a:extLst>
            </p:cNvPr>
            <p:cNvSpPr/>
            <p:nvPr/>
          </p:nvSpPr>
          <p:spPr>
            <a:xfrm>
              <a:off x="936697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8" name="object 818">
              <a:extLst>
                <a:ext uri="{FF2B5EF4-FFF2-40B4-BE49-F238E27FC236}">
                  <a16:creationId xmlns:a16="http://schemas.microsoft.com/office/drawing/2014/main" id="{E01FA5A5-52B0-3CCE-42C8-539393BFBCC7}"/>
                </a:ext>
              </a:extLst>
            </p:cNvPr>
            <p:cNvSpPr/>
            <p:nvPr/>
          </p:nvSpPr>
          <p:spPr>
            <a:xfrm>
              <a:off x="919185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9" name="object 819">
              <a:extLst>
                <a:ext uri="{FF2B5EF4-FFF2-40B4-BE49-F238E27FC236}">
                  <a16:creationId xmlns:a16="http://schemas.microsoft.com/office/drawing/2014/main" id="{9758CDED-EEC8-E8E0-AC85-E85948C4CD49}"/>
                </a:ext>
              </a:extLst>
            </p:cNvPr>
            <p:cNvSpPr/>
            <p:nvPr/>
          </p:nvSpPr>
          <p:spPr>
            <a:xfrm>
              <a:off x="947204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0" name="object 820">
              <a:extLst>
                <a:ext uri="{FF2B5EF4-FFF2-40B4-BE49-F238E27FC236}">
                  <a16:creationId xmlns:a16="http://schemas.microsoft.com/office/drawing/2014/main" id="{CBE4DAD6-323C-C209-93E5-30C81AED54B1}"/>
                </a:ext>
              </a:extLst>
            </p:cNvPr>
            <p:cNvSpPr/>
            <p:nvPr/>
          </p:nvSpPr>
          <p:spPr>
            <a:xfrm>
              <a:off x="9297070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1" name="object 821">
              <a:extLst>
                <a:ext uri="{FF2B5EF4-FFF2-40B4-BE49-F238E27FC236}">
                  <a16:creationId xmlns:a16="http://schemas.microsoft.com/office/drawing/2014/main" id="{52D1D91F-E46D-7508-8FDB-62C2AA1407A6}"/>
                </a:ext>
              </a:extLst>
            </p:cNvPr>
            <p:cNvSpPr/>
            <p:nvPr/>
          </p:nvSpPr>
          <p:spPr>
            <a:xfrm>
              <a:off x="9122090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2" name="object 822">
              <a:extLst>
                <a:ext uri="{FF2B5EF4-FFF2-40B4-BE49-F238E27FC236}">
                  <a16:creationId xmlns:a16="http://schemas.microsoft.com/office/drawing/2014/main" id="{02C1F60D-E2C3-981D-98F9-BE551CF07798}"/>
                </a:ext>
              </a:extLst>
            </p:cNvPr>
            <p:cNvSpPr/>
            <p:nvPr/>
          </p:nvSpPr>
          <p:spPr>
            <a:xfrm>
              <a:off x="9122090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3" name="object 823">
              <a:extLst>
                <a:ext uri="{FF2B5EF4-FFF2-40B4-BE49-F238E27FC236}">
                  <a16:creationId xmlns:a16="http://schemas.microsoft.com/office/drawing/2014/main" id="{909F416A-005F-DCB6-E1DD-B1FC5BF207E9}"/>
                </a:ext>
              </a:extLst>
            </p:cNvPr>
            <p:cNvSpPr/>
            <p:nvPr/>
          </p:nvSpPr>
          <p:spPr>
            <a:xfrm>
              <a:off x="9122228" y="2613318"/>
              <a:ext cx="3565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88009"/>
                <a:gd name="f4" fmla="val 84454"/>
                <a:gd name="f5" fmla="val 587887"/>
                <a:gd name="f6" fmla="val 84102"/>
                <a:gd name="f7" fmla="*/ f0 1 588009"/>
                <a:gd name="f8" fmla="*/ f1 1 84454"/>
                <a:gd name="f9" fmla="+- f4 0 f2"/>
                <a:gd name="f10" fmla="+- f3 0 f2"/>
                <a:gd name="f11" fmla="*/ f10 1 5880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880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4" name="object 824">
              <a:extLst>
                <a:ext uri="{FF2B5EF4-FFF2-40B4-BE49-F238E27FC236}">
                  <a16:creationId xmlns:a16="http://schemas.microsoft.com/office/drawing/2014/main" id="{5E3A3AA3-FAB6-4A60-D645-39A4B9A58DBD}"/>
                </a:ext>
              </a:extLst>
            </p:cNvPr>
            <p:cNvSpPr/>
            <p:nvPr/>
          </p:nvSpPr>
          <p:spPr>
            <a:xfrm>
              <a:off x="9122228" y="2685629"/>
              <a:ext cx="12014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8119"/>
                <a:gd name="f4" fmla="val 84454"/>
                <a:gd name="f5" fmla="val 197993"/>
                <a:gd name="f6" fmla="val 84102"/>
                <a:gd name="f7" fmla="*/ f0 1 198119"/>
                <a:gd name="f8" fmla="*/ f1 1 84454"/>
                <a:gd name="f9" fmla="+- f4 0 f2"/>
                <a:gd name="f10" fmla="+- f3 0 f2"/>
                <a:gd name="f11" fmla="*/ f10 1 1981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81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5" name="object 825">
              <a:extLst>
                <a:ext uri="{FF2B5EF4-FFF2-40B4-BE49-F238E27FC236}">
                  <a16:creationId xmlns:a16="http://schemas.microsoft.com/office/drawing/2014/main" id="{207D5F50-11A3-2D60-B33C-2CA4FE949374}"/>
                </a:ext>
              </a:extLst>
            </p:cNvPr>
            <p:cNvSpPr/>
            <p:nvPr/>
          </p:nvSpPr>
          <p:spPr>
            <a:xfrm>
              <a:off x="940165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6" name="object 826">
              <a:extLst>
                <a:ext uri="{FF2B5EF4-FFF2-40B4-BE49-F238E27FC236}">
                  <a16:creationId xmlns:a16="http://schemas.microsoft.com/office/drawing/2014/main" id="{32A14D0A-6628-3154-579F-FFDBF1728226}"/>
                </a:ext>
              </a:extLst>
            </p:cNvPr>
            <p:cNvSpPr/>
            <p:nvPr/>
          </p:nvSpPr>
          <p:spPr>
            <a:xfrm>
              <a:off x="943667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7" name="object 827">
              <a:extLst>
                <a:ext uri="{FF2B5EF4-FFF2-40B4-BE49-F238E27FC236}">
                  <a16:creationId xmlns:a16="http://schemas.microsoft.com/office/drawing/2014/main" id="{919AFFA6-B1F5-9BED-9C4F-2C75C7A48656}"/>
                </a:ext>
              </a:extLst>
            </p:cNvPr>
            <p:cNvSpPr/>
            <p:nvPr/>
          </p:nvSpPr>
          <p:spPr>
            <a:xfrm>
              <a:off x="9331607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8" name="object 828">
              <a:extLst>
                <a:ext uri="{FF2B5EF4-FFF2-40B4-BE49-F238E27FC236}">
                  <a16:creationId xmlns:a16="http://schemas.microsoft.com/office/drawing/2014/main" id="{0CB231FA-D5FE-33F9-F231-7BF1FF753386}"/>
                </a:ext>
              </a:extLst>
            </p:cNvPr>
            <p:cNvSpPr/>
            <p:nvPr/>
          </p:nvSpPr>
          <p:spPr>
            <a:xfrm>
              <a:off x="922653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9" name="object 829">
              <a:extLst>
                <a:ext uri="{FF2B5EF4-FFF2-40B4-BE49-F238E27FC236}">
                  <a16:creationId xmlns:a16="http://schemas.microsoft.com/office/drawing/2014/main" id="{1DE2DE1C-1921-780A-560D-4303A54FBD0B}"/>
                </a:ext>
              </a:extLst>
            </p:cNvPr>
            <p:cNvSpPr/>
            <p:nvPr/>
          </p:nvSpPr>
          <p:spPr>
            <a:xfrm>
              <a:off x="926162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0" name="object 830">
              <a:extLst>
                <a:ext uri="{FF2B5EF4-FFF2-40B4-BE49-F238E27FC236}">
                  <a16:creationId xmlns:a16="http://schemas.microsoft.com/office/drawing/2014/main" id="{33C7F18D-580A-4442-7433-B4D303071B4F}"/>
                </a:ext>
              </a:extLst>
            </p:cNvPr>
            <p:cNvSpPr/>
            <p:nvPr/>
          </p:nvSpPr>
          <p:spPr>
            <a:xfrm>
              <a:off x="915649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1" name="object 831">
              <a:extLst>
                <a:ext uri="{FF2B5EF4-FFF2-40B4-BE49-F238E27FC236}">
                  <a16:creationId xmlns:a16="http://schemas.microsoft.com/office/drawing/2014/main" id="{590C4754-9A48-F4B7-E3ED-922C5CA56382}"/>
                </a:ext>
              </a:extLst>
            </p:cNvPr>
            <p:cNvSpPr/>
            <p:nvPr/>
          </p:nvSpPr>
          <p:spPr>
            <a:xfrm>
              <a:off x="936662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2" name="object 832">
              <a:extLst>
                <a:ext uri="{FF2B5EF4-FFF2-40B4-BE49-F238E27FC236}">
                  <a16:creationId xmlns:a16="http://schemas.microsoft.com/office/drawing/2014/main" id="{4DB5EA25-D9F0-DDEA-0055-C68C1CD015FD}"/>
                </a:ext>
              </a:extLst>
            </p:cNvPr>
            <p:cNvSpPr/>
            <p:nvPr/>
          </p:nvSpPr>
          <p:spPr>
            <a:xfrm>
              <a:off x="919151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3" name="object 833">
              <a:extLst>
                <a:ext uri="{FF2B5EF4-FFF2-40B4-BE49-F238E27FC236}">
                  <a16:creationId xmlns:a16="http://schemas.microsoft.com/office/drawing/2014/main" id="{8FD221C7-D11A-6DDF-C922-AD1B2EE87C5E}"/>
                </a:ext>
              </a:extLst>
            </p:cNvPr>
            <p:cNvSpPr/>
            <p:nvPr/>
          </p:nvSpPr>
          <p:spPr>
            <a:xfrm>
              <a:off x="947169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4" name="object 834">
              <a:extLst>
                <a:ext uri="{FF2B5EF4-FFF2-40B4-BE49-F238E27FC236}">
                  <a16:creationId xmlns:a16="http://schemas.microsoft.com/office/drawing/2014/main" id="{FE02BC17-CCD1-504D-6DAF-2804873A557B}"/>
                </a:ext>
              </a:extLst>
            </p:cNvPr>
            <p:cNvSpPr/>
            <p:nvPr/>
          </p:nvSpPr>
          <p:spPr>
            <a:xfrm>
              <a:off x="929672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5" name="object 835">
              <a:extLst>
                <a:ext uri="{FF2B5EF4-FFF2-40B4-BE49-F238E27FC236}">
                  <a16:creationId xmlns:a16="http://schemas.microsoft.com/office/drawing/2014/main" id="{1E755ED3-97EE-B4D3-E842-AC0D3D165C94}"/>
                </a:ext>
              </a:extLst>
            </p:cNvPr>
            <p:cNvSpPr/>
            <p:nvPr/>
          </p:nvSpPr>
          <p:spPr>
            <a:xfrm>
              <a:off x="912174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6" name="object 836">
              <a:extLst>
                <a:ext uri="{FF2B5EF4-FFF2-40B4-BE49-F238E27FC236}">
                  <a16:creationId xmlns:a16="http://schemas.microsoft.com/office/drawing/2014/main" id="{D7AA9E23-FB4D-DAD1-25C4-A26DEC24DAAA}"/>
                </a:ext>
              </a:extLst>
            </p:cNvPr>
            <p:cNvSpPr/>
            <p:nvPr/>
          </p:nvSpPr>
          <p:spPr>
            <a:xfrm>
              <a:off x="929672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7" name="object 837">
              <a:extLst>
                <a:ext uri="{FF2B5EF4-FFF2-40B4-BE49-F238E27FC236}">
                  <a16:creationId xmlns:a16="http://schemas.microsoft.com/office/drawing/2014/main" id="{DF86B19A-BF2A-58AB-339B-1F7F415C1B71}"/>
                </a:ext>
              </a:extLst>
            </p:cNvPr>
            <p:cNvSpPr/>
            <p:nvPr/>
          </p:nvSpPr>
          <p:spPr>
            <a:xfrm>
              <a:off x="9121743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38" name="object 838">
            <a:extLst>
              <a:ext uri="{FF2B5EF4-FFF2-40B4-BE49-F238E27FC236}">
                <a16:creationId xmlns:a16="http://schemas.microsoft.com/office/drawing/2014/main" id="{03997597-CC06-E9EC-012C-6D355ED2C065}"/>
              </a:ext>
            </a:extLst>
          </p:cNvPr>
          <p:cNvGrpSpPr/>
          <p:nvPr/>
        </p:nvGrpSpPr>
        <p:grpSpPr>
          <a:xfrm>
            <a:off x="9121743" y="3378077"/>
            <a:ext cx="350370" cy="123525"/>
            <a:chOff x="9121743" y="3378077"/>
            <a:chExt cx="350370" cy="123525"/>
          </a:xfrm>
        </p:grpSpPr>
        <p:sp>
          <p:nvSpPr>
            <p:cNvPr id="839" name="object 839">
              <a:extLst>
                <a:ext uri="{FF2B5EF4-FFF2-40B4-BE49-F238E27FC236}">
                  <a16:creationId xmlns:a16="http://schemas.microsoft.com/office/drawing/2014/main" id="{492EF838-C7CC-3FE0-B7D6-C113038361DC}"/>
                </a:ext>
              </a:extLst>
            </p:cNvPr>
            <p:cNvSpPr/>
            <p:nvPr/>
          </p:nvSpPr>
          <p:spPr>
            <a:xfrm>
              <a:off x="940198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0" name="object 840">
              <a:extLst>
                <a:ext uri="{FF2B5EF4-FFF2-40B4-BE49-F238E27FC236}">
                  <a16:creationId xmlns:a16="http://schemas.microsoft.com/office/drawing/2014/main" id="{404E08CA-BB52-A452-0AA4-D2B078651306}"/>
                </a:ext>
              </a:extLst>
            </p:cNvPr>
            <p:cNvSpPr/>
            <p:nvPr/>
          </p:nvSpPr>
          <p:spPr>
            <a:xfrm>
              <a:off x="943701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1" name="object 841">
              <a:extLst>
                <a:ext uri="{FF2B5EF4-FFF2-40B4-BE49-F238E27FC236}">
                  <a16:creationId xmlns:a16="http://schemas.microsoft.com/office/drawing/2014/main" id="{74BE13A1-7B44-714F-2228-79BBF746A193}"/>
                </a:ext>
              </a:extLst>
            </p:cNvPr>
            <p:cNvSpPr/>
            <p:nvPr/>
          </p:nvSpPr>
          <p:spPr>
            <a:xfrm>
              <a:off x="933194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2" name="object 842">
              <a:extLst>
                <a:ext uri="{FF2B5EF4-FFF2-40B4-BE49-F238E27FC236}">
                  <a16:creationId xmlns:a16="http://schemas.microsoft.com/office/drawing/2014/main" id="{A90DE0EB-BDD1-F6D8-7585-499E5A2EAB7D}"/>
                </a:ext>
              </a:extLst>
            </p:cNvPr>
            <p:cNvSpPr/>
            <p:nvPr/>
          </p:nvSpPr>
          <p:spPr>
            <a:xfrm>
              <a:off x="9226881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3" name="object 843">
              <a:extLst>
                <a:ext uri="{FF2B5EF4-FFF2-40B4-BE49-F238E27FC236}">
                  <a16:creationId xmlns:a16="http://schemas.microsoft.com/office/drawing/2014/main" id="{B82AA5DE-F36B-A1A3-4E16-3B3ACFA7B77D}"/>
                </a:ext>
              </a:extLst>
            </p:cNvPr>
            <p:cNvSpPr/>
            <p:nvPr/>
          </p:nvSpPr>
          <p:spPr>
            <a:xfrm>
              <a:off x="926197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4" name="object 844">
              <a:extLst>
                <a:ext uri="{FF2B5EF4-FFF2-40B4-BE49-F238E27FC236}">
                  <a16:creationId xmlns:a16="http://schemas.microsoft.com/office/drawing/2014/main" id="{A9D9618A-D50C-91F4-CE26-30A287A37431}"/>
                </a:ext>
              </a:extLst>
            </p:cNvPr>
            <p:cNvSpPr/>
            <p:nvPr/>
          </p:nvSpPr>
          <p:spPr>
            <a:xfrm>
              <a:off x="915683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5" name="object 845">
              <a:extLst>
                <a:ext uri="{FF2B5EF4-FFF2-40B4-BE49-F238E27FC236}">
                  <a16:creationId xmlns:a16="http://schemas.microsoft.com/office/drawing/2014/main" id="{9F981425-F383-5452-FE95-F1FA51A358DC}"/>
                </a:ext>
              </a:extLst>
            </p:cNvPr>
            <p:cNvSpPr/>
            <p:nvPr/>
          </p:nvSpPr>
          <p:spPr>
            <a:xfrm>
              <a:off x="936697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6" name="object 846">
              <a:extLst>
                <a:ext uri="{FF2B5EF4-FFF2-40B4-BE49-F238E27FC236}">
                  <a16:creationId xmlns:a16="http://schemas.microsoft.com/office/drawing/2014/main" id="{D84BC02D-55C6-5800-A07D-12A6DE9B77ED}"/>
                </a:ext>
              </a:extLst>
            </p:cNvPr>
            <p:cNvSpPr/>
            <p:nvPr/>
          </p:nvSpPr>
          <p:spPr>
            <a:xfrm>
              <a:off x="919185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7" name="object 847">
              <a:extLst>
                <a:ext uri="{FF2B5EF4-FFF2-40B4-BE49-F238E27FC236}">
                  <a16:creationId xmlns:a16="http://schemas.microsoft.com/office/drawing/2014/main" id="{8A8AA32F-0246-C862-FB13-2D298DE96529}"/>
                </a:ext>
              </a:extLst>
            </p:cNvPr>
            <p:cNvSpPr/>
            <p:nvPr/>
          </p:nvSpPr>
          <p:spPr>
            <a:xfrm>
              <a:off x="9472041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8" name="object 848">
              <a:extLst>
                <a:ext uri="{FF2B5EF4-FFF2-40B4-BE49-F238E27FC236}">
                  <a16:creationId xmlns:a16="http://schemas.microsoft.com/office/drawing/2014/main" id="{0A55D182-B2EC-AE05-D9FB-B5E8EE197CC5}"/>
                </a:ext>
              </a:extLst>
            </p:cNvPr>
            <p:cNvSpPr/>
            <p:nvPr/>
          </p:nvSpPr>
          <p:spPr>
            <a:xfrm>
              <a:off x="9297070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9" name="object 849">
              <a:extLst>
                <a:ext uri="{FF2B5EF4-FFF2-40B4-BE49-F238E27FC236}">
                  <a16:creationId xmlns:a16="http://schemas.microsoft.com/office/drawing/2014/main" id="{452A8591-9AAC-16BF-ABD1-C721FB4201C9}"/>
                </a:ext>
              </a:extLst>
            </p:cNvPr>
            <p:cNvSpPr/>
            <p:nvPr/>
          </p:nvSpPr>
          <p:spPr>
            <a:xfrm>
              <a:off x="9122090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0" name="object 850">
              <a:extLst>
                <a:ext uri="{FF2B5EF4-FFF2-40B4-BE49-F238E27FC236}">
                  <a16:creationId xmlns:a16="http://schemas.microsoft.com/office/drawing/2014/main" id="{40491B0B-43CF-31D4-6620-5EC1A918B617}"/>
                </a:ext>
              </a:extLst>
            </p:cNvPr>
            <p:cNvSpPr/>
            <p:nvPr/>
          </p:nvSpPr>
          <p:spPr>
            <a:xfrm>
              <a:off x="9122090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1" name="object 851">
              <a:extLst>
                <a:ext uri="{FF2B5EF4-FFF2-40B4-BE49-F238E27FC236}">
                  <a16:creationId xmlns:a16="http://schemas.microsoft.com/office/drawing/2014/main" id="{2F2CD95C-7A34-5186-5755-8024C2C49873}"/>
                </a:ext>
              </a:extLst>
            </p:cNvPr>
            <p:cNvSpPr/>
            <p:nvPr/>
          </p:nvSpPr>
          <p:spPr>
            <a:xfrm>
              <a:off x="9122228" y="3378086"/>
              <a:ext cx="22026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63219"/>
                <a:gd name="f4" fmla="val 84454"/>
                <a:gd name="f5" fmla="val 362816"/>
                <a:gd name="f6" fmla="val 84112"/>
                <a:gd name="f7" fmla="*/ f0 1 363219"/>
                <a:gd name="f8" fmla="*/ f1 1 84454"/>
                <a:gd name="f9" fmla="+- f4 0 f2"/>
                <a:gd name="f10" fmla="+- f3 0 f2"/>
                <a:gd name="f11" fmla="*/ f10 1 3632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632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2" name="object 852">
              <a:extLst>
                <a:ext uri="{FF2B5EF4-FFF2-40B4-BE49-F238E27FC236}">
                  <a16:creationId xmlns:a16="http://schemas.microsoft.com/office/drawing/2014/main" id="{710BB0F5-9D9A-0077-925D-3E2B452F6335}"/>
                </a:ext>
              </a:extLst>
            </p:cNvPr>
            <p:cNvSpPr/>
            <p:nvPr/>
          </p:nvSpPr>
          <p:spPr>
            <a:xfrm>
              <a:off x="9122228" y="3450387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12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3" name="object 853">
              <a:extLst>
                <a:ext uri="{FF2B5EF4-FFF2-40B4-BE49-F238E27FC236}">
                  <a16:creationId xmlns:a16="http://schemas.microsoft.com/office/drawing/2014/main" id="{3798CC01-F16B-561C-41CA-694B10BB92D9}"/>
                </a:ext>
              </a:extLst>
            </p:cNvPr>
            <p:cNvSpPr/>
            <p:nvPr/>
          </p:nvSpPr>
          <p:spPr>
            <a:xfrm>
              <a:off x="940165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4" name="object 854">
              <a:extLst>
                <a:ext uri="{FF2B5EF4-FFF2-40B4-BE49-F238E27FC236}">
                  <a16:creationId xmlns:a16="http://schemas.microsoft.com/office/drawing/2014/main" id="{8D598B53-8B92-2EF1-5678-08D652089C1F}"/>
                </a:ext>
              </a:extLst>
            </p:cNvPr>
            <p:cNvSpPr/>
            <p:nvPr/>
          </p:nvSpPr>
          <p:spPr>
            <a:xfrm>
              <a:off x="943667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5" name="object 855">
              <a:extLst>
                <a:ext uri="{FF2B5EF4-FFF2-40B4-BE49-F238E27FC236}">
                  <a16:creationId xmlns:a16="http://schemas.microsoft.com/office/drawing/2014/main" id="{274A6C68-7EA0-2641-0912-91F4591ABE3D}"/>
                </a:ext>
              </a:extLst>
            </p:cNvPr>
            <p:cNvSpPr/>
            <p:nvPr/>
          </p:nvSpPr>
          <p:spPr>
            <a:xfrm>
              <a:off x="9331607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6" name="object 856">
              <a:extLst>
                <a:ext uri="{FF2B5EF4-FFF2-40B4-BE49-F238E27FC236}">
                  <a16:creationId xmlns:a16="http://schemas.microsoft.com/office/drawing/2014/main" id="{C3897CB8-53B8-441E-2F05-70383CCE5F07}"/>
                </a:ext>
              </a:extLst>
            </p:cNvPr>
            <p:cNvSpPr/>
            <p:nvPr/>
          </p:nvSpPr>
          <p:spPr>
            <a:xfrm>
              <a:off x="922653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7" name="object 857">
              <a:extLst>
                <a:ext uri="{FF2B5EF4-FFF2-40B4-BE49-F238E27FC236}">
                  <a16:creationId xmlns:a16="http://schemas.microsoft.com/office/drawing/2014/main" id="{260BC44C-AFE4-920F-8B80-079BB7797DC4}"/>
                </a:ext>
              </a:extLst>
            </p:cNvPr>
            <p:cNvSpPr/>
            <p:nvPr/>
          </p:nvSpPr>
          <p:spPr>
            <a:xfrm>
              <a:off x="926162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8" name="object 858">
              <a:extLst>
                <a:ext uri="{FF2B5EF4-FFF2-40B4-BE49-F238E27FC236}">
                  <a16:creationId xmlns:a16="http://schemas.microsoft.com/office/drawing/2014/main" id="{701BC242-DFA3-24D9-A214-649A940E64DB}"/>
                </a:ext>
              </a:extLst>
            </p:cNvPr>
            <p:cNvSpPr/>
            <p:nvPr/>
          </p:nvSpPr>
          <p:spPr>
            <a:xfrm>
              <a:off x="915649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9" name="object 859">
              <a:extLst>
                <a:ext uri="{FF2B5EF4-FFF2-40B4-BE49-F238E27FC236}">
                  <a16:creationId xmlns:a16="http://schemas.microsoft.com/office/drawing/2014/main" id="{7ABD65D3-F361-75C6-EEEA-63AFF7997C5B}"/>
                </a:ext>
              </a:extLst>
            </p:cNvPr>
            <p:cNvSpPr/>
            <p:nvPr/>
          </p:nvSpPr>
          <p:spPr>
            <a:xfrm>
              <a:off x="936662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0" name="object 860">
              <a:extLst>
                <a:ext uri="{FF2B5EF4-FFF2-40B4-BE49-F238E27FC236}">
                  <a16:creationId xmlns:a16="http://schemas.microsoft.com/office/drawing/2014/main" id="{F98BC38B-D8F1-83E2-2C7E-E1475C533CD6}"/>
                </a:ext>
              </a:extLst>
            </p:cNvPr>
            <p:cNvSpPr/>
            <p:nvPr/>
          </p:nvSpPr>
          <p:spPr>
            <a:xfrm>
              <a:off x="919151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1" name="object 861">
              <a:extLst>
                <a:ext uri="{FF2B5EF4-FFF2-40B4-BE49-F238E27FC236}">
                  <a16:creationId xmlns:a16="http://schemas.microsoft.com/office/drawing/2014/main" id="{3F1FD245-F21A-D8DF-DE41-D0D51AFD6D50}"/>
                </a:ext>
              </a:extLst>
            </p:cNvPr>
            <p:cNvSpPr/>
            <p:nvPr/>
          </p:nvSpPr>
          <p:spPr>
            <a:xfrm>
              <a:off x="947169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2" name="object 862">
              <a:extLst>
                <a:ext uri="{FF2B5EF4-FFF2-40B4-BE49-F238E27FC236}">
                  <a16:creationId xmlns:a16="http://schemas.microsoft.com/office/drawing/2014/main" id="{7BA4DDCB-069F-F993-176B-8E6067AE03CD}"/>
                </a:ext>
              </a:extLst>
            </p:cNvPr>
            <p:cNvSpPr/>
            <p:nvPr/>
          </p:nvSpPr>
          <p:spPr>
            <a:xfrm>
              <a:off x="929672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3" name="object 863">
              <a:extLst>
                <a:ext uri="{FF2B5EF4-FFF2-40B4-BE49-F238E27FC236}">
                  <a16:creationId xmlns:a16="http://schemas.microsoft.com/office/drawing/2014/main" id="{A442C6FF-E250-0C40-EB7F-74E6CD63721E}"/>
                </a:ext>
              </a:extLst>
            </p:cNvPr>
            <p:cNvSpPr/>
            <p:nvPr/>
          </p:nvSpPr>
          <p:spPr>
            <a:xfrm>
              <a:off x="912174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4" name="object 864">
              <a:extLst>
                <a:ext uri="{FF2B5EF4-FFF2-40B4-BE49-F238E27FC236}">
                  <a16:creationId xmlns:a16="http://schemas.microsoft.com/office/drawing/2014/main" id="{ABD6CC72-81A8-D404-41EC-70F1C0CCA873}"/>
                </a:ext>
              </a:extLst>
            </p:cNvPr>
            <p:cNvSpPr/>
            <p:nvPr/>
          </p:nvSpPr>
          <p:spPr>
            <a:xfrm>
              <a:off x="929672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5" name="object 865">
              <a:extLst>
                <a:ext uri="{FF2B5EF4-FFF2-40B4-BE49-F238E27FC236}">
                  <a16:creationId xmlns:a16="http://schemas.microsoft.com/office/drawing/2014/main" id="{65781125-1285-4366-9D23-C7C99827DDEB}"/>
                </a:ext>
              </a:extLst>
            </p:cNvPr>
            <p:cNvSpPr/>
            <p:nvPr/>
          </p:nvSpPr>
          <p:spPr>
            <a:xfrm>
              <a:off x="9121743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66" name="object 866">
            <a:extLst>
              <a:ext uri="{FF2B5EF4-FFF2-40B4-BE49-F238E27FC236}">
                <a16:creationId xmlns:a16="http://schemas.microsoft.com/office/drawing/2014/main" id="{E532EFD6-6D3F-7493-FD1A-BEA146238921}"/>
              </a:ext>
            </a:extLst>
          </p:cNvPr>
          <p:cNvGrpSpPr/>
          <p:nvPr/>
        </p:nvGrpSpPr>
        <p:grpSpPr>
          <a:xfrm>
            <a:off x="9121743" y="4145340"/>
            <a:ext cx="350370" cy="123517"/>
            <a:chOff x="9121743" y="4145340"/>
            <a:chExt cx="350370" cy="123517"/>
          </a:xfrm>
        </p:grpSpPr>
        <p:sp>
          <p:nvSpPr>
            <p:cNvPr id="867" name="object 867">
              <a:extLst>
                <a:ext uri="{FF2B5EF4-FFF2-40B4-BE49-F238E27FC236}">
                  <a16:creationId xmlns:a16="http://schemas.microsoft.com/office/drawing/2014/main" id="{D593F216-107E-7D37-3F69-B1DDD8C6EEA6}"/>
                </a:ext>
              </a:extLst>
            </p:cNvPr>
            <p:cNvSpPr/>
            <p:nvPr/>
          </p:nvSpPr>
          <p:spPr>
            <a:xfrm>
              <a:off x="9401988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8" name="object 868">
              <a:extLst>
                <a:ext uri="{FF2B5EF4-FFF2-40B4-BE49-F238E27FC236}">
                  <a16:creationId xmlns:a16="http://schemas.microsoft.com/office/drawing/2014/main" id="{BFCB2B0C-B168-4867-1092-8648BAC07B7B}"/>
                </a:ext>
              </a:extLst>
            </p:cNvPr>
            <p:cNvSpPr/>
            <p:nvPr/>
          </p:nvSpPr>
          <p:spPr>
            <a:xfrm>
              <a:off x="9437019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9" name="object 869">
              <a:extLst>
                <a:ext uri="{FF2B5EF4-FFF2-40B4-BE49-F238E27FC236}">
                  <a16:creationId xmlns:a16="http://schemas.microsoft.com/office/drawing/2014/main" id="{56EF4593-6F3B-64C7-825C-28B991B0B709}"/>
                </a:ext>
              </a:extLst>
            </p:cNvPr>
            <p:cNvSpPr/>
            <p:nvPr/>
          </p:nvSpPr>
          <p:spPr>
            <a:xfrm>
              <a:off x="933194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0" name="object 870">
              <a:extLst>
                <a:ext uri="{FF2B5EF4-FFF2-40B4-BE49-F238E27FC236}">
                  <a16:creationId xmlns:a16="http://schemas.microsoft.com/office/drawing/2014/main" id="{41E03BEA-EDA9-07C6-05DA-F16F27640F21}"/>
                </a:ext>
              </a:extLst>
            </p:cNvPr>
            <p:cNvSpPr/>
            <p:nvPr/>
          </p:nvSpPr>
          <p:spPr>
            <a:xfrm>
              <a:off x="9226881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1" name="object 871">
              <a:extLst>
                <a:ext uri="{FF2B5EF4-FFF2-40B4-BE49-F238E27FC236}">
                  <a16:creationId xmlns:a16="http://schemas.microsoft.com/office/drawing/2014/main" id="{3A80CAF7-68E6-BD79-D3B8-2E2CBBD07994}"/>
                </a:ext>
              </a:extLst>
            </p:cNvPr>
            <p:cNvSpPr/>
            <p:nvPr/>
          </p:nvSpPr>
          <p:spPr>
            <a:xfrm>
              <a:off x="926197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2" name="object 872">
              <a:extLst>
                <a:ext uri="{FF2B5EF4-FFF2-40B4-BE49-F238E27FC236}">
                  <a16:creationId xmlns:a16="http://schemas.microsoft.com/office/drawing/2014/main" id="{73225460-127F-5883-FE6F-2A8A84AFF90A}"/>
                </a:ext>
              </a:extLst>
            </p:cNvPr>
            <p:cNvSpPr/>
            <p:nvPr/>
          </p:nvSpPr>
          <p:spPr>
            <a:xfrm>
              <a:off x="9156838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3" name="object 873">
              <a:extLst>
                <a:ext uri="{FF2B5EF4-FFF2-40B4-BE49-F238E27FC236}">
                  <a16:creationId xmlns:a16="http://schemas.microsoft.com/office/drawing/2014/main" id="{13982D7B-E5FC-8DE2-14CA-5366CA284BC6}"/>
                </a:ext>
              </a:extLst>
            </p:cNvPr>
            <p:cNvSpPr/>
            <p:nvPr/>
          </p:nvSpPr>
          <p:spPr>
            <a:xfrm>
              <a:off x="9366976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4" name="object 874">
              <a:extLst>
                <a:ext uri="{FF2B5EF4-FFF2-40B4-BE49-F238E27FC236}">
                  <a16:creationId xmlns:a16="http://schemas.microsoft.com/office/drawing/2014/main" id="{3BA3E8A0-33A3-966A-7EED-B103201A1596}"/>
                </a:ext>
              </a:extLst>
            </p:cNvPr>
            <p:cNvSpPr/>
            <p:nvPr/>
          </p:nvSpPr>
          <p:spPr>
            <a:xfrm>
              <a:off x="9191859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5" name="object 875">
              <a:extLst>
                <a:ext uri="{FF2B5EF4-FFF2-40B4-BE49-F238E27FC236}">
                  <a16:creationId xmlns:a16="http://schemas.microsoft.com/office/drawing/2014/main" id="{2D8A5379-8856-38EA-D35F-79D7ED417557}"/>
                </a:ext>
              </a:extLst>
            </p:cNvPr>
            <p:cNvSpPr/>
            <p:nvPr/>
          </p:nvSpPr>
          <p:spPr>
            <a:xfrm>
              <a:off x="9472041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6" name="object 876">
              <a:extLst>
                <a:ext uri="{FF2B5EF4-FFF2-40B4-BE49-F238E27FC236}">
                  <a16:creationId xmlns:a16="http://schemas.microsoft.com/office/drawing/2014/main" id="{CC6B7E25-861B-D401-4355-042FA77D31F5}"/>
                </a:ext>
              </a:extLst>
            </p:cNvPr>
            <p:cNvSpPr/>
            <p:nvPr/>
          </p:nvSpPr>
          <p:spPr>
            <a:xfrm>
              <a:off x="9297070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7" name="object 877">
              <a:extLst>
                <a:ext uri="{FF2B5EF4-FFF2-40B4-BE49-F238E27FC236}">
                  <a16:creationId xmlns:a16="http://schemas.microsoft.com/office/drawing/2014/main" id="{7B99B1A8-C3AE-E4D6-DE6C-66F61AA5F346}"/>
                </a:ext>
              </a:extLst>
            </p:cNvPr>
            <p:cNvSpPr/>
            <p:nvPr/>
          </p:nvSpPr>
          <p:spPr>
            <a:xfrm>
              <a:off x="9122090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8" name="object 878">
              <a:extLst>
                <a:ext uri="{FF2B5EF4-FFF2-40B4-BE49-F238E27FC236}">
                  <a16:creationId xmlns:a16="http://schemas.microsoft.com/office/drawing/2014/main" id="{0D102534-4B84-92F3-DE15-CF28AFDCA2B5}"/>
                </a:ext>
              </a:extLst>
            </p:cNvPr>
            <p:cNvSpPr/>
            <p:nvPr/>
          </p:nvSpPr>
          <p:spPr>
            <a:xfrm>
              <a:off x="9122090" y="417084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9" name="object 879">
              <a:extLst>
                <a:ext uri="{FF2B5EF4-FFF2-40B4-BE49-F238E27FC236}">
                  <a16:creationId xmlns:a16="http://schemas.microsoft.com/office/drawing/2014/main" id="{ECE42D26-6176-BF30-9829-38BD40FFA7E6}"/>
                </a:ext>
              </a:extLst>
            </p:cNvPr>
            <p:cNvSpPr/>
            <p:nvPr/>
          </p:nvSpPr>
          <p:spPr>
            <a:xfrm>
              <a:off x="9122228" y="4145340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23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0" name="object 880">
              <a:extLst>
                <a:ext uri="{FF2B5EF4-FFF2-40B4-BE49-F238E27FC236}">
                  <a16:creationId xmlns:a16="http://schemas.microsoft.com/office/drawing/2014/main" id="{AD640904-EDF6-CD74-5EBB-B21B86ED411A}"/>
                </a:ext>
              </a:extLst>
            </p:cNvPr>
            <p:cNvSpPr/>
            <p:nvPr/>
          </p:nvSpPr>
          <p:spPr>
            <a:xfrm>
              <a:off x="9122228" y="4217642"/>
              <a:ext cx="739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19"/>
                <a:gd name="f4" fmla="val 84454"/>
                <a:gd name="f5" fmla="val 121409"/>
                <a:gd name="f6" fmla="val 84123"/>
                <a:gd name="f7" fmla="*/ f0 1 121919"/>
                <a:gd name="f8" fmla="*/ f1 1 84454"/>
                <a:gd name="f9" fmla="+- f4 0 f2"/>
                <a:gd name="f10" fmla="+- f3 0 f2"/>
                <a:gd name="f11" fmla="*/ f10 1 1219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19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1" name="object 881">
              <a:extLst>
                <a:ext uri="{FF2B5EF4-FFF2-40B4-BE49-F238E27FC236}">
                  <a16:creationId xmlns:a16="http://schemas.microsoft.com/office/drawing/2014/main" id="{5799DBD4-9C58-7BBA-325E-5151E9124323}"/>
                </a:ext>
              </a:extLst>
            </p:cNvPr>
            <p:cNvSpPr/>
            <p:nvPr/>
          </p:nvSpPr>
          <p:spPr>
            <a:xfrm>
              <a:off x="9401650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2" name="object 882">
              <a:extLst>
                <a:ext uri="{FF2B5EF4-FFF2-40B4-BE49-F238E27FC236}">
                  <a16:creationId xmlns:a16="http://schemas.microsoft.com/office/drawing/2014/main" id="{E4CBD687-C47C-9FE4-241D-064F819FCF09}"/>
                </a:ext>
              </a:extLst>
            </p:cNvPr>
            <p:cNvSpPr/>
            <p:nvPr/>
          </p:nvSpPr>
          <p:spPr>
            <a:xfrm>
              <a:off x="9436672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3" name="object 883">
              <a:extLst>
                <a:ext uri="{FF2B5EF4-FFF2-40B4-BE49-F238E27FC236}">
                  <a16:creationId xmlns:a16="http://schemas.microsoft.com/office/drawing/2014/main" id="{1E77CFF0-C95B-289A-B6A3-7381C2680618}"/>
                </a:ext>
              </a:extLst>
            </p:cNvPr>
            <p:cNvSpPr/>
            <p:nvPr/>
          </p:nvSpPr>
          <p:spPr>
            <a:xfrm>
              <a:off x="9331607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4" name="object 884">
              <a:extLst>
                <a:ext uri="{FF2B5EF4-FFF2-40B4-BE49-F238E27FC236}">
                  <a16:creationId xmlns:a16="http://schemas.microsoft.com/office/drawing/2014/main" id="{6CDCD3E6-D344-D4B1-C2A5-D35E0B423F9F}"/>
                </a:ext>
              </a:extLst>
            </p:cNvPr>
            <p:cNvSpPr/>
            <p:nvPr/>
          </p:nvSpPr>
          <p:spPr>
            <a:xfrm>
              <a:off x="9226533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5" name="object 885">
              <a:extLst>
                <a:ext uri="{FF2B5EF4-FFF2-40B4-BE49-F238E27FC236}">
                  <a16:creationId xmlns:a16="http://schemas.microsoft.com/office/drawing/2014/main" id="{A7694DF5-6F14-C78E-CC36-2F28A0E915FF}"/>
                </a:ext>
              </a:extLst>
            </p:cNvPr>
            <p:cNvSpPr/>
            <p:nvPr/>
          </p:nvSpPr>
          <p:spPr>
            <a:xfrm>
              <a:off x="9261628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6" name="object 886">
              <a:extLst>
                <a:ext uri="{FF2B5EF4-FFF2-40B4-BE49-F238E27FC236}">
                  <a16:creationId xmlns:a16="http://schemas.microsoft.com/office/drawing/2014/main" id="{D8B3F8EE-1A70-E4E4-F538-ABFC96ECB40C}"/>
                </a:ext>
              </a:extLst>
            </p:cNvPr>
            <p:cNvSpPr/>
            <p:nvPr/>
          </p:nvSpPr>
          <p:spPr>
            <a:xfrm>
              <a:off x="9156490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7" name="object 887">
              <a:extLst>
                <a:ext uri="{FF2B5EF4-FFF2-40B4-BE49-F238E27FC236}">
                  <a16:creationId xmlns:a16="http://schemas.microsoft.com/office/drawing/2014/main" id="{F7A76D7C-A3AD-E934-3875-50E1CBCCA5CD}"/>
                </a:ext>
              </a:extLst>
            </p:cNvPr>
            <p:cNvSpPr/>
            <p:nvPr/>
          </p:nvSpPr>
          <p:spPr>
            <a:xfrm>
              <a:off x="9366628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8" name="object 888">
              <a:extLst>
                <a:ext uri="{FF2B5EF4-FFF2-40B4-BE49-F238E27FC236}">
                  <a16:creationId xmlns:a16="http://schemas.microsoft.com/office/drawing/2014/main" id="{4E369DF0-4841-142E-A8AE-8AEFE8B6CB75}"/>
                </a:ext>
              </a:extLst>
            </p:cNvPr>
            <p:cNvSpPr/>
            <p:nvPr/>
          </p:nvSpPr>
          <p:spPr>
            <a:xfrm>
              <a:off x="9191512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9" name="object 889">
              <a:extLst>
                <a:ext uri="{FF2B5EF4-FFF2-40B4-BE49-F238E27FC236}">
                  <a16:creationId xmlns:a16="http://schemas.microsoft.com/office/drawing/2014/main" id="{FB57C7EB-F619-1241-63BA-E40188B71FE2}"/>
                </a:ext>
              </a:extLst>
            </p:cNvPr>
            <p:cNvSpPr/>
            <p:nvPr/>
          </p:nvSpPr>
          <p:spPr>
            <a:xfrm>
              <a:off x="947169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0" name="object 890">
              <a:extLst>
                <a:ext uri="{FF2B5EF4-FFF2-40B4-BE49-F238E27FC236}">
                  <a16:creationId xmlns:a16="http://schemas.microsoft.com/office/drawing/2014/main" id="{0D317EA8-2F86-CD6B-8DC6-EC207A9D23ED}"/>
                </a:ext>
              </a:extLst>
            </p:cNvPr>
            <p:cNvSpPr/>
            <p:nvPr/>
          </p:nvSpPr>
          <p:spPr>
            <a:xfrm>
              <a:off x="929672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1" name="object 891">
              <a:extLst>
                <a:ext uri="{FF2B5EF4-FFF2-40B4-BE49-F238E27FC236}">
                  <a16:creationId xmlns:a16="http://schemas.microsoft.com/office/drawing/2014/main" id="{E5523C39-93E7-3460-1BB9-5FD681E95D97}"/>
                </a:ext>
              </a:extLst>
            </p:cNvPr>
            <p:cNvSpPr/>
            <p:nvPr/>
          </p:nvSpPr>
          <p:spPr>
            <a:xfrm>
              <a:off x="912174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2" name="object 892">
              <a:extLst>
                <a:ext uri="{FF2B5EF4-FFF2-40B4-BE49-F238E27FC236}">
                  <a16:creationId xmlns:a16="http://schemas.microsoft.com/office/drawing/2014/main" id="{1A825E3B-B590-1F14-0409-CA21902842CF}"/>
                </a:ext>
              </a:extLst>
            </p:cNvPr>
            <p:cNvSpPr/>
            <p:nvPr/>
          </p:nvSpPr>
          <p:spPr>
            <a:xfrm>
              <a:off x="929672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3" name="object 893">
              <a:extLst>
                <a:ext uri="{FF2B5EF4-FFF2-40B4-BE49-F238E27FC236}">
                  <a16:creationId xmlns:a16="http://schemas.microsoft.com/office/drawing/2014/main" id="{5D87E5A8-4654-A7E1-1DFD-254718DA5C24}"/>
                </a:ext>
              </a:extLst>
            </p:cNvPr>
            <p:cNvSpPr/>
            <p:nvPr/>
          </p:nvSpPr>
          <p:spPr>
            <a:xfrm>
              <a:off x="9121743" y="424314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94" name="object 894">
            <a:extLst>
              <a:ext uri="{FF2B5EF4-FFF2-40B4-BE49-F238E27FC236}">
                <a16:creationId xmlns:a16="http://schemas.microsoft.com/office/drawing/2014/main" id="{C3BC0245-6F82-9822-0A94-DE9DC34AF309}"/>
              </a:ext>
            </a:extLst>
          </p:cNvPr>
          <p:cNvGrpSpPr/>
          <p:nvPr/>
        </p:nvGrpSpPr>
        <p:grpSpPr>
          <a:xfrm>
            <a:off x="8299130" y="1848916"/>
            <a:ext cx="350371" cy="123526"/>
            <a:chOff x="8299130" y="1848916"/>
            <a:chExt cx="350371" cy="123526"/>
          </a:xfrm>
        </p:grpSpPr>
        <p:sp>
          <p:nvSpPr>
            <p:cNvPr id="895" name="object 895">
              <a:extLst>
                <a:ext uri="{FF2B5EF4-FFF2-40B4-BE49-F238E27FC236}">
                  <a16:creationId xmlns:a16="http://schemas.microsoft.com/office/drawing/2014/main" id="{D0B363F6-31EA-3CF3-3333-2232D4710CA5}"/>
                </a:ext>
              </a:extLst>
            </p:cNvPr>
            <p:cNvSpPr/>
            <p:nvPr/>
          </p:nvSpPr>
          <p:spPr>
            <a:xfrm>
              <a:off x="857937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6" name="object 896">
              <a:extLst>
                <a:ext uri="{FF2B5EF4-FFF2-40B4-BE49-F238E27FC236}">
                  <a16:creationId xmlns:a16="http://schemas.microsoft.com/office/drawing/2014/main" id="{682813C1-E0E2-BBA9-F3B4-66F2E6D923E9}"/>
                </a:ext>
              </a:extLst>
            </p:cNvPr>
            <p:cNvSpPr/>
            <p:nvPr/>
          </p:nvSpPr>
          <p:spPr>
            <a:xfrm>
              <a:off x="861439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7" name="object 897">
              <a:extLst>
                <a:ext uri="{FF2B5EF4-FFF2-40B4-BE49-F238E27FC236}">
                  <a16:creationId xmlns:a16="http://schemas.microsoft.com/office/drawing/2014/main" id="{906A2419-0ACF-1BC7-5859-123192F8A52F}"/>
                </a:ext>
              </a:extLst>
            </p:cNvPr>
            <p:cNvSpPr/>
            <p:nvPr/>
          </p:nvSpPr>
          <p:spPr>
            <a:xfrm>
              <a:off x="850933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8" name="object 898">
              <a:extLst>
                <a:ext uri="{FF2B5EF4-FFF2-40B4-BE49-F238E27FC236}">
                  <a16:creationId xmlns:a16="http://schemas.microsoft.com/office/drawing/2014/main" id="{8C4AA3C9-3666-86CF-A46D-9064930283CC}"/>
                </a:ext>
              </a:extLst>
            </p:cNvPr>
            <p:cNvSpPr/>
            <p:nvPr/>
          </p:nvSpPr>
          <p:spPr>
            <a:xfrm>
              <a:off x="840426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9" name="object 899">
              <a:extLst>
                <a:ext uri="{FF2B5EF4-FFF2-40B4-BE49-F238E27FC236}">
                  <a16:creationId xmlns:a16="http://schemas.microsoft.com/office/drawing/2014/main" id="{0747FFFB-C462-4782-5029-765D3A2C6112}"/>
                </a:ext>
              </a:extLst>
            </p:cNvPr>
            <p:cNvSpPr/>
            <p:nvPr/>
          </p:nvSpPr>
          <p:spPr>
            <a:xfrm>
              <a:off x="8439354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0" name="object 900">
              <a:extLst>
                <a:ext uri="{FF2B5EF4-FFF2-40B4-BE49-F238E27FC236}">
                  <a16:creationId xmlns:a16="http://schemas.microsoft.com/office/drawing/2014/main" id="{668C3063-4676-B851-44E0-E705B188984B}"/>
                </a:ext>
              </a:extLst>
            </p:cNvPr>
            <p:cNvSpPr/>
            <p:nvPr/>
          </p:nvSpPr>
          <p:spPr>
            <a:xfrm>
              <a:off x="833422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1" name="object 901">
              <a:extLst>
                <a:ext uri="{FF2B5EF4-FFF2-40B4-BE49-F238E27FC236}">
                  <a16:creationId xmlns:a16="http://schemas.microsoft.com/office/drawing/2014/main" id="{2B621CF0-3407-7CC0-4CBC-51A8AAC28ECB}"/>
                </a:ext>
              </a:extLst>
            </p:cNvPr>
            <p:cNvSpPr/>
            <p:nvPr/>
          </p:nvSpPr>
          <p:spPr>
            <a:xfrm>
              <a:off x="8544354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2" name="object 902">
              <a:extLst>
                <a:ext uri="{FF2B5EF4-FFF2-40B4-BE49-F238E27FC236}">
                  <a16:creationId xmlns:a16="http://schemas.microsoft.com/office/drawing/2014/main" id="{E1E6B141-9A09-C729-CAE7-4D3BD18F7E00}"/>
                </a:ext>
              </a:extLst>
            </p:cNvPr>
            <p:cNvSpPr/>
            <p:nvPr/>
          </p:nvSpPr>
          <p:spPr>
            <a:xfrm>
              <a:off x="836924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3" name="object 903">
              <a:extLst>
                <a:ext uri="{FF2B5EF4-FFF2-40B4-BE49-F238E27FC236}">
                  <a16:creationId xmlns:a16="http://schemas.microsoft.com/office/drawing/2014/main" id="{15580FC1-E9B5-E222-6A8B-B53285ED2A97}"/>
                </a:ext>
              </a:extLst>
            </p:cNvPr>
            <p:cNvSpPr/>
            <p:nvPr/>
          </p:nvSpPr>
          <p:spPr>
            <a:xfrm>
              <a:off x="864941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4" name="object 904">
              <a:extLst>
                <a:ext uri="{FF2B5EF4-FFF2-40B4-BE49-F238E27FC236}">
                  <a16:creationId xmlns:a16="http://schemas.microsoft.com/office/drawing/2014/main" id="{3EAFEC26-B20D-796C-DE7A-9FE992226E8F}"/>
                </a:ext>
              </a:extLst>
            </p:cNvPr>
            <p:cNvSpPr/>
            <p:nvPr/>
          </p:nvSpPr>
          <p:spPr>
            <a:xfrm>
              <a:off x="8474448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5" name="object 905">
              <a:extLst>
                <a:ext uri="{FF2B5EF4-FFF2-40B4-BE49-F238E27FC236}">
                  <a16:creationId xmlns:a16="http://schemas.microsoft.com/office/drawing/2014/main" id="{7D7C4CB9-94D7-4A50-7847-24A913F7FDA8}"/>
                </a:ext>
              </a:extLst>
            </p:cNvPr>
            <p:cNvSpPr/>
            <p:nvPr/>
          </p:nvSpPr>
          <p:spPr>
            <a:xfrm>
              <a:off x="8299478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6" name="object 906">
              <a:extLst>
                <a:ext uri="{FF2B5EF4-FFF2-40B4-BE49-F238E27FC236}">
                  <a16:creationId xmlns:a16="http://schemas.microsoft.com/office/drawing/2014/main" id="{DF72A08C-7540-7260-2B1D-54D4DF6AFF9D}"/>
                </a:ext>
              </a:extLst>
            </p:cNvPr>
            <p:cNvSpPr/>
            <p:nvPr/>
          </p:nvSpPr>
          <p:spPr>
            <a:xfrm>
              <a:off x="8299478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7" name="object 907">
              <a:extLst>
                <a:ext uri="{FF2B5EF4-FFF2-40B4-BE49-F238E27FC236}">
                  <a16:creationId xmlns:a16="http://schemas.microsoft.com/office/drawing/2014/main" id="{60EA0EF1-7765-ED83-0770-A0A1AC94EA42}"/>
                </a:ext>
              </a:extLst>
            </p:cNvPr>
            <p:cNvSpPr/>
            <p:nvPr/>
          </p:nvSpPr>
          <p:spPr>
            <a:xfrm>
              <a:off x="8299588" y="1848916"/>
              <a:ext cx="1151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9865"/>
                <a:gd name="f4" fmla="val 84455"/>
                <a:gd name="f5" fmla="val 189585"/>
                <a:gd name="f6" fmla="val 84112"/>
                <a:gd name="f7" fmla="*/ f0 1 189865"/>
                <a:gd name="f8" fmla="*/ f1 1 84455"/>
                <a:gd name="f9" fmla="+- f4 0 f2"/>
                <a:gd name="f10" fmla="+- f3 0 f2"/>
                <a:gd name="f11" fmla="*/ f10 1 18986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986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8" name="object 908">
              <a:extLst>
                <a:ext uri="{FF2B5EF4-FFF2-40B4-BE49-F238E27FC236}">
                  <a16:creationId xmlns:a16="http://schemas.microsoft.com/office/drawing/2014/main" id="{94A051D5-E99F-B5A8-FE47-B230E772350F}"/>
                </a:ext>
              </a:extLst>
            </p:cNvPr>
            <p:cNvSpPr/>
            <p:nvPr/>
          </p:nvSpPr>
          <p:spPr>
            <a:xfrm>
              <a:off x="8299588" y="1921227"/>
              <a:ext cx="951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56844"/>
                <a:gd name="f4" fmla="val 84454"/>
                <a:gd name="f5" fmla="val 156675"/>
                <a:gd name="f6" fmla="val 84091"/>
                <a:gd name="f7" fmla="*/ f0 1 156844"/>
                <a:gd name="f8" fmla="*/ f1 1 84454"/>
                <a:gd name="f9" fmla="+- f4 0 f2"/>
                <a:gd name="f10" fmla="+- f3 0 f2"/>
                <a:gd name="f11" fmla="*/ f10 1 15684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5684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9" name="object 909">
              <a:extLst>
                <a:ext uri="{FF2B5EF4-FFF2-40B4-BE49-F238E27FC236}">
                  <a16:creationId xmlns:a16="http://schemas.microsoft.com/office/drawing/2014/main" id="{80CEF4AD-884B-99B9-D3B3-D9161FC2F6C9}"/>
                </a:ext>
              </a:extLst>
            </p:cNvPr>
            <p:cNvSpPr/>
            <p:nvPr/>
          </p:nvSpPr>
          <p:spPr>
            <a:xfrm>
              <a:off x="857902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0" name="object 910">
              <a:extLst>
                <a:ext uri="{FF2B5EF4-FFF2-40B4-BE49-F238E27FC236}">
                  <a16:creationId xmlns:a16="http://schemas.microsoft.com/office/drawing/2014/main" id="{1E8883C1-85AB-5BB0-2C79-B536DF458D86}"/>
                </a:ext>
              </a:extLst>
            </p:cNvPr>
            <p:cNvSpPr/>
            <p:nvPr/>
          </p:nvSpPr>
          <p:spPr>
            <a:xfrm>
              <a:off x="861405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1" name="object 911">
              <a:extLst>
                <a:ext uri="{FF2B5EF4-FFF2-40B4-BE49-F238E27FC236}">
                  <a16:creationId xmlns:a16="http://schemas.microsoft.com/office/drawing/2014/main" id="{13CA3B63-BCA7-F32C-BE4C-FAC816AE4979}"/>
                </a:ext>
              </a:extLst>
            </p:cNvPr>
            <p:cNvSpPr/>
            <p:nvPr/>
          </p:nvSpPr>
          <p:spPr>
            <a:xfrm>
              <a:off x="850898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2" name="object 912">
              <a:extLst>
                <a:ext uri="{FF2B5EF4-FFF2-40B4-BE49-F238E27FC236}">
                  <a16:creationId xmlns:a16="http://schemas.microsoft.com/office/drawing/2014/main" id="{33F25CF0-C1DB-4D79-C7E6-844642DF38F8}"/>
                </a:ext>
              </a:extLst>
            </p:cNvPr>
            <p:cNvSpPr/>
            <p:nvPr/>
          </p:nvSpPr>
          <p:spPr>
            <a:xfrm>
              <a:off x="840392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3" name="object 913">
              <a:extLst>
                <a:ext uri="{FF2B5EF4-FFF2-40B4-BE49-F238E27FC236}">
                  <a16:creationId xmlns:a16="http://schemas.microsoft.com/office/drawing/2014/main" id="{DFD5466C-65A9-1EFC-21F0-48B7FDA102E2}"/>
                </a:ext>
              </a:extLst>
            </p:cNvPr>
            <p:cNvSpPr/>
            <p:nvPr/>
          </p:nvSpPr>
          <p:spPr>
            <a:xfrm>
              <a:off x="843901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4" name="object 914">
              <a:extLst>
                <a:ext uri="{FF2B5EF4-FFF2-40B4-BE49-F238E27FC236}">
                  <a16:creationId xmlns:a16="http://schemas.microsoft.com/office/drawing/2014/main" id="{CB106276-6CF9-F852-8ADA-B30D04ED48FA}"/>
                </a:ext>
              </a:extLst>
            </p:cNvPr>
            <p:cNvSpPr/>
            <p:nvPr/>
          </p:nvSpPr>
          <p:spPr>
            <a:xfrm>
              <a:off x="833387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5" name="object 915">
              <a:extLst>
                <a:ext uri="{FF2B5EF4-FFF2-40B4-BE49-F238E27FC236}">
                  <a16:creationId xmlns:a16="http://schemas.microsoft.com/office/drawing/2014/main" id="{B85DC103-1C97-449D-5F23-F703A79FE55D}"/>
                </a:ext>
              </a:extLst>
            </p:cNvPr>
            <p:cNvSpPr/>
            <p:nvPr/>
          </p:nvSpPr>
          <p:spPr>
            <a:xfrm>
              <a:off x="8544007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6" name="object 916">
              <a:extLst>
                <a:ext uri="{FF2B5EF4-FFF2-40B4-BE49-F238E27FC236}">
                  <a16:creationId xmlns:a16="http://schemas.microsoft.com/office/drawing/2014/main" id="{8047EAD7-3BF1-F818-67D0-3E73FFAB1A88}"/>
                </a:ext>
              </a:extLst>
            </p:cNvPr>
            <p:cNvSpPr/>
            <p:nvPr/>
          </p:nvSpPr>
          <p:spPr>
            <a:xfrm>
              <a:off x="836889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7" name="object 917">
              <a:extLst>
                <a:ext uri="{FF2B5EF4-FFF2-40B4-BE49-F238E27FC236}">
                  <a16:creationId xmlns:a16="http://schemas.microsoft.com/office/drawing/2014/main" id="{7867F220-4AB6-83C9-D9E3-14C16BFF9E88}"/>
                </a:ext>
              </a:extLst>
            </p:cNvPr>
            <p:cNvSpPr/>
            <p:nvPr/>
          </p:nvSpPr>
          <p:spPr>
            <a:xfrm>
              <a:off x="864907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8" name="object 918">
              <a:extLst>
                <a:ext uri="{FF2B5EF4-FFF2-40B4-BE49-F238E27FC236}">
                  <a16:creationId xmlns:a16="http://schemas.microsoft.com/office/drawing/2014/main" id="{8A3E72BB-588F-72C6-4B23-63592CA8E11C}"/>
                </a:ext>
              </a:extLst>
            </p:cNvPr>
            <p:cNvSpPr/>
            <p:nvPr/>
          </p:nvSpPr>
          <p:spPr>
            <a:xfrm>
              <a:off x="847410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9" name="object 919">
              <a:extLst>
                <a:ext uri="{FF2B5EF4-FFF2-40B4-BE49-F238E27FC236}">
                  <a16:creationId xmlns:a16="http://schemas.microsoft.com/office/drawing/2014/main" id="{73A0343C-AC33-2900-FB33-391DFC7F0B7A}"/>
                </a:ext>
              </a:extLst>
            </p:cNvPr>
            <p:cNvSpPr/>
            <p:nvPr/>
          </p:nvSpPr>
          <p:spPr>
            <a:xfrm>
              <a:off x="8299130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0" name="object 920">
              <a:extLst>
                <a:ext uri="{FF2B5EF4-FFF2-40B4-BE49-F238E27FC236}">
                  <a16:creationId xmlns:a16="http://schemas.microsoft.com/office/drawing/2014/main" id="{5097EDC9-3961-46EB-AA2F-A12E9EB8FB25}"/>
                </a:ext>
              </a:extLst>
            </p:cNvPr>
            <p:cNvSpPr/>
            <p:nvPr/>
          </p:nvSpPr>
          <p:spPr>
            <a:xfrm>
              <a:off x="847410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1" name="object 921">
              <a:extLst>
                <a:ext uri="{FF2B5EF4-FFF2-40B4-BE49-F238E27FC236}">
                  <a16:creationId xmlns:a16="http://schemas.microsoft.com/office/drawing/2014/main" id="{0737804A-7395-6E03-071D-B080694E76F4}"/>
                </a:ext>
              </a:extLst>
            </p:cNvPr>
            <p:cNvSpPr/>
            <p:nvPr/>
          </p:nvSpPr>
          <p:spPr>
            <a:xfrm>
              <a:off x="8299130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22" name="object 922">
            <a:extLst>
              <a:ext uri="{FF2B5EF4-FFF2-40B4-BE49-F238E27FC236}">
                <a16:creationId xmlns:a16="http://schemas.microsoft.com/office/drawing/2014/main" id="{51B7677F-63B5-FBC8-493F-A4C2EA140B03}"/>
              </a:ext>
            </a:extLst>
          </p:cNvPr>
          <p:cNvGrpSpPr/>
          <p:nvPr/>
        </p:nvGrpSpPr>
        <p:grpSpPr>
          <a:xfrm>
            <a:off x="8299130" y="2612705"/>
            <a:ext cx="350371" cy="123526"/>
            <a:chOff x="8299130" y="2612705"/>
            <a:chExt cx="350371" cy="123526"/>
          </a:xfrm>
        </p:grpSpPr>
        <p:sp>
          <p:nvSpPr>
            <p:cNvPr id="923" name="object 923">
              <a:extLst>
                <a:ext uri="{FF2B5EF4-FFF2-40B4-BE49-F238E27FC236}">
                  <a16:creationId xmlns:a16="http://schemas.microsoft.com/office/drawing/2014/main" id="{11B71A80-2493-7A21-A015-C8E5D802B9D1}"/>
                </a:ext>
              </a:extLst>
            </p:cNvPr>
            <p:cNvSpPr/>
            <p:nvPr/>
          </p:nvSpPr>
          <p:spPr>
            <a:xfrm>
              <a:off x="8579376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4" name="object 924">
              <a:extLst>
                <a:ext uri="{FF2B5EF4-FFF2-40B4-BE49-F238E27FC236}">
                  <a16:creationId xmlns:a16="http://schemas.microsoft.com/office/drawing/2014/main" id="{B60C7B3A-AAC7-A7BC-785F-32914D31B567}"/>
                </a:ext>
              </a:extLst>
            </p:cNvPr>
            <p:cNvSpPr/>
            <p:nvPr/>
          </p:nvSpPr>
          <p:spPr>
            <a:xfrm>
              <a:off x="8614397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5" name="object 925">
              <a:extLst>
                <a:ext uri="{FF2B5EF4-FFF2-40B4-BE49-F238E27FC236}">
                  <a16:creationId xmlns:a16="http://schemas.microsoft.com/office/drawing/2014/main" id="{F0F26C3A-751C-A414-DE95-963E801F46F9}"/>
                </a:ext>
              </a:extLst>
            </p:cNvPr>
            <p:cNvSpPr/>
            <p:nvPr/>
          </p:nvSpPr>
          <p:spPr>
            <a:xfrm>
              <a:off x="8509333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6" name="object 926">
              <a:extLst>
                <a:ext uri="{FF2B5EF4-FFF2-40B4-BE49-F238E27FC236}">
                  <a16:creationId xmlns:a16="http://schemas.microsoft.com/office/drawing/2014/main" id="{8B8B1D36-51CB-F38F-F3B7-6E41402BC063}"/>
                </a:ext>
              </a:extLst>
            </p:cNvPr>
            <p:cNvSpPr/>
            <p:nvPr/>
          </p:nvSpPr>
          <p:spPr>
            <a:xfrm>
              <a:off x="8404268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7" name="object 927">
              <a:extLst>
                <a:ext uri="{FF2B5EF4-FFF2-40B4-BE49-F238E27FC236}">
                  <a16:creationId xmlns:a16="http://schemas.microsoft.com/office/drawing/2014/main" id="{4785DCF8-75DA-4944-B23C-32AA5C4CBB1C}"/>
                </a:ext>
              </a:extLst>
            </p:cNvPr>
            <p:cNvSpPr/>
            <p:nvPr/>
          </p:nvSpPr>
          <p:spPr>
            <a:xfrm>
              <a:off x="8439354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8" name="object 928">
              <a:extLst>
                <a:ext uri="{FF2B5EF4-FFF2-40B4-BE49-F238E27FC236}">
                  <a16:creationId xmlns:a16="http://schemas.microsoft.com/office/drawing/2014/main" id="{6E750C4A-431C-3560-D216-A15919D52F95}"/>
                </a:ext>
              </a:extLst>
            </p:cNvPr>
            <p:cNvSpPr/>
            <p:nvPr/>
          </p:nvSpPr>
          <p:spPr>
            <a:xfrm>
              <a:off x="8334225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9" name="object 929">
              <a:extLst>
                <a:ext uri="{FF2B5EF4-FFF2-40B4-BE49-F238E27FC236}">
                  <a16:creationId xmlns:a16="http://schemas.microsoft.com/office/drawing/2014/main" id="{3C800DFF-D65C-008D-D792-04DFCB24325E}"/>
                </a:ext>
              </a:extLst>
            </p:cNvPr>
            <p:cNvSpPr/>
            <p:nvPr/>
          </p:nvSpPr>
          <p:spPr>
            <a:xfrm>
              <a:off x="8544354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0" name="object 930">
              <a:extLst>
                <a:ext uri="{FF2B5EF4-FFF2-40B4-BE49-F238E27FC236}">
                  <a16:creationId xmlns:a16="http://schemas.microsoft.com/office/drawing/2014/main" id="{18FBEEDF-9CA8-C240-3EB9-E15657F861C8}"/>
                </a:ext>
              </a:extLst>
            </p:cNvPr>
            <p:cNvSpPr/>
            <p:nvPr/>
          </p:nvSpPr>
          <p:spPr>
            <a:xfrm>
              <a:off x="8369247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1" name="object 931">
              <a:extLst>
                <a:ext uri="{FF2B5EF4-FFF2-40B4-BE49-F238E27FC236}">
                  <a16:creationId xmlns:a16="http://schemas.microsoft.com/office/drawing/2014/main" id="{016D0D41-1DC8-5854-ED18-10AB80FB967E}"/>
                </a:ext>
              </a:extLst>
            </p:cNvPr>
            <p:cNvSpPr/>
            <p:nvPr/>
          </p:nvSpPr>
          <p:spPr>
            <a:xfrm>
              <a:off x="8649419" y="261270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2" name="object 932">
              <a:extLst>
                <a:ext uri="{FF2B5EF4-FFF2-40B4-BE49-F238E27FC236}">
                  <a16:creationId xmlns:a16="http://schemas.microsoft.com/office/drawing/2014/main" id="{FD7FE168-5483-E8E4-EC49-B99F6752C846}"/>
                </a:ext>
              </a:extLst>
            </p:cNvPr>
            <p:cNvSpPr/>
            <p:nvPr/>
          </p:nvSpPr>
          <p:spPr>
            <a:xfrm>
              <a:off x="8474448" y="261270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3" name="object 933">
              <a:extLst>
                <a:ext uri="{FF2B5EF4-FFF2-40B4-BE49-F238E27FC236}">
                  <a16:creationId xmlns:a16="http://schemas.microsoft.com/office/drawing/2014/main" id="{215C2FEC-C19B-AC5C-F3AD-978717E9D166}"/>
                </a:ext>
              </a:extLst>
            </p:cNvPr>
            <p:cNvSpPr/>
            <p:nvPr/>
          </p:nvSpPr>
          <p:spPr>
            <a:xfrm>
              <a:off x="8299478" y="261270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4" name="object 934">
              <a:extLst>
                <a:ext uri="{FF2B5EF4-FFF2-40B4-BE49-F238E27FC236}">
                  <a16:creationId xmlns:a16="http://schemas.microsoft.com/office/drawing/2014/main" id="{DC7932ED-94F3-A1EE-C078-CD790002D519}"/>
                </a:ext>
              </a:extLst>
            </p:cNvPr>
            <p:cNvSpPr/>
            <p:nvPr/>
          </p:nvSpPr>
          <p:spPr>
            <a:xfrm>
              <a:off x="8299478" y="263821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5" name="object 935">
              <a:extLst>
                <a:ext uri="{FF2B5EF4-FFF2-40B4-BE49-F238E27FC236}">
                  <a16:creationId xmlns:a16="http://schemas.microsoft.com/office/drawing/2014/main" id="{ACA90D47-3130-4C9F-C71B-CF6442854593}"/>
                </a:ext>
              </a:extLst>
            </p:cNvPr>
            <p:cNvSpPr/>
            <p:nvPr/>
          </p:nvSpPr>
          <p:spPr>
            <a:xfrm>
              <a:off x="8299588" y="2612715"/>
              <a:ext cx="978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1290"/>
                <a:gd name="f4" fmla="val 84454"/>
                <a:gd name="f5" fmla="val 161125"/>
                <a:gd name="f6" fmla="val 84102"/>
                <a:gd name="f7" fmla="*/ f0 1 161290"/>
                <a:gd name="f8" fmla="*/ f1 1 84454"/>
                <a:gd name="f9" fmla="+- f4 0 f2"/>
                <a:gd name="f10" fmla="+- f3 0 f2"/>
                <a:gd name="f11" fmla="*/ f10 1 161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1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6" name="object 936">
              <a:extLst>
                <a:ext uri="{FF2B5EF4-FFF2-40B4-BE49-F238E27FC236}">
                  <a16:creationId xmlns:a16="http://schemas.microsoft.com/office/drawing/2014/main" id="{7BCA5D60-8F7F-CD66-0A12-FB68F1960221}"/>
                </a:ext>
              </a:extLst>
            </p:cNvPr>
            <p:cNvSpPr/>
            <p:nvPr/>
          </p:nvSpPr>
          <p:spPr>
            <a:xfrm>
              <a:off x="8299588" y="2685016"/>
              <a:ext cx="2391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94334"/>
                <a:gd name="f4" fmla="val 84454"/>
                <a:gd name="f5" fmla="val 393736"/>
                <a:gd name="f6" fmla="val 84102"/>
                <a:gd name="f7" fmla="*/ f0 1 394334"/>
                <a:gd name="f8" fmla="*/ f1 1 84454"/>
                <a:gd name="f9" fmla="+- f4 0 f2"/>
                <a:gd name="f10" fmla="+- f3 0 f2"/>
                <a:gd name="f11" fmla="*/ f10 1 3943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943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7" name="object 937">
              <a:extLst>
                <a:ext uri="{FF2B5EF4-FFF2-40B4-BE49-F238E27FC236}">
                  <a16:creationId xmlns:a16="http://schemas.microsoft.com/office/drawing/2014/main" id="{499F5E19-56F0-33BF-E79C-893693A9D603}"/>
                </a:ext>
              </a:extLst>
            </p:cNvPr>
            <p:cNvSpPr/>
            <p:nvPr/>
          </p:nvSpPr>
          <p:spPr>
            <a:xfrm>
              <a:off x="8579028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8" name="object 938">
              <a:extLst>
                <a:ext uri="{FF2B5EF4-FFF2-40B4-BE49-F238E27FC236}">
                  <a16:creationId xmlns:a16="http://schemas.microsoft.com/office/drawing/2014/main" id="{440EC743-88B0-630C-4776-D9EF3012945C}"/>
                </a:ext>
              </a:extLst>
            </p:cNvPr>
            <p:cNvSpPr/>
            <p:nvPr/>
          </p:nvSpPr>
          <p:spPr>
            <a:xfrm>
              <a:off x="8614050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9" name="object 939">
              <a:extLst>
                <a:ext uri="{FF2B5EF4-FFF2-40B4-BE49-F238E27FC236}">
                  <a16:creationId xmlns:a16="http://schemas.microsoft.com/office/drawing/2014/main" id="{E8653DB0-C81D-3499-22D1-5414C8CA23E4}"/>
                </a:ext>
              </a:extLst>
            </p:cNvPr>
            <p:cNvSpPr/>
            <p:nvPr/>
          </p:nvSpPr>
          <p:spPr>
            <a:xfrm>
              <a:off x="8508985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0" name="object 940">
              <a:extLst>
                <a:ext uri="{FF2B5EF4-FFF2-40B4-BE49-F238E27FC236}">
                  <a16:creationId xmlns:a16="http://schemas.microsoft.com/office/drawing/2014/main" id="{C419DD22-91B6-D6F5-74AB-DE5BBE37BC2F}"/>
                </a:ext>
              </a:extLst>
            </p:cNvPr>
            <p:cNvSpPr/>
            <p:nvPr/>
          </p:nvSpPr>
          <p:spPr>
            <a:xfrm>
              <a:off x="8403921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1" name="object 941">
              <a:extLst>
                <a:ext uri="{FF2B5EF4-FFF2-40B4-BE49-F238E27FC236}">
                  <a16:creationId xmlns:a16="http://schemas.microsoft.com/office/drawing/2014/main" id="{53FC9924-8B90-3518-7D01-9F11B4AD28B5}"/>
                </a:ext>
              </a:extLst>
            </p:cNvPr>
            <p:cNvSpPr/>
            <p:nvPr/>
          </p:nvSpPr>
          <p:spPr>
            <a:xfrm>
              <a:off x="8439015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2" name="object 942">
              <a:extLst>
                <a:ext uri="{FF2B5EF4-FFF2-40B4-BE49-F238E27FC236}">
                  <a16:creationId xmlns:a16="http://schemas.microsoft.com/office/drawing/2014/main" id="{37EA3148-CF50-F873-B723-BA28C502FEF3}"/>
                </a:ext>
              </a:extLst>
            </p:cNvPr>
            <p:cNvSpPr/>
            <p:nvPr/>
          </p:nvSpPr>
          <p:spPr>
            <a:xfrm>
              <a:off x="8333878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3" name="object 943">
              <a:extLst>
                <a:ext uri="{FF2B5EF4-FFF2-40B4-BE49-F238E27FC236}">
                  <a16:creationId xmlns:a16="http://schemas.microsoft.com/office/drawing/2014/main" id="{29A9DF83-FA29-947C-183E-69F5BF4A9DA6}"/>
                </a:ext>
              </a:extLst>
            </p:cNvPr>
            <p:cNvSpPr/>
            <p:nvPr/>
          </p:nvSpPr>
          <p:spPr>
            <a:xfrm>
              <a:off x="8544007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4" name="object 944">
              <a:extLst>
                <a:ext uri="{FF2B5EF4-FFF2-40B4-BE49-F238E27FC236}">
                  <a16:creationId xmlns:a16="http://schemas.microsoft.com/office/drawing/2014/main" id="{A2226506-DB65-8E7B-0B84-D3BDF39579BE}"/>
                </a:ext>
              </a:extLst>
            </p:cNvPr>
            <p:cNvSpPr/>
            <p:nvPr/>
          </p:nvSpPr>
          <p:spPr>
            <a:xfrm>
              <a:off x="8368899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5" name="object 945">
              <a:extLst>
                <a:ext uri="{FF2B5EF4-FFF2-40B4-BE49-F238E27FC236}">
                  <a16:creationId xmlns:a16="http://schemas.microsoft.com/office/drawing/2014/main" id="{2EBDA1E5-46D5-2278-A8E3-2A7B50E8B377}"/>
                </a:ext>
              </a:extLst>
            </p:cNvPr>
            <p:cNvSpPr/>
            <p:nvPr/>
          </p:nvSpPr>
          <p:spPr>
            <a:xfrm>
              <a:off x="8649071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6" name="object 946">
              <a:extLst>
                <a:ext uri="{FF2B5EF4-FFF2-40B4-BE49-F238E27FC236}">
                  <a16:creationId xmlns:a16="http://schemas.microsoft.com/office/drawing/2014/main" id="{4654E1EC-091D-E36F-E718-D5E80D0769EA}"/>
                </a:ext>
              </a:extLst>
            </p:cNvPr>
            <p:cNvSpPr/>
            <p:nvPr/>
          </p:nvSpPr>
          <p:spPr>
            <a:xfrm>
              <a:off x="8474101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7" name="object 947">
              <a:extLst>
                <a:ext uri="{FF2B5EF4-FFF2-40B4-BE49-F238E27FC236}">
                  <a16:creationId xmlns:a16="http://schemas.microsoft.com/office/drawing/2014/main" id="{83722F56-DBFA-F420-8338-E0538385A140}"/>
                </a:ext>
              </a:extLst>
            </p:cNvPr>
            <p:cNvSpPr/>
            <p:nvPr/>
          </p:nvSpPr>
          <p:spPr>
            <a:xfrm>
              <a:off x="8299130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8" name="object 948">
              <a:extLst>
                <a:ext uri="{FF2B5EF4-FFF2-40B4-BE49-F238E27FC236}">
                  <a16:creationId xmlns:a16="http://schemas.microsoft.com/office/drawing/2014/main" id="{3357F354-709A-352A-D919-539AF97519A4}"/>
                </a:ext>
              </a:extLst>
            </p:cNvPr>
            <p:cNvSpPr/>
            <p:nvPr/>
          </p:nvSpPr>
          <p:spPr>
            <a:xfrm>
              <a:off x="8474101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9" name="object 949">
              <a:extLst>
                <a:ext uri="{FF2B5EF4-FFF2-40B4-BE49-F238E27FC236}">
                  <a16:creationId xmlns:a16="http://schemas.microsoft.com/office/drawing/2014/main" id="{3A87CC70-6961-412E-6F81-317F02B327D2}"/>
                </a:ext>
              </a:extLst>
            </p:cNvPr>
            <p:cNvSpPr/>
            <p:nvPr/>
          </p:nvSpPr>
          <p:spPr>
            <a:xfrm>
              <a:off x="8299130" y="271051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50" name="object 950">
            <a:extLst>
              <a:ext uri="{FF2B5EF4-FFF2-40B4-BE49-F238E27FC236}">
                <a16:creationId xmlns:a16="http://schemas.microsoft.com/office/drawing/2014/main" id="{0EA28EF4-51FA-51C3-94DB-CD945A7C2C91}"/>
              </a:ext>
            </a:extLst>
          </p:cNvPr>
          <p:cNvGrpSpPr/>
          <p:nvPr/>
        </p:nvGrpSpPr>
        <p:grpSpPr>
          <a:xfrm>
            <a:off x="8299130" y="4145203"/>
            <a:ext cx="350371" cy="123508"/>
            <a:chOff x="8299130" y="4145203"/>
            <a:chExt cx="350371" cy="123508"/>
          </a:xfrm>
        </p:grpSpPr>
        <p:sp>
          <p:nvSpPr>
            <p:cNvPr id="951" name="object 951">
              <a:extLst>
                <a:ext uri="{FF2B5EF4-FFF2-40B4-BE49-F238E27FC236}">
                  <a16:creationId xmlns:a16="http://schemas.microsoft.com/office/drawing/2014/main" id="{3A9349EB-552C-A55A-9036-E1C8A3D10A8C}"/>
                </a:ext>
              </a:extLst>
            </p:cNvPr>
            <p:cNvSpPr/>
            <p:nvPr/>
          </p:nvSpPr>
          <p:spPr>
            <a:xfrm>
              <a:off x="8579376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2" name="object 952">
              <a:extLst>
                <a:ext uri="{FF2B5EF4-FFF2-40B4-BE49-F238E27FC236}">
                  <a16:creationId xmlns:a16="http://schemas.microsoft.com/office/drawing/2014/main" id="{F3AC54B3-5ADC-BF5F-029F-42A2B2E0E1DD}"/>
                </a:ext>
              </a:extLst>
            </p:cNvPr>
            <p:cNvSpPr/>
            <p:nvPr/>
          </p:nvSpPr>
          <p:spPr>
            <a:xfrm>
              <a:off x="8614397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3" name="object 953">
              <a:extLst>
                <a:ext uri="{FF2B5EF4-FFF2-40B4-BE49-F238E27FC236}">
                  <a16:creationId xmlns:a16="http://schemas.microsoft.com/office/drawing/2014/main" id="{26FB2B67-8097-634C-3C6A-DB4D3A572C1F}"/>
                </a:ext>
              </a:extLst>
            </p:cNvPr>
            <p:cNvSpPr/>
            <p:nvPr/>
          </p:nvSpPr>
          <p:spPr>
            <a:xfrm>
              <a:off x="8509333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4" name="object 954">
              <a:extLst>
                <a:ext uri="{FF2B5EF4-FFF2-40B4-BE49-F238E27FC236}">
                  <a16:creationId xmlns:a16="http://schemas.microsoft.com/office/drawing/2014/main" id="{33863603-5D04-43CA-CB1F-1055F265753C}"/>
                </a:ext>
              </a:extLst>
            </p:cNvPr>
            <p:cNvSpPr/>
            <p:nvPr/>
          </p:nvSpPr>
          <p:spPr>
            <a:xfrm>
              <a:off x="8404268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5" name="object 955">
              <a:extLst>
                <a:ext uri="{FF2B5EF4-FFF2-40B4-BE49-F238E27FC236}">
                  <a16:creationId xmlns:a16="http://schemas.microsoft.com/office/drawing/2014/main" id="{661AC3D5-8444-3F63-8148-36231AAB083B}"/>
                </a:ext>
              </a:extLst>
            </p:cNvPr>
            <p:cNvSpPr/>
            <p:nvPr/>
          </p:nvSpPr>
          <p:spPr>
            <a:xfrm>
              <a:off x="8439354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6" name="object 956">
              <a:extLst>
                <a:ext uri="{FF2B5EF4-FFF2-40B4-BE49-F238E27FC236}">
                  <a16:creationId xmlns:a16="http://schemas.microsoft.com/office/drawing/2014/main" id="{ED0A7ED1-F7F8-31D6-A78E-41C3F270C068}"/>
                </a:ext>
              </a:extLst>
            </p:cNvPr>
            <p:cNvSpPr/>
            <p:nvPr/>
          </p:nvSpPr>
          <p:spPr>
            <a:xfrm>
              <a:off x="8334225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7" name="object 957">
              <a:extLst>
                <a:ext uri="{FF2B5EF4-FFF2-40B4-BE49-F238E27FC236}">
                  <a16:creationId xmlns:a16="http://schemas.microsoft.com/office/drawing/2014/main" id="{F5DC6BCB-E882-F72A-1153-489098AA1598}"/>
                </a:ext>
              </a:extLst>
            </p:cNvPr>
            <p:cNvSpPr/>
            <p:nvPr/>
          </p:nvSpPr>
          <p:spPr>
            <a:xfrm>
              <a:off x="8544354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8" name="object 958">
              <a:extLst>
                <a:ext uri="{FF2B5EF4-FFF2-40B4-BE49-F238E27FC236}">
                  <a16:creationId xmlns:a16="http://schemas.microsoft.com/office/drawing/2014/main" id="{465F499E-FDA7-D7B6-83CC-17035632A84F}"/>
                </a:ext>
              </a:extLst>
            </p:cNvPr>
            <p:cNvSpPr/>
            <p:nvPr/>
          </p:nvSpPr>
          <p:spPr>
            <a:xfrm>
              <a:off x="8369247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9" name="object 959">
              <a:extLst>
                <a:ext uri="{FF2B5EF4-FFF2-40B4-BE49-F238E27FC236}">
                  <a16:creationId xmlns:a16="http://schemas.microsoft.com/office/drawing/2014/main" id="{2B0F3CFE-202A-E23C-66D5-431735504B9D}"/>
                </a:ext>
              </a:extLst>
            </p:cNvPr>
            <p:cNvSpPr/>
            <p:nvPr/>
          </p:nvSpPr>
          <p:spPr>
            <a:xfrm>
              <a:off x="8649419" y="414520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0" name="object 960">
              <a:extLst>
                <a:ext uri="{FF2B5EF4-FFF2-40B4-BE49-F238E27FC236}">
                  <a16:creationId xmlns:a16="http://schemas.microsoft.com/office/drawing/2014/main" id="{44A66BF1-E029-6A84-0CFA-933695C46D2F}"/>
                </a:ext>
              </a:extLst>
            </p:cNvPr>
            <p:cNvSpPr/>
            <p:nvPr/>
          </p:nvSpPr>
          <p:spPr>
            <a:xfrm>
              <a:off x="8474448" y="414520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1" name="object 961">
              <a:extLst>
                <a:ext uri="{FF2B5EF4-FFF2-40B4-BE49-F238E27FC236}">
                  <a16:creationId xmlns:a16="http://schemas.microsoft.com/office/drawing/2014/main" id="{D120D7D3-7BD3-94AE-E314-5AF9C992F693}"/>
                </a:ext>
              </a:extLst>
            </p:cNvPr>
            <p:cNvSpPr/>
            <p:nvPr/>
          </p:nvSpPr>
          <p:spPr>
            <a:xfrm>
              <a:off x="8299478" y="414520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2" name="object 962">
              <a:extLst>
                <a:ext uri="{FF2B5EF4-FFF2-40B4-BE49-F238E27FC236}">
                  <a16:creationId xmlns:a16="http://schemas.microsoft.com/office/drawing/2014/main" id="{73DFB29E-D341-95D6-4323-6955F4B3DB73}"/>
                </a:ext>
              </a:extLst>
            </p:cNvPr>
            <p:cNvSpPr/>
            <p:nvPr/>
          </p:nvSpPr>
          <p:spPr>
            <a:xfrm>
              <a:off x="8299478" y="41707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3" name="object 963">
              <a:extLst>
                <a:ext uri="{FF2B5EF4-FFF2-40B4-BE49-F238E27FC236}">
                  <a16:creationId xmlns:a16="http://schemas.microsoft.com/office/drawing/2014/main" id="{B3D84417-F53E-DDDB-5119-55334E6B1C7A}"/>
                </a:ext>
              </a:extLst>
            </p:cNvPr>
            <p:cNvSpPr/>
            <p:nvPr/>
          </p:nvSpPr>
          <p:spPr>
            <a:xfrm>
              <a:off x="8299588" y="4145203"/>
              <a:ext cx="15017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7650"/>
                <a:gd name="f4" fmla="val 84454"/>
                <a:gd name="f5" fmla="val 247458"/>
                <a:gd name="f6" fmla="val 84123"/>
                <a:gd name="f7" fmla="*/ f0 1 247650"/>
                <a:gd name="f8" fmla="*/ f1 1 84454"/>
                <a:gd name="f9" fmla="+- f4 0 f2"/>
                <a:gd name="f10" fmla="+- f3 0 f2"/>
                <a:gd name="f11" fmla="*/ f10 1 2476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76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4" name="object 964">
              <a:extLst>
                <a:ext uri="{FF2B5EF4-FFF2-40B4-BE49-F238E27FC236}">
                  <a16:creationId xmlns:a16="http://schemas.microsoft.com/office/drawing/2014/main" id="{79FDB43A-2173-3A55-05A1-827DF4C55075}"/>
                </a:ext>
              </a:extLst>
            </p:cNvPr>
            <p:cNvSpPr/>
            <p:nvPr/>
          </p:nvSpPr>
          <p:spPr>
            <a:xfrm>
              <a:off x="8299588" y="4217496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80"/>
                <a:gd name="f4" fmla="val 84454"/>
                <a:gd name="f5" fmla="val 576296"/>
                <a:gd name="f6" fmla="val 84133"/>
                <a:gd name="f7" fmla="*/ f0 1 576580"/>
                <a:gd name="f8" fmla="*/ f1 1 84454"/>
                <a:gd name="f9" fmla="+- f4 0 f2"/>
                <a:gd name="f10" fmla="+- f3 0 f2"/>
                <a:gd name="f11" fmla="*/ f10 1 57658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8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5" name="object 965">
              <a:extLst>
                <a:ext uri="{FF2B5EF4-FFF2-40B4-BE49-F238E27FC236}">
                  <a16:creationId xmlns:a16="http://schemas.microsoft.com/office/drawing/2014/main" id="{4F2229F2-4E0A-E46B-2CA7-E4403275FA44}"/>
                </a:ext>
              </a:extLst>
            </p:cNvPr>
            <p:cNvSpPr/>
            <p:nvPr/>
          </p:nvSpPr>
          <p:spPr>
            <a:xfrm>
              <a:off x="8579028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6" name="object 966">
              <a:extLst>
                <a:ext uri="{FF2B5EF4-FFF2-40B4-BE49-F238E27FC236}">
                  <a16:creationId xmlns:a16="http://schemas.microsoft.com/office/drawing/2014/main" id="{27E93614-60C6-ADF0-A17F-4061EE248403}"/>
                </a:ext>
              </a:extLst>
            </p:cNvPr>
            <p:cNvSpPr/>
            <p:nvPr/>
          </p:nvSpPr>
          <p:spPr>
            <a:xfrm>
              <a:off x="8614050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7" name="object 967">
              <a:extLst>
                <a:ext uri="{FF2B5EF4-FFF2-40B4-BE49-F238E27FC236}">
                  <a16:creationId xmlns:a16="http://schemas.microsoft.com/office/drawing/2014/main" id="{E4410497-432C-CB62-BB47-E9234C14069C}"/>
                </a:ext>
              </a:extLst>
            </p:cNvPr>
            <p:cNvSpPr/>
            <p:nvPr/>
          </p:nvSpPr>
          <p:spPr>
            <a:xfrm>
              <a:off x="8508985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8" name="object 968">
              <a:extLst>
                <a:ext uri="{FF2B5EF4-FFF2-40B4-BE49-F238E27FC236}">
                  <a16:creationId xmlns:a16="http://schemas.microsoft.com/office/drawing/2014/main" id="{0625C4DB-BD07-7E5B-C021-EC2C5F0756BA}"/>
                </a:ext>
              </a:extLst>
            </p:cNvPr>
            <p:cNvSpPr/>
            <p:nvPr/>
          </p:nvSpPr>
          <p:spPr>
            <a:xfrm>
              <a:off x="8403921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9" name="object 969">
              <a:extLst>
                <a:ext uri="{FF2B5EF4-FFF2-40B4-BE49-F238E27FC236}">
                  <a16:creationId xmlns:a16="http://schemas.microsoft.com/office/drawing/2014/main" id="{7AD60BC0-3F7A-5A33-8F51-E6775982D11F}"/>
                </a:ext>
              </a:extLst>
            </p:cNvPr>
            <p:cNvSpPr/>
            <p:nvPr/>
          </p:nvSpPr>
          <p:spPr>
            <a:xfrm>
              <a:off x="8439015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0" name="object 970">
              <a:extLst>
                <a:ext uri="{FF2B5EF4-FFF2-40B4-BE49-F238E27FC236}">
                  <a16:creationId xmlns:a16="http://schemas.microsoft.com/office/drawing/2014/main" id="{A805CA87-5B94-3619-7AC1-630B45BBE114}"/>
                </a:ext>
              </a:extLst>
            </p:cNvPr>
            <p:cNvSpPr/>
            <p:nvPr/>
          </p:nvSpPr>
          <p:spPr>
            <a:xfrm>
              <a:off x="8333878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1" name="object 971">
              <a:extLst>
                <a:ext uri="{FF2B5EF4-FFF2-40B4-BE49-F238E27FC236}">
                  <a16:creationId xmlns:a16="http://schemas.microsoft.com/office/drawing/2014/main" id="{A5C7EEB8-A866-BDB2-C6CF-5BD5FFE73A35}"/>
                </a:ext>
              </a:extLst>
            </p:cNvPr>
            <p:cNvSpPr/>
            <p:nvPr/>
          </p:nvSpPr>
          <p:spPr>
            <a:xfrm>
              <a:off x="8544007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2" name="object 972">
              <a:extLst>
                <a:ext uri="{FF2B5EF4-FFF2-40B4-BE49-F238E27FC236}">
                  <a16:creationId xmlns:a16="http://schemas.microsoft.com/office/drawing/2014/main" id="{C4BD8515-91F6-8FE1-051E-5975DD8E8BEE}"/>
                </a:ext>
              </a:extLst>
            </p:cNvPr>
            <p:cNvSpPr/>
            <p:nvPr/>
          </p:nvSpPr>
          <p:spPr>
            <a:xfrm>
              <a:off x="8368899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3" name="object 973">
              <a:extLst>
                <a:ext uri="{FF2B5EF4-FFF2-40B4-BE49-F238E27FC236}">
                  <a16:creationId xmlns:a16="http://schemas.microsoft.com/office/drawing/2014/main" id="{44DD0063-DECD-80B2-6118-2BCD94C7F785}"/>
                </a:ext>
              </a:extLst>
            </p:cNvPr>
            <p:cNvSpPr/>
            <p:nvPr/>
          </p:nvSpPr>
          <p:spPr>
            <a:xfrm>
              <a:off x="8649071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4" name="object 974">
              <a:extLst>
                <a:ext uri="{FF2B5EF4-FFF2-40B4-BE49-F238E27FC236}">
                  <a16:creationId xmlns:a16="http://schemas.microsoft.com/office/drawing/2014/main" id="{835D1A9C-C8D2-AA27-752B-2DBCAFAA1D69}"/>
                </a:ext>
              </a:extLst>
            </p:cNvPr>
            <p:cNvSpPr/>
            <p:nvPr/>
          </p:nvSpPr>
          <p:spPr>
            <a:xfrm>
              <a:off x="8474101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5" name="object 975">
              <a:extLst>
                <a:ext uri="{FF2B5EF4-FFF2-40B4-BE49-F238E27FC236}">
                  <a16:creationId xmlns:a16="http://schemas.microsoft.com/office/drawing/2014/main" id="{58181C39-A86E-B253-DB57-60CBA048EE47}"/>
                </a:ext>
              </a:extLst>
            </p:cNvPr>
            <p:cNvSpPr/>
            <p:nvPr/>
          </p:nvSpPr>
          <p:spPr>
            <a:xfrm>
              <a:off x="8299130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6" name="object 976">
              <a:extLst>
                <a:ext uri="{FF2B5EF4-FFF2-40B4-BE49-F238E27FC236}">
                  <a16:creationId xmlns:a16="http://schemas.microsoft.com/office/drawing/2014/main" id="{73429E17-FA3E-B99F-6551-24AF9D6CAF13}"/>
                </a:ext>
              </a:extLst>
            </p:cNvPr>
            <p:cNvSpPr/>
            <p:nvPr/>
          </p:nvSpPr>
          <p:spPr>
            <a:xfrm>
              <a:off x="8474101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7" name="object 977">
              <a:extLst>
                <a:ext uri="{FF2B5EF4-FFF2-40B4-BE49-F238E27FC236}">
                  <a16:creationId xmlns:a16="http://schemas.microsoft.com/office/drawing/2014/main" id="{986317E0-CC44-22ED-06B0-670C6A7F72EC}"/>
                </a:ext>
              </a:extLst>
            </p:cNvPr>
            <p:cNvSpPr/>
            <p:nvPr/>
          </p:nvSpPr>
          <p:spPr>
            <a:xfrm>
              <a:off x="8299130" y="424300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78" name="object 978">
            <a:extLst>
              <a:ext uri="{FF2B5EF4-FFF2-40B4-BE49-F238E27FC236}">
                <a16:creationId xmlns:a16="http://schemas.microsoft.com/office/drawing/2014/main" id="{F0EB654F-B05F-1178-8EC7-3D4972FA6482}"/>
              </a:ext>
            </a:extLst>
          </p:cNvPr>
          <p:cNvGrpSpPr/>
          <p:nvPr/>
        </p:nvGrpSpPr>
        <p:grpSpPr>
          <a:xfrm>
            <a:off x="8299130" y="4906670"/>
            <a:ext cx="350371" cy="123507"/>
            <a:chOff x="8299130" y="4906670"/>
            <a:chExt cx="350371" cy="123507"/>
          </a:xfrm>
        </p:grpSpPr>
        <p:sp>
          <p:nvSpPr>
            <p:cNvPr id="979" name="object 979">
              <a:extLst>
                <a:ext uri="{FF2B5EF4-FFF2-40B4-BE49-F238E27FC236}">
                  <a16:creationId xmlns:a16="http://schemas.microsoft.com/office/drawing/2014/main" id="{CE1185C8-370B-9429-B61D-191ADF265F1E}"/>
                </a:ext>
              </a:extLst>
            </p:cNvPr>
            <p:cNvSpPr/>
            <p:nvPr/>
          </p:nvSpPr>
          <p:spPr>
            <a:xfrm>
              <a:off x="8579376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0" name="object 980">
              <a:extLst>
                <a:ext uri="{FF2B5EF4-FFF2-40B4-BE49-F238E27FC236}">
                  <a16:creationId xmlns:a16="http://schemas.microsoft.com/office/drawing/2014/main" id="{58D71B72-04F9-6B87-77F7-BDA6D8802B2C}"/>
                </a:ext>
              </a:extLst>
            </p:cNvPr>
            <p:cNvSpPr/>
            <p:nvPr/>
          </p:nvSpPr>
          <p:spPr>
            <a:xfrm>
              <a:off x="861439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1" name="object 981">
              <a:extLst>
                <a:ext uri="{FF2B5EF4-FFF2-40B4-BE49-F238E27FC236}">
                  <a16:creationId xmlns:a16="http://schemas.microsoft.com/office/drawing/2014/main" id="{0B279DCC-87AC-B12E-70EC-6AB80FF85D59}"/>
                </a:ext>
              </a:extLst>
            </p:cNvPr>
            <p:cNvSpPr/>
            <p:nvPr/>
          </p:nvSpPr>
          <p:spPr>
            <a:xfrm>
              <a:off x="8509333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2" name="object 982">
              <a:extLst>
                <a:ext uri="{FF2B5EF4-FFF2-40B4-BE49-F238E27FC236}">
                  <a16:creationId xmlns:a16="http://schemas.microsoft.com/office/drawing/2014/main" id="{C062805B-6C29-6BB9-64F7-60B4EBADB770}"/>
                </a:ext>
              </a:extLst>
            </p:cNvPr>
            <p:cNvSpPr/>
            <p:nvPr/>
          </p:nvSpPr>
          <p:spPr>
            <a:xfrm>
              <a:off x="8404268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3" name="object 983">
              <a:extLst>
                <a:ext uri="{FF2B5EF4-FFF2-40B4-BE49-F238E27FC236}">
                  <a16:creationId xmlns:a16="http://schemas.microsoft.com/office/drawing/2014/main" id="{00F64122-669C-1C9C-AC8A-6B4605D48C6E}"/>
                </a:ext>
              </a:extLst>
            </p:cNvPr>
            <p:cNvSpPr/>
            <p:nvPr/>
          </p:nvSpPr>
          <p:spPr>
            <a:xfrm>
              <a:off x="8439354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4" name="object 984">
              <a:extLst>
                <a:ext uri="{FF2B5EF4-FFF2-40B4-BE49-F238E27FC236}">
                  <a16:creationId xmlns:a16="http://schemas.microsoft.com/office/drawing/2014/main" id="{6D9EE81F-6180-B007-6277-8987E2F1F326}"/>
                </a:ext>
              </a:extLst>
            </p:cNvPr>
            <p:cNvSpPr/>
            <p:nvPr/>
          </p:nvSpPr>
          <p:spPr>
            <a:xfrm>
              <a:off x="8334225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5" name="object 985">
              <a:extLst>
                <a:ext uri="{FF2B5EF4-FFF2-40B4-BE49-F238E27FC236}">
                  <a16:creationId xmlns:a16="http://schemas.microsoft.com/office/drawing/2014/main" id="{E86DA692-C36F-8DB7-44F6-CE48412615D4}"/>
                </a:ext>
              </a:extLst>
            </p:cNvPr>
            <p:cNvSpPr/>
            <p:nvPr/>
          </p:nvSpPr>
          <p:spPr>
            <a:xfrm>
              <a:off x="8544354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6" name="object 986">
              <a:extLst>
                <a:ext uri="{FF2B5EF4-FFF2-40B4-BE49-F238E27FC236}">
                  <a16:creationId xmlns:a16="http://schemas.microsoft.com/office/drawing/2014/main" id="{AF9E97F1-60A5-5667-3CE1-49D615E3AA49}"/>
                </a:ext>
              </a:extLst>
            </p:cNvPr>
            <p:cNvSpPr/>
            <p:nvPr/>
          </p:nvSpPr>
          <p:spPr>
            <a:xfrm>
              <a:off x="836924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7" name="object 987">
              <a:extLst>
                <a:ext uri="{FF2B5EF4-FFF2-40B4-BE49-F238E27FC236}">
                  <a16:creationId xmlns:a16="http://schemas.microsoft.com/office/drawing/2014/main" id="{D3DA1CF2-9B3F-C088-D42A-75DFB233B9ED}"/>
                </a:ext>
              </a:extLst>
            </p:cNvPr>
            <p:cNvSpPr/>
            <p:nvPr/>
          </p:nvSpPr>
          <p:spPr>
            <a:xfrm>
              <a:off x="864941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8" name="object 988">
              <a:extLst>
                <a:ext uri="{FF2B5EF4-FFF2-40B4-BE49-F238E27FC236}">
                  <a16:creationId xmlns:a16="http://schemas.microsoft.com/office/drawing/2014/main" id="{DFAE1352-159C-7A33-D42E-3E9E367FDDE7}"/>
                </a:ext>
              </a:extLst>
            </p:cNvPr>
            <p:cNvSpPr/>
            <p:nvPr/>
          </p:nvSpPr>
          <p:spPr>
            <a:xfrm>
              <a:off x="8474448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9" name="object 989">
              <a:extLst>
                <a:ext uri="{FF2B5EF4-FFF2-40B4-BE49-F238E27FC236}">
                  <a16:creationId xmlns:a16="http://schemas.microsoft.com/office/drawing/2014/main" id="{D16E01C7-A0F6-A5AD-BDA8-E9A5CB0D31A2}"/>
                </a:ext>
              </a:extLst>
            </p:cNvPr>
            <p:cNvSpPr/>
            <p:nvPr/>
          </p:nvSpPr>
          <p:spPr>
            <a:xfrm>
              <a:off x="8299478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0" name="object 990">
              <a:extLst>
                <a:ext uri="{FF2B5EF4-FFF2-40B4-BE49-F238E27FC236}">
                  <a16:creationId xmlns:a16="http://schemas.microsoft.com/office/drawing/2014/main" id="{E41BF603-D0FA-9BCE-2F06-9DD79BAFBE7F}"/>
                </a:ext>
              </a:extLst>
            </p:cNvPr>
            <p:cNvSpPr/>
            <p:nvPr/>
          </p:nvSpPr>
          <p:spPr>
            <a:xfrm>
              <a:off x="8299478" y="49321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1" name="object 991">
              <a:extLst>
                <a:ext uri="{FF2B5EF4-FFF2-40B4-BE49-F238E27FC236}">
                  <a16:creationId xmlns:a16="http://schemas.microsoft.com/office/drawing/2014/main" id="{DBFB3455-4012-63C2-9796-3ABAF5A109B9}"/>
                </a:ext>
              </a:extLst>
            </p:cNvPr>
            <p:cNvSpPr/>
            <p:nvPr/>
          </p:nvSpPr>
          <p:spPr>
            <a:xfrm>
              <a:off x="8299588" y="4906670"/>
              <a:ext cx="4505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4294"/>
                <a:gd name="f4" fmla="val 84454"/>
                <a:gd name="f5" fmla="val 74060"/>
                <a:gd name="f6" fmla="val 84133"/>
                <a:gd name="f7" fmla="*/ f0 1 74294"/>
                <a:gd name="f8" fmla="*/ f1 1 84454"/>
                <a:gd name="f9" fmla="+- f4 0 f2"/>
                <a:gd name="f10" fmla="+- f3 0 f2"/>
                <a:gd name="f11" fmla="*/ f10 1 7429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7429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2" name="object 992">
              <a:extLst>
                <a:ext uri="{FF2B5EF4-FFF2-40B4-BE49-F238E27FC236}">
                  <a16:creationId xmlns:a16="http://schemas.microsoft.com/office/drawing/2014/main" id="{609DE375-4C69-0D98-333B-6A157E25F3B5}"/>
                </a:ext>
              </a:extLst>
            </p:cNvPr>
            <p:cNvSpPr/>
            <p:nvPr/>
          </p:nvSpPr>
          <p:spPr>
            <a:xfrm>
              <a:off x="8299588" y="4978962"/>
              <a:ext cx="8702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3509"/>
                <a:gd name="f4" fmla="val 84454"/>
                <a:gd name="f5" fmla="val 143116"/>
                <a:gd name="f6" fmla="val 84133"/>
                <a:gd name="f7" fmla="*/ f0 1 143509"/>
                <a:gd name="f8" fmla="*/ f1 1 84454"/>
                <a:gd name="f9" fmla="+- f4 0 f2"/>
                <a:gd name="f10" fmla="+- f3 0 f2"/>
                <a:gd name="f11" fmla="*/ f10 1 1435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35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3" name="object 993">
              <a:extLst>
                <a:ext uri="{FF2B5EF4-FFF2-40B4-BE49-F238E27FC236}">
                  <a16:creationId xmlns:a16="http://schemas.microsoft.com/office/drawing/2014/main" id="{6191D9D8-D877-9398-E2EC-7180798BE74F}"/>
                </a:ext>
              </a:extLst>
            </p:cNvPr>
            <p:cNvSpPr/>
            <p:nvPr/>
          </p:nvSpPr>
          <p:spPr>
            <a:xfrm>
              <a:off x="8579028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4" name="object 994">
              <a:extLst>
                <a:ext uri="{FF2B5EF4-FFF2-40B4-BE49-F238E27FC236}">
                  <a16:creationId xmlns:a16="http://schemas.microsoft.com/office/drawing/2014/main" id="{1BD36687-DC61-9054-6B10-90922A5365BA}"/>
                </a:ext>
              </a:extLst>
            </p:cNvPr>
            <p:cNvSpPr/>
            <p:nvPr/>
          </p:nvSpPr>
          <p:spPr>
            <a:xfrm>
              <a:off x="861405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5" name="object 995">
              <a:extLst>
                <a:ext uri="{FF2B5EF4-FFF2-40B4-BE49-F238E27FC236}">
                  <a16:creationId xmlns:a16="http://schemas.microsoft.com/office/drawing/2014/main" id="{5E89EB19-886B-95BD-275F-3D0A932BFE23}"/>
                </a:ext>
              </a:extLst>
            </p:cNvPr>
            <p:cNvSpPr/>
            <p:nvPr/>
          </p:nvSpPr>
          <p:spPr>
            <a:xfrm>
              <a:off x="850898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6" name="object 996">
              <a:extLst>
                <a:ext uri="{FF2B5EF4-FFF2-40B4-BE49-F238E27FC236}">
                  <a16:creationId xmlns:a16="http://schemas.microsoft.com/office/drawing/2014/main" id="{0B339C9E-7351-0735-9402-E89108A4D215}"/>
                </a:ext>
              </a:extLst>
            </p:cNvPr>
            <p:cNvSpPr/>
            <p:nvPr/>
          </p:nvSpPr>
          <p:spPr>
            <a:xfrm>
              <a:off x="8403921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7" name="object 997">
              <a:extLst>
                <a:ext uri="{FF2B5EF4-FFF2-40B4-BE49-F238E27FC236}">
                  <a16:creationId xmlns:a16="http://schemas.microsoft.com/office/drawing/2014/main" id="{20F09587-7351-A925-012C-57D3E6C18454}"/>
                </a:ext>
              </a:extLst>
            </p:cNvPr>
            <p:cNvSpPr/>
            <p:nvPr/>
          </p:nvSpPr>
          <p:spPr>
            <a:xfrm>
              <a:off x="843901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8" name="object 998">
              <a:extLst>
                <a:ext uri="{FF2B5EF4-FFF2-40B4-BE49-F238E27FC236}">
                  <a16:creationId xmlns:a16="http://schemas.microsoft.com/office/drawing/2014/main" id="{223F15E3-A65E-3AD9-4581-53077D79E216}"/>
                </a:ext>
              </a:extLst>
            </p:cNvPr>
            <p:cNvSpPr/>
            <p:nvPr/>
          </p:nvSpPr>
          <p:spPr>
            <a:xfrm>
              <a:off x="8333878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9" name="object 999">
              <a:extLst>
                <a:ext uri="{FF2B5EF4-FFF2-40B4-BE49-F238E27FC236}">
                  <a16:creationId xmlns:a16="http://schemas.microsoft.com/office/drawing/2014/main" id="{A1BD20A0-442C-7022-759F-656A5E145374}"/>
                </a:ext>
              </a:extLst>
            </p:cNvPr>
            <p:cNvSpPr/>
            <p:nvPr/>
          </p:nvSpPr>
          <p:spPr>
            <a:xfrm>
              <a:off x="8544007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0" name="object 1000">
              <a:extLst>
                <a:ext uri="{FF2B5EF4-FFF2-40B4-BE49-F238E27FC236}">
                  <a16:creationId xmlns:a16="http://schemas.microsoft.com/office/drawing/2014/main" id="{10CDBDCF-2B9A-968B-1DA3-86E559B182B3}"/>
                </a:ext>
              </a:extLst>
            </p:cNvPr>
            <p:cNvSpPr/>
            <p:nvPr/>
          </p:nvSpPr>
          <p:spPr>
            <a:xfrm>
              <a:off x="8368899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1" name="object 1001">
              <a:extLst>
                <a:ext uri="{FF2B5EF4-FFF2-40B4-BE49-F238E27FC236}">
                  <a16:creationId xmlns:a16="http://schemas.microsoft.com/office/drawing/2014/main" id="{C658E39F-A704-2C22-EAFC-1016D50CBD5B}"/>
                </a:ext>
              </a:extLst>
            </p:cNvPr>
            <p:cNvSpPr/>
            <p:nvPr/>
          </p:nvSpPr>
          <p:spPr>
            <a:xfrm>
              <a:off x="864907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2" name="object 1002">
              <a:extLst>
                <a:ext uri="{FF2B5EF4-FFF2-40B4-BE49-F238E27FC236}">
                  <a16:creationId xmlns:a16="http://schemas.microsoft.com/office/drawing/2014/main" id="{96602015-B9BD-78B5-C18A-B65BC291BCF6}"/>
                </a:ext>
              </a:extLst>
            </p:cNvPr>
            <p:cNvSpPr/>
            <p:nvPr/>
          </p:nvSpPr>
          <p:spPr>
            <a:xfrm>
              <a:off x="847410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3" name="object 1003">
              <a:extLst>
                <a:ext uri="{FF2B5EF4-FFF2-40B4-BE49-F238E27FC236}">
                  <a16:creationId xmlns:a16="http://schemas.microsoft.com/office/drawing/2014/main" id="{18A9D191-2365-3E76-31DE-019F40F87C62}"/>
                </a:ext>
              </a:extLst>
            </p:cNvPr>
            <p:cNvSpPr/>
            <p:nvPr/>
          </p:nvSpPr>
          <p:spPr>
            <a:xfrm>
              <a:off x="8299130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4" name="object 1004">
              <a:extLst>
                <a:ext uri="{FF2B5EF4-FFF2-40B4-BE49-F238E27FC236}">
                  <a16:creationId xmlns:a16="http://schemas.microsoft.com/office/drawing/2014/main" id="{C81FD24A-0D9E-5B52-16BF-64EBC0B7E8C1}"/>
                </a:ext>
              </a:extLst>
            </p:cNvPr>
            <p:cNvSpPr/>
            <p:nvPr/>
          </p:nvSpPr>
          <p:spPr>
            <a:xfrm>
              <a:off x="847410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5" name="object 1005">
              <a:extLst>
                <a:ext uri="{FF2B5EF4-FFF2-40B4-BE49-F238E27FC236}">
                  <a16:creationId xmlns:a16="http://schemas.microsoft.com/office/drawing/2014/main" id="{54F08FF9-814D-BB61-687A-1C45B172E4D1}"/>
                </a:ext>
              </a:extLst>
            </p:cNvPr>
            <p:cNvSpPr/>
            <p:nvPr/>
          </p:nvSpPr>
          <p:spPr>
            <a:xfrm>
              <a:off x="8299130" y="50044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006" name="object 1006">
            <a:extLst>
              <a:ext uri="{FF2B5EF4-FFF2-40B4-BE49-F238E27FC236}">
                <a16:creationId xmlns:a16="http://schemas.microsoft.com/office/drawing/2014/main" id="{8CF2507F-E4A4-2B8A-7EE0-B64F18029D71}"/>
              </a:ext>
            </a:extLst>
          </p:cNvPr>
          <p:cNvGrpSpPr/>
          <p:nvPr/>
        </p:nvGrpSpPr>
        <p:grpSpPr>
          <a:xfrm>
            <a:off x="8299130" y="5669709"/>
            <a:ext cx="350371" cy="123508"/>
            <a:chOff x="8299130" y="5669709"/>
            <a:chExt cx="350371" cy="123508"/>
          </a:xfrm>
        </p:grpSpPr>
        <p:sp>
          <p:nvSpPr>
            <p:cNvPr id="1007" name="object 1007">
              <a:extLst>
                <a:ext uri="{FF2B5EF4-FFF2-40B4-BE49-F238E27FC236}">
                  <a16:creationId xmlns:a16="http://schemas.microsoft.com/office/drawing/2014/main" id="{CA21C176-9C81-B51F-9441-B0D3D5A42A44}"/>
                </a:ext>
              </a:extLst>
            </p:cNvPr>
            <p:cNvSpPr/>
            <p:nvPr/>
          </p:nvSpPr>
          <p:spPr>
            <a:xfrm>
              <a:off x="8579376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8" name="object 1008">
              <a:extLst>
                <a:ext uri="{FF2B5EF4-FFF2-40B4-BE49-F238E27FC236}">
                  <a16:creationId xmlns:a16="http://schemas.microsoft.com/office/drawing/2014/main" id="{12F467CA-8FAF-7ADA-822B-288A8ECE5BC8}"/>
                </a:ext>
              </a:extLst>
            </p:cNvPr>
            <p:cNvSpPr/>
            <p:nvPr/>
          </p:nvSpPr>
          <p:spPr>
            <a:xfrm>
              <a:off x="861439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9" name="object 1009">
              <a:extLst>
                <a:ext uri="{FF2B5EF4-FFF2-40B4-BE49-F238E27FC236}">
                  <a16:creationId xmlns:a16="http://schemas.microsoft.com/office/drawing/2014/main" id="{B6DAF9BA-C1EC-57CE-4B36-EDE00B6B956E}"/>
                </a:ext>
              </a:extLst>
            </p:cNvPr>
            <p:cNvSpPr/>
            <p:nvPr/>
          </p:nvSpPr>
          <p:spPr>
            <a:xfrm>
              <a:off x="850933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0" name="object 1010">
              <a:extLst>
                <a:ext uri="{FF2B5EF4-FFF2-40B4-BE49-F238E27FC236}">
                  <a16:creationId xmlns:a16="http://schemas.microsoft.com/office/drawing/2014/main" id="{D93FCB6B-2D7A-89CD-60EB-BF9121FCF904}"/>
                </a:ext>
              </a:extLst>
            </p:cNvPr>
            <p:cNvSpPr/>
            <p:nvPr/>
          </p:nvSpPr>
          <p:spPr>
            <a:xfrm>
              <a:off x="8404268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1" name="object 1011">
              <a:extLst>
                <a:ext uri="{FF2B5EF4-FFF2-40B4-BE49-F238E27FC236}">
                  <a16:creationId xmlns:a16="http://schemas.microsoft.com/office/drawing/2014/main" id="{EE89B047-D94B-8328-9524-ACBED458922A}"/>
                </a:ext>
              </a:extLst>
            </p:cNvPr>
            <p:cNvSpPr/>
            <p:nvPr/>
          </p:nvSpPr>
          <p:spPr>
            <a:xfrm>
              <a:off x="8439354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2" name="object 1012">
              <a:extLst>
                <a:ext uri="{FF2B5EF4-FFF2-40B4-BE49-F238E27FC236}">
                  <a16:creationId xmlns:a16="http://schemas.microsoft.com/office/drawing/2014/main" id="{DA46F897-9DA1-A566-28C4-72292E374290}"/>
                </a:ext>
              </a:extLst>
            </p:cNvPr>
            <p:cNvSpPr/>
            <p:nvPr/>
          </p:nvSpPr>
          <p:spPr>
            <a:xfrm>
              <a:off x="8334225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3" name="object 1013">
              <a:extLst>
                <a:ext uri="{FF2B5EF4-FFF2-40B4-BE49-F238E27FC236}">
                  <a16:creationId xmlns:a16="http://schemas.microsoft.com/office/drawing/2014/main" id="{96DE9027-C868-0191-B330-889AFBDB579A}"/>
                </a:ext>
              </a:extLst>
            </p:cNvPr>
            <p:cNvSpPr/>
            <p:nvPr/>
          </p:nvSpPr>
          <p:spPr>
            <a:xfrm>
              <a:off x="8544354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4" name="object 1014">
              <a:extLst>
                <a:ext uri="{FF2B5EF4-FFF2-40B4-BE49-F238E27FC236}">
                  <a16:creationId xmlns:a16="http://schemas.microsoft.com/office/drawing/2014/main" id="{5B22D198-05CB-AD0A-B530-7D121B955AA5}"/>
                </a:ext>
              </a:extLst>
            </p:cNvPr>
            <p:cNvSpPr/>
            <p:nvPr/>
          </p:nvSpPr>
          <p:spPr>
            <a:xfrm>
              <a:off x="836924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5" name="object 1015">
              <a:extLst>
                <a:ext uri="{FF2B5EF4-FFF2-40B4-BE49-F238E27FC236}">
                  <a16:creationId xmlns:a16="http://schemas.microsoft.com/office/drawing/2014/main" id="{693CA0DC-1142-6ACA-551B-53FA2B78BCEA}"/>
                </a:ext>
              </a:extLst>
            </p:cNvPr>
            <p:cNvSpPr/>
            <p:nvPr/>
          </p:nvSpPr>
          <p:spPr>
            <a:xfrm>
              <a:off x="8649419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6" name="object 1016">
              <a:extLst>
                <a:ext uri="{FF2B5EF4-FFF2-40B4-BE49-F238E27FC236}">
                  <a16:creationId xmlns:a16="http://schemas.microsoft.com/office/drawing/2014/main" id="{B564AEA2-9B6B-74D6-7EFB-B7FF7B817DF1}"/>
                </a:ext>
              </a:extLst>
            </p:cNvPr>
            <p:cNvSpPr/>
            <p:nvPr/>
          </p:nvSpPr>
          <p:spPr>
            <a:xfrm>
              <a:off x="847444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7" name="object 1017">
              <a:extLst>
                <a:ext uri="{FF2B5EF4-FFF2-40B4-BE49-F238E27FC236}">
                  <a16:creationId xmlns:a16="http://schemas.microsoft.com/office/drawing/2014/main" id="{5032AD31-72B0-C1C7-00E7-1A90D4BFF233}"/>
                </a:ext>
              </a:extLst>
            </p:cNvPr>
            <p:cNvSpPr/>
            <p:nvPr/>
          </p:nvSpPr>
          <p:spPr>
            <a:xfrm>
              <a:off x="829947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8" name="object 1018">
              <a:extLst>
                <a:ext uri="{FF2B5EF4-FFF2-40B4-BE49-F238E27FC236}">
                  <a16:creationId xmlns:a16="http://schemas.microsoft.com/office/drawing/2014/main" id="{06CE4472-7127-343C-7D56-AE30EDAFAD80}"/>
                </a:ext>
              </a:extLst>
            </p:cNvPr>
            <p:cNvSpPr/>
            <p:nvPr/>
          </p:nvSpPr>
          <p:spPr>
            <a:xfrm>
              <a:off x="8299478" y="569521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9" name="object 1019">
              <a:extLst>
                <a:ext uri="{FF2B5EF4-FFF2-40B4-BE49-F238E27FC236}">
                  <a16:creationId xmlns:a16="http://schemas.microsoft.com/office/drawing/2014/main" id="{96CE0CE1-4E44-B79A-48A7-F385CC2A21CA}"/>
                </a:ext>
              </a:extLst>
            </p:cNvPr>
            <p:cNvSpPr/>
            <p:nvPr/>
          </p:nvSpPr>
          <p:spPr>
            <a:xfrm>
              <a:off x="8299588" y="5669709"/>
              <a:ext cx="7662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6365"/>
                <a:gd name="f4" fmla="val 84454"/>
                <a:gd name="f5" fmla="val 126195"/>
                <a:gd name="f6" fmla="val 84123"/>
                <a:gd name="f7" fmla="*/ f0 1 126365"/>
                <a:gd name="f8" fmla="*/ f1 1 84454"/>
                <a:gd name="f9" fmla="+- f4 0 f2"/>
                <a:gd name="f10" fmla="+- f3 0 f2"/>
                <a:gd name="f11" fmla="*/ f10 1 1263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63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0" name="object 1020">
              <a:extLst>
                <a:ext uri="{FF2B5EF4-FFF2-40B4-BE49-F238E27FC236}">
                  <a16:creationId xmlns:a16="http://schemas.microsoft.com/office/drawing/2014/main" id="{666DDBF0-A3B7-EEC6-C78F-D19EB0D76FCF}"/>
                </a:ext>
              </a:extLst>
            </p:cNvPr>
            <p:cNvSpPr/>
            <p:nvPr/>
          </p:nvSpPr>
          <p:spPr>
            <a:xfrm>
              <a:off x="8299588" y="5742002"/>
              <a:ext cx="1239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04469"/>
                <a:gd name="f4" fmla="val 84454"/>
                <a:gd name="f5" fmla="val 204161"/>
                <a:gd name="f6" fmla="val 84133"/>
                <a:gd name="f7" fmla="*/ f0 1 204469"/>
                <a:gd name="f8" fmla="*/ f1 1 84454"/>
                <a:gd name="f9" fmla="+- f4 0 f2"/>
                <a:gd name="f10" fmla="+- f3 0 f2"/>
                <a:gd name="f11" fmla="*/ f10 1 20446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0446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1" name="object 1021">
              <a:extLst>
                <a:ext uri="{FF2B5EF4-FFF2-40B4-BE49-F238E27FC236}">
                  <a16:creationId xmlns:a16="http://schemas.microsoft.com/office/drawing/2014/main" id="{B58FD166-2100-26ED-DACD-4CBCBC4CAAFE}"/>
                </a:ext>
              </a:extLst>
            </p:cNvPr>
            <p:cNvSpPr/>
            <p:nvPr/>
          </p:nvSpPr>
          <p:spPr>
            <a:xfrm>
              <a:off x="8579028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2" name="object 1022">
              <a:extLst>
                <a:ext uri="{FF2B5EF4-FFF2-40B4-BE49-F238E27FC236}">
                  <a16:creationId xmlns:a16="http://schemas.microsoft.com/office/drawing/2014/main" id="{2256A958-2CC3-039E-82EA-A4584CBAECD7}"/>
                </a:ext>
              </a:extLst>
            </p:cNvPr>
            <p:cNvSpPr/>
            <p:nvPr/>
          </p:nvSpPr>
          <p:spPr>
            <a:xfrm>
              <a:off x="8614050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3" name="object 1023">
              <a:extLst>
                <a:ext uri="{FF2B5EF4-FFF2-40B4-BE49-F238E27FC236}">
                  <a16:creationId xmlns:a16="http://schemas.microsoft.com/office/drawing/2014/main" id="{328FDD69-2E4C-FB78-5931-F7541CFC69EA}"/>
                </a:ext>
              </a:extLst>
            </p:cNvPr>
            <p:cNvSpPr/>
            <p:nvPr/>
          </p:nvSpPr>
          <p:spPr>
            <a:xfrm>
              <a:off x="8508985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4" name="object 1024">
              <a:extLst>
                <a:ext uri="{FF2B5EF4-FFF2-40B4-BE49-F238E27FC236}">
                  <a16:creationId xmlns:a16="http://schemas.microsoft.com/office/drawing/2014/main" id="{461BBD60-4684-E754-B2F3-20708AB483B5}"/>
                </a:ext>
              </a:extLst>
            </p:cNvPr>
            <p:cNvSpPr/>
            <p:nvPr/>
          </p:nvSpPr>
          <p:spPr>
            <a:xfrm>
              <a:off x="8403921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5" name="object 1025">
              <a:extLst>
                <a:ext uri="{FF2B5EF4-FFF2-40B4-BE49-F238E27FC236}">
                  <a16:creationId xmlns:a16="http://schemas.microsoft.com/office/drawing/2014/main" id="{DA30AACF-BE6B-013E-848E-CBE4BF2F007F}"/>
                </a:ext>
              </a:extLst>
            </p:cNvPr>
            <p:cNvSpPr/>
            <p:nvPr/>
          </p:nvSpPr>
          <p:spPr>
            <a:xfrm>
              <a:off x="8439015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6" name="object 1026">
              <a:extLst>
                <a:ext uri="{FF2B5EF4-FFF2-40B4-BE49-F238E27FC236}">
                  <a16:creationId xmlns:a16="http://schemas.microsoft.com/office/drawing/2014/main" id="{60D4DD1E-99E6-E14E-8EEE-11A3002AF3B6}"/>
                </a:ext>
              </a:extLst>
            </p:cNvPr>
            <p:cNvSpPr/>
            <p:nvPr/>
          </p:nvSpPr>
          <p:spPr>
            <a:xfrm>
              <a:off x="8333878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7" name="object 1027">
              <a:extLst>
                <a:ext uri="{FF2B5EF4-FFF2-40B4-BE49-F238E27FC236}">
                  <a16:creationId xmlns:a16="http://schemas.microsoft.com/office/drawing/2014/main" id="{00CCF6F8-1DA6-C046-ACDF-D5366E710BAD}"/>
                </a:ext>
              </a:extLst>
            </p:cNvPr>
            <p:cNvSpPr/>
            <p:nvPr/>
          </p:nvSpPr>
          <p:spPr>
            <a:xfrm>
              <a:off x="8544007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8" name="object 1028">
              <a:extLst>
                <a:ext uri="{FF2B5EF4-FFF2-40B4-BE49-F238E27FC236}">
                  <a16:creationId xmlns:a16="http://schemas.microsoft.com/office/drawing/2014/main" id="{85F579BC-EDD1-FD52-A10B-52D622561FEB}"/>
                </a:ext>
              </a:extLst>
            </p:cNvPr>
            <p:cNvSpPr/>
            <p:nvPr/>
          </p:nvSpPr>
          <p:spPr>
            <a:xfrm>
              <a:off x="8368899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9" name="object 1029">
              <a:extLst>
                <a:ext uri="{FF2B5EF4-FFF2-40B4-BE49-F238E27FC236}">
                  <a16:creationId xmlns:a16="http://schemas.microsoft.com/office/drawing/2014/main" id="{43264095-DCC3-5484-139F-E9A33A5ECBD2}"/>
                </a:ext>
              </a:extLst>
            </p:cNvPr>
            <p:cNvSpPr/>
            <p:nvPr/>
          </p:nvSpPr>
          <p:spPr>
            <a:xfrm>
              <a:off x="8649071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0" name="object 1030">
              <a:extLst>
                <a:ext uri="{FF2B5EF4-FFF2-40B4-BE49-F238E27FC236}">
                  <a16:creationId xmlns:a16="http://schemas.microsoft.com/office/drawing/2014/main" id="{E5372BA0-EEF7-CF2C-1897-CE970A8A3A2A}"/>
                </a:ext>
              </a:extLst>
            </p:cNvPr>
            <p:cNvSpPr/>
            <p:nvPr/>
          </p:nvSpPr>
          <p:spPr>
            <a:xfrm>
              <a:off x="8474101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1" name="object 1031">
              <a:extLst>
                <a:ext uri="{FF2B5EF4-FFF2-40B4-BE49-F238E27FC236}">
                  <a16:creationId xmlns:a16="http://schemas.microsoft.com/office/drawing/2014/main" id="{F53109A4-CF20-8462-53F5-5F510A92391B}"/>
                </a:ext>
              </a:extLst>
            </p:cNvPr>
            <p:cNvSpPr/>
            <p:nvPr/>
          </p:nvSpPr>
          <p:spPr>
            <a:xfrm>
              <a:off x="8299130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2" name="object 1032">
              <a:extLst>
                <a:ext uri="{FF2B5EF4-FFF2-40B4-BE49-F238E27FC236}">
                  <a16:creationId xmlns:a16="http://schemas.microsoft.com/office/drawing/2014/main" id="{411A254D-24A0-EA32-738E-EA0B9DF237D8}"/>
                </a:ext>
              </a:extLst>
            </p:cNvPr>
            <p:cNvSpPr/>
            <p:nvPr/>
          </p:nvSpPr>
          <p:spPr>
            <a:xfrm>
              <a:off x="8474101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3" name="object 1033">
              <a:extLst>
                <a:ext uri="{FF2B5EF4-FFF2-40B4-BE49-F238E27FC236}">
                  <a16:creationId xmlns:a16="http://schemas.microsoft.com/office/drawing/2014/main" id="{ADEAFC0D-EA91-FC26-CD85-00CF610BF694}"/>
                </a:ext>
              </a:extLst>
            </p:cNvPr>
            <p:cNvSpPr/>
            <p:nvPr/>
          </p:nvSpPr>
          <p:spPr>
            <a:xfrm>
              <a:off x="8299130" y="576750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034" name="object 1034">
            <a:extLst>
              <a:ext uri="{FF2B5EF4-FFF2-40B4-BE49-F238E27FC236}">
                <a16:creationId xmlns:a16="http://schemas.microsoft.com/office/drawing/2014/main" id="{5DE22026-23DF-7BBD-F45E-730361937581}"/>
              </a:ext>
            </a:extLst>
          </p:cNvPr>
          <p:cNvGrpSpPr/>
          <p:nvPr/>
        </p:nvGrpSpPr>
        <p:grpSpPr>
          <a:xfrm>
            <a:off x="8299130" y="6432301"/>
            <a:ext cx="350371" cy="123507"/>
            <a:chOff x="8299130" y="6432301"/>
            <a:chExt cx="350371" cy="123507"/>
          </a:xfrm>
        </p:grpSpPr>
        <p:sp>
          <p:nvSpPr>
            <p:cNvPr id="1035" name="object 1035">
              <a:extLst>
                <a:ext uri="{FF2B5EF4-FFF2-40B4-BE49-F238E27FC236}">
                  <a16:creationId xmlns:a16="http://schemas.microsoft.com/office/drawing/2014/main" id="{6A5098D0-F052-DF03-4B57-09D985FB6A36}"/>
                </a:ext>
              </a:extLst>
            </p:cNvPr>
            <p:cNvSpPr/>
            <p:nvPr/>
          </p:nvSpPr>
          <p:spPr>
            <a:xfrm>
              <a:off x="8579376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6" name="object 1036">
              <a:extLst>
                <a:ext uri="{FF2B5EF4-FFF2-40B4-BE49-F238E27FC236}">
                  <a16:creationId xmlns:a16="http://schemas.microsoft.com/office/drawing/2014/main" id="{54B26DC3-2632-A53B-7881-008E3E88FEF4}"/>
                </a:ext>
              </a:extLst>
            </p:cNvPr>
            <p:cNvSpPr/>
            <p:nvPr/>
          </p:nvSpPr>
          <p:spPr>
            <a:xfrm>
              <a:off x="8614397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7" name="object 1037">
              <a:extLst>
                <a:ext uri="{FF2B5EF4-FFF2-40B4-BE49-F238E27FC236}">
                  <a16:creationId xmlns:a16="http://schemas.microsoft.com/office/drawing/2014/main" id="{859C7F56-744D-BB42-FD23-81B7EBCC32EE}"/>
                </a:ext>
              </a:extLst>
            </p:cNvPr>
            <p:cNvSpPr/>
            <p:nvPr/>
          </p:nvSpPr>
          <p:spPr>
            <a:xfrm>
              <a:off x="8509333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8" name="object 1038">
              <a:extLst>
                <a:ext uri="{FF2B5EF4-FFF2-40B4-BE49-F238E27FC236}">
                  <a16:creationId xmlns:a16="http://schemas.microsoft.com/office/drawing/2014/main" id="{10D2DD80-B070-2172-2D8E-0F9A4EEB254F}"/>
                </a:ext>
              </a:extLst>
            </p:cNvPr>
            <p:cNvSpPr/>
            <p:nvPr/>
          </p:nvSpPr>
          <p:spPr>
            <a:xfrm>
              <a:off x="8404268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9" name="object 1039">
              <a:extLst>
                <a:ext uri="{FF2B5EF4-FFF2-40B4-BE49-F238E27FC236}">
                  <a16:creationId xmlns:a16="http://schemas.microsoft.com/office/drawing/2014/main" id="{A9907DBF-F2CB-187E-E641-B69998404D8F}"/>
                </a:ext>
              </a:extLst>
            </p:cNvPr>
            <p:cNvSpPr/>
            <p:nvPr/>
          </p:nvSpPr>
          <p:spPr>
            <a:xfrm>
              <a:off x="8439354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0" name="object 1040">
              <a:extLst>
                <a:ext uri="{FF2B5EF4-FFF2-40B4-BE49-F238E27FC236}">
                  <a16:creationId xmlns:a16="http://schemas.microsoft.com/office/drawing/2014/main" id="{3EF968BF-D11C-930C-2308-2074E1E7308C}"/>
                </a:ext>
              </a:extLst>
            </p:cNvPr>
            <p:cNvSpPr/>
            <p:nvPr/>
          </p:nvSpPr>
          <p:spPr>
            <a:xfrm>
              <a:off x="8334225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1" name="object 1041">
              <a:extLst>
                <a:ext uri="{FF2B5EF4-FFF2-40B4-BE49-F238E27FC236}">
                  <a16:creationId xmlns:a16="http://schemas.microsoft.com/office/drawing/2014/main" id="{59A2DD6B-5248-FDEB-2862-FFD46AF564E3}"/>
                </a:ext>
              </a:extLst>
            </p:cNvPr>
            <p:cNvSpPr/>
            <p:nvPr/>
          </p:nvSpPr>
          <p:spPr>
            <a:xfrm>
              <a:off x="8544354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2" name="object 1042">
              <a:extLst>
                <a:ext uri="{FF2B5EF4-FFF2-40B4-BE49-F238E27FC236}">
                  <a16:creationId xmlns:a16="http://schemas.microsoft.com/office/drawing/2014/main" id="{A8C4A41A-31DF-E604-F34B-F99F62E02867}"/>
                </a:ext>
              </a:extLst>
            </p:cNvPr>
            <p:cNvSpPr/>
            <p:nvPr/>
          </p:nvSpPr>
          <p:spPr>
            <a:xfrm>
              <a:off x="8369247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3" name="object 1043">
              <a:extLst>
                <a:ext uri="{FF2B5EF4-FFF2-40B4-BE49-F238E27FC236}">
                  <a16:creationId xmlns:a16="http://schemas.microsoft.com/office/drawing/2014/main" id="{AB1E2C1E-B996-67CB-E197-E2367492ED9F}"/>
                </a:ext>
              </a:extLst>
            </p:cNvPr>
            <p:cNvSpPr/>
            <p:nvPr/>
          </p:nvSpPr>
          <p:spPr>
            <a:xfrm>
              <a:off x="8649419" y="6432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4" name="object 1044">
              <a:extLst>
                <a:ext uri="{FF2B5EF4-FFF2-40B4-BE49-F238E27FC236}">
                  <a16:creationId xmlns:a16="http://schemas.microsoft.com/office/drawing/2014/main" id="{6CB3ED2E-B247-C1FA-984E-09978F1C3B89}"/>
                </a:ext>
              </a:extLst>
            </p:cNvPr>
            <p:cNvSpPr/>
            <p:nvPr/>
          </p:nvSpPr>
          <p:spPr>
            <a:xfrm>
              <a:off x="8474448" y="6432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5" name="object 1045">
              <a:extLst>
                <a:ext uri="{FF2B5EF4-FFF2-40B4-BE49-F238E27FC236}">
                  <a16:creationId xmlns:a16="http://schemas.microsoft.com/office/drawing/2014/main" id="{05DCBA6C-54AB-C662-7E1F-ECFF10E57F8C}"/>
                </a:ext>
              </a:extLst>
            </p:cNvPr>
            <p:cNvSpPr/>
            <p:nvPr/>
          </p:nvSpPr>
          <p:spPr>
            <a:xfrm>
              <a:off x="8299478" y="6432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6" name="object 1046">
              <a:extLst>
                <a:ext uri="{FF2B5EF4-FFF2-40B4-BE49-F238E27FC236}">
                  <a16:creationId xmlns:a16="http://schemas.microsoft.com/office/drawing/2014/main" id="{4C4287C3-CE55-FF61-0747-3CF235DDA9C1}"/>
                </a:ext>
              </a:extLst>
            </p:cNvPr>
            <p:cNvSpPr/>
            <p:nvPr/>
          </p:nvSpPr>
          <p:spPr>
            <a:xfrm>
              <a:off x="8299478" y="645781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7" name="object 1047">
              <a:extLst>
                <a:ext uri="{FF2B5EF4-FFF2-40B4-BE49-F238E27FC236}">
                  <a16:creationId xmlns:a16="http://schemas.microsoft.com/office/drawing/2014/main" id="{13FC9C32-2CBC-C99A-D050-3BEEDE417417}"/>
                </a:ext>
              </a:extLst>
            </p:cNvPr>
            <p:cNvSpPr/>
            <p:nvPr/>
          </p:nvSpPr>
          <p:spPr>
            <a:xfrm>
              <a:off x="8299588" y="6432301"/>
              <a:ext cx="6199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2234"/>
                <a:gd name="f4" fmla="val 84454"/>
                <a:gd name="f5" fmla="val 102070"/>
                <a:gd name="f6" fmla="val 84123"/>
                <a:gd name="f7" fmla="*/ f0 1 102234"/>
                <a:gd name="f8" fmla="*/ f1 1 84454"/>
                <a:gd name="f9" fmla="+- f4 0 f2"/>
                <a:gd name="f10" fmla="+- f3 0 f2"/>
                <a:gd name="f11" fmla="*/ f10 1 1022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22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8" name="object 1048">
              <a:extLst>
                <a:ext uri="{FF2B5EF4-FFF2-40B4-BE49-F238E27FC236}">
                  <a16:creationId xmlns:a16="http://schemas.microsoft.com/office/drawing/2014/main" id="{7877B9B5-1CED-B64D-4B0D-2F780FD47750}"/>
                </a:ext>
              </a:extLst>
            </p:cNvPr>
            <p:cNvSpPr/>
            <p:nvPr/>
          </p:nvSpPr>
          <p:spPr>
            <a:xfrm>
              <a:off x="8299588" y="6504593"/>
              <a:ext cx="13014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14630"/>
                <a:gd name="f4" fmla="val 84454"/>
                <a:gd name="f5" fmla="val 214579"/>
                <a:gd name="f6" fmla="val 84123"/>
                <a:gd name="f7" fmla="*/ f0 1 214630"/>
                <a:gd name="f8" fmla="*/ f1 1 84454"/>
                <a:gd name="f9" fmla="+- f4 0 f2"/>
                <a:gd name="f10" fmla="+- f3 0 f2"/>
                <a:gd name="f11" fmla="*/ f10 1 2146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146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9" name="object 1049">
              <a:extLst>
                <a:ext uri="{FF2B5EF4-FFF2-40B4-BE49-F238E27FC236}">
                  <a16:creationId xmlns:a16="http://schemas.microsoft.com/office/drawing/2014/main" id="{30041DC4-1578-9D17-2831-E4F4C9BAB8D8}"/>
                </a:ext>
              </a:extLst>
            </p:cNvPr>
            <p:cNvSpPr/>
            <p:nvPr/>
          </p:nvSpPr>
          <p:spPr>
            <a:xfrm>
              <a:off x="8579028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0" name="object 1050">
              <a:extLst>
                <a:ext uri="{FF2B5EF4-FFF2-40B4-BE49-F238E27FC236}">
                  <a16:creationId xmlns:a16="http://schemas.microsoft.com/office/drawing/2014/main" id="{C66B5AC8-FFE7-86B1-358C-1E518A85E270}"/>
                </a:ext>
              </a:extLst>
            </p:cNvPr>
            <p:cNvSpPr/>
            <p:nvPr/>
          </p:nvSpPr>
          <p:spPr>
            <a:xfrm>
              <a:off x="8614050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1" name="object 1051">
              <a:extLst>
                <a:ext uri="{FF2B5EF4-FFF2-40B4-BE49-F238E27FC236}">
                  <a16:creationId xmlns:a16="http://schemas.microsoft.com/office/drawing/2014/main" id="{93FD66CD-E57E-69C3-A945-1BE0FD8F5170}"/>
                </a:ext>
              </a:extLst>
            </p:cNvPr>
            <p:cNvSpPr/>
            <p:nvPr/>
          </p:nvSpPr>
          <p:spPr>
            <a:xfrm>
              <a:off x="8508985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2" name="object 1052">
              <a:extLst>
                <a:ext uri="{FF2B5EF4-FFF2-40B4-BE49-F238E27FC236}">
                  <a16:creationId xmlns:a16="http://schemas.microsoft.com/office/drawing/2014/main" id="{E071EF54-4B76-A115-A841-3F6EF9DD4A6A}"/>
                </a:ext>
              </a:extLst>
            </p:cNvPr>
            <p:cNvSpPr/>
            <p:nvPr/>
          </p:nvSpPr>
          <p:spPr>
            <a:xfrm>
              <a:off x="8403921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3" name="object 1053">
              <a:extLst>
                <a:ext uri="{FF2B5EF4-FFF2-40B4-BE49-F238E27FC236}">
                  <a16:creationId xmlns:a16="http://schemas.microsoft.com/office/drawing/2014/main" id="{29EAD879-CA24-42BD-9625-78DACAE1C18A}"/>
                </a:ext>
              </a:extLst>
            </p:cNvPr>
            <p:cNvSpPr/>
            <p:nvPr/>
          </p:nvSpPr>
          <p:spPr>
            <a:xfrm>
              <a:off x="8439015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4" name="object 1054">
              <a:extLst>
                <a:ext uri="{FF2B5EF4-FFF2-40B4-BE49-F238E27FC236}">
                  <a16:creationId xmlns:a16="http://schemas.microsoft.com/office/drawing/2014/main" id="{9A4104E0-8F8B-B6BC-DD77-27313814D4A8}"/>
                </a:ext>
              </a:extLst>
            </p:cNvPr>
            <p:cNvSpPr/>
            <p:nvPr/>
          </p:nvSpPr>
          <p:spPr>
            <a:xfrm>
              <a:off x="8333878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5" name="object 1055">
              <a:extLst>
                <a:ext uri="{FF2B5EF4-FFF2-40B4-BE49-F238E27FC236}">
                  <a16:creationId xmlns:a16="http://schemas.microsoft.com/office/drawing/2014/main" id="{D74E852A-77DF-FED4-293A-E04F0772DC46}"/>
                </a:ext>
              </a:extLst>
            </p:cNvPr>
            <p:cNvSpPr/>
            <p:nvPr/>
          </p:nvSpPr>
          <p:spPr>
            <a:xfrm>
              <a:off x="8544007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6" name="object 1056">
              <a:extLst>
                <a:ext uri="{FF2B5EF4-FFF2-40B4-BE49-F238E27FC236}">
                  <a16:creationId xmlns:a16="http://schemas.microsoft.com/office/drawing/2014/main" id="{CEDA03D2-1C1B-5844-630C-5EB640477B20}"/>
                </a:ext>
              </a:extLst>
            </p:cNvPr>
            <p:cNvSpPr/>
            <p:nvPr/>
          </p:nvSpPr>
          <p:spPr>
            <a:xfrm>
              <a:off x="8368899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7" name="object 1057">
              <a:extLst>
                <a:ext uri="{FF2B5EF4-FFF2-40B4-BE49-F238E27FC236}">
                  <a16:creationId xmlns:a16="http://schemas.microsoft.com/office/drawing/2014/main" id="{5F60013F-BCDE-F80C-1C6F-B9378FD55482}"/>
                </a:ext>
              </a:extLst>
            </p:cNvPr>
            <p:cNvSpPr/>
            <p:nvPr/>
          </p:nvSpPr>
          <p:spPr>
            <a:xfrm>
              <a:off x="8649071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8" name="object 1058">
              <a:extLst>
                <a:ext uri="{FF2B5EF4-FFF2-40B4-BE49-F238E27FC236}">
                  <a16:creationId xmlns:a16="http://schemas.microsoft.com/office/drawing/2014/main" id="{E2DE46EE-09D8-F68B-0A6F-8CA4B1A1DD29}"/>
                </a:ext>
              </a:extLst>
            </p:cNvPr>
            <p:cNvSpPr/>
            <p:nvPr/>
          </p:nvSpPr>
          <p:spPr>
            <a:xfrm>
              <a:off x="8474101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9" name="object 1059">
              <a:extLst>
                <a:ext uri="{FF2B5EF4-FFF2-40B4-BE49-F238E27FC236}">
                  <a16:creationId xmlns:a16="http://schemas.microsoft.com/office/drawing/2014/main" id="{7FAB8793-90B5-2632-DAEE-500618C96AE8}"/>
                </a:ext>
              </a:extLst>
            </p:cNvPr>
            <p:cNvSpPr/>
            <p:nvPr/>
          </p:nvSpPr>
          <p:spPr>
            <a:xfrm>
              <a:off x="8299130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0" name="object 1060">
              <a:extLst>
                <a:ext uri="{FF2B5EF4-FFF2-40B4-BE49-F238E27FC236}">
                  <a16:creationId xmlns:a16="http://schemas.microsoft.com/office/drawing/2014/main" id="{5F024DF1-1145-3636-5752-3F62C26F58B7}"/>
                </a:ext>
              </a:extLst>
            </p:cNvPr>
            <p:cNvSpPr/>
            <p:nvPr/>
          </p:nvSpPr>
          <p:spPr>
            <a:xfrm>
              <a:off x="8474101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1" name="object 1061">
              <a:extLst>
                <a:ext uri="{FF2B5EF4-FFF2-40B4-BE49-F238E27FC236}">
                  <a16:creationId xmlns:a16="http://schemas.microsoft.com/office/drawing/2014/main" id="{6903B23C-1472-1467-7F77-A1000DDC8B7E}"/>
                </a:ext>
              </a:extLst>
            </p:cNvPr>
            <p:cNvSpPr/>
            <p:nvPr/>
          </p:nvSpPr>
          <p:spPr>
            <a:xfrm>
              <a:off x="8299130" y="653010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062" name="object 1062">
            <a:extLst>
              <a:ext uri="{FF2B5EF4-FFF2-40B4-BE49-F238E27FC236}">
                <a16:creationId xmlns:a16="http://schemas.microsoft.com/office/drawing/2014/main" id="{1CEB50C1-E738-3A58-37F2-36F75D957B34}"/>
              </a:ext>
            </a:extLst>
          </p:cNvPr>
          <p:cNvGrpSpPr/>
          <p:nvPr/>
        </p:nvGrpSpPr>
        <p:grpSpPr>
          <a:xfrm>
            <a:off x="8299130" y="3378077"/>
            <a:ext cx="350371" cy="123516"/>
            <a:chOff x="8299130" y="3378077"/>
            <a:chExt cx="350371" cy="123516"/>
          </a:xfrm>
        </p:grpSpPr>
        <p:sp>
          <p:nvSpPr>
            <p:cNvPr id="1063" name="object 1063">
              <a:extLst>
                <a:ext uri="{FF2B5EF4-FFF2-40B4-BE49-F238E27FC236}">
                  <a16:creationId xmlns:a16="http://schemas.microsoft.com/office/drawing/2014/main" id="{3B5C1950-9F73-219F-EA4E-92DFD4148EE1}"/>
                </a:ext>
              </a:extLst>
            </p:cNvPr>
            <p:cNvSpPr/>
            <p:nvPr/>
          </p:nvSpPr>
          <p:spPr>
            <a:xfrm>
              <a:off x="857937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4" name="object 1064">
              <a:extLst>
                <a:ext uri="{FF2B5EF4-FFF2-40B4-BE49-F238E27FC236}">
                  <a16:creationId xmlns:a16="http://schemas.microsoft.com/office/drawing/2014/main" id="{614A74F6-849B-DB27-53DA-AAF63291A772}"/>
                </a:ext>
              </a:extLst>
            </p:cNvPr>
            <p:cNvSpPr/>
            <p:nvPr/>
          </p:nvSpPr>
          <p:spPr>
            <a:xfrm>
              <a:off x="861439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5" name="object 1065">
              <a:extLst>
                <a:ext uri="{FF2B5EF4-FFF2-40B4-BE49-F238E27FC236}">
                  <a16:creationId xmlns:a16="http://schemas.microsoft.com/office/drawing/2014/main" id="{CDA923D8-032D-B81A-86A4-5ADB857FBCBC}"/>
                </a:ext>
              </a:extLst>
            </p:cNvPr>
            <p:cNvSpPr/>
            <p:nvPr/>
          </p:nvSpPr>
          <p:spPr>
            <a:xfrm>
              <a:off x="8509333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6" name="object 1066">
              <a:extLst>
                <a:ext uri="{FF2B5EF4-FFF2-40B4-BE49-F238E27FC236}">
                  <a16:creationId xmlns:a16="http://schemas.microsoft.com/office/drawing/2014/main" id="{A3649184-7244-063F-318C-12A35D0FD330}"/>
                </a:ext>
              </a:extLst>
            </p:cNvPr>
            <p:cNvSpPr/>
            <p:nvPr/>
          </p:nvSpPr>
          <p:spPr>
            <a:xfrm>
              <a:off x="840426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7" name="object 1067">
              <a:extLst>
                <a:ext uri="{FF2B5EF4-FFF2-40B4-BE49-F238E27FC236}">
                  <a16:creationId xmlns:a16="http://schemas.microsoft.com/office/drawing/2014/main" id="{045987BD-61DC-79D7-98B9-9FDB7A2CD6BE}"/>
                </a:ext>
              </a:extLst>
            </p:cNvPr>
            <p:cNvSpPr/>
            <p:nvPr/>
          </p:nvSpPr>
          <p:spPr>
            <a:xfrm>
              <a:off x="843935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8" name="object 1068">
              <a:extLst>
                <a:ext uri="{FF2B5EF4-FFF2-40B4-BE49-F238E27FC236}">
                  <a16:creationId xmlns:a16="http://schemas.microsoft.com/office/drawing/2014/main" id="{70F1F822-E208-F714-1DA3-B0FB7B5E0597}"/>
                </a:ext>
              </a:extLst>
            </p:cNvPr>
            <p:cNvSpPr/>
            <p:nvPr/>
          </p:nvSpPr>
          <p:spPr>
            <a:xfrm>
              <a:off x="833422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9" name="object 1069">
              <a:extLst>
                <a:ext uri="{FF2B5EF4-FFF2-40B4-BE49-F238E27FC236}">
                  <a16:creationId xmlns:a16="http://schemas.microsoft.com/office/drawing/2014/main" id="{A703178F-5BB8-F529-E52B-EEAF5147567C}"/>
                </a:ext>
              </a:extLst>
            </p:cNvPr>
            <p:cNvSpPr/>
            <p:nvPr/>
          </p:nvSpPr>
          <p:spPr>
            <a:xfrm>
              <a:off x="854435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0" name="object 1070">
              <a:extLst>
                <a:ext uri="{FF2B5EF4-FFF2-40B4-BE49-F238E27FC236}">
                  <a16:creationId xmlns:a16="http://schemas.microsoft.com/office/drawing/2014/main" id="{57DA0293-F9D0-2057-DE95-6B8A94511B86}"/>
                </a:ext>
              </a:extLst>
            </p:cNvPr>
            <p:cNvSpPr/>
            <p:nvPr/>
          </p:nvSpPr>
          <p:spPr>
            <a:xfrm>
              <a:off x="836924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1" name="object 1071">
              <a:extLst>
                <a:ext uri="{FF2B5EF4-FFF2-40B4-BE49-F238E27FC236}">
                  <a16:creationId xmlns:a16="http://schemas.microsoft.com/office/drawing/2014/main" id="{90173AAB-9C46-F4CE-D99B-FB052B90CF52}"/>
                </a:ext>
              </a:extLst>
            </p:cNvPr>
            <p:cNvSpPr/>
            <p:nvPr/>
          </p:nvSpPr>
          <p:spPr>
            <a:xfrm>
              <a:off x="864941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2" name="object 1072">
              <a:extLst>
                <a:ext uri="{FF2B5EF4-FFF2-40B4-BE49-F238E27FC236}">
                  <a16:creationId xmlns:a16="http://schemas.microsoft.com/office/drawing/2014/main" id="{7EB358FA-3AB7-FC83-A385-51491E2B9339}"/>
                </a:ext>
              </a:extLst>
            </p:cNvPr>
            <p:cNvSpPr/>
            <p:nvPr/>
          </p:nvSpPr>
          <p:spPr>
            <a:xfrm>
              <a:off x="8474448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3" name="object 1073">
              <a:extLst>
                <a:ext uri="{FF2B5EF4-FFF2-40B4-BE49-F238E27FC236}">
                  <a16:creationId xmlns:a16="http://schemas.microsoft.com/office/drawing/2014/main" id="{2455AB07-1EA4-75CB-06D9-16E740B2552A}"/>
                </a:ext>
              </a:extLst>
            </p:cNvPr>
            <p:cNvSpPr/>
            <p:nvPr/>
          </p:nvSpPr>
          <p:spPr>
            <a:xfrm>
              <a:off x="8299478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4" name="object 1074">
              <a:extLst>
                <a:ext uri="{FF2B5EF4-FFF2-40B4-BE49-F238E27FC236}">
                  <a16:creationId xmlns:a16="http://schemas.microsoft.com/office/drawing/2014/main" id="{5A6CFCB6-93C3-749C-BC05-A9C45BB55BD6}"/>
                </a:ext>
              </a:extLst>
            </p:cNvPr>
            <p:cNvSpPr/>
            <p:nvPr/>
          </p:nvSpPr>
          <p:spPr>
            <a:xfrm>
              <a:off x="8299478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5" name="object 1075">
              <a:extLst>
                <a:ext uri="{FF2B5EF4-FFF2-40B4-BE49-F238E27FC236}">
                  <a16:creationId xmlns:a16="http://schemas.microsoft.com/office/drawing/2014/main" id="{A112EEF1-5CEE-55F6-567C-BC68B38F80C6}"/>
                </a:ext>
              </a:extLst>
            </p:cNvPr>
            <p:cNvSpPr/>
            <p:nvPr/>
          </p:nvSpPr>
          <p:spPr>
            <a:xfrm>
              <a:off x="8299588" y="3378086"/>
              <a:ext cx="696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4934"/>
                <a:gd name="f4" fmla="val 84454"/>
                <a:gd name="f5" fmla="val 114834"/>
                <a:gd name="f6" fmla="val 84112"/>
                <a:gd name="f7" fmla="*/ f0 1 114934"/>
                <a:gd name="f8" fmla="*/ f1 1 84454"/>
                <a:gd name="f9" fmla="+- f4 0 f2"/>
                <a:gd name="f10" fmla="+- f3 0 f2"/>
                <a:gd name="f11" fmla="*/ f10 1 1149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49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6" name="object 1076">
              <a:extLst>
                <a:ext uri="{FF2B5EF4-FFF2-40B4-BE49-F238E27FC236}">
                  <a16:creationId xmlns:a16="http://schemas.microsoft.com/office/drawing/2014/main" id="{D68BD821-E372-8454-6DE7-C07E5815AD03}"/>
                </a:ext>
              </a:extLst>
            </p:cNvPr>
            <p:cNvSpPr/>
            <p:nvPr/>
          </p:nvSpPr>
          <p:spPr>
            <a:xfrm>
              <a:off x="864907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7" name="object 1077">
              <a:extLst>
                <a:ext uri="{FF2B5EF4-FFF2-40B4-BE49-F238E27FC236}">
                  <a16:creationId xmlns:a16="http://schemas.microsoft.com/office/drawing/2014/main" id="{14D468FE-0EC8-B58F-803C-19619BF5B502}"/>
                </a:ext>
              </a:extLst>
            </p:cNvPr>
            <p:cNvSpPr/>
            <p:nvPr/>
          </p:nvSpPr>
          <p:spPr>
            <a:xfrm>
              <a:off x="847410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8" name="object 1078">
              <a:extLst>
                <a:ext uri="{FF2B5EF4-FFF2-40B4-BE49-F238E27FC236}">
                  <a16:creationId xmlns:a16="http://schemas.microsoft.com/office/drawing/2014/main" id="{D2DFA363-44CC-1727-4245-85A70C8CDC01}"/>
                </a:ext>
              </a:extLst>
            </p:cNvPr>
            <p:cNvSpPr/>
            <p:nvPr/>
          </p:nvSpPr>
          <p:spPr>
            <a:xfrm>
              <a:off x="8299130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9" name="object 1079">
              <a:extLst>
                <a:ext uri="{FF2B5EF4-FFF2-40B4-BE49-F238E27FC236}">
                  <a16:creationId xmlns:a16="http://schemas.microsoft.com/office/drawing/2014/main" id="{D1AC90F7-2724-04EC-0BD1-47CA2E40C265}"/>
                </a:ext>
              </a:extLst>
            </p:cNvPr>
            <p:cNvSpPr/>
            <p:nvPr/>
          </p:nvSpPr>
          <p:spPr>
            <a:xfrm>
              <a:off x="847410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0" name="object 1080">
              <a:extLst>
                <a:ext uri="{FF2B5EF4-FFF2-40B4-BE49-F238E27FC236}">
                  <a16:creationId xmlns:a16="http://schemas.microsoft.com/office/drawing/2014/main" id="{E4295863-1168-A740-2566-A4AC9921151D}"/>
                </a:ext>
              </a:extLst>
            </p:cNvPr>
            <p:cNvSpPr/>
            <p:nvPr/>
          </p:nvSpPr>
          <p:spPr>
            <a:xfrm>
              <a:off x="857902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1" name="object 1081">
              <a:extLst>
                <a:ext uri="{FF2B5EF4-FFF2-40B4-BE49-F238E27FC236}">
                  <a16:creationId xmlns:a16="http://schemas.microsoft.com/office/drawing/2014/main" id="{D37252F3-FF9C-12E1-7749-3325D0CF2D4F}"/>
                </a:ext>
              </a:extLst>
            </p:cNvPr>
            <p:cNvSpPr/>
            <p:nvPr/>
          </p:nvSpPr>
          <p:spPr>
            <a:xfrm>
              <a:off x="861405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2" name="object 1082">
              <a:extLst>
                <a:ext uri="{FF2B5EF4-FFF2-40B4-BE49-F238E27FC236}">
                  <a16:creationId xmlns:a16="http://schemas.microsoft.com/office/drawing/2014/main" id="{FBE6B804-93FA-4618-6FCA-FEC09DFD3491}"/>
                </a:ext>
              </a:extLst>
            </p:cNvPr>
            <p:cNvSpPr/>
            <p:nvPr/>
          </p:nvSpPr>
          <p:spPr>
            <a:xfrm>
              <a:off x="850898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3" name="object 1083">
              <a:extLst>
                <a:ext uri="{FF2B5EF4-FFF2-40B4-BE49-F238E27FC236}">
                  <a16:creationId xmlns:a16="http://schemas.microsoft.com/office/drawing/2014/main" id="{489056C9-B1F1-9566-D178-3863DD6BEB63}"/>
                </a:ext>
              </a:extLst>
            </p:cNvPr>
            <p:cNvSpPr/>
            <p:nvPr/>
          </p:nvSpPr>
          <p:spPr>
            <a:xfrm>
              <a:off x="840392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4" name="object 1084">
              <a:extLst>
                <a:ext uri="{FF2B5EF4-FFF2-40B4-BE49-F238E27FC236}">
                  <a16:creationId xmlns:a16="http://schemas.microsoft.com/office/drawing/2014/main" id="{4D00BA6A-1B94-8A42-5CE3-A07671A4F258}"/>
                </a:ext>
              </a:extLst>
            </p:cNvPr>
            <p:cNvSpPr/>
            <p:nvPr/>
          </p:nvSpPr>
          <p:spPr>
            <a:xfrm>
              <a:off x="843901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5" name="object 1085">
              <a:extLst>
                <a:ext uri="{FF2B5EF4-FFF2-40B4-BE49-F238E27FC236}">
                  <a16:creationId xmlns:a16="http://schemas.microsoft.com/office/drawing/2014/main" id="{95939538-E1C3-B708-4AEB-2BF0A413DA54}"/>
                </a:ext>
              </a:extLst>
            </p:cNvPr>
            <p:cNvSpPr/>
            <p:nvPr/>
          </p:nvSpPr>
          <p:spPr>
            <a:xfrm>
              <a:off x="833387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6" name="object 1086">
              <a:extLst>
                <a:ext uri="{FF2B5EF4-FFF2-40B4-BE49-F238E27FC236}">
                  <a16:creationId xmlns:a16="http://schemas.microsoft.com/office/drawing/2014/main" id="{B0BE4B9D-222F-05E3-AD5E-D95AD859E3C0}"/>
                </a:ext>
              </a:extLst>
            </p:cNvPr>
            <p:cNvSpPr/>
            <p:nvPr/>
          </p:nvSpPr>
          <p:spPr>
            <a:xfrm>
              <a:off x="8544007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7" name="object 1087">
              <a:extLst>
                <a:ext uri="{FF2B5EF4-FFF2-40B4-BE49-F238E27FC236}">
                  <a16:creationId xmlns:a16="http://schemas.microsoft.com/office/drawing/2014/main" id="{F3A46AC7-9430-7147-186C-BD002A9543E7}"/>
                </a:ext>
              </a:extLst>
            </p:cNvPr>
            <p:cNvSpPr/>
            <p:nvPr/>
          </p:nvSpPr>
          <p:spPr>
            <a:xfrm>
              <a:off x="8368899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8" name="object 1088">
              <a:extLst>
                <a:ext uri="{FF2B5EF4-FFF2-40B4-BE49-F238E27FC236}">
                  <a16:creationId xmlns:a16="http://schemas.microsoft.com/office/drawing/2014/main" id="{45B800CE-13DB-B0F0-75B3-FCB35DD30AA7}"/>
                </a:ext>
              </a:extLst>
            </p:cNvPr>
            <p:cNvSpPr/>
            <p:nvPr/>
          </p:nvSpPr>
          <p:spPr>
            <a:xfrm>
              <a:off x="8299130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089" name="object 1089">
            <a:extLst>
              <a:ext uri="{FF2B5EF4-FFF2-40B4-BE49-F238E27FC236}">
                <a16:creationId xmlns:a16="http://schemas.microsoft.com/office/drawing/2014/main" id="{BB3A9EA0-16AD-429F-0B79-D0C16E8C8593}"/>
              </a:ext>
            </a:extLst>
          </p:cNvPr>
          <p:cNvGrpSpPr/>
          <p:nvPr/>
        </p:nvGrpSpPr>
        <p:grpSpPr>
          <a:xfrm>
            <a:off x="7477954" y="1848916"/>
            <a:ext cx="350370" cy="123526"/>
            <a:chOff x="7477954" y="1848916"/>
            <a:chExt cx="350370" cy="123526"/>
          </a:xfrm>
        </p:grpSpPr>
        <p:sp>
          <p:nvSpPr>
            <p:cNvPr id="1090" name="object 1090">
              <a:extLst>
                <a:ext uri="{FF2B5EF4-FFF2-40B4-BE49-F238E27FC236}">
                  <a16:creationId xmlns:a16="http://schemas.microsoft.com/office/drawing/2014/main" id="{A6039940-C7BF-8214-9CA5-5E95BA773CE8}"/>
                </a:ext>
              </a:extLst>
            </p:cNvPr>
            <p:cNvSpPr/>
            <p:nvPr/>
          </p:nvSpPr>
          <p:spPr>
            <a:xfrm>
              <a:off x="775819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1" name="object 1091">
              <a:extLst>
                <a:ext uri="{FF2B5EF4-FFF2-40B4-BE49-F238E27FC236}">
                  <a16:creationId xmlns:a16="http://schemas.microsoft.com/office/drawing/2014/main" id="{E6302C9D-4259-55DD-BF82-70D76F1ABEA6}"/>
                </a:ext>
              </a:extLst>
            </p:cNvPr>
            <p:cNvSpPr/>
            <p:nvPr/>
          </p:nvSpPr>
          <p:spPr>
            <a:xfrm>
              <a:off x="779322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2" name="object 1092">
              <a:extLst>
                <a:ext uri="{FF2B5EF4-FFF2-40B4-BE49-F238E27FC236}">
                  <a16:creationId xmlns:a16="http://schemas.microsoft.com/office/drawing/2014/main" id="{920B1FA5-AF50-1CA1-B30F-0F22B08A605A}"/>
                </a:ext>
              </a:extLst>
            </p:cNvPr>
            <p:cNvSpPr/>
            <p:nvPr/>
          </p:nvSpPr>
          <p:spPr>
            <a:xfrm>
              <a:off x="768815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3" name="object 1093">
              <a:extLst>
                <a:ext uri="{FF2B5EF4-FFF2-40B4-BE49-F238E27FC236}">
                  <a16:creationId xmlns:a16="http://schemas.microsoft.com/office/drawing/2014/main" id="{F6B9E80D-4017-6957-36A5-688BBE43DCDE}"/>
                </a:ext>
              </a:extLst>
            </p:cNvPr>
            <p:cNvSpPr/>
            <p:nvPr/>
          </p:nvSpPr>
          <p:spPr>
            <a:xfrm>
              <a:off x="758309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4" name="object 1094">
              <a:extLst>
                <a:ext uri="{FF2B5EF4-FFF2-40B4-BE49-F238E27FC236}">
                  <a16:creationId xmlns:a16="http://schemas.microsoft.com/office/drawing/2014/main" id="{742C624D-C70C-ACAA-7203-3817CF5BB1B0}"/>
                </a:ext>
              </a:extLst>
            </p:cNvPr>
            <p:cNvSpPr/>
            <p:nvPr/>
          </p:nvSpPr>
          <p:spPr>
            <a:xfrm>
              <a:off x="761818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5" name="object 1095">
              <a:extLst>
                <a:ext uri="{FF2B5EF4-FFF2-40B4-BE49-F238E27FC236}">
                  <a16:creationId xmlns:a16="http://schemas.microsoft.com/office/drawing/2014/main" id="{0668891B-098F-9A76-FE46-009E3EE49B49}"/>
                </a:ext>
              </a:extLst>
            </p:cNvPr>
            <p:cNvSpPr/>
            <p:nvPr/>
          </p:nvSpPr>
          <p:spPr>
            <a:xfrm>
              <a:off x="751304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6" name="object 1096">
              <a:extLst>
                <a:ext uri="{FF2B5EF4-FFF2-40B4-BE49-F238E27FC236}">
                  <a16:creationId xmlns:a16="http://schemas.microsoft.com/office/drawing/2014/main" id="{1478C901-C989-8611-6059-26D37577B41B}"/>
                </a:ext>
              </a:extLst>
            </p:cNvPr>
            <p:cNvSpPr/>
            <p:nvPr/>
          </p:nvSpPr>
          <p:spPr>
            <a:xfrm>
              <a:off x="772317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7" name="object 1097">
              <a:extLst>
                <a:ext uri="{FF2B5EF4-FFF2-40B4-BE49-F238E27FC236}">
                  <a16:creationId xmlns:a16="http://schemas.microsoft.com/office/drawing/2014/main" id="{BFBCB827-1ABC-1506-6896-D82AA094D036}"/>
                </a:ext>
              </a:extLst>
            </p:cNvPr>
            <p:cNvSpPr/>
            <p:nvPr/>
          </p:nvSpPr>
          <p:spPr>
            <a:xfrm>
              <a:off x="754807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8" name="object 1098">
              <a:extLst>
                <a:ext uri="{FF2B5EF4-FFF2-40B4-BE49-F238E27FC236}">
                  <a16:creationId xmlns:a16="http://schemas.microsoft.com/office/drawing/2014/main" id="{156DBB3D-55F4-FD23-C440-5AED7E6EE70F}"/>
                </a:ext>
              </a:extLst>
            </p:cNvPr>
            <p:cNvSpPr/>
            <p:nvPr/>
          </p:nvSpPr>
          <p:spPr>
            <a:xfrm>
              <a:off x="782824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9" name="object 1099">
              <a:extLst>
                <a:ext uri="{FF2B5EF4-FFF2-40B4-BE49-F238E27FC236}">
                  <a16:creationId xmlns:a16="http://schemas.microsoft.com/office/drawing/2014/main" id="{1E24F867-5A63-D632-1AD5-FC1C22702438}"/>
                </a:ext>
              </a:extLst>
            </p:cNvPr>
            <p:cNvSpPr/>
            <p:nvPr/>
          </p:nvSpPr>
          <p:spPr>
            <a:xfrm>
              <a:off x="7653271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0" name="object 1100">
              <a:extLst>
                <a:ext uri="{FF2B5EF4-FFF2-40B4-BE49-F238E27FC236}">
                  <a16:creationId xmlns:a16="http://schemas.microsoft.com/office/drawing/2014/main" id="{6D2AE67E-6941-BDB7-49EA-43E1F78229A3}"/>
                </a:ext>
              </a:extLst>
            </p:cNvPr>
            <p:cNvSpPr/>
            <p:nvPr/>
          </p:nvSpPr>
          <p:spPr>
            <a:xfrm>
              <a:off x="7478301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1" name="object 1101">
              <a:extLst>
                <a:ext uri="{FF2B5EF4-FFF2-40B4-BE49-F238E27FC236}">
                  <a16:creationId xmlns:a16="http://schemas.microsoft.com/office/drawing/2014/main" id="{D475C1E2-7C48-B83E-F7C8-EE27401E8824}"/>
                </a:ext>
              </a:extLst>
            </p:cNvPr>
            <p:cNvSpPr/>
            <p:nvPr/>
          </p:nvSpPr>
          <p:spPr>
            <a:xfrm>
              <a:off x="7478301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2" name="object 1102">
              <a:extLst>
                <a:ext uri="{FF2B5EF4-FFF2-40B4-BE49-F238E27FC236}">
                  <a16:creationId xmlns:a16="http://schemas.microsoft.com/office/drawing/2014/main" id="{24CBB626-044F-5C67-04FF-A431D7DA018D}"/>
                </a:ext>
              </a:extLst>
            </p:cNvPr>
            <p:cNvSpPr/>
            <p:nvPr/>
          </p:nvSpPr>
          <p:spPr>
            <a:xfrm>
              <a:off x="7478429" y="1848916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5"/>
                <a:gd name="f5" fmla="val 241594"/>
                <a:gd name="f6" fmla="val 84112"/>
                <a:gd name="f7" fmla="*/ f0 1 241934"/>
                <a:gd name="f8" fmla="*/ f1 1 84455"/>
                <a:gd name="f9" fmla="+- f4 0 f2"/>
                <a:gd name="f10" fmla="+- f3 0 f2"/>
                <a:gd name="f11" fmla="*/ f10 1 241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3" name="object 1103">
              <a:extLst>
                <a:ext uri="{FF2B5EF4-FFF2-40B4-BE49-F238E27FC236}">
                  <a16:creationId xmlns:a16="http://schemas.microsoft.com/office/drawing/2014/main" id="{4C5571B8-712F-8A04-8479-C1F5AAFCE08A}"/>
                </a:ext>
              </a:extLst>
            </p:cNvPr>
            <p:cNvSpPr/>
            <p:nvPr/>
          </p:nvSpPr>
          <p:spPr>
            <a:xfrm>
              <a:off x="7478429" y="1921227"/>
              <a:ext cx="29727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90220"/>
                <a:gd name="f4" fmla="val 84454"/>
                <a:gd name="f5" fmla="val 489618"/>
                <a:gd name="f6" fmla="val 84091"/>
                <a:gd name="f7" fmla="*/ f0 1 490220"/>
                <a:gd name="f8" fmla="*/ f1 1 84454"/>
                <a:gd name="f9" fmla="+- f4 0 f2"/>
                <a:gd name="f10" fmla="+- f3 0 f2"/>
                <a:gd name="f11" fmla="*/ f10 1 4902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902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4" name="object 1104">
              <a:extLst>
                <a:ext uri="{FF2B5EF4-FFF2-40B4-BE49-F238E27FC236}">
                  <a16:creationId xmlns:a16="http://schemas.microsoft.com/office/drawing/2014/main" id="{231223AC-8B2F-A433-B66B-CB347780AF5C}"/>
                </a:ext>
              </a:extLst>
            </p:cNvPr>
            <p:cNvSpPr/>
            <p:nvPr/>
          </p:nvSpPr>
          <p:spPr>
            <a:xfrm>
              <a:off x="775785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5" name="object 1105">
              <a:extLst>
                <a:ext uri="{FF2B5EF4-FFF2-40B4-BE49-F238E27FC236}">
                  <a16:creationId xmlns:a16="http://schemas.microsoft.com/office/drawing/2014/main" id="{CF35006B-8559-261A-FC4B-1C916526FE78}"/>
                </a:ext>
              </a:extLst>
            </p:cNvPr>
            <p:cNvSpPr/>
            <p:nvPr/>
          </p:nvSpPr>
          <p:spPr>
            <a:xfrm>
              <a:off x="779287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6" name="object 1106">
              <a:extLst>
                <a:ext uri="{FF2B5EF4-FFF2-40B4-BE49-F238E27FC236}">
                  <a16:creationId xmlns:a16="http://schemas.microsoft.com/office/drawing/2014/main" id="{21FF23ED-E471-BA12-7810-E641600F017C}"/>
                </a:ext>
              </a:extLst>
            </p:cNvPr>
            <p:cNvSpPr/>
            <p:nvPr/>
          </p:nvSpPr>
          <p:spPr>
            <a:xfrm>
              <a:off x="768780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7" name="object 1107">
              <a:extLst>
                <a:ext uri="{FF2B5EF4-FFF2-40B4-BE49-F238E27FC236}">
                  <a16:creationId xmlns:a16="http://schemas.microsoft.com/office/drawing/2014/main" id="{F64AA5E6-CDCC-4AAC-F734-A96385E943C3}"/>
                </a:ext>
              </a:extLst>
            </p:cNvPr>
            <p:cNvSpPr/>
            <p:nvPr/>
          </p:nvSpPr>
          <p:spPr>
            <a:xfrm>
              <a:off x="758274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8" name="object 1108">
              <a:extLst>
                <a:ext uri="{FF2B5EF4-FFF2-40B4-BE49-F238E27FC236}">
                  <a16:creationId xmlns:a16="http://schemas.microsoft.com/office/drawing/2014/main" id="{92F8BACA-BC18-FDE5-25C0-6CB94B09A863}"/>
                </a:ext>
              </a:extLst>
            </p:cNvPr>
            <p:cNvSpPr/>
            <p:nvPr/>
          </p:nvSpPr>
          <p:spPr>
            <a:xfrm>
              <a:off x="761783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9" name="object 1109">
              <a:extLst>
                <a:ext uri="{FF2B5EF4-FFF2-40B4-BE49-F238E27FC236}">
                  <a16:creationId xmlns:a16="http://schemas.microsoft.com/office/drawing/2014/main" id="{408C757D-F742-9C07-6AF8-B02C03783BF4}"/>
                </a:ext>
              </a:extLst>
            </p:cNvPr>
            <p:cNvSpPr/>
            <p:nvPr/>
          </p:nvSpPr>
          <p:spPr>
            <a:xfrm>
              <a:off x="751270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0" name="object 1110">
              <a:extLst>
                <a:ext uri="{FF2B5EF4-FFF2-40B4-BE49-F238E27FC236}">
                  <a16:creationId xmlns:a16="http://schemas.microsoft.com/office/drawing/2014/main" id="{DDAF4D5A-CD64-3F8F-268B-BA417385D89B}"/>
                </a:ext>
              </a:extLst>
            </p:cNvPr>
            <p:cNvSpPr/>
            <p:nvPr/>
          </p:nvSpPr>
          <p:spPr>
            <a:xfrm>
              <a:off x="772283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1" name="object 1111">
              <a:extLst>
                <a:ext uri="{FF2B5EF4-FFF2-40B4-BE49-F238E27FC236}">
                  <a16:creationId xmlns:a16="http://schemas.microsoft.com/office/drawing/2014/main" id="{61030170-7FC0-D398-9646-FA5B4B6FE205}"/>
                </a:ext>
              </a:extLst>
            </p:cNvPr>
            <p:cNvSpPr/>
            <p:nvPr/>
          </p:nvSpPr>
          <p:spPr>
            <a:xfrm>
              <a:off x="7547722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2" name="object 1112">
              <a:extLst>
                <a:ext uri="{FF2B5EF4-FFF2-40B4-BE49-F238E27FC236}">
                  <a16:creationId xmlns:a16="http://schemas.microsoft.com/office/drawing/2014/main" id="{BCEF6F8F-689B-8951-FB89-543D70F6E053}"/>
                </a:ext>
              </a:extLst>
            </p:cNvPr>
            <p:cNvSpPr/>
            <p:nvPr/>
          </p:nvSpPr>
          <p:spPr>
            <a:xfrm>
              <a:off x="782789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3" name="object 1113">
              <a:extLst>
                <a:ext uri="{FF2B5EF4-FFF2-40B4-BE49-F238E27FC236}">
                  <a16:creationId xmlns:a16="http://schemas.microsoft.com/office/drawing/2014/main" id="{74C97454-A92B-B11C-A24C-70457F049F3B}"/>
                </a:ext>
              </a:extLst>
            </p:cNvPr>
            <p:cNvSpPr/>
            <p:nvPr/>
          </p:nvSpPr>
          <p:spPr>
            <a:xfrm>
              <a:off x="765292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4" name="object 1114">
              <a:extLst>
                <a:ext uri="{FF2B5EF4-FFF2-40B4-BE49-F238E27FC236}">
                  <a16:creationId xmlns:a16="http://schemas.microsoft.com/office/drawing/2014/main" id="{E67E8FD7-7542-F394-EE9C-E4AB0C8BAAB1}"/>
                </a:ext>
              </a:extLst>
            </p:cNvPr>
            <p:cNvSpPr/>
            <p:nvPr/>
          </p:nvSpPr>
          <p:spPr>
            <a:xfrm>
              <a:off x="747795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5" name="object 1115">
              <a:extLst>
                <a:ext uri="{FF2B5EF4-FFF2-40B4-BE49-F238E27FC236}">
                  <a16:creationId xmlns:a16="http://schemas.microsoft.com/office/drawing/2014/main" id="{E82375A6-69C7-CFB7-1361-01B3E4B1B6C5}"/>
                </a:ext>
              </a:extLst>
            </p:cNvPr>
            <p:cNvSpPr/>
            <p:nvPr/>
          </p:nvSpPr>
          <p:spPr>
            <a:xfrm>
              <a:off x="765292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6" name="object 1116">
              <a:extLst>
                <a:ext uri="{FF2B5EF4-FFF2-40B4-BE49-F238E27FC236}">
                  <a16:creationId xmlns:a16="http://schemas.microsoft.com/office/drawing/2014/main" id="{DD7ACA87-508B-0DB9-20F4-9E81433A6D24}"/>
                </a:ext>
              </a:extLst>
            </p:cNvPr>
            <p:cNvSpPr/>
            <p:nvPr/>
          </p:nvSpPr>
          <p:spPr>
            <a:xfrm>
              <a:off x="7477954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117" name="object 1117">
            <a:extLst>
              <a:ext uri="{FF2B5EF4-FFF2-40B4-BE49-F238E27FC236}">
                <a16:creationId xmlns:a16="http://schemas.microsoft.com/office/drawing/2014/main" id="{4F723552-1108-620F-91BF-E5B7CB3A6D1B}"/>
              </a:ext>
            </a:extLst>
          </p:cNvPr>
          <p:cNvGrpSpPr/>
          <p:nvPr/>
        </p:nvGrpSpPr>
        <p:grpSpPr>
          <a:xfrm>
            <a:off x="7477954" y="2613309"/>
            <a:ext cx="350370" cy="123517"/>
            <a:chOff x="7477954" y="2613309"/>
            <a:chExt cx="350370" cy="123517"/>
          </a:xfrm>
        </p:grpSpPr>
        <p:sp>
          <p:nvSpPr>
            <p:cNvPr id="1118" name="object 1118">
              <a:extLst>
                <a:ext uri="{FF2B5EF4-FFF2-40B4-BE49-F238E27FC236}">
                  <a16:creationId xmlns:a16="http://schemas.microsoft.com/office/drawing/2014/main" id="{B2D40D72-D480-3F4C-C34C-C54FC80F1931}"/>
                </a:ext>
              </a:extLst>
            </p:cNvPr>
            <p:cNvSpPr/>
            <p:nvPr/>
          </p:nvSpPr>
          <p:spPr>
            <a:xfrm>
              <a:off x="775819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9" name="object 1119">
              <a:extLst>
                <a:ext uri="{FF2B5EF4-FFF2-40B4-BE49-F238E27FC236}">
                  <a16:creationId xmlns:a16="http://schemas.microsoft.com/office/drawing/2014/main" id="{40D0A716-2A28-964B-3D7A-82FDA4FB8A74}"/>
                </a:ext>
              </a:extLst>
            </p:cNvPr>
            <p:cNvSpPr/>
            <p:nvPr/>
          </p:nvSpPr>
          <p:spPr>
            <a:xfrm>
              <a:off x="779322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0" name="object 1120">
              <a:extLst>
                <a:ext uri="{FF2B5EF4-FFF2-40B4-BE49-F238E27FC236}">
                  <a16:creationId xmlns:a16="http://schemas.microsoft.com/office/drawing/2014/main" id="{4623CD65-F690-1A86-5D5D-826E56167A7F}"/>
                </a:ext>
              </a:extLst>
            </p:cNvPr>
            <p:cNvSpPr/>
            <p:nvPr/>
          </p:nvSpPr>
          <p:spPr>
            <a:xfrm>
              <a:off x="768815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1" name="object 1121">
              <a:extLst>
                <a:ext uri="{FF2B5EF4-FFF2-40B4-BE49-F238E27FC236}">
                  <a16:creationId xmlns:a16="http://schemas.microsoft.com/office/drawing/2014/main" id="{7B023F77-AFB9-3BF8-5781-5909BF1C8165}"/>
                </a:ext>
              </a:extLst>
            </p:cNvPr>
            <p:cNvSpPr/>
            <p:nvPr/>
          </p:nvSpPr>
          <p:spPr>
            <a:xfrm>
              <a:off x="758309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2" name="object 1122">
              <a:extLst>
                <a:ext uri="{FF2B5EF4-FFF2-40B4-BE49-F238E27FC236}">
                  <a16:creationId xmlns:a16="http://schemas.microsoft.com/office/drawing/2014/main" id="{5DA89F79-C4D0-081B-45EE-576938F340FB}"/>
                </a:ext>
              </a:extLst>
            </p:cNvPr>
            <p:cNvSpPr/>
            <p:nvPr/>
          </p:nvSpPr>
          <p:spPr>
            <a:xfrm>
              <a:off x="761818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3" name="object 1123">
              <a:extLst>
                <a:ext uri="{FF2B5EF4-FFF2-40B4-BE49-F238E27FC236}">
                  <a16:creationId xmlns:a16="http://schemas.microsoft.com/office/drawing/2014/main" id="{36A2736A-41AB-57B7-D04D-9E8A90FB7151}"/>
                </a:ext>
              </a:extLst>
            </p:cNvPr>
            <p:cNvSpPr/>
            <p:nvPr/>
          </p:nvSpPr>
          <p:spPr>
            <a:xfrm>
              <a:off x="751304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4" name="object 1124">
              <a:extLst>
                <a:ext uri="{FF2B5EF4-FFF2-40B4-BE49-F238E27FC236}">
                  <a16:creationId xmlns:a16="http://schemas.microsoft.com/office/drawing/2014/main" id="{892CC91E-BDF8-002F-D39F-913529F70179}"/>
                </a:ext>
              </a:extLst>
            </p:cNvPr>
            <p:cNvSpPr/>
            <p:nvPr/>
          </p:nvSpPr>
          <p:spPr>
            <a:xfrm>
              <a:off x="772317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5" name="object 1125">
              <a:extLst>
                <a:ext uri="{FF2B5EF4-FFF2-40B4-BE49-F238E27FC236}">
                  <a16:creationId xmlns:a16="http://schemas.microsoft.com/office/drawing/2014/main" id="{DD3D0AA4-2C13-B44B-607B-4197E7D995DC}"/>
                </a:ext>
              </a:extLst>
            </p:cNvPr>
            <p:cNvSpPr/>
            <p:nvPr/>
          </p:nvSpPr>
          <p:spPr>
            <a:xfrm>
              <a:off x="754807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6" name="object 1126">
              <a:extLst>
                <a:ext uri="{FF2B5EF4-FFF2-40B4-BE49-F238E27FC236}">
                  <a16:creationId xmlns:a16="http://schemas.microsoft.com/office/drawing/2014/main" id="{A79D66A3-1E53-496B-0B80-7C0524073A75}"/>
                </a:ext>
              </a:extLst>
            </p:cNvPr>
            <p:cNvSpPr/>
            <p:nvPr/>
          </p:nvSpPr>
          <p:spPr>
            <a:xfrm>
              <a:off x="782824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7" name="object 1127">
              <a:extLst>
                <a:ext uri="{FF2B5EF4-FFF2-40B4-BE49-F238E27FC236}">
                  <a16:creationId xmlns:a16="http://schemas.microsoft.com/office/drawing/2014/main" id="{D6BDBDBE-F76B-F0AC-F792-43204CDC13FA}"/>
                </a:ext>
              </a:extLst>
            </p:cNvPr>
            <p:cNvSpPr/>
            <p:nvPr/>
          </p:nvSpPr>
          <p:spPr>
            <a:xfrm>
              <a:off x="765327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8" name="object 1128">
              <a:extLst>
                <a:ext uri="{FF2B5EF4-FFF2-40B4-BE49-F238E27FC236}">
                  <a16:creationId xmlns:a16="http://schemas.microsoft.com/office/drawing/2014/main" id="{C2BD98E1-0F7E-0CAD-1A3C-F4E44DC0A05D}"/>
                </a:ext>
              </a:extLst>
            </p:cNvPr>
            <p:cNvSpPr/>
            <p:nvPr/>
          </p:nvSpPr>
          <p:spPr>
            <a:xfrm>
              <a:off x="747830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9" name="object 1129">
              <a:extLst>
                <a:ext uri="{FF2B5EF4-FFF2-40B4-BE49-F238E27FC236}">
                  <a16:creationId xmlns:a16="http://schemas.microsoft.com/office/drawing/2014/main" id="{9953F3E8-01B4-3584-4E00-F6779EF9653F}"/>
                </a:ext>
              </a:extLst>
            </p:cNvPr>
            <p:cNvSpPr/>
            <p:nvPr/>
          </p:nvSpPr>
          <p:spPr>
            <a:xfrm>
              <a:off x="7478301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0" name="object 1130">
              <a:extLst>
                <a:ext uri="{FF2B5EF4-FFF2-40B4-BE49-F238E27FC236}">
                  <a16:creationId xmlns:a16="http://schemas.microsoft.com/office/drawing/2014/main" id="{8C7E9E28-7983-0BBE-1DFD-E5195D0D2EDC}"/>
                </a:ext>
              </a:extLst>
            </p:cNvPr>
            <p:cNvSpPr/>
            <p:nvPr/>
          </p:nvSpPr>
          <p:spPr>
            <a:xfrm>
              <a:off x="7478429" y="2613318"/>
              <a:ext cx="34232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64515"/>
                <a:gd name="f4" fmla="val 84454"/>
                <a:gd name="f5" fmla="val 564359"/>
                <a:gd name="f6" fmla="val 84102"/>
                <a:gd name="f7" fmla="*/ f0 1 564515"/>
                <a:gd name="f8" fmla="*/ f1 1 84454"/>
                <a:gd name="f9" fmla="+- f4 0 f2"/>
                <a:gd name="f10" fmla="+- f3 0 f2"/>
                <a:gd name="f11" fmla="*/ f10 1 56451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6451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1" name="object 1131">
              <a:extLst>
                <a:ext uri="{FF2B5EF4-FFF2-40B4-BE49-F238E27FC236}">
                  <a16:creationId xmlns:a16="http://schemas.microsoft.com/office/drawing/2014/main" id="{E9585E15-60BF-EB09-685B-D82D0594A377}"/>
                </a:ext>
              </a:extLst>
            </p:cNvPr>
            <p:cNvSpPr/>
            <p:nvPr/>
          </p:nvSpPr>
          <p:spPr>
            <a:xfrm>
              <a:off x="782789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2" name="object 1132">
              <a:extLst>
                <a:ext uri="{FF2B5EF4-FFF2-40B4-BE49-F238E27FC236}">
                  <a16:creationId xmlns:a16="http://schemas.microsoft.com/office/drawing/2014/main" id="{5CE93B73-B822-9094-BF5C-509E18B7CE26}"/>
                </a:ext>
              </a:extLst>
            </p:cNvPr>
            <p:cNvSpPr/>
            <p:nvPr/>
          </p:nvSpPr>
          <p:spPr>
            <a:xfrm>
              <a:off x="765292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3" name="object 1133">
              <a:extLst>
                <a:ext uri="{FF2B5EF4-FFF2-40B4-BE49-F238E27FC236}">
                  <a16:creationId xmlns:a16="http://schemas.microsoft.com/office/drawing/2014/main" id="{62DDFEB2-7174-407A-591C-0F7C4287957A}"/>
                </a:ext>
              </a:extLst>
            </p:cNvPr>
            <p:cNvSpPr/>
            <p:nvPr/>
          </p:nvSpPr>
          <p:spPr>
            <a:xfrm>
              <a:off x="747795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4" name="object 1134">
              <a:extLst>
                <a:ext uri="{FF2B5EF4-FFF2-40B4-BE49-F238E27FC236}">
                  <a16:creationId xmlns:a16="http://schemas.microsoft.com/office/drawing/2014/main" id="{26AD5B23-BF0D-DA41-D822-92F700D6DA69}"/>
                </a:ext>
              </a:extLst>
            </p:cNvPr>
            <p:cNvSpPr/>
            <p:nvPr/>
          </p:nvSpPr>
          <p:spPr>
            <a:xfrm>
              <a:off x="765292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5" name="object 1135">
              <a:extLst>
                <a:ext uri="{FF2B5EF4-FFF2-40B4-BE49-F238E27FC236}">
                  <a16:creationId xmlns:a16="http://schemas.microsoft.com/office/drawing/2014/main" id="{D82320D1-DF13-825E-31C3-24BB91B183F7}"/>
                </a:ext>
              </a:extLst>
            </p:cNvPr>
            <p:cNvSpPr/>
            <p:nvPr/>
          </p:nvSpPr>
          <p:spPr>
            <a:xfrm>
              <a:off x="775785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6" name="object 1136">
              <a:extLst>
                <a:ext uri="{FF2B5EF4-FFF2-40B4-BE49-F238E27FC236}">
                  <a16:creationId xmlns:a16="http://schemas.microsoft.com/office/drawing/2014/main" id="{2FE71588-E558-49AC-CCDD-497918C64131}"/>
                </a:ext>
              </a:extLst>
            </p:cNvPr>
            <p:cNvSpPr/>
            <p:nvPr/>
          </p:nvSpPr>
          <p:spPr>
            <a:xfrm>
              <a:off x="779287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7" name="object 1137">
              <a:extLst>
                <a:ext uri="{FF2B5EF4-FFF2-40B4-BE49-F238E27FC236}">
                  <a16:creationId xmlns:a16="http://schemas.microsoft.com/office/drawing/2014/main" id="{63780C08-E8C2-8C00-74DE-0F4CA0154782}"/>
                </a:ext>
              </a:extLst>
            </p:cNvPr>
            <p:cNvSpPr/>
            <p:nvPr/>
          </p:nvSpPr>
          <p:spPr>
            <a:xfrm>
              <a:off x="768780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8" name="object 1138">
              <a:extLst>
                <a:ext uri="{FF2B5EF4-FFF2-40B4-BE49-F238E27FC236}">
                  <a16:creationId xmlns:a16="http://schemas.microsoft.com/office/drawing/2014/main" id="{C38C6ADF-0E13-57AE-FAFF-9CF16B44817E}"/>
                </a:ext>
              </a:extLst>
            </p:cNvPr>
            <p:cNvSpPr/>
            <p:nvPr/>
          </p:nvSpPr>
          <p:spPr>
            <a:xfrm>
              <a:off x="758274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9" name="object 1139">
              <a:extLst>
                <a:ext uri="{FF2B5EF4-FFF2-40B4-BE49-F238E27FC236}">
                  <a16:creationId xmlns:a16="http://schemas.microsoft.com/office/drawing/2014/main" id="{10B7DA2D-4342-E32C-3E86-4775D9A4D176}"/>
                </a:ext>
              </a:extLst>
            </p:cNvPr>
            <p:cNvSpPr/>
            <p:nvPr/>
          </p:nvSpPr>
          <p:spPr>
            <a:xfrm>
              <a:off x="761783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0" name="object 1140">
              <a:extLst>
                <a:ext uri="{FF2B5EF4-FFF2-40B4-BE49-F238E27FC236}">
                  <a16:creationId xmlns:a16="http://schemas.microsoft.com/office/drawing/2014/main" id="{64D78C9D-B31A-E7B5-4738-F21E6954C798}"/>
                </a:ext>
              </a:extLst>
            </p:cNvPr>
            <p:cNvSpPr/>
            <p:nvPr/>
          </p:nvSpPr>
          <p:spPr>
            <a:xfrm>
              <a:off x="751270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1" name="object 1141">
              <a:extLst>
                <a:ext uri="{FF2B5EF4-FFF2-40B4-BE49-F238E27FC236}">
                  <a16:creationId xmlns:a16="http://schemas.microsoft.com/office/drawing/2014/main" id="{626889A2-3B62-134C-EFB3-95C76A8E3DFD}"/>
                </a:ext>
              </a:extLst>
            </p:cNvPr>
            <p:cNvSpPr/>
            <p:nvPr/>
          </p:nvSpPr>
          <p:spPr>
            <a:xfrm>
              <a:off x="772283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2" name="object 1142">
              <a:extLst>
                <a:ext uri="{FF2B5EF4-FFF2-40B4-BE49-F238E27FC236}">
                  <a16:creationId xmlns:a16="http://schemas.microsoft.com/office/drawing/2014/main" id="{16191922-A298-F05A-5957-BE8AA8A14096}"/>
                </a:ext>
              </a:extLst>
            </p:cNvPr>
            <p:cNvSpPr/>
            <p:nvPr/>
          </p:nvSpPr>
          <p:spPr>
            <a:xfrm>
              <a:off x="754772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3" name="object 1143">
              <a:extLst>
                <a:ext uri="{FF2B5EF4-FFF2-40B4-BE49-F238E27FC236}">
                  <a16:creationId xmlns:a16="http://schemas.microsoft.com/office/drawing/2014/main" id="{DA2036B5-B69B-FFCD-9F22-05EB7102D268}"/>
                </a:ext>
              </a:extLst>
            </p:cNvPr>
            <p:cNvSpPr/>
            <p:nvPr/>
          </p:nvSpPr>
          <p:spPr>
            <a:xfrm>
              <a:off x="7477954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144" name="object 1144">
            <a:extLst>
              <a:ext uri="{FF2B5EF4-FFF2-40B4-BE49-F238E27FC236}">
                <a16:creationId xmlns:a16="http://schemas.microsoft.com/office/drawing/2014/main" id="{D4E0E2DF-8B68-57D8-D0F9-5743170A2753}"/>
              </a:ext>
            </a:extLst>
          </p:cNvPr>
          <p:cNvGrpSpPr/>
          <p:nvPr/>
        </p:nvGrpSpPr>
        <p:grpSpPr>
          <a:xfrm>
            <a:off x="6656054" y="1848916"/>
            <a:ext cx="350371" cy="123526"/>
            <a:chOff x="6656054" y="1848916"/>
            <a:chExt cx="350371" cy="123526"/>
          </a:xfrm>
        </p:grpSpPr>
        <p:sp>
          <p:nvSpPr>
            <p:cNvPr id="1145" name="object 1145">
              <a:extLst>
                <a:ext uri="{FF2B5EF4-FFF2-40B4-BE49-F238E27FC236}">
                  <a16:creationId xmlns:a16="http://schemas.microsoft.com/office/drawing/2014/main" id="{596C5AF4-2E6D-933E-6307-3BFDCD7750CC}"/>
                </a:ext>
              </a:extLst>
            </p:cNvPr>
            <p:cNvSpPr/>
            <p:nvPr/>
          </p:nvSpPr>
          <p:spPr>
            <a:xfrm>
              <a:off x="693630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6" name="object 1146">
              <a:extLst>
                <a:ext uri="{FF2B5EF4-FFF2-40B4-BE49-F238E27FC236}">
                  <a16:creationId xmlns:a16="http://schemas.microsoft.com/office/drawing/2014/main" id="{3DA30486-521C-8AFE-E296-142FE471345F}"/>
                </a:ext>
              </a:extLst>
            </p:cNvPr>
            <p:cNvSpPr/>
            <p:nvPr/>
          </p:nvSpPr>
          <p:spPr>
            <a:xfrm>
              <a:off x="697133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7" name="object 1147">
              <a:extLst>
                <a:ext uri="{FF2B5EF4-FFF2-40B4-BE49-F238E27FC236}">
                  <a16:creationId xmlns:a16="http://schemas.microsoft.com/office/drawing/2014/main" id="{46742FD5-C087-D329-5177-56F67A78B543}"/>
                </a:ext>
              </a:extLst>
            </p:cNvPr>
            <p:cNvSpPr/>
            <p:nvPr/>
          </p:nvSpPr>
          <p:spPr>
            <a:xfrm>
              <a:off x="686625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8" name="object 1148">
              <a:extLst>
                <a:ext uri="{FF2B5EF4-FFF2-40B4-BE49-F238E27FC236}">
                  <a16:creationId xmlns:a16="http://schemas.microsoft.com/office/drawing/2014/main" id="{35102C02-ADCF-49D3-E5C2-F393E9665060}"/>
                </a:ext>
              </a:extLst>
            </p:cNvPr>
            <p:cNvSpPr/>
            <p:nvPr/>
          </p:nvSpPr>
          <p:spPr>
            <a:xfrm>
              <a:off x="6761192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9" name="object 1149">
              <a:extLst>
                <a:ext uri="{FF2B5EF4-FFF2-40B4-BE49-F238E27FC236}">
                  <a16:creationId xmlns:a16="http://schemas.microsoft.com/office/drawing/2014/main" id="{2990FB3E-FABD-0A15-5BA1-3F6E2826897E}"/>
                </a:ext>
              </a:extLst>
            </p:cNvPr>
            <p:cNvSpPr/>
            <p:nvPr/>
          </p:nvSpPr>
          <p:spPr>
            <a:xfrm>
              <a:off x="679628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0" name="object 1150">
              <a:extLst>
                <a:ext uri="{FF2B5EF4-FFF2-40B4-BE49-F238E27FC236}">
                  <a16:creationId xmlns:a16="http://schemas.microsoft.com/office/drawing/2014/main" id="{EE1652AE-C826-7BF6-7D7A-4B4810086C51}"/>
                </a:ext>
              </a:extLst>
            </p:cNvPr>
            <p:cNvSpPr/>
            <p:nvPr/>
          </p:nvSpPr>
          <p:spPr>
            <a:xfrm>
              <a:off x="669114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1" name="object 1151">
              <a:extLst>
                <a:ext uri="{FF2B5EF4-FFF2-40B4-BE49-F238E27FC236}">
                  <a16:creationId xmlns:a16="http://schemas.microsoft.com/office/drawing/2014/main" id="{15010968-5E7A-24FE-3107-5CCBE65CDB7F}"/>
                </a:ext>
              </a:extLst>
            </p:cNvPr>
            <p:cNvSpPr/>
            <p:nvPr/>
          </p:nvSpPr>
          <p:spPr>
            <a:xfrm>
              <a:off x="690127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2" name="object 1152">
              <a:extLst>
                <a:ext uri="{FF2B5EF4-FFF2-40B4-BE49-F238E27FC236}">
                  <a16:creationId xmlns:a16="http://schemas.microsoft.com/office/drawing/2014/main" id="{14D16AA4-4E60-A013-389F-33B56A1FBA32}"/>
                </a:ext>
              </a:extLst>
            </p:cNvPr>
            <p:cNvSpPr/>
            <p:nvPr/>
          </p:nvSpPr>
          <p:spPr>
            <a:xfrm>
              <a:off x="672617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3" name="object 1153">
              <a:extLst>
                <a:ext uri="{FF2B5EF4-FFF2-40B4-BE49-F238E27FC236}">
                  <a16:creationId xmlns:a16="http://schemas.microsoft.com/office/drawing/2014/main" id="{D3281AED-8A34-CD1B-FC1A-B3416ED2630E}"/>
                </a:ext>
              </a:extLst>
            </p:cNvPr>
            <p:cNvSpPr/>
            <p:nvPr/>
          </p:nvSpPr>
          <p:spPr>
            <a:xfrm>
              <a:off x="700635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4" name="object 1154">
              <a:extLst>
                <a:ext uri="{FF2B5EF4-FFF2-40B4-BE49-F238E27FC236}">
                  <a16:creationId xmlns:a16="http://schemas.microsoft.com/office/drawing/2014/main" id="{7AE59B6A-88EF-4CF9-0238-962F847354C6}"/>
                </a:ext>
              </a:extLst>
            </p:cNvPr>
            <p:cNvSpPr/>
            <p:nvPr/>
          </p:nvSpPr>
          <p:spPr>
            <a:xfrm>
              <a:off x="683137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5" name="object 1155">
              <a:extLst>
                <a:ext uri="{FF2B5EF4-FFF2-40B4-BE49-F238E27FC236}">
                  <a16:creationId xmlns:a16="http://schemas.microsoft.com/office/drawing/2014/main" id="{FE74EB71-AC56-D299-C320-74E5AE83192F}"/>
                </a:ext>
              </a:extLst>
            </p:cNvPr>
            <p:cNvSpPr/>
            <p:nvPr/>
          </p:nvSpPr>
          <p:spPr>
            <a:xfrm>
              <a:off x="665640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6" name="object 1156">
              <a:extLst>
                <a:ext uri="{FF2B5EF4-FFF2-40B4-BE49-F238E27FC236}">
                  <a16:creationId xmlns:a16="http://schemas.microsoft.com/office/drawing/2014/main" id="{21D2D086-CE2A-B7F6-4CF8-7B31CCD8B9F3}"/>
                </a:ext>
              </a:extLst>
            </p:cNvPr>
            <p:cNvSpPr/>
            <p:nvPr/>
          </p:nvSpPr>
          <p:spPr>
            <a:xfrm>
              <a:off x="6656402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7" name="object 1157">
              <a:extLst>
                <a:ext uri="{FF2B5EF4-FFF2-40B4-BE49-F238E27FC236}">
                  <a16:creationId xmlns:a16="http://schemas.microsoft.com/office/drawing/2014/main" id="{9F8A3A2D-7500-4588-C97D-6026766324D4}"/>
                </a:ext>
              </a:extLst>
            </p:cNvPr>
            <p:cNvSpPr/>
            <p:nvPr/>
          </p:nvSpPr>
          <p:spPr>
            <a:xfrm>
              <a:off x="6656539" y="1848916"/>
              <a:ext cx="8779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4779"/>
                <a:gd name="f4" fmla="val 84455"/>
                <a:gd name="f5" fmla="val 144341"/>
                <a:gd name="f6" fmla="val 84112"/>
                <a:gd name="f7" fmla="*/ f0 1 144779"/>
                <a:gd name="f8" fmla="*/ f1 1 84455"/>
                <a:gd name="f9" fmla="+- f4 0 f2"/>
                <a:gd name="f10" fmla="+- f3 0 f2"/>
                <a:gd name="f11" fmla="*/ f10 1 14477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477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8" name="object 1158">
              <a:extLst>
                <a:ext uri="{FF2B5EF4-FFF2-40B4-BE49-F238E27FC236}">
                  <a16:creationId xmlns:a16="http://schemas.microsoft.com/office/drawing/2014/main" id="{C81DCEED-C0B3-012D-8AB0-3737ADF94550}"/>
                </a:ext>
              </a:extLst>
            </p:cNvPr>
            <p:cNvSpPr/>
            <p:nvPr/>
          </p:nvSpPr>
          <p:spPr>
            <a:xfrm>
              <a:off x="6656539" y="1921227"/>
              <a:ext cx="29034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78790"/>
                <a:gd name="f4" fmla="val 84454"/>
                <a:gd name="f5" fmla="val 478310"/>
                <a:gd name="f6" fmla="val 84091"/>
                <a:gd name="f7" fmla="*/ f0 1 478790"/>
                <a:gd name="f8" fmla="*/ f1 1 84454"/>
                <a:gd name="f9" fmla="+- f4 0 f2"/>
                <a:gd name="f10" fmla="+- f3 0 f2"/>
                <a:gd name="f11" fmla="*/ f10 1 4787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787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9" name="object 1159">
              <a:extLst>
                <a:ext uri="{FF2B5EF4-FFF2-40B4-BE49-F238E27FC236}">
                  <a16:creationId xmlns:a16="http://schemas.microsoft.com/office/drawing/2014/main" id="{1FCAD236-EEFB-C5F1-FBCC-211F03659C77}"/>
                </a:ext>
              </a:extLst>
            </p:cNvPr>
            <p:cNvSpPr/>
            <p:nvPr/>
          </p:nvSpPr>
          <p:spPr>
            <a:xfrm>
              <a:off x="693596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0" name="object 1160">
              <a:extLst>
                <a:ext uri="{FF2B5EF4-FFF2-40B4-BE49-F238E27FC236}">
                  <a16:creationId xmlns:a16="http://schemas.microsoft.com/office/drawing/2014/main" id="{F5134058-DB88-27A4-BBE8-BEE08E7097E1}"/>
                </a:ext>
              </a:extLst>
            </p:cNvPr>
            <p:cNvSpPr/>
            <p:nvPr/>
          </p:nvSpPr>
          <p:spPr>
            <a:xfrm>
              <a:off x="697098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1" name="object 1161">
              <a:extLst>
                <a:ext uri="{FF2B5EF4-FFF2-40B4-BE49-F238E27FC236}">
                  <a16:creationId xmlns:a16="http://schemas.microsoft.com/office/drawing/2014/main" id="{9309CD1B-10B2-94A1-74B4-E517F750EA1A}"/>
                </a:ext>
              </a:extLst>
            </p:cNvPr>
            <p:cNvSpPr/>
            <p:nvPr/>
          </p:nvSpPr>
          <p:spPr>
            <a:xfrm>
              <a:off x="686591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2" name="object 1162">
              <a:extLst>
                <a:ext uri="{FF2B5EF4-FFF2-40B4-BE49-F238E27FC236}">
                  <a16:creationId xmlns:a16="http://schemas.microsoft.com/office/drawing/2014/main" id="{A94761F2-74C4-B72E-55C9-46142ACFF4C2}"/>
                </a:ext>
              </a:extLst>
            </p:cNvPr>
            <p:cNvSpPr/>
            <p:nvPr/>
          </p:nvSpPr>
          <p:spPr>
            <a:xfrm>
              <a:off x="676084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3" name="object 1163">
              <a:extLst>
                <a:ext uri="{FF2B5EF4-FFF2-40B4-BE49-F238E27FC236}">
                  <a16:creationId xmlns:a16="http://schemas.microsoft.com/office/drawing/2014/main" id="{FD9EC38D-8BE6-B844-AB8B-DBB2AA34F02E}"/>
                </a:ext>
              </a:extLst>
            </p:cNvPr>
            <p:cNvSpPr/>
            <p:nvPr/>
          </p:nvSpPr>
          <p:spPr>
            <a:xfrm>
              <a:off x="679593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4" name="object 1164">
              <a:extLst>
                <a:ext uri="{FF2B5EF4-FFF2-40B4-BE49-F238E27FC236}">
                  <a16:creationId xmlns:a16="http://schemas.microsoft.com/office/drawing/2014/main" id="{4C0457BF-8EFB-DC01-70E0-3B0F64E01331}"/>
                </a:ext>
              </a:extLst>
            </p:cNvPr>
            <p:cNvSpPr/>
            <p:nvPr/>
          </p:nvSpPr>
          <p:spPr>
            <a:xfrm>
              <a:off x="669080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5" name="object 1165">
              <a:extLst>
                <a:ext uri="{FF2B5EF4-FFF2-40B4-BE49-F238E27FC236}">
                  <a16:creationId xmlns:a16="http://schemas.microsoft.com/office/drawing/2014/main" id="{E367F62D-A5D4-CD5A-0D01-04A38243B172}"/>
                </a:ext>
              </a:extLst>
            </p:cNvPr>
            <p:cNvSpPr/>
            <p:nvPr/>
          </p:nvSpPr>
          <p:spPr>
            <a:xfrm>
              <a:off x="690094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6" name="object 1166">
              <a:extLst>
                <a:ext uri="{FF2B5EF4-FFF2-40B4-BE49-F238E27FC236}">
                  <a16:creationId xmlns:a16="http://schemas.microsoft.com/office/drawing/2014/main" id="{09FE9F35-5A77-CAAB-645B-0F686B5A66BA}"/>
                </a:ext>
              </a:extLst>
            </p:cNvPr>
            <p:cNvSpPr/>
            <p:nvPr/>
          </p:nvSpPr>
          <p:spPr>
            <a:xfrm>
              <a:off x="672582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7" name="object 1167">
              <a:extLst>
                <a:ext uri="{FF2B5EF4-FFF2-40B4-BE49-F238E27FC236}">
                  <a16:creationId xmlns:a16="http://schemas.microsoft.com/office/drawing/2014/main" id="{583974C1-2D2B-6BCB-8DB1-551E79466296}"/>
                </a:ext>
              </a:extLst>
            </p:cNvPr>
            <p:cNvSpPr/>
            <p:nvPr/>
          </p:nvSpPr>
          <p:spPr>
            <a:xfrm>
              <a:off x="700600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8" name="object 1168">
              <a:extLst>
                <a:ext uri="{FF2B5EF4-FFF2-40B4-BE49-F238E27FC236}">
                  <a16:creationId xmlns:a16="http://schemas.microsoft.com/office/drawing/2014/main" id="{B5404C7C-0CBB-4000-313B-5F861C8A944B}"/>
                </a:ext>
              </a:extLst>
            </p:cNvPr>
            <p:cNvSpPr/>
            <p:nvPr/>
          </p:nvSpPr>
          <p:spPr>
            <a:xfrm>
              <a:off x="683103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9" name="object 1169">
              <a:extLst>
                <a:ext uri="{FF2B5EF4-FFF2-40B4-BE49-F238E27FC236}">
                  <a16:creationId xmlns:a16="http://schemas.microsoft.com/office/drawing/2014/main" id="{08C42DE7-309A-A998-CBCA-F83560AB3B0B}"/>
                </a:ext>
              </a:extLst>
            </p:cNvPr>
            <p:cNvSpPr/>
            <p:nvPr/>
          </p:nvSpPr>
          <p:spPr>
            <a:xfrm>
              <a:off x="665605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0" name="object 1170">
              <a:extLst>
                <a:ext uri="{FF2B5EF4-FFF2-40B4-BE49-F238E27FC236}">
                  <a16:creationId xmlns:a16="http://schemas.microsoft.com/office/drawing/2014/main" id="{4936FAC2-2700-134D-B5AA-40842C92C721}"/>
                </a:ext>
              </a:extLst>
            </p:cNvPr>
            <p:cNvSpPr/>
            <p:nvPr/>
          </p:nvSpPr>
          <p:spPr>
            <a:xfrm>
              <a:off x="683103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1" name="object 1171">
              <a:extLst>
                <a:ext uri="{FF2B5EF4-FFF2-40B4-BE49-F238E27FC236}">
                  <a16:creationId xmlns:a16="http://schemas.microsoft.com/office/drawing/2014/main" id="{3D8FAA0F-E268-6496-AFC2-20938AFE844F}"/>
                </a:ext>
              </a:extLst>
            </p:cNvPr>
            <p:cNvSpPr/>
            <p:nvPr/>
          </p:nvSpPr>
          <p:spPr>
            <a:xfrm>
              <a:off x="6656054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172" name="object 1172">
            <a:extLst>
              <a:ext uri="{FF2B5EF4-FFF2-40B4-BE49-F238E27FC236}">
                <a16:creationId xmlns:a16="http://schemas.microsoft.com/office/drawing/2014/main" id="{0C95A552-6661-919E-50FA-22C98523EF5C}"/>
              </a:ext>
            </a:extLst>
          </p:cNvPr>
          <p:cNvGrpSpPr/>
          <p:nvPr/>
        </p:nvGrpSpPr>
        <p:grpSpPr>
          <a:xfrm>
            <a:off x="6656054" y="2613309"/>
            <a:ext cx="350371" cy="123535"/>
            <a:chOff x="6656054" y="2613309"/>
            <a:chExt cx="350371" cy="123535"/>
          </a:xfrm>
        </p:grpSpPr>
        <p:sp>
          <p:nvSpPr>
            <p:cNvPr id="1173" name="object 1173">
              <a:extLst>
                <a:ext uri="{FF2B5EF4-FFF2-40B4-BE49-F238E27FC236}">
                  <a16:creationId xmlns:a16="http://schemas.microsoft.com/office/drawing/2014/main" id="{4050F592-F38D-E8CF-B22F-36D8E7BBA6FD}"/>
                </a:ext>
              </a:extLst>
            </p:cNvPr>
            <p:cNvSpPr/>
            <p:nvPr/>
          </p:nvSpPr>
          <p:spPr>
            <a:xfrm>
              <a:off x="693630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4" name="object 1174">
              <a:extLst>
                <a:ext uri="{FF2B5EF4-FFF2-40B4-BE49-F238E27FC236}">
                  <a16:creationId xmlns:a16="http://schemas.microsoft.com/office/drawing/2014/main" id="{6831501A-D3AD-8989-05A7-647FDB934BA7}"/>
                </a:ext>
              </a:extLst>
            </p:cNvPr>
            <p:cNvSpPr/>
            <p:nvPr/>
          </p:nvSpPr>
          <p:spPr>
            <a:xfrm>
              <a:off x="697133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5" name="object 1175">
              <a:extLst>
                <a:ext uri="{FF2B5EF4-FFF2-40B4-BE49-F238E27FC236}">
                  <a16:creationId xmlns:a16="http://schemas.microsoft.com/office/drawing/2014/main" id="{246922F0-986E-7610-3884-22AF3CC25309}"/>
                </a:ext>
              </a:extLst>
            </p:cNvPr>
            <p:cNvSpPr/>
            <p:nvPr/>
          </p:nvSpPr>
          <p:spPr>
            <a:xfrm>
              <a:off x="686625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6" name="object 1176">
              <a:extLst>
                <a:ext uri="{FF2B5EF4-FFF2-40B4-BE49-F238E27FC236}">
                  <a16:creationId xmlns:a16="http://schemas.microsoft.com/office/drawing/2014/main" id="{D6C73DC3-1A56-69FD-8735-439FDE0D1090}"/>
                </a:ext>
              </a:extLst>
            </p:cNvPr>
            <p:cNvSpPr/>
            <p:nvPr/>
          </p:nvSpPr>
          <p:spPr>
            <a:xfrm>
              <a:off x="6761192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7" name="object 1177">
              <a:extLst>
                <a:ext uri="{FF2B5EF4-FFF2-40B4-BE49-F238E27FC236}">
                  <a16:creationId xmlns:a16="http://schemas.microsoft.com/office/drawing/2014/main" id="{E6A36E9A-808B-996B-E1F3-29926777FCDB}"/>
                </a:ext>
              </a:extLst>
            </p:cNvPr>
            <p:cNvSpPr/>
            <p:nvPr/>
          </p:nvSpPr>
          <p:spPr>
            <a:xfrm>
              <a:off x="679628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8" name="object 1178">
              <a:extLst>
                <a:ext uri="{FF2B5EF4-FFF2-40B4-BE49-F238E27FC236}">
                  <a16:creationId xmlns:a16="http://schemas.microsoft.com/office/drawing/2014/main" id="{5DE0B212-9C76-AA0C-03F8-5B50DB6ED238}"/>
                </a:ext>
              </a:extLst>
            </p:cNvPr>
            <p:cNvSpPr/>
            <p:nvPr/>
          </p:nvSpPr>
          <p:spPr>
            <a:xfrm>
              <a:off x="669114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9" name="object 1179">
              <a:extLst>
                <a:ext uri="{FF2B5EF4-FFF2-40B4-BE49-F238E27FC236}">
                  <a16:creationId xmlns:a16="http://schemas.microsoft.com/office/drawing/2014/main" id="{22FE1A04-8F34-3A8C-CCAE-9D05293958EC}"/>
                </a:ext>
              </a:extLst>
            </p:cNvPr>
            <p:cNvSpPr/>
            <p:nvPr/>
          </p:nvSpPr>
          <p:spPr>
            <a:xfrm>
              <a:off x="690127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0" name="object 1180">
              <a:extLst>
                <a:ext uri="{FF2B5EF4-FFF2-40B4-BE49-F238E27FC236}">
                  <a16:creationId xmlns:a16="http://schemas.microsoft.com/office/drawing/2014/main" id="{5FD0BAED-9F17-BC81-8145-E1A08D3E8971}"/>
                </a:ext>
              </a:extLst>
            </p:cNvPr>
            <p:cNvSpPr/>
            <p:nvPr/>
          </p:nvSpPr>
          <p:spPr>
            <a:xfrm>
              <a:off x="672617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1" name="object 1181">
              <a:extLst>
                <a:ext uri="{FF2B5EF4-FFF2-40B4-BE49-F238E27FC236}">
                  <a16:creationId xmlns:a16="http://schemas.microsoft.com/office/drawing/2014/main" id="{18D20660-8094-3626-AAF1-F50CB2E5FEF2}"/>
                </a:ext>
              </a:extLst>
            </p:cNvPr>
            <p:cNvSpPr/>
            <p:nvPr/>
          </p:nvSpPr>
          <p:spPr>
            <a:xfrm>
              <a:off x="700635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2" name="object 1182">
              <a:extLst>
                <a:ext uri="{FF2B5EF4-FFF2-40B4-BE49-F238E27FC236}">
                  <a16:creationId xmlns:a16="http://schemas.microsoft.com/office/drawing/2014/main" id="{E720790B-2947-ABD1-7EDE-C4433EC9A0FC}"/>
                </a:ext>
              </a:extLst>
            </p:cNvPr>
            <p:cNvSpPr/>
            <p:nvPr/>
          </p:nvSpPr>
          <p:spPr>
            <a:xfrm>
              <a:off x="683137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3" name="object 1183">
              <a:extLst>
                <a:ext uri="{FF2B5EF4-FFF2-40B4-BE49-F238E27FC236}">
                  <a16:creationId xmlns:a16="http://schemas.microsoft.com/office/drawing/2014/main" id="{2FE8D5D2-5534-FD9E-1618-E22FDC9DBF52}"/>
                </a:ext>
              </a:extLst>
            </p:cNvPr>
            <p:cNvSpPr/>
            <p:nvPr/>
          </p:nvSpPr>
          <p:spPr>
            <a:xfrm>
              <a:off x="665640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4" name="object 1184">
              <a:extLst>
                <a:ext uri="{FF2B5EF4-FFF2-40B4-BE49-F238E27FC236}">
                  <a16:creationId xmlns:a16="http://schemas.microsoft.com/office/drawing/2014/main" id="{08AFC150-BFC2-66ED-49F5-89AF1F870B90}"/>
                </a:ext>
              </a:extLst>
            </p:cNvPr>
            <p:cNvSpPr/>
            <p:nvPr/>
          </p:nvSpPr>
          <p:spPr>
            <a:xfrm>
              <a:off x="6656402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5" name="object 1185">
              <a:extLst>
                <a:ext uri="{FF2B5EF4-FFF2-40B4-BE49-F238E27FC236}">
                  <a16:creationId xmlns:a16="http://schemas.microsoft.com/office/drawing/2014/main" id="{B90CCC5C-E4F6-2096-B5E8-2F953902D3AB}"/>
                </a:ext>
              </a:extLst>
            </p:cNvPr>
            <p:cNvSpPr/>
            <p:nvPr/>
          </p:nvSpPr>
          <p:spPr>
            <a:xfrm>
              <a:off x="6656539" y="2613318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20"/>
                <a:gd name="f4" fmla="val 84454"/>
                <a:gd name="f5" fmla="val 172560"/>
                <a:gd name="f6" fmla="val 84102"/>
                <a:gd name="f7" fmla="*/ f0 1 172720"/>
                <a:gd name="f8" fmla="*/ f1 1 84454"/>
                <a:gd name="f9" fmla="+- f4 0 f2"/>
                <a:gd name="f10" fmla="+- f3 0 f2"/>
                <a:gd name="f11" fmla="*/ f10 1 1727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6" name="object 1186">
              <a:extLst>
                <a:ext uri="{FF2B5EF4-FFF2-40B4-BE49-F238E27FC236}">
                  <a16:creationId xmlns:a16="http://schemas.microsoft.com/office/drawing/2014/main" id="{562FB61E-C6F6-1382-1ED9-6B9DEDC72068}"/>
                </a:ext>
              </a:extLst>
            </p:cNvPr>
            <p:cNvSpPr/>
            <p:nvPr/>
          </p:nvSpPr>
          <p:spPr>
            <a:xfrm>
              <a:off x="6656539" y="2685629"/>
              <a:ext cx="26184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1800"/>
                <a:gd name="f4" fmla="val 84454"/>
                <a:gd name="f5" fmla="val 431285"/>
                <a:gd name="f6" fmla="val 84102"/>
                <a:gd name="f7" fmla="*/ f0 1 431800"/>
                <a:gd name="f8" fmla="*/ f1 1 84454"/>
                <a:gd name="f9" fmla="+- f4 0 f2"/>
                <a:gd name="f10" fmla="+- f3 0 f2"/>
                <a:gd name="f11" fmla="*/ f10 1 43180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180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7" name="object 1187">
              <a:extLst>
                <a:ext uri="{FF2B5EF4-FFF2-40B4-BE49-F238E27FC236}">
                  <a16:creationId xmlns:a16="http://schemas.microsoft.com/office/drawing/2014/main" id="{09097248-A2BC-D1DC-582D-91260EE07B07}"/>
                </a:ext>
              </a:extLst>
            </p:cNvPr>
            <p:cNvSpPr/>
            <p:nvPr/>
          </p:nvSpPr>
          <p:spPr>
            <a:xfrm>
              <a:off x="693596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8" name="object 1188">
              <a:extLst>
                <a:ext uri="{FF2B5EF4-FFF2-40B4-BE49-F238E27FC236}">
                  <a16:creationId xmlns:a16="http://schemas.microsoft.com/office/drawing/2014/main" id="{2C724239-5D2B-4217-4D32-617DE23D16ED}"/>
                </a:ext>
              </a:extLst>
            </p:cNvPr>
            <p:cNvSpPr/>
            <p:nvPr/>
          </p:nvSpPr>
          <p:spPr>
            <a:xfrm>
              <a:off x="697098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9" name="object 1189">
              <a:extLst>
                <a:ext uri="{FF2B5EF4-FFF2-40B4-BE49-F238E27FC236}">
                  <a16:creationId xmlns:a16="http://schemas.microsoft.com/office/drawing/2014/main" id="{FC3F66F5-9187-357F-E476-87FAB4FBD0C6}"/>
                </a:ext>
              </a:extLst>
            </p:cNvPr>
            <p:cNvSpPr/>
            <p:nvPr/>
          </p:nvSpPr>
          <p:spPr>
            <a:xfrm>
              <a:off x="686591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0" name="object 1190">
              <a:extLst>
                <a:ext uri="{FF2B5EF4-FFF2-40B4-BE49-F238E27FC236}">
                  <a16:creationId xmlns:a16="http://schemas.microsoft.com/office/drawing/2014/main" id="{357EA237-E2B1-2232-BBDC-C01FF08C2E63}"/>
                </a:ext>
              </a:extLst>
            </p:cNvPr>
            <p:cNvSpPr/>
            <p:nvPr/>
          </p:nvSpPr>
          <p:spPr>
            <a:xfrm>
              <a:off x="6760845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1" name="object 1191">
              <a:extLst>
                <a:ext uri="{FF2B5EF4-FFF2-40B4-BE49-F238E27FC236}">
                  <a16:creationId xmlns:a16="http://schemas.microsoft.com/office/drawing/2014/main" id="{862E5E1F-39A8-6CAB-E712-5EE8DD6B802A}"/>
                </a:ext>
              </a:extLst>
            </p:cNvPr>
            <p:cNvSpPr/>
            <p:nvPr/>
          </p:nvSpPr>
          <p:spPr>
            <a:xfrm>
              <a:off x="6795939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2" name="object 1192">
              <a:extLst>
                <a:ext uri="{FF2B5EF4-FFF2-40B4-BE49-F238E27FC236}">
                  <a16:creationId xmlns:a16="http://schemas.microsoft.com/office/drawing/2014/main" id="{D24EF13F-09FD-0273-B97B-90E7C4396D1C}"/>
                </a:ext>
              </a:extLst>
            </p:cNvPr>
            <p:cNvSpPr/>
            <p:nvPr/>
          </p:nvSpPr>
          <p:spPr>
            <a:xfrm>
              <a:off x="669080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3" name="object 1193">
              <a:extLst>
                <a:ext uri="{FF2B5EF4-FFF2-40B4-BE49-F238E27FC236}">
                  <a16:creationId xmlns:a16="http://schemas.microsoft.com/office/drawing/2014/main" id="{F0455C92-FED9-E5C9-4983-7B99957E1344}"/>
                </a:ext>
              </a:extLst>
            </p:cNvPr>
            <p:cNvSpPr/>
            <p:nvPr/>
          </p:nvSpPr>
          <p:spPr>
            <a:xfrm>
              <a:off x="690094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4" name="object 1194">
              <a:extLst>
                <a:ext uri="{FF2B5EF4-FFF2-40B4-BE49-F238E27FC236}">
                  <a16:creationId xmlns:a16="http://schemas.microsoft.com/office/drawing/2014/main" id="{EED8759F-52D2-016D-A3CD-743611EAC59C}"/>
                </a:ext>
              </a:extLst>
            </p:cNvPr>
            <p:cNvSpPr/>
            <p:nvPr/>
          </p:nvSpPr>
          <p:spPr>
            <a:xfrm>
              <a:off x="672582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5" name="object 1195">
              <a:extLst>
                <a:ext uri="{FF2B5EF4-FFF2-40B4-BE49-F238E27FC236}">
                  <a16:creationId xmlns:a16="http://schemas.microsoft.com/office/drawing/2014/main" id="{0E3EA204-0420-14E4-7EF4-B01CA1531DB0}"/>
                </a:ext>
              </a:extLst>
            </p:cNvPr>
            <p:cNvSpPr/>
            <p:nvPr/>
          </p:nvSpPr>
          <p:spPr>
            <a:xfrm>
              <a:off x="700600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6" name="object 1196">
              <a:extLst>
                <a:ext uri="{FF2B5EF4-FFF2-40B4-BE49-F238E27FC236}">
                  <a16:creationId xmlns:a16="http://schemas.microsoft.com/office/drawing/2014/main" id="{C0A37836-30F9-0052-992D-654D029664D2}"/>
                </a:ext>
              </a:extLst>
            </p:cNvPr>
            <p:cNvSpPr/>
            <p:nvPr/>
          </p:nvSpPr>
          <p:spPr>
            <a:xfrm>
              <a:off x="683103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7" name="object 1197">
              <a:extLst>
                <a:ext uri="{FF2B5EF4-FFF2-40B4-BE49-F238E27FC236}">
                  <a16:creationId xmlns:a16="http://schemas.microsoft.com/office/drawing/2014/main" id="{86DE8FC0-6442-2207-3DB1-E3B5CC141F8D}"/>
                </a:ext>
              </a:extLst>
            </p:cNvPr>
            <p:cNvSpPr/>
            <p:nvPr/>
          </p:nvSpPr>
          <p:spPr>
            <a:xfrm>
              <a:off x="665605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8" name="object 1198">
              <a:extLst>
                <a:ext uri="{FF2B5EF4-FFF2-40B4-BE49-F238E27FC236}">
                  <a16:creationId xmlns:a16="http://schemas.microsoft.com/office/drawing/2014/main" id="{9F31D838-C289-A0EF-5682-D8FB74E502B9}"/>
                </a:ext>
              </a:extLst>
            </p:cNvPr>
            <p:cNvSpPr/>
            <p:nvPr/>
          </p:nvSpPr>
          <p:spPr>
            <a:xfrm>
              <a:off x="683103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9" name="object 1199">
              <a:extLst>
                <a:ext uri="{FF2B5EF4-FFF2-40B4-BE49-F238E27FC236}">
                  <a16:creationId xmlns:a16="http://schemas.microsoft.com/office/drawing/2014/main" id="{213FC3C4-FE8A-BB21-3D97-B8FD64C4B66A}"/>
                </a:ext>
              </a:extLst>
            </p:cNvPr>
            <p:cNvSpPr/>
            <p:nvPr/>
          </p:nvSpPr>
          <p:spPr>
            <a:xfrm>
              <a:off x="6656054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200" name="object 1200">
            <a:extLst>
              <a:ext uri="{FF2B5EF4-FFF2-40B4-BE49-F238E27FC236}">
                <a16:creationId xmlns:a16="http://schemas.microsoft.com/office/drawing/2014/main" id="{A58B3624-0BED-F2B2-D5C8-7B6B56D58782}"/>
              </a:ext>
            </a:extLst>
          </p:cNvPr>
          <p:cNvGrpSpPr/>
          <p:nvPr/>
        </p:nvGrpSpPr>
        <p:grpSpPr>
          <a:xfrm>
            <a:off x="6656054" y="3378077"/>
            <a:ext cx="350371" cy="123516"/>
            <a:chOff x="6656054" y="3378077"/>
            <a:chExt cx="350371" cy="123516"/>
          </a:xfrm>
        </p:grpSpPr>
        <p:sp>
          <p:nvSpPr>
            <p:cNvPr id="1201" name="object 1201">
              <a:extLst>
                <a:ext uri="{FF2B5EF4-FFF2-40B4-BE49-F238E27FC236}">
                  <a16:creationId xmlns:a16="http://schemas.microsoft.com/office/drawing/2014/main" id="{6026160E-650C-F51F-D150-EC906EAF581B}"/>
                </a:ext>
              </a:extLst>
            </p:cNvPr>
            <p:cNvSpPr/>
            <p:nvPr/>
          </p:nvSpPr>
          <p:spPr>
            <a:xfrm>
              <a:off x="693630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2" name="object 1202">
              <a:extLst>
                <a:ext uri="{FF2B5EF4-FFF2-40B4-BE49-F238E27FC236}">
                  <a16:creationId xmlns:a16="http://schemas.microsoft.com/office/drawing/2014/main" id="{1C33CC00-788D-5DB8-481A-01B68721B293}"/>
                </a:ext>
              </a:extLst>
            </p:cNvPr>
            <p:cNvSpPr/>
            <p:nvPr/>
          </p:nvSpPr>
          <p:spPr>
            <a:xfrm>
              <a:off x="697133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3" name="object 1203">
              <a:extLst>
                <a:ext uri="{FF2B5EF4-FFF2-40B4-BE49-F238E27FC236}">
                  <a16:creationId xmlns:a16="http://schemas.microsoft.com/office/drawing/2014/main" id="{30512807-6633-30BF-CFBC-8172D5BDEC2B}"/>
                </a:ext>
              </a:extLst>
            </p:cNvPr>
            <p:cNvSpPr/>
            <p:nvPr/>
          </p:nvSpPr>
          <p:spPr>
            <a:xfrm>
              <a:off x="686625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4" name="object 1204">
              <a:extLst>
                <a:ext uri="{FF2B5EF4-FFF2-40B4-BE49-F238E27FC236}">
                  <a16:creationId xmlns:a16="http://schemas.microsoft.com/office/drawing/2014/main" id="{48E58B2C-3789-72A9-EC3A-24B6522A7732}"/>
                </a:ext>
              </a:extLst>
            </p:cNvPr>
            <p:cNvSpPr/>
            <p:nvPr/>
          </p:nvSpPr>
          <p:spPr>
            <a:xfrm>
              <a:off x="6761192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5" name="object 1205">
              <a:extLst>
                <a:ext uri="{FF2B5EF4-FFF2-40B4-BE49-F238E27FC236}">
                  <a16:creationId xmlns:a16="http://schemas.microsoft.com/office/drawing/2014/main" id="{88F07DB3-0CF0-E568-D8F8-16470A7B4BCD}"/>
                </a:ext>
              </a:extLst>
            </p:cNvPr>
            <p:cNvSpPr/>
            <p:nvPr/>
          </p:nvSpPr>
          <p:spPr>
            <a:xfrm>
              <a:off x="679628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6" name="object 1206">
              <a:extLst>
                <a:ext uri="{FF2B5EF4-FFF2-40B4-BE49-F238E27FC236}">
                  <a16:creationId xmlns:a16="http://schemas.microsoft.com/office/drawing/2014/main" id="{8899A3DE-B960-845F-8416-5AFA152C48F3}"/>
                </a:ext>
              </a:extLst>
            </p:cNvPr>
            <p:cNvSpPr/>
            <p:nvPr/>
          </p:nvSpPr>
          <p:spPr>
            <a:xfrm>
              <a:off x="669114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7" name="object 1207">
              <a:extLst>
                <a:ext uri="{FF2B5EF4-FFF2-40B4-BE49-F238E27FC236}">
                  <a16:creationId xmlns:a16="http://schemas.microsoft.com/office/drawing/2014/main" id="{402D648B-E389-97C9-BC33-CD5CDB745D50}"/>
                </a:ext>
              </a:extLst>
            </p:cNvPr>
            <p:cNvSpPr/>
            <p:nvPr/>
          </p:nvSpPr>
          <p:spPr>
            <a:xfrm>
              <a:off x="690127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8" name="object 1208">
              <a:extLst>
                <a:ext uri="{FF2B5EF4-FFF2-40B4-BE49-F238E27FC236}">
                  <a16:creationId xmlns:a16="http://schemas.microsoft.com/office/drawing/2014/main" id="{DA886E8A-5076-7E1B-4E1C-CB6A187C01CE}"/>
                </a:ext>
              </a:extLst>
            </p:cNvPr>
            <p:cNvSpPr/>
            <p:nvPr/>
          </p:nvSpPr>
          <p:spPr>
            <a:xfrm>
              <a:off x="672617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9" name="object 1209">
              <a:extLst>
                <a:ext uri="{FF2B5EF4-FFF2-40B4-BE49-F238E27FC236}">
                  <a16:creationId xmlns:a16="http://schemas.microsoft.com/office/drawing/2014/main" id="{0C297E19-EF09-FC35-B961-5D560B5BAE67}"/>
                </a:ext>
              </a:extLst>
            </p:cNvPr>
            <p:cNvSpPr/>
            <p:nvPr/>
          </p:nvSpPr>
          <p:spPr>
            <a:xfrm>
              <a:off x="7006352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0" name="object 1210">
              <a:extLst>
                <a:ext uri="{FF2B5EF4-FFF2-40B4-BE49-F238E27FC236}">
                  <a16:creationId xmlns:a16="http://schemas.microsoft.com/office/drawing/2014/main" id="{4EA80348-1034-DBAF-B717-D4419C8975B8}"/>
                </a:ext>
              </a:extLst>
            </p:cNvPr>
            <p:cNvSpPr/>
            <p:nvPr/>
          </p:nvSpPr>
          <p:spPr>
            <a:xfrm>
              <a:off x="6831372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1" name="object 1211">
              <a:extLst>
                <a:ext uri="{FF2B5EF4-FFF2-40B4-BE49-F238E27FC236}">
                  <a16:creationId xmlns:a16="http://schemas.microsoft.com/office/drawing/2014/main" id="{5A905508-FAC0-A702-E8D6-5CC7827D26C4}"/>
                </a:ext>
              </a:extLst>
            </p:cNvPr>
            <p:cNvSpPr/>
            <p:nvPr/>
          </p:nvSpPr>
          <p:spPr>
            <a:xfrm>
              <a:off x="6656402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2" name="object 1212">
              <a:extLst>
                <a:ext uri="{FF2B5EF4-FFF2-40B4-BE49-F238E27FC236}">
                  <a16:creationId xmlns:a16="http://schemas.microsoft.com/office/drawing/2014/main" id="{F9F5D171-422A-680B-24DB-2A9D2133E9CB}"/>
                </a:ext>
              </a:extLst>
            </p:cNvPr>
            <p:cNvSpPr/>
            <p:nvPr/>
          </p:nvSpPr>
          <p:spPr>
            <a:xfrm>
              <a:off x="6656402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3" name="object 1213">
              <a:extLst>
                <a:ext uri="{FF2B5EF4-FFF2-40B4-BE49-F238E27FC236}">
                  <a16:creationId xmlns:a16="http://schemas.microsoft.com/office/drawing/2014/main" id="{E69E194C-EBB7-FC12-32AA-0D8B665EECFF}"/>
                </a:ext>
              </a:extLst>
            </p:cNvPr>
            <p:cNvSpPr/>
            <p:nvPr/>
          </p:nvSpPr>
          <p:spPr>
            <a:xfrm>
              <a:off x="6656539" y="3378086"/>
              <a:ext cx="800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079"/>
                <a:gd name="f4" fmla="val 84454"/>
                <a:gd name="f5" fmla="val 131807"/>
                <a:gd name="f6" fmla="val 84112"/>
                <a:gd name="f7" fmla="*/ f0 1 132079"/>
                <a:gd name="f8" fmla="*/ f1 1 84454"/>
                <a:gd name="f9" fmla="+- f4 0 f2"/>
                <a:gd name="f10" fmla="+- f3 0 f2"/>
                <a:gd name="f11" fmla="*/ f10 1 1320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0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4" name="object 1214">
              <a:extLst>
                <a:ext uri="{FF2B5EF4-FFF2-40B4-BE49-F238E27FC236}">
                  <a16:creationId xmlns:a16="http://schemas.microsoft.com/office/drawing/2014/main" id="{A401E9DE-2E15-2E18-64F7-E410D5C47BB0}"/>
                </a:ext>
              </a:extLst>
            </p:cNvPr>
            <p:cNvSpPr/>
            <p:nvPr/>
          </p:nvSpPr>
          <p:spPr>
            <a:xfrm>
              <a:off x="700600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5" name="object 1215">
              <a:extLst>
                <a:ext uri="{FF2B5EF4-FFF2-40B4-BE49-F238E27FC236}">
                  <a16:creationId xmlns:a16="http://schemas.microsoft.com/office/drawing/2014/main" id="{1FEDDD7D-95E3-76AC-0203-C27DC783DFE5}"/>
                </a:ext>
              </a:extLst>
            </p:cNvPr>
            <p:cNvSpPr/>
            <p:nvPr/>
          </p:nvSpPr>
          <p:spPr>
            <a:xfrm>
              <a:off x="683103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6" name="object 1216">
              <a:extLst>
                <a:ext uri="{FF2B5EF4-FFF2-40B4-BE49-F238E27FC236}">
                  <a16:creationId xmlns:a16="http://schemas.microsoft.com/office/drawing/2014/main" id="{56F6A0C7-E2CC-D753-B6ED-3F8329CE110B}"/>
                </a:ext>
              </a:extLst>
            </p:cNvPr>
            <p:cNvSpPr/>
            <p:nvPr/>
          </p:nvSpPr>
          <p:spPr>
            <a:xfrm>
              <a:off x="665605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7" name="object 1217">
              <a:extLst>
                <a:ext uri="{FF2B5EF4-FFF2-40B4-BE49-F238E27FC236}">
                  <a16:creationId xmlns:a16="http://schemas.microsoft.com/office/drawing/2014/main" id="{EE384C37-3DE5-9035-728A-E9C3A4D8D285}"/>
                </a:ext>
              </a:extLst>
            </p:cNvPr>
            <p:cNvSpPr/>
            <p:nvPr/>
          </p:nvSpPr>
          <p:spPr>
            <a:xfrm>
              <a:off x="683103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8" name="object 1218">
              <a:extLst>
                <a:ext uri="{FF2B5EF4-FFF2-40B4-BE49-F238E27FC236}">
                  <a16:creationId xmlns:a16="http://schemas.microsoft.com/office/drawing/2014/main" id="{CDBE81C9-7DA2-7821-83C5-5D9650F21D85}"/>
                </a:ext>
              </a:extLst>
            </p:cNvPr>
            <p:cNvSpPr/>
            <p:nvPr/>
          </p:nvSpPr>
          <p:spPr>
            <a:xfrm>
              <a:off x="693596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9" name="object 1219">
              <a:extLst>
                <a:ext uri="{FF2B5EF4-FFF2-40B4-BE49-F238E27FC236}">
                  <a16:creationId xmlns:a16="http://schemas.microsoft.com/office/drawing/2014/main" id="{248108AC-49A3-098D-0F94-E120CA17DF49}"/>
                </a:ext>
              </a:extLst>
            </p:cNvPr>
            <p:cNvSpPr/>
            <p:nvPr/>
          </p:nvSpPr>
          <p:spPr>
            <a:xfrm>
              <a:off x="697098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0" name="object 1220">
              <a:extLst>
                <a:ext uri="{FF2B5EF4-FFF2-40B4-BE49-F238E27FC236}">
                  <a16:creationId xmlns:a16="http://schemas.microsoft.com/office/drawing/2014/main" id="{DAA5BF91-56A3-6D1E-6FC0-47DA92D9B498}"/>
                </a:ext>
              </a:extLst>
            </p:cNvPr>
            <p:cNvSpPr/>
            <p:nvPr/>
          </p:nvSpPr>
          <p:spPr>
            <a:xfrm>
              <a:off x="686591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1" name="object 1221">
              <a:extLst>
                <a:ext uri="{FF2B5EF4-FFF2-40B4-BE49-F238E27FC236}">
                  <a16:creationId xmlns:a16="http://schemas.microsoft.com/office/drawing/2014/main" id="{5BF7D249-366C-3A5B-9517-A1CD70689C95}"/>
                </a:ext>
              </a:extLst>
            </p:cNvPr>
            <p:cNvSpPr/>
            <p:nvPr/>
          </p:nvSpPr>
          <p:spPr>
            <a:xfrm>
              <a:off x="676084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2" name="object 1222">
              <a:extLst>
                <a:ext uri="{FF2B5EF4-FFF2-40B4-BE49-F238E27FC236}">
                  <a16:creationId xmlns:a16="http://schemas.microsoft.com/office/drawing/2014/main" id="{92EC8875-E170-F5E1-99B6-E8C27DF7EFE4}"/>
                </a:ext>
              </a:extLst>
            </p:cNvPr>
            <p:cNvSpPr/>
            <p:nvPr/>
          </p:nvSpPr>
          <p:spPr>
            <a:xfrm>
              <a:off x="6795939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3" name="object 1223">
              <a:extLst>
                <a:ext uri="{FF2B5EF4-FFF2-40B4-BE49-F238E27FC236}">
                  <a16:creationId xmlns:a16="http://schemas.microsoft.com/office/drawing/2014/main" id="{EAF5D099-7AEC-E5AA-C716-8C30D4AE0ED4}"/>
                </a:ext>
              </a:extLst>
            </p:cNvPr>
            <p:cNvSpPr/>
            <p:nvPr/>
          </p:nvSpPr>
          <p:spPr>
            <a:xfrm>
              <a:off x="669080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4" name="object 1224">
              <a:extLst>
                <a:ext uri="{FF2B5EF4-FFF2-40B4-BE49-F238E27FC236}">
                  <a16:creationId xmlns:a16="http://schemas.microsoft.com/office/drawing/2014/main" id="{9357B214-EF41-87EE-7761-2698F3577FFE}"/>
                </a:ext>
              </a:extLst>
            </p:cNvPr>
            <p:cNvSpPr/>
            <p:nvPr/>
          </p:nvSpPr>
          <p:spPr>
            <a:xfrm>
              <a:off x="690094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5" name="object 1225">
              <a:extLst>
                <a:ext uri="{FF2B5EF4-FFF2-40B4-BE49-F238E27FC236}">
                  <a16:creationId xmlns:a16="http://schemas.microsoft.com/office/drawing/2014/main" id="{8640BA4A-AEEB-2293-83E9-9FC738498F07}"/>
                </a:ext>
              </a:extLst>
            </p:cNvPr>
            <p:cNvSpPr/>
            <p:nvPr/>
          </p:nvSpPr>
          <p:spPr>
            <a:xfrm>
              <a:off x="672582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6" name="object 1226">
              <a:extLst>
                <a:ext uri="{FF2B5EF4-FFF2-40B4-BE49-F238E27FC236}">
                  <a16:creationId xmlns:a16="http://schemas.microsoft.com/office/drawing/2014/main" id="{3BE3F812-E81E-A19B-4939-66CD0317C178}"/>
                </a:ext>
              </a:extLst>
            </p:cNvPr>
            <p:cNvSpPr/>
            <p:nvPr/>
          </p:nvSpPr>
          <p:spPr>
            <a:xfrm>
              <a:off x="6656054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227" name="object 1227">
            <a:extLst>
              <a:ext uri="{FF2B5EF4-FFF2-40B4-BE49-F238E27FC236}">
                <a16:creationId xmlns:a16="http://schemas.microsoft.com/office/drawing/2014/main" id="{9141B2B7-B979-3468-A892-664E533635DA}"/>
              </a:ext>
            </a:extLst>
          </p:cNvPr>
          <p:cNvGrpSpPr/>
          <p:nvPr/>
        </p:nvGrpSpPr>
        <p:grpSpPr>
          <a:xfrm>
            <a:off x="5833725" y="1848916"/>
            <a:ext cx="350371" cy="123526"/>
            <a:chOff x="5833725" y="1848916"/>
            <a:chExt cx="350371" cy="123526"/>
          </a:xfrm>
        </p:grpSpPr>
        <p:sp>
          <p:nvSpPr>
            <p:cNvPr id="1228" name="object 1228">
              <a:extLst>
                <a:ext uri="{FF2B5EF4-FFF2-40B4-BE49-F238E27FC236}">
                  <a16:creationId xmlns:a16="http://schemas.microsoft.com/office/drawing/2014/main" id="{2B9F8CC7-8991-5A2B-EB05-1A41268D5460}"/>
                </a:ext>
              </a:extLst>
            </p:cNvPr>
            <p:cNvSpPr/>
            <p:nvPr/>
          </p:nvSpPr>
          <p:spPr>
            <a:xfrm>
              <a:off x="611397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9" name="object 1229">
              <a:extLst>
                <a:ext uri="{FF2B5EF4-FFF2-40B4-BE49-F238E27FC236}">
                  <a16:creationId xmlns:a16="http://schemas.microsoft.com/office/drawing/2014/main" id="{69D770BE-AA28-3583-E474-6730B68D8F57}"/>
                </a:ext>
              </a:extLst>
            </p:cNvPr>
            <p:cNvSpPr/>
            <p:nvPr/>
          </p:nvSpPr>
          <p:spPr>
            <a:xfrm>
              <a:off x="6148992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0" name="object 1230">
              <a:extLst>
                <a:ext uri="{FF2B5EF4-FFF2-40B4-BE49-F238E27FC236}">
                  <a16:creationId xmlns:a16="http://schemas.microsoft.com/office/drawing/2014/main" id="{A547F93A-BA25-51B7-239D-AF8F23377087}"/>
                </a:ext>
              </a:extLst>
            </p:cNvPr>
            <p:cNvSpPr/>
            <p:nvPr/>
          </p:nvSpPr>
          <p:spPr>
            <a:xfrm>
              <a:off x="604392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1" name="object 1231">
              <a:extLst>
                <a:ext uri="{FF2B5EF4-FFF2-40B4-BE49-F238E27FC236}">
                  <a16:creationId xmlns:a16="http://schemas.microsoft.com/office/drawing/2014/main" id="{8E6DECE0-5364-A07C-E9B1-54A68266D9CB}"/>
                </a:ext>
              </a:extLst>
            </p:cNvPr>
            <p:cNvSpPr/>
            <p:nvPr/>
          </p:nvSpPr>
          <p:spPr>
            <a:xfrm>
              <a:off x="593886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2" name="object 1232">
              <a:extLst>
                <a:ext uri="{FF2B5EF4-FFF2-40B4-BE49-F238E27FC236}">
                  <a16:creationId xmlns:a16="http://schemas.microsoft.com/office/drawing/2014/main" id="{3E1EC5FF-A8F8-B2C9-4D7D-B1AEF8DB1946}"/>
                </a:ext>
              </a:extLst>
            </p:cNvPr>
            <p:cNvSpPr/>
            <p:nvPr/>
          </p:nvSpPr>
          <p:spPr>
            <a:xfrm>
              <a:off x="597395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3" name="object 1233">
              <a:extLst>
                <a:ext uri="{FF2B5EF4-FFF2-40B4-BE49-F238E27FC236}">
                  <a16:creationId xmlns:a16="http://schemas.microsoft.com/office/drawing/2014/main" id="{BD68B974-85CE-84A1-9C8C-9D474D30F68A}"/>
                </a:ext>
              </a:extLst>
            </p:cNvPr>
            <p:cNvSpPr/>
            <p:nvPr/>
          </p:nvSpPr>
          <p:spPr>
            <a:xfrm>
              <a:off x="586882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4" name="object 1234">
              <a:extLst>
                <a:ext uri="{FF2B5EF4-FFF2-40B4-BE49-F238E27FC236}">
                  <a16:creationId xmlns:a16="http://schemas.microsoft.com/office/drawing/2014/main" id="{CD671340-E2D1-0931-3CF1-12581D4B7F9F}"/>
                </a:ext>
              </a:extLst>
            </p:cNvPr>
            <p:cNvSpPr/>
            <p:nvPr/>
          </p:nvSpPr>
          <p:spPr>
            <a:xfrm>
              <a:off x="607894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5" name="object 1235">
              <a:extLst>
                <a:ext uri="{FF2B5EF4-FFF2-40B4-BE49-F238E27FC236}">
                  <a16:creationId xmlns:a16="http://schemas.microsoft.com/office/drawing/2014/main" id="{E37B90D9-BDC2-49FA-2930-E633072A4631}"/>
                </a:ext>
              </a:extLst>
            </p:cNvPr>
            <p:cNvSpPr/>
            <p:nvPr/>
          </p:nvSpPr>
          <p:spPr>
            <a:xfrm>
              <a:off x="590384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6" name="object 1236">
              <a:extLst>
                <a:ext uri="{FF2B5EF4-FFF2-40B4-BE49-F238E27FC236}">
                  <a16:creationId xmlns:a16="http://schemas.microsoft.com/office/drawing/2014/main" id="{3D5AB5D5-7A4C-843E-CD11-90DA3040D780}"/>
                </a:ext>
              </a:extLst>
            </p:cNvPr>
            <p:cNvSpPr/>
            <p:nvPr/>
          </p:nvSpPr>
          <p:spPr>
            <a:xfrm>
              <a:off x="6184014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7" name="object 1237">
              <a:extLst>
                <a:ext uri="{FF2B5EF4-FFF2-40B4-BE49-F238E27FC236}">
                  <a16:creationId xmlns:a16="http://schemas.microsoft.com/office/drawing/2014/main" id="{19510A43-2C65-FB60-2EA5-716BF99197B0}"/>
                </a:ext>
              </a:extLst>
            </p:cNvPr>
            <p:cNvSpPr/>
            <p:nvPr/>
          </p:nvSpPr>
          <p:spPr>
            <a:xfrm>
              <a:off x="6009043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8" name="object 1238">
              <a:extLst>
                <a:ext uri="{FF2B5EF4-FFF2-40B4-BE49-F238E27FC236}">
                  <a16:creationId xmlns:a16="http://schemas.microsoft.com/office/drawing/2014/main" id="{3D15B271-93A7-C31D-967E-83D81AEA8D4D}"/>
                </a:ext>
              </a:extLst>
            </p:cNvPr>
            <p:cNvSpPr/>
            <p:nvPr/>
          </p:nvSpPr>
          <p:spPr>
            <a:xfrm>
              <a:off x="5834073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9" name="object 1239">
              <a:extLst>
                <a:ext uri="{FF2B5EF4-FFF2-40B4-BE49-F238E27FC236}">
                  <a16:creationId xmlns:a16="http://schemas.microsoft.com/office/drawing/2014/main" id="{03AB0D87-DA87-2AA8-E7CC-4153ADC62666}"/>
                </a:ext>
              </a:extLst>
            </p:cNvPr>
            <p:cNvSpPr/>
            <p:nvPr/>
          </p:nvSpPr>
          <p:spPr>
            <a:xfrm>
              <a:off x="5834073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0" name="object 1240">
              <a:extLst>
                <a:ext uri="{FF2B5EF4-FFF2-40B4-BE49-F238E27FC236}">
                  <a16:creationId xmlns:a16="http://schemas.microsoft.com/office/drawing/2014/main" id="{39E02DBB-6B4D-0F69-DDD8-42520D7B2451}"/>
                </a:ext>
              </a:extLst>
            </p:cNvPr>
            <p:cNvSpPr/>
            <p:nvPr/>
          </p:nvSpPr>
          <p:spPr>
            <a:xfrm>
              <a:off x="5834192" y="1848916"/>
              <a:ext cx="13977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0504"/>
                <a:gd name="f4" fmla="val 84455"/>
                <a:gd name="f5" fmla="val 230474"/>
                <a:gd name="f6" fmla="val 84112"/>
                <a:gd name="f7" fmla="*/ f0 1 230504"/>
                <a:gd name="f8" fmla="*/ f1 1 84455"/>
                <a:gd name="f9" fmla="+- f4 0 f2"/>
                <a:gd name="f10" fmla="+- f3 0 f2"/>
                <a:gd name="f11" fmla="*/ f10 1 23050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050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1" name="object 1241">
              <a:extLst>
                <a:ext uri="{FF2B5EF4-FFF2-40B4-BE49-F238E27FC236}">
                  <a16:creationId xmlns:a16="http://schemas.microsoft.com/office/drawing/2014/main" id="{5C607205-FD41-DC9D-0E1E-7F187D21F028}"/>
                </a:ext>
              </a:extLst>
            </p:cNvPr>
            <p:cNvSpPr/>
            <p:nvPr/>
          </p:nvSpPr>
          <p:spPr>
            <a:xfrm>
              <a:off x="5834192" y="1921227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4"/>
                <a:gd name="f5" fmla="val 291436"/>
                <a:gd name="f6" fmla="val 84091"/>
                <a:gd name="f7" fmla="*/ f0 1 291465"/>
                <a:gd name="f8" fmla="*/ f1 1 84454"/>
                <a:gd name="f9" fmla="+- f4 0 f2"/>
                <a:gd name="f10" fmla="+- f3 0 f2"/>
                <a:gd name="f11" fmla="*/ f10 1 2914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2" name="object 1242">
              <a:extLst>
                <a:ext uri="{FF2B5EF4-FFF2-40B4-BE49-F238E27FC236}">
                  <a16:creationId xmlns:a16="http://schemas.microsoft.com/office/drawing/2014/main" id="{A1180779-3CA4-404D-1565-8060893BABE3}"/>
                </a:ext>
              </a:extLst>
            </p:cNvPr>
            <p:cNvSpPr/>
            <p:nvPr/>
          </p:nvSpPr>
          <p:spPr>
            <a:xfrm>
              <a:off x="611362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3" name="object 1243">
              <a:extLst>
                <a:ext uri="{FF2B5EF4-FFF2-40B4-BE49-F238E27FC236}">
                  <a16:creationId xmlns:a16="http://schemas.microsoft.com/office/drawing/2014/main" id="{8D90AC5C-36DF-B7D7-1A8C-85054EE9B695}"/>
                </a:ext>
              </a:extLst>
            </p:cNvPr>
            <p:cNvSpPr/>
            <p:nvPr/>
          </p:nvSpPr>
          <p:spPr>
            <a:xfrm>
              <a:off x="614864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4" name="object 1244">
              <a:extLst>
                <a:ext uri="{FF2B5EF4-FFF2-40B4-BE49-F238E27FC236}">
                  <a16:creationId xmlns:a16="http://schemas.microsoft.com/office/drawing/2014/main" id="{04A16879-6F1F-47CC-B248-437B4C07D735}"/>
                </a:ext>
              </a:extLst>
            </p:cNvPr>
            <p:cNvSpPr/>
            <p:nvPr/>
          </p:nvSpPr>
          <p:spPr>
            <a:xfrm>
              <a:off x="604358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5" name="object 1245">
              <a:extLst>
                <a:ext uri="{FF2B5EF4-FFF2-40B4-BE49-F238E27FC236}">
                  <a16:creationId xmlns:a16="http://schemas.microsoft.com/office/drawing/2014/main" id="{643692E9-690A-9A8C-BFAA-26FC80776897}"/>
                </a:ext>
              </a:extLst>
            </p:cNvPr>
            <p:cNvSpPr/>
            <p:nvPr/>
          </p:nvSpPr>
          <p:spPr>
            <a:xfrm>
              <a:off x="593851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6" name="object 1246">
              <a:extLst>
                <a:ext uri="{FF2B5EF4-FFF2-40B4-BE49-F238E27FC236}">
                  <a16:creationId xmlns:a16="http://schemas.microsoft.com/office/drawing/2014/main" id="{4B664367-893A-3A99-6887-4FFAE668332D}"/>
                </a:ext>
              </a:extLst>
            </p:cNvPr>
            <p:cNvSpPr/>
            <p:nvPr/>
          </p:nvSpPr>
          <p:spPr>
            <a:xfrm>
              <a:off x="597361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7" name="object 1247">
              <a:extLst>
                <a:ext uri="{FF2B5EF4-FFF2-40B4-BE49-F238E27FC236}">
                  <a16:creationId xmlns:a16="http://schemas.microsoft.com/office/drawing/2014/main" id="{F0793176-2B02-10C6-5F52-DEAE33F8157A}"/>
                </a:ext>
              </a:extLst>
            </p:cNvPr>
            <p:cNvSpPr/>
            <p:nvPr/>
          </p:nvSpPr>
          <p:spPr>
            <a:xfrm>
              <a:off x="5868472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8" name="object 1248">
              <a:extLst>
                <a:ext uri="{FF2B5EF4-FFF2-40B4-BE49-F238E27FC236}">
                  <a16:creationId xmlns:a16="http://schemas.microsoft.com/office/drawing/2014/main" id="{13F5BA0F-829A-30BD-7805-5D1958F7C58F}"/>
                </a:ext>
              </a:extLst>
            </p:cNvPr>
            <p:cNvSpPr/>
            <p:nvPr/>
          </p:nvSpPr>
          <p:spPr>
            <a:xfrm>
              <a:off x="6078602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9" name="object 1249">
              <a:extLst>
                <a:ext uri="{FF2B5EF4-FFF2-40B4-BE49-F238E27FC236}">
                  <a16:creationId xmlns:a16="http://schemas.microsoft.com/office/drawing/2014/main" id="{451F5FC1-76B7-9275-5886-22F8C169FADE}"/>
                </a:ext>
              </a:extLst>
            </p:cNvPr>
            <p:cNvSpPr/>
            <p:nvPr/>
          </p:nvSpPr>
          <p:spPr>
            <a:xfrm>
              <a:off x="590349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0" name="object 1250">
              <a:extLst>
                <a:ext uri="{FF2B5EF4-FFF2-40B4-BE49-F238E27FC236}">
                  <a16:creationId xmlns:a16="http://schemas.microsoft.com/office/drawing/2014/main" id="{B79241D3-4304-DCCD-EC60-9DBEEFB52ACA}"/>
                </a:ext>
              </a:extLst>
            </p:cNvPr>
            <p:cNvSpPr/>
            <p:nvPr/>
          </p:nvSpPr>
          <p:spPr>
            <a:xfrm>
              <a:off x="6183666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1" name="object 1251">
              <a:extLst>
                <a:ext uri="{FF2B5EF4-FFF2-40B4-BE49-F238E27FC236}">
                  <a16:creationId xmlns:a16="http://schemas.microsoft.com/office/drawing/2014/main" id="{D46A6B80-5E69-7C1E-ADFE-1DA0A713B753}"/>
                </a:ext>
              </a:extLst>
            </p:cNvPr>
            <p:cNvSpPr/>
            <p:nvPr/>
          </p:nvSpPr>
          <p:spPr>
            <a:xfrm>
              <a:off x="6008696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2" name="object 1252">
              <a:extLst>
                <a:ext uri="{FF2B5EF4-FFF2-40B4-BE49-F238E27FC236}">
                  <a16:creationId xmlns:a16="http://schemas.microsoft.com/office/drawing/2014/main" id="{4EB1F612-A8C3-436A-12E5-5B0036E3C077}"/>
                </a:ext>
              </a:extLst>
            </p:cNvPr>
            <p:cNvSpPr/>
            <p:nvPr/>
          </p:nvSpPr>
          <p:spPr>
            <a:xfrm>
              <a:off x="5833725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3" name="object 1253">
              <a:extLst>
                <a:ext uri="{FF2B5EF4-FFF2-40B4-BE49-F238E27FC236}">
                  <a16:creationId xmlns:a16="http://schemas.microsoft.com/office/drawing/2014/main" id="{2175466C-BEC3-1840-6811-A03D905E0C01}"/>
                </a:ext>
              </a:extLst>
            </p:cNvPr>
            <p:cNvSpPr/>
            <p:nvPr/>
          </p:nvSpPr>
          <p:spPr>
            <a:xfrm>
              <a:off x="6008696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4" name="object 1254">
              <a:extLst>
                <a:ext uri="{FF2B5EF4-FFF2-40B4-BE49-F238E27FC236}">
                  <a16:creationId xmlns:a16="http://schemas.microsoft.com/office/drawing/2014/main" id="{319B587E-73CC-8014-3FD1-4ADE0ED04AB3}"/>
                </a:ext>
              </a:extLst>
            </p:cNvPr>
            <p:cNvSpPr/>
            <p:nvPr/>
          </p:nvSpPr>
          <p:spPr>
            <a:xfrm>
              <a:off x="5833725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255" name="object 1255">
            <a:extLst>
              <a:ext uri="{FF2B5EF4-FFF2-40B4-BE49-F238E27FC236}">
                <a16:creationId xmlns:a16="http://schemas.microsoft.com/office/drawing/2014/main" id="{B850CC7F-947C-0625-7987-F870D0795706}"/>
              </a:ext>
            </a:extLst>
          </p:cNvPr>
          <p:cNvGrpSpPr/>
          <p:nvPr/>
        </p:nvGrpSpPr>
        <p:grpSpPr>
          <a:xfrm>
            <a:off x="5833725" y="2613309"/>
            <a:ext cx="350371" cy="123535"/>
            <a:chOff x="5833725" y="2613309"/>
            <a:chExt cx="350371" cy="123535"/>
          </a:xfrm>
        </p:grpSpPr>
        <p:sp>
          <p:nvSpPr>
            <p:cNvPr id="1256" name="object 1256">
              <a:extLst>
                <a:ext uri="{FF2B5EF4-FFF2-40B4-BE49-F238E27FC236}">
                  <a16:creationId xmlns:a16="http://schemas.microsoft.com/office/drawing/2014/main" id="{5F447174-F89B-27BA-27DC-09DCA5B9BF7F}"/>
                </a:ext>
              </a:extLst>
            </p:cNvPr>
            <p:cNvSpPr/>
            <p:nvPr/>
          </p:nvSpPr>
          <p:spPr>
            <a:xfrm>
              <a:off x="611397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7" name="object 1257">
              <a:extLst>
                <a:ext uri="{FF2B5EF4-FFF2-40B4-BE49-F238E27FC236}">
                  <a16:creationId xmlns:a16="http://schemas.microsoft.com/office/drawing/2014/main" id="{B2EE029E-856B-381A-DF90-0B400F6A699C}"/>
                </a:ext>
              </a:extLst>
            </p:cNvPr>
            <p:cNvSpPr/>
            <p:nvPr/>
          </p:nvSpPr>
          <p:spPr>
            <a:xfrm>
              <a:off x="6148992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8" name="object 1258">
              <a:extLst>
                <a:ext uri="{FF2B5EF4-FFF2-40B4-BE49-F238E27FC236}">
                  <a16:creationId xmlns:a16="http://schemas.microsoft.com/office/drawing/2014/main" id="{2E7BBA71-6C2C-94D7-E185-10ADC18BE767}"/>
                </a:ext>
              </a:extLst>
            </p:cNvPr>
            <p:cNvSpPr/>
            <p:nvPr/>
          </p:nvSpPr>
          <p:spPr>
            <a:xfrm>
              <a:off x="604392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9" name="object 1259">
              <a:extLst>
                <a:ext uri="{FF2B5EF4-FFF2-40B4-BE49-F238E27FC236}">
                  <a16:creationId xmlns:a16="http://schemas.microsoft.com/office/drawing/2014/main" id="{C28F3595-C443-3383-DABF-614E84259315}"/>
                </a:ext>
              </a:extLst>
            </p:cNvPr>
            <p:cNvSpPr/>
            <p:nvPr/>
          </p:nvSpPr>
          <p:spPr>
            <a:xfrm>
              <a:off x="593886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0" name="object 1260">
              <a:extLst>
                <a:ext uri="{FF2B5EF4-FFF2-40B4-BE49-F238E27FC236}">
                  <a16:creationId xmlns:a16="http://schemas.microsoft.com/office/drawing/2014/main" id="{7C05AA9C-7E25-34E6-EBDF-CFDEEE139552}"/>
                </a:ext>
              </a:extLst>
            </p:cNvPr>
            <p:cNvSpPr/>
            <p:nvPr/>
          </p:nvSpPr>
          <p:spPr>
            <a:xfrm>
              <a:off x="597395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1" name="object 1261">
              <a:extLst>
                <a:ext uri="{FF2B5EF4-FFF2-40B4-BE49-F238E27FC236}">
                  <a16:creationId xmlns:a16="http://schemas.microsoft.com/office/drawing/2014/main" id="{512AE55C-C10A-B07E-2766-51A8E8073E7B}"/>
                </a:ext>
              </a:extLst>
            </p:cNvPr>
            <p:cNvSpPr/>
            <p:nvPr/>
          </p:nvSpPr>
          <p:spPr>
            <a:xfrm>
              <a:off x="586882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2" name="object 1262">
              <a:extLst>
                <a:ext uri="{FF2B5EF4-FFF2-40B4-BE49-F238E27FC236}">
                  <a16:creationId xmlns:a16="http://schemas.microsoft.com/office/drawing/2014/main" id="{E54FAAB0-F19A-5798-6559-BBE601E89DEB}"/>
                </a:ext>
              </a:extLst>
            </p:cNvPr>
            <p:cNvSpPr/>
            <p:nvPr/>
          </p:nvSpPr>
          <p:spPr>
            <a:xfrm>
              <a:off x="607894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3" name="object 1263">
              <a:extLst>
                <a:ext uri="{FF2B5EF4-FFF2-40B4-BE49-F238E27FC236}">
                  <a16:creationId xmlns:a16="http://schemas.microsoft.com/office/drawing/2014/main" id="{3921168B-7DC3-0AD5-EB86-96842A10B387}"/>
                </a:ext>
              </a:extLst>
            </p:cNvPr>
            <p:cNvSpPr/>
            <p:nvPr/>
          </p:nvSpPr>
          <p:spPr>
            <a:xfrm>
              <a:off x="590384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4" name="object 1264">
              <a:extLst>
                <a:ext uri="{FF2B5EF4-FFF2-40B4-BE49-F238E27FC236}">
                  <a16:creationId xmlns:a16="http://schemas.microsoft.com/office/drawing/2014/main" id="{A116A436-B04C-E676-6EDA-87649608D469}"/>
                </a:ext>
              </a:extLst>
            </p:cNvPr>
            <p:cNvSpPr/>
            <p:nvPr/>
          </p:nvSpPr>
          <p:spPr>
            <a:xfrm>
              <a:off x="6184014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5" name="object 1265">
              <a:extLst>
                <a:ext uri="{FF2B5EF4-FFF2-40B4-BE49-F238E27FC236}">
                  <a16:creationId xmlns:a16="http://schemas.microsoft.com/office/drawing/2014/main" id="{CF17245F-4389-E5A3-EB05-18D3F2DC8A16}"/>
                </a:ext>
              </a:extLst>
            </p:cNvPr>
            <p:cNvSpPr/>
            <p:nvPr/>
          </p:nvSpPr>
          <p:spPr>
            <a:xfrm>
              <a:off x="6009043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6" name="object 1266">
              <a:extLst>
                <a:ext uri="{FF2B5EF4-FFF2-40B4-BE49-F238E27FC236}">
                  <a16:creationId xmlns:a16="http://schemas.microsoft.com/office/drawing/2014/main" id="{F6566340-9185-449D-0415-11B1C35B7287}"/>
                </a:ext>
              </a:extLst>
            </p:cNvPr>
            <p:cNvSpPr/>
            <p:nvPr/>
          </p:nvSpPr>
          <p:spPr>
            <a:xfrm>
              <a:off x="5834073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7" name="object 1267">
              <a:extLst>
                <a:ext uri="{FF2B5EF4-FFF2-40B4-BE49-F238E27FC236}">
                  <a16:creationId xmlns:a16="http://schemas.microsoft.com/office/drawing/2014/main" id="{B2C55E4C-19EC-5727-B629-70D2EA29CE28}"/>
                </a:ext>
              </a:extLst>
            </p:cNvPr>
            <p:cNvSpPr/>
            <p:nvPr/>
          </p:nvSpPr>
          <p:spPr>
            <a:xfrm>
              <a:off x="5834073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8" name="object 1268">
              <a:extLst>
                <a:ext uri="{FF2B5EF4-FFF2-40B4-BE49-F238E27FC236}">
                  <a16:creationId xmlns:a16="http://schemas.microsoft.com/office/drawing/2014/main" id="{5DB1A05A-51D9-C694-8B7F-EB6CF3F38585}"/>
                </a:ext>
              </a:extLst>
            </p:cNvPr>
            <p:cNvSpPr/>
            <p:nvPr/>
          </p:nvSpPr>
          <p:spPr>
            <a:xfrm>
              <a:off x="5834192" y="2613318"/>
              <a:ext cx="13207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17804"/>
                <a:gd name="f4" fmla="val 84454"/>
                <a:gd name="f5" fmla="val 217647"/>
                <a:gd name="f6" fmla="val 84102"/>
                <a:gd name="f7" fmla="*/ f0 1 217804"/>
                <a:gd name="f8" fmla="*/ f1 1 84454"/>
                <a:gd name="f9" fmla="+- f4 0 f2"/>
                <a:gd name="f10" fmla="+- f3 0 f2"/>
                <a:gd name="f11" fmla="*/ f10 1 2178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178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9" name="object 1269">
              <a:extLst>
                <a:ext uri="{FF2B5EF4-FFF2-40B4-BE49-F238E27FC236}">
                  <a16:creationId xmlns:a16="http://schemas.microsoft.com/office/drawing/2014/main" id="{BEF83E79-1533-42B1-D962-5CDF5B06CA84}"/>
                </a:ext>
              </a:extLst>
            </p:cNvPr>
            <p:cNvSpPr/>
            <p:nvPr/>
          </p:nvSpPr>
          <p:spPr>
            <a:xfrm>
              <a:off x="5834192" y="2685629"/>
              <a:ext cx="2610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0529"/>
                <a:gd name="f4" fmla="val 84454"/>
                <a:gd name="f5" fmla="val 430206"/>
                <a:gd name="f6" fmla="val 84102"/>
                <a:gd name="f7" fmla="*/ f0 1 430529"/>
                <a:gd name="f8" fmla="*/ f1 1 84454"/>
                <a:gd name="f9" fmla="+- f4 0 f2"/>
                <a:gd name="f10" fmla="+- f3 0 f2"/>
                <a:gd name="f11" fmla="*/ f10 1 43052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052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0" name="object 1270">
              <a:extLst>
                <a:ext uri="{FF2B5EF4-FFF2-40B4-BE49-F238E27FC236}">
                  <a16:creationId xmlns:a16="http://schemas.microsoft.com/office/drawing/2014/main" id="{EAFB0B79-9269-A035-7234-05B74A4DCB92}"/>
                </a:ext>
              </a:extLst>
            </p:cNvPr>
            <p:cNvSpPr/>
            <p:nvPr/>
          </p:nvSpPr>
          <p:spPr>
            <a:xfrm>
              <a:off x="611362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1" name="object 1271">
              <a:extLst>
                <a:ext uri="{FF2B5EF4-FFF2-40B4-BE49-F238E27FC236}">
                  <a16:creationId xmlns:a16="http://schemas.microsoft.com/office/drawing/2014/main" id="{1F0CD82E-1043-4C85-1670-DF8110C5C782}"/>
                </a:ext>
              </a:extLst>
            </p:cNvPr>
            <p:cNvSpPr/>
            <p:nvPr/>
          </p:nvSpPr>
          <p:spPr>
            <a:xfrm>
              <a:off x="6148645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2" name="object 1272">
              <a:extLst>
                <a:ext uri="{FF2B5EF4-FFF2-40B4-BE49-F238E27FC236}">
                  <a16:creationId xmlns:a16="http://schemas.microsoft.com/office/drawing/2014/main" id="{03B4BEED-526A-9FEC-DB7C-835475991DA1}"/>
                </a:ext>
              </a:extLst>
            </p:cNvPr>
            <p:cNvSpPr/>
            <p:nvPr/>
          </p:nvSpPr>
          <p:spPr>
            <a:xfrm>
              <a:off x="604358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3" name="object 1273">
              <a:extLst>
                <a:ext uri="{FF2B5EF4-FFF2-40B4-BE49-F238E27FC236}">
                  <a16:creationId xmlns:a16="http://schemas.microsoft.com/office/drawing/2014/main" id="{CE8411A4-E95E-F2C0-12D6-896A11687473}"/>
                </a:ext>
              </a:extLst>
            </p:cNvPr>
            <p:cNvSpPr/>
            <p:nvPr/>
          </p:nvSpPr>
          <p:spPr>
            <a:xfrm>
              <a:off x="5938515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4" name="object 1274">
              <a:extLst>
                <a:ext uri="{FF2B5EF4-FFF2-40B4-BE49-F238E27FC236}">
                  <a16:creationId xmlns:a16="http://schemas.microsoft.com/office/drawing/2014/main" id="{CF6F5FE2-EF21-B41E-C80F-FEBD8A3941AE}"/>
                </a:ext>
              </a:extLst>
            </p:cNvPr>
            <p:cNvSpPr/>
            <p:nvPr/>
          </p:nvSpPr>
          <p:spPr>
            <a:xfrm>
              <a:off x="597361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5" name="object 1275">
              <a:extLst>
                <a:ext uri="{FF2B5EF4-FFF2-40B4-BE49-F238E27FC236}">
                  <a16:creationId xmlns:a16="http://schemas.microsoft.com/office/drawing/2014/main" id="{B24B4AA0-66CA-2621-F383-02768DE309E6}"/>
                </a:ext>
              </a:extLst>
            </p:cNvPr>
            <p:cNvSpPr/>
            <p:nvPr/>
          </p:nvSpPr>
          <p:spPr>
            <a:xfrm>
              <a:off x="586847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6" name="object 1276">
              <a:extLst>
                <a:ext uri="{FF2B5EF4-FFF2-40B4-BE49-F238E27FC236}">
                  <a16:creationId xmlns:a16="http://schemas.microsoft.com/office/drawing/2014/main" id="{AB8FC185-D34C-5126-5155-42E0BEA448EA}"/>
                </a:ext>
              </a:extLst>
            </p:cNvPr>
            <p:cNvSpPr/>
            <p:nvPr/>
          </p:nvSpPr>
          <p:spPr>
            <a:xfrm>
              <a:off x="607860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7" name="object 1277">
              <a:extLst>
                <a:ext uri="{FF2B5EF4-FFF2-40B4-BE49-F238E27FC236}">
                  <a16:creationId xmlns:a16="http://schemas.microsoft.com/office/drawing/2014/main" id="{7023978B-8EA6-9C68-4E98-7C91E91FDF5A}"/>
                </a:ext>
              </a:extLst>
            </p:cNvPr>
            <p:cNvSpPr/>
            <p:nvPr/>
          </p:nvSpPr>
          <p:spPr>
            <a:xfrm>
              <a:off x="590349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8" name="object 1278">
              <a:extLst>
                <a:ext uri="{FF2B5EF4-FFF2-40B4-BE49-F238E27FC236}">
                  <a16:creationId xmlns:a16="http://schemas.microsoft.com/office/drawing/2014/main" id="{D65A4E99-AF9D-4F57-A4FC-2F0BDD9AE12F}"/>
                </a:ext>
              </a:extLst>
            </p:cNvPr>
            <p:cNvSpPr/>
            <p:nvPr/>
          </p:nvSpPr>
          <p:spPr>
            <a:xfrm>
              <a:off x="6183666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9" name="object 1279">
              <a:extLst>
                <a:ext uri="{FF2B5EF4-FFF2-40B4-BE49-F238E27FC236}">
                  <a16:creationId xmlns:a16="http://schemas.microsoft.com/office/drawing/2014/main" id="{6F3CB1B9-4900-44DA-CEE6-7B82EFEDF6D3}"/>
                </a:ext>
              </a:extLst>
            </p:cNvPr>
            <p:cNvSpPr/>
            <p:nvPr/>
          </p:nvSpPr>
          <p:spPr>
            <a:xfrm>
              <a:off x="6008696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0" name="object 1280">
              <a:extLst>
                <a:ext uri="{FF2B5EF4-FFF2-40B4-BE49-F238E27FC236}">
                  <a16:creationId xmlns:a16="http://schemas.microsoft.com/office/drawing/2014/main" id="{8E36885E-25F9-81DB-B3EB-83DF81C2536B}"/>
                </a:ext>
              </a:extLst>
            </p:cNvPr>
            <p:cNvSpPr/>
            <p:nvPr/>
          </p:nvSpPr>
          <p:spPr>
            <a:xfrm>
              <a:off x="5833725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1" name="object 1281">
              <a:extLst>
                <a:ext uri="{FF2B5EF4-FFF2-40B4-BE49-F238E27FC236}">
                  <a16:creationId xmlns:a16="http://schemas.microsoft.com/office/drawing/2014/main" id="{342960F9-2C0C-1784-0DDB-0E2F3FA066BE}"/>
                </a:ext>
              </a:extLst>
            </p:cNvPr>
            <p:cNvSpPr/>
            <p:nvPr/>
          </p:nvSpPr>
          <p:spPr>
            <a:xfrm>
              <a:off x="6008696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2" name="object 1282">
              <a:extLst>
                <a:ext uri="{FF2B5EF4-FFF2-40B4-BE49-F238E27FC236}">
                  <a16:creationId xmlns:a16="http://schemas.microsoft.com/office/drawing/2014/main" id="{F191D081-9A43-E04E-7B2A-9D1DD0B9E4C0}"/>
                </a:ext>
              </a:extLst>
            </p:cNvPr>
            <p:cNvSpPr/>
            <p:nvPr/>
          </p:nvSpPr>
          <p:spPr>
            <a:xfrm>
              <a:off x="5833725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283" name="object 1283">
            <a:extLst>
              <a:ext uri="{FF2B5EF4-FFF2-40B4-BE49-F238E27FC236}">
                <a16:creationId xmlns:a16="http://schemas.microsoft.com/office/drawing/2014/main" id="{9F3FFF9D-56D5-43CD-518D-61A0DB513B42}"/>
              </a:ext>
            </a:extLst>
          </p:cNvPr>
          <p:cNvGrpSpPr/>
          <p:nvPr/>
        </p:nvGrpSpPr>
        <p:grpSpPr>
          <a:xfrm>
            <a:off x="5833725" y="3378077"/>
            <a:ext cx="350371" cy="123525"/>
            <a:chOff x="5833725" y="3378077"/>
            <a:chExt cx="350371" cy="123525"/>
          </a:xfrm>
        </p:grpSpPr>
        <p:sp>
          <p:nvSpPr>
            <p:cNvPr id="1284" name="object 1284">
              <a:extLst>
                <a:ext uri="{FF2B5EF4-FFF2-40B4-BE49-F238E27FC236}">
                  <a16:creationId xmlns:a16="http://schemas.microsoft.com/office/drawing/2014/main" id="{ED736C96-BDA4-6C0B-C619-12C1986EAC6D}"/>
                </a:ext>
              </a:extLst>
            </p:cNvPr>
            <p:cNvSpPr/>
            <p:nvPr/>
          </p:nvSpPr>
          <p:spPr>
            <a:xfrm>
              <a:off x="6113971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5" name="object 1285">
              <a:extLst>
                <a:ext uri="{FF2B5EF4-FFF2-40B4-BE49-F238E27FC236}">
                  <a16:creationId xmlns:a16="http://schemas.microsoft.com/office/drawing/2014/main" id="{07145B9E-AECE-3374-0422-FCDB11BFC17C}"/>
                </a:ext>
              </a:extLst>
            </p:cNvPr>
            <p:cNvSpPr/>
            <p:nvPr/>
          </p:nvSpPr>
          <p:spPr>
            <a:xfrm>
              <a:off x="6148992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6" name="object 1286">
              <a:extLst>
                <a:ext uri="{FF2B5EF4-FFF2-40B4-BE49-F238E27FC236}">
                  <a16:creationId xmlns:a16="http://schemas.microsoft.com/office/drawing/2014/main" id="{69A0ECA2-F38B-25BC-A55C-376399F12116}"/>
                </a:ext>
              </a:extLst>
            </p:cNvPr>
            <p:cNvSpPr/>
            <p:nvPr/>
          </p:nvSpPr>
          <p:spPr>
            <a:xfrm>
              <a:off x="604392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7" name="object 1287">
              <a:extLst>
                <a:ext uri="{FF2B5EF4-FFF2-40B4-BE49-F238E27FC236}">
                  <a16:creationId xmlns:a16="http://schemas.microsoft.com/office/drawing/2014/main" id="{65F12C1E-D9EF-3AB8-BDE0-640E0373E612}"/>
                </a:ext>
              </a:extLst>
            </p:cNvPr>
            <p:cNvSpPr/>
            <p:nvPr/>
          </p:nvSpPr>
          <p:spPr>
            <a:xfrm>
              <a:off x="5938863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8" name="object 1288">
              <a:extLst>
                <a:ext uri="{FF2B5EF4-FFF2-40B4-BE49-F238E27FC236}">
                  <a16:creationId xmlns:a16="http://schemas.microsoft.com/office/drawing/2014/main" id="{35808277-51D2-446C-CD70-310908D27BD3}"/>
                </a:ext>
              </a:extLst>
            </p:cNvPr>
            <p:cNvSpPr/>
            <p:nvPr/>
          </p:nvSpPr>
          <p:spPr>
            <a:xfrm>
              <a:off x="597395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9" name="object 1289">
              <a:extLst>
                <a:ext uri="{FF2B5EF4-FFF2-40B4-BE49-F238E27FC236}">
                  <a16:creationId xmlns:a16="http://schemas.microsoft.com/office/drawing/2014/main" id="{37A48E33-B680-16DD-2523-815D0A7E03C7}"/>
                </a:ext>
              </a:extLst>
            </p:cNvPr>
            <p:cNvSpPr/>
            <p:nvPr/>
          </p:nvSpPr>
          <p:spPr>
            <a:xfrm>
              <a:off x="586882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0" name="object 1290">
              <a:extLst>
                <a:ext uri="{FF2B5EF4-FFF2-40B4-BE49-F238E27FC236}">
                  <a16:creationId xmlns:a16="http://schemas.microsoft.com/office/drawing/2014/main" id="{6F3C9EBC-4071-F923-22D0-B966F82F3DC3}"/>
                </a:ext>
              </a:extLst>
            </p:cNvPr>
            <p:cNvSpPr/>
            <p:nvPr/>
          </p:nvSpPr>
          <p:spPr>
            <a:xfrm>
              <a:off x="607894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1" name="object 1291">
              <a:extLst>
                <a:ext uri="{FF2B5EF4-FFF2-40B4-BE49-F238E27FC236}">
                  <a16:creationId xmlns:a16="http://schemas.microsoft.com/office/drawing/2014/main" id="{6B4D3689-7A67-BC32-67A3-B7B3EA29152D}"/>
                </a:ext>
              </a:extLst>
            </p:cNvPr>
            <p:cNvSpPr/>
            <p:nvPr/>
          </p:nvSpPr>
          <p:spPr>
            <a:xfrm>
              <a:off x="5903841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2" name="object 1292">
              <a:extLst>
                <a:ext uri="{FF2B5EF4-FFF2-40B4-BE49-F238E27FC236}">
                  <a16:creationId xmlns:a16="http://schemas.microsoft.com/office/drawing/2014/main" id="{90EA82C5-3C33-A10F-8B67-FBF2AB657983}"/>
                </a:ext>
              </a:extLst>
            </p:cNvPr>
            <p:cNvSpPr/>
            <p:nvPr/>
          </p:nvSpPr>
          <p:spPr>
            <a:xfrm>
              <a:off x="6184014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3" name="object 1293">
              <a:extLst>
                <a:ext uri="{FF2B5EF4-FFF2-40B4-BE49-F238E27FC236}">
                  <a16:creationId xmlns:a16="http://schemas.microsoft.com/office/drawing/2014/main" id="{F25F1F0B-4EB0-A969-567A-5AD02BC1A792}"/>
                </a:ext>
              </a:extLst>
            </p:cNvPr>
            <p:cNvSpPr/>
            <p:nvPr/>
          </p:nvSpPr>
          <p:spPr>
            <a:xfrm>
              <a:off x="6009043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4" name="object 1294">
              <a:extLst>
                <a:ext uri="{FF2B5EF4-FFF2-40B4-BE49-F238E27FC236}">
                  <a16:creationId xmlns:a16="http://schemas.microsoft.com/office/drawing/2014/main" id="{AA2681ED-BCCF-C60D-8F5E-CA5CABBD4F4C}"/>
                </a:ext>
              </a:extLst>
            </p:cNvPr>
            <p:cNvSpPr/>
            <p:nvPr/>
          </p:nvSpPr>
          <p:spPr>
            <a:xfrm>
              <a:off x="5834073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5" name="object 1295">
              <a:extLst>
                <a:ext uri="{FF2B5EF4-FFF2-40B4-BE49-F238E27FC236}">
                  <a16:creationId xmlns:a16="http://schemas.microsoft.com/office/drawing/2014/main" id="{17D9976B-3502-2EDD-D5D9-22C93F257E5F}"/>
                </a:ext>
              </a:extLst>
            </p:cNvPr>
            <p:cNvSpPr/>
            <p:nvPr/>
          </p:nvSpPr>
          <p:spPr>
            <a:xfrm>
              <a:off x="5834073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6" name="object 1296">
              <a:extLst>
                <a:ext uri="{FF2B5EF4-FFF2-40B4-BE49-F238E27FC236}">
                  <a16:creationId xmlns:a16="http://schemas.microsoft.com/office/drawing/2014/main" id="{9165D628-1823-0489-9AF8-8156C0429866}"/>
                </a:ext>
              </a:extLst>
            </p:cNvPr>
            <p:cNvSpPr/>
            <p:nvPr/>
          </p:nvSpPr>
          <p:spPr>
            <a:xfrm>
              <a:off x="5834192" y="3378086"/>
              <a:ext cx="770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7000"/>
                <a:gd name="f4" fmla="val 84454"/>
                <a:gd name="f5" fmla="val 126613"/>
                <a:gd name="f6" fmla="val 84112"/>
                <a:gd name="f7" fmla="*/ f0 1 127000"/>
                <a:gd name="f8" fmla="*/ f1 1 84454"/>
                <a:gd name="f9" fmla="+- f4 0 f2"/>
                <a:gd name="f10" fmla="+- f3 0 f2"/>
                <a:gd name="f11" fmla="*/ f10 1 12700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700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7" name="object 1297">
              <a:extLst>
                <a:ext uri="{FF2B5EF4-FFF2-40B4-BE49-F238E27FC236}">
                  <a16:creationId xmlns:a16="http://schemas.microsoft.com/office/drawing/2014/main" id="{EABD5C6F-854F-D0DA-D5D4-9ECFCD432352}"/>
                </a:ext>
              </a:extLst>
            </p:cNvPr>
            <p:cNvSpPr/>
            <p:nvPr/>
          </p:nvSpPr>
          <p:spPr>
            <a:xfrm>
              <a:off x="5834192" y="3450387"/>
              <a:ext cx="1725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4479"/>
                <a:gd name="f4" fmla="val 84454"/>
                <a:gd name="f5" fmla="val 284054"/>
                <a:gd name="f6" fmla="val 84112"/>
                <a:gd name="f7" fmla="*/ f0 1 284479"/>
                <a:gd name="f8" fmla="*/ f1 1 84454"/>
                <a:gd name="f9" fmla="+- f4 0 f2"/>
                <a:gd name="f10" fmla="+- f3 0 f2"/>
                <a:gd name="f11" fmla="*/ f10 1 2844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844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8" name="object 1298">
              <a:extLst>
                <a:ext uri="{FF2B5EF4-FFF2-40B4-BE49-F238E27FC236}">
                  <a16:creationId xmlns:a16="http://schemas.microsoft.com/office/drawing/2014/main" id="{4C9A45DD-5E17-26EF-E95B-487AF62FC973}"/>
                </a:ext>
              </a:extLst>
            </p:cNvPr>
            <p:cNvSpPr/>
            <p:nvPr/>
          </p:nvSpPr>
          <p:spPr>
            <a:xfrm>
              <a:off x="611362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9" name="object 1299">
              <a:extLst>
                <a:ext uri="{FF2B5EF4-FFF2-40B4-BE49-F238E27FC236}">
                  <a16:creationId xmlns:a16="http://schemas.microsoft.com/office/drawing/2014/main" id="{D641B561-D89E-9210-F3BB-58D8E2011581}"/>
                </a:ext>
              </a:extLst>
            </p:cNvPr>
            <p:cNvSpPr/>
            <p:nvPr/>
          </p:nvSpPr>
          <p:spPr>
            <a:xfrm>
              <a:off x="614864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0" name="object 1300">
              <a:extLst>
                <a:ext uri="{FF2B5EF4-FFF2-40B4-BE49-F238E27FC236}">
                  <a16:creationId xmlns:a16="http://schemas.microsoft.com/office/drawing/2014/main" id="{5B547765-9845-487E-B51F-D28CDD9ED43C}"/>
                </a:ext>
              </a:extLst>
            </p:cNvPr>
            <p:cNvSpPr/>
            <p:nvPr/>
          </p:nvSpPr>
          <p:spPr>
            <a:xfrm>
              <a:off x="604358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1" name="object 1301">
              <a:extLst>
                <a:ext uri="{FF2B5EF4-FFF2-40B4-BE49-F238E27FC236}">
                  <a16:creationId xmlns:a16="http://schemas.microsoft.com/office/drawing/2014/main" id="{F72A398B-49EF-38EB-F70F-D52C61B81BF1}"/>
                </a:ext>
              </a:extLst>
            </p:cNvPr>
            <p:cNvSpPr/>
            <p:nvPr/>
          </p:nvSpPr>
          <p:spPr>
            <a:xfrm>
              <a:off x="593851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2" name="object 1302">
              <a:extLst>
                <a:ext uri="{FF2B5EF4-FFF2-40B4-BE49-F238E27FC236}">
                  <a16:creationId xmlns:a16="http://schemas.microsoft.com/office/drawing/2014/main" id="{8A72B81D-D94C-7287-518B-871FE03927A2}"/>
                </a:ext>
              </a:extLst>
            </p:cNvPr>
            <p:cNvSpPr/>
            <p:nvPr/>
          </p:nvSpPr>
          <p:spPr>
            <a:xfrm>
              <a:off x="597361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3" name="object 1303">
              <a:extLst>
                <a:ext uri="{FF2B5EF4-FFF2-40B4-BE49-F238E27FC236}">
                  <a16:creationId xmlns:a16="http://schemas.microsoft.com/office/drawing/2014/main" id="{0B46F53B-33F4-2300-9315-2DEF3E6FCCE6}"/>
                </a:ext>
              </a:extLst>
            </p:cNvPr>
            <p:cNvSpPr/>
            <p:nvPr/>
          </p:nvSpPr>
          <p:spPr>
            <a:xfrm>
              <a:off x="586847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4" name="object 1304">
              <a:extLst>
                <a:ext uri="{FF2B5EF4-FFF2-40B4-BE49-F238E27FC236}">
                  <a16:creationId xmlns:a16="http://schemas.microsoft.com/office/drawing/2014/main" id="{605F9FAA-652E-E968-3A64-7765E34B643D}"/>
                </a:ext>
              </a:extLst>
            </p:cNvPr>
            <p:cNvSpPr/>
            <p:nvPr/>
          </p:nvSpPr>
          <p:spPr>
            <a:xfrm>
              <a:off x="607860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5" name="object 1305">
              <a:extLst>
                <a:ext uri="{FF2B5EF4-FFF2-40B4-BE49-F238E27FC236}">
                  <a16:creationId xmlns:a16="http://schemas.microsoft.com/office/drawing/2014/main" id="{7D083CC6-5A09-C0F3-502A-ADBB7DACE3D5}"/>
                </a:ext>
              </a:extLst>
            </p:cNvPr>
            <p:cNvSpPr/>
            <p:nvPr/>
          </p:nvSpPr>
          <p:spPr>
            <a:xfrm>
              <a:off x="5903494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6" name="object 1306">
              <a:extLst>
                <a:ext uri="{FF2B5EF4-FFF2-40B4-BE49-F238E27FC236}">
                  <a16:creationId xmlns:a16="http://schemas.microsoft.com/office/drawing/2014/main" id="{30A84DAB-4C00-6AFA-8112-3C4CA467E62F}"/>
                </a:ext>
              </a:extLst>
            </p:cNvPr>
            <p:cNvSpPr/>
            <p:nvPr/>
          </p:nvSpPr>
          <p:spPr>
            <a:xfrm>
              <a:off x="6183666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7" name="object 1307">
              <a:extLst>
                <a:ext uri="{FF2B5EF4-FFF2-40B4-BE49-F238E27FC236}">
                  <a16:creationId xmlns:a16="http://schemas.microsoft.com/office/drawing/2014/main" id="{29A12177-67C2-181A-1DC3-12614AB493F1}"/>
                </a:ext>
              </a:extLst>
            </p:cNvPr>
            <p:cNvSpPr/>
            <p:nvPr/>
          </p:nvSpPr>
          <p:spPr>
            <a:xfrm>
              <a:off x="6008696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8" name="object 1308">
              <a:extLst>
                <a:ext uri="{FF2B5EF4-FFF2-40B4-BE49-F238E27FC236}">
                  <a16:creationId xmlns:a16="http://schemas.microsoft.com/office/drawing/2014/main" id="{C58ACC04-72F8-6D40-262E-02AE35D43E68}"/>
                </a:ext>
              </a:extLst>
            </p:cNvPr>
            <p:cNvSpPr/>
            <p:nvPr/>
          </p:nvSpPr>
          <p:spPr>
            <a:xfrm>
              <a:off x="5833725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9" name="object 1309">
              <a:extLst>
                <a:ext uri="{FF2B5EF4-FFF2-40B4-BE49-F238E27FC236}">
                  <a16:creationId xmlns:a16="http://schemas.microsoft.com/office/drawing/2014/main" id="{7763D68A-5C7A-05B9-AC8C-16D1A61D85C4}"/>
                </a:ext>
              </a:extLst>
            </p:cNvPr>
            <p:cNvSpPr/>
            <p:nvPr/>
          </p:nvSpPr>
          <p:spPr>
            <a:xfrm>
              <a:off x="6008696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0" name="object 1310">
              <a:extLst>
                <a:ext uri="{FF2B5EF4-FFF2-40B4-BE49-F238E27FC236}">
                  <a16:creationId xmlns:a16="http://schemas.microsoft.com/office/drawing/2014/main" id="{83833B64-58DD-90AD-AEE1-FE0756F050AA}"/>
                </a:ext>
              </a:extLst>
            </p:cNvPr>
            <p:cNvSpPr/>
            <p:nvPr/>
          </p:nvSpPr>
          <p:spPr>
            <a:xfrm>
              <a:off x="5833725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311" name="object 1311">
            <a:extLst>
              <a:ext uri="{FF2B5EF4-FFF2-40B4-BE49-F238E27FC236}">
                <a16:creationId xmlns:a16="http://schemas.microsoft.com/office/drawing/2014/main" id="{6E84E247-D587-D25B-25DB-A8BC0BE99C6C}"/>
              </a:ext>
            </a:extLst>
          </p:cNvPr>
          <p:cNvGrpSpPr/>
          <p:nvPr/>
        </p:nvGrpSpPr>
        <p:grpSpPr>
          <a:xfrm>
            <a:off x="5833725" y="4146136"/>
            <a:ext cx="350371" cy="123517"/>
            <a:chOff x="5833725" y="4146136"/>
            <a:chExt cx="350371" cy="123517"/>
          </a:xfrm>
        </p:grpSpPr>
        <p:sp>
          <p:nvSpPr>
            <p:cNvPr id="1312" name="object 1312">
              <a:extLst>
                <a:ext uri="{FF2B5EF4-FFF2-40B4-BE49-F238E27FC236}">
                  <a16:creationId xmlns:a16="http://schemas.microsoft.com/office/drawing/2014/main" id="{61415E97-ACDF-30D4-502B-A69EC873CFBA}"/>
                </a:ext>
              </a:extLst>
            </p:cNvPr>
            <p:cNvSpPr/>
            <p:nvPr/>
          </p:nvSpPr>
          <p:spPr>
            <a:xfrm>
              <a:off x="6113971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3" name="object 1313">
              <a:extLst>
                <a:ext uri="{FF2B5EF4-FFF2-40B4-BE49-F238E27FC236}">
                  <a16:creationId xmlns:a16="http://schemas.microsoft.com/office/drawing/2014/main" id="{5BDBE786-E169-551C-40D1-62605D9E148F}"/>
                </a:ext>
              </a:extLst>
            </p:cNvPr>
            <p:cNvSpPr/>
            <p:nvPr/>
          </p:nvSpPr>
          <p:spPr>
            <a:xfrm>
              <a:off x="6148992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4" name="object 1314">
              <a:extLst>
                <a:ext uri="{FF2B5EF4-FFF2-40B4-BE49-F238E27FC236}">
                  <a16:creationId xmlns:a16="http://schemas.microsoft.com/office/drawing/2014/main" id="{F51E579D-38F6-50A5-AEA0-C5AADFDD4894}"/>
                </a:ext>
              </a:extLst>
            </p:cNvPr>
            <p:cNvSpPr/>
            <p:nvPr/>
          </p:nvSpPr>
          <p:spPr>
            <a:xfrm>
              <a:off x="6043927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5" name="object 1315">
              <a:extLst>
                <a:ext uri="{FF2B5EF4-FFF2-40B4-BE49-F238E27FC236}">
                  <a16:creationId xmlns:a16="http://schemas.microsoft.com/office/drawing/2014/main" id="{58152819-8DB2-465F-CD01-AB0AFB444B14}"/>
                </a:ext>
              </a:extLst>
            </p:cNvPr>
            <p:cNvSpPr/>
            <p:nvPr/>
          </p:nvSpPr>
          <p:spPr>
            <a:xfrm>
              <a:off x="5938863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6" name="object 1316">
              <a:extLst>
                <a:ext uri="{FF2B5EF4-FFF2-40B4-BE49-F238E27FC236}">
                  <a16:creationId xmlns:a16="http://schemas.microsoft.com/office/drawing/2014/main" id="{CCB43ACE-B7F3-CFB5-87A2-0AAB5D5EFD17}"/>
                </a:ext>
              </a:extLst>
            </p:cNvPr>
            <p:cNvSpPr/>
            <p:nvPr/>
          </p:nvSpPr>
          <p:spPr>
            <a:xfrm>
              <a:off x="5973958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7" name="object 1317">
              <a:extLst>
                <a:ext uri="{FF2B5EF4-FFF2-40B4-BE49-F238E27FC236}">
                  <a16:creationId xmlns:a16="http://schemas.microsoft.com/office/drawing/2014/main" id="{FDAA6156-7D8C-D6C4-AF7C-29DFEE7FBC4D}"/>
                </a:ext>
              </a:extLst>
            </p:cNvPr>
            <p:cNvSpPr/>
            <p:nvPr/>
          </p:nvSpPr>
          <p:spPr>
            <a:xfrm>
              <a:off x="5868820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8" name="object 1318">
              <a:extLst>
                <a:ext uri="{FF2B5EF4-FFF2-40B4-BE49-F238E27FC236}">
                  <a16:creationId xmlns:a16="http://schemas.microsoft.com/office/drawing/2014/main" id="{AFC95550-ECC6-686C-8F81-1059EF637258}"/>
                </a:ext>
              </a:extLst>
            </p:cNvPr>
            <p:cNvSpPr/>
            <p:nvPr/>
          </p:nvSpPr>
          <p:spPr>
            <a:xfrm>
              <a:off x="6078949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9" name="object 1319">
              <a:extLst>
                <a:ext uri="{FF2B5EF4-FFF2-40B4-BE49-F238E27FC236}">
                  <a16:creationId xmlns:a16="http://schemas.microsoft.com/office/drawing/2014/main" id="{95AEBB2E-F089-FE38-EC70-A7D3C2B6133B}"/>
                </a:ext>
              </a:extLst>
            </p:cNvPr>
            <p:cNvSpPr/>
            <p:nvPr/>
          </p:nvSpPr>
          <p:spPr>
            <a:xfrm>
              <a:off x="5903841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0" name="object 1320">
              <a:extLst>
                <a:ext uri="{FF2B5EF4-FFF2-40B4-BE49-F238E27FC236}">
                  <a16:creationId xmlns:a16="http://schemas.microsoft.com/office/drawing/2014/main" id="{BEB00D95-AAAB-E5AB-F930-40970E3C0DCD}"/>
                </a:ext>
              </a:extLst>
            </p:cNvPr>
            <p:cNvSpPr/>
            <p:nvPr/>
          </p:nvSpPr>
          <p:spPr>
            <a:xfrm>
              <a:off x="6184014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1" name="object 1321">
              <a:extLst>
                <a:ext uri="{FF2B5EF4-FFF2-40B4-BE49-F238E27FC236}">
                  <a16:creationId xmlns:a16="http://schemas.microsoft.com/office/drawing/2014/main" id="{0FA05C8E-DFE9-9EED-7CD9-30B8F5AA8297}"/>
                </a:ext>
              </a:extLst>
            </p:cNvPr>
            <p:cNvSpPr/>
            <p:nvPr/>
          </p:nvSpPr>
          <p:spPr>
            <a:xfrm>
              <a:off x="6009043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2" name="object 1322">
              <a:extLst>
                <a:ext uri="{FF2B5EF4-FFF2-40B4-BE49-F238E27FC236}">
                  <a16:creationId xmlns:a16="http://schemas.microsoft.com/office/drawing/2014/main" id="{9168EA14-453E-1FB5-0151-50F88F1E80C6}"/>
                </a:ext>
              </a:extLst>
            </p:cNvPr>
            <p:cNvSpPr/>
            <p:nvPr/>
          </p:nvSpPr>
          <p:spPr>
            <a:xfrm>
              <a:off x="5834073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3" name="object 1323">
              <a:extLst>
                <a:ext uri="{FF2B5EF4-FFF2-40B4-BE49-F238E27FC236}">
                  <a16:creationId xmlns:a16="http://schemas.microsoft.com/office/drawing/2014/main" id="{FE048F57-BFE0-DA8E-92AC-E99AA55D140A}"/>
                </a:ext>
              </a:extLst>
            </p:cNvPr>
            <p:cNvSpPr/>
            <p:nvPr/>
          </p:nvSpPr>
          <p:spPr>
            <a:xfrm>
              <a:off x="5834073" y="417163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4" name="object 1324">
              <a:extLst>
                <a:ext uri="{FF2B5EF4-FFF2-40B4-BE49-F238E27FC236}">
                  <a16:creationId xmlns:a16="http://schemas.microsoft.com/office/drawing/2014/main" id="{1A1C72DE-D77D-4E0D-6029-964ECA093280}"/>
                </a:ext>
              </a:extLst>
            </p:cNvPr>
            <p:cNvSpPr/>
            <p:nvPr/>
          </p:nvSpPr>
          <p:spPr>
            <a:xfrm>
              <a:off x="5834192" y="4146136"/>
              <a:ext cx="2425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0004"/>
                <a:gd name="f4" fmla="val 84454"/>
                <a:gd name="f5" fmla="val 39716"/>
                <a:gd name="f6" fmla="val 84123"/>
                <a:gd name="f7" fmla="*/ f0 1 40004"/>
                <a:gd name="f8" fmla="*/ f1 1 84454"/>
                <a:gd name="f9" fmla="+- f4 0 f2"/>
                <a:gd name="f10" fmla="+- f3 0 f2"/>
                <a:gd name="f11" fmla="*/ f10 1 400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00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5" name="object 1325">
              <a:extLst>
                <a:ext uri="{FF2B5EF4-FFF2-40B4-BE49-F238E27FC236}">
                  <a16:creationId xmlns:a16="http://schemas.microsoft.com/office/drawing/2014/main" id="{94A980BD-926B-17ED-963E-517B2EAA5441}"/>
                </a:ext>
              </a:extLst>
            </p:cNvPr>
            <p:cNvSpPr/>
            <p:nvPr/>
          </p:nvSpPr>
          <p:spPr>
            <a:xfrm>
              <a:off x="5834192" y="4218438"/>
              <a:ext cx="26223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2434"/>
                <a:gd name="f4" fmla="val 84454"/>
                <a:gd name="f5" fmla="val 431892"/>
                <a:gd name="f6" fmla="val 84123"/>
                <a:gd name="f7" fmla="*/ f0 1 432434"/>
                <a:gd name="f8" fmla="*/ f1 1 84454"/>
                <a:gd name="f9" fmla="+- f4 0 f2"/>
                <a:gd name="f10" fmla="+- f3 0 f2"/>
                <a:gd name="f11" fmla="*/ f10 1 4324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24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6" name="object 1326">
              <a:extLst>
                <a:ext uri="{FF2B5EF4-FFF2-40B4-BE49-F238E27FC236}">
                  <a16:creationId xmlns:a16="http://schemas.microsoft.com/office/drawing/2014/main" id="{78EC52F8-FF3F-F6A9-704A-3C999C1047C8}"/>
                </a:ext>
              </a:extLst>
            </p:cNvPr>
            <p:cNvSpPr/>
            <p:nvPr/>
          </p:nvSpPr>
          <p:spPr>
            <a:xfrm>
              <a:off x="6113623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7" name="object 1327">
              <a:extLst>
                <a:ext uri="{FF2B5EF4-FFF2-40B4-BE49-F238E27FC236}">
                  <a16:creationId xmlns:a16="http://schemas.microsoft.com/office/drawing/2014/main" id="{0B00F21D-6BC7-4517-DD82-14EF5A00FB85}"/>
                </a:ext>
              </a:extLst>
            </p:cNvPr>
            <p:cNvSpPr/>
            <p:nvPr/>
          </p:nvSpPr>
          <p:spPr>
            <a:xfrm>
              <a:off x="6148645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8" name="object 1328">
              <a:extLst>
                <a:ext uri="{FF2B5EF4-FFF2-40B4-BE49-F238E27FC236}">
                  <a16:creationId xmlns:a16="http://schemas.microsoft.com/office/drawing/2014/main" id="{1374E827-9F89-C137-4060-8841EA6D32BE}"/>
                </a:ext>
              </a:extLst>
            </p:cNvPr>
            <p:cNvSpPr/>
            <p:nvPr/>
          </p:nvSpPr>
          <p:spPr>
            <a:xfrm>
              <a:off x="604358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9" name="object 1329">
              <a:extLst>
                <a:ext uri="{FF2B5EF4-FFF2-40B4-BE49-F238E27FC236}">
                  <a16:creationId xmlns:a16="http://schemas.microsoft.com/office/drawing/2014/main" id="{229C5F39-8CD9-9EA3-EEC2-30C645BAB34E}"/>
                </a:ext>
              </a:extLst>
            </p:cNvPr>
            <p:cNvSpPr/>
            <p:nvPr/>
          </p:nvSpPr>
          <p:spPr>
            <a:xfrm>
              <a:off x="5938515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0" name="object 1330">
              <a:extLst>
                <a:ext uri="{FF2B5EF4-FFF2-40B4-BE49-F238E27FC236}">
                  <a16:creationId xmlns:a16="http://schemas.microsoft.com/office/drawing/2014/main" id="{9656A919-8B93-9A4F-E8FF-B0C441359282}"/>
                </a:ext>
              </a:extLst>
            </p:cNvPr>
            <p:cNvSpPr/>
            <p:nvPr/>
          </p:nvSpPr>
          <p:spPr>
            <a:xfrm>
              <a:off x="597361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1" name="object 1331">
              <a:extLst>
                <a:ext uri="{FF2B5EF4-FFF2-40B4-BE49-F238E27FC236}">
                  <a16:creationId xmlns:a16="http://schemas.microsoft.com/office/drawing/2014/main" id="{50B15365-D427-79AB-E525-082DDFCADB44}"/>
                </a:ext>
              </a:extLst>
            </p:cNvPr>
            <p:cNvSpPr/>
            <p:nvPr/>
          </p:nvSpPr>
          <p:spPr>
            <a:xfrm>
              <a:off x="5868472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2" name="object 1332">
              <a:extLst>
                <a:ext uri="{FF2B5EF4-FFF2-40B4-BE49-F238E27FC236}">
                  <a16:creationId xmlns:a16="http://schemas.microsoft.com/office/drawing/2014/main" id="{8A22E90F-5056-6CB4-8108-AAFC22C0122A}"/>
                </a:ext>
              </a:extLst>
            </p:cNvPr>
            <p:cNvSpPr/>
            <p:nvPr/>
          </p:nvSpPr>
          <p:spPr>
            <a:xfrm>
              <a:off x="6078602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3" name="object 1333">
              <a:extLst>
                <a:ext uri="{FF2B5EF4-FFF2-40B4-BE49-F238E27FC236}">
                  <a16:creationId xmlns:a16="http://schemas.microsoft.com/office/drawing/2014/main" id="{4EDC3B40-3E3C-B40C-B402-D9CBD0C0E2DF}"/>
                </a:ext>
              </a:extLst>
            </p:cNvPr>
            <p:cNvSpPr/>
            <p:nvPr/>
          </p:nvSpPr>
          <p:spPr>
            <a:xfrm>
              <a:off x="5903494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4" name="object 1334">
              <a:extLst>
                <a:ext uri="{FF2B5EF4-FFF2-40B4-BE49-F238E27FC236}">
                  <a16:creationId xmlns:a16="http://schemas.microsoft.com/office/drawing/2014/main" id="{957C1B39-B182-E3F0-7E5B-842A01DCEE1C}"/>
                </a:ext>
              </a:extLst>
            </p:cNvPr>
            <p:cNvSpPr/>
            <p:nvPr/>
          </p:nvSpPr>
          <p:spPr>
            <a:xfrm>
              <a:off x="6183666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5" name="object 1335">
              <a:extLst>
                <a:ext uri="{FF2B5EF4-FFF2-40B4-BE49-F238E27FC236}">
                  <a16:creationId xmlns:a16="http://schemas.microsoft.com/office/drawing/2014/main" id="{540AC176-44CC-FEF0-1007-17FD215A2E02}"/>
                </a:ext>
              </a:extLst>
            </p:cNvPr>
            <p:cNvSpPr/>
            <p:nvPr/>
          </p:nvSpPr>
          <p:spPr>
            <a:xfrm>
              <a:off x="6008696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6" name="object 1336">
              <a:extLst>
                <a:ext uri="{FF2B5EF4-FFF2-40B4-BE49-F238E27FC236}">
                  <a16:creationId xmlns:a16="http://schemas.microsoft.com/office/drawing/2014/main" id="{DC83BB78-593F-F058-16AE-F9B6BC3FB331}"/>
                </a:ext>
              </a:extLst>
            </p:cNvPr>
            <p:cNvSpPr/>
            <p:nvPr/>
          </p:nvSpPr>
          <p:spPr>
            <a:xfrm>
              <a:off x="5833725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7" name="object 1337">
              <a:extLst>
                <a:ext uri="{FF2B5EF4-FFF2-40B4-BE49-F238E27FC236}">
                  <a16:creationId xmlns:a16="http://schemas.microsoft.com/office/drawing/2014/main" id="{37BE0368-90FB-6BA9-4BB9-31ED83EAA3D4}"/>
                </a:ext>
              </a:extLst>
            </p:cNvPr>
            <p:cNvSpPr/>
            <p:nvPr/>
          </p:nvSpPr>
          <p:spPr>
            <a:xfrm>
              <a:off x="6008696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8" name="object 1338">
              <a:extLst>
                <a:ext uri="{FF2B5EF4-FFF2-40B4-BE49-F238E27FC236}">
                  <a16:creationId xmlns:a16="http://schemas.microsoft.com/office/drawing/2014/main" id="{2E4754B9-BB05-D198-C250-C0ECE835BD4B}"/>
                </a:ext>
              </a:extLst>
            </p:cNvPr>
            <p:cNvSpPr/>
            <p:nvPr/>
          </p:nvSpPr>
          <p:spPr>
            <a:xfrm>
              <a:off x="5833725" y="42439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339" name="object 1339">
            <a:extLst>
              <a:ext uri="{FF2B5EF4-FFF2-40B4-BE49-F238E27FC236}">
                <a16:creationId xmlns:a16="http://schemas.microsoft.com/office/drawing/2014/main" id="{21469749-C9B2-0F0D-63A5-F793F8B5020E}"/>
              </a:ext>
            </a:extLst>
          </p:cNvPr>
          <p:cNvGrpSpPr/>
          <p:nvPr/>
        </p:nvGrpSpPr>
        <p:grpSpPr>
          <a:xfrm>
            <a:off x="5833725" y="4906670"/>
            <a:ext cx="350371" cy="123507"/>
            <a:chOff x="5833725" y="4906670"/>
            <a:chExt cx="350371" cy="123507"/>
          </a:xfrm>
        </p:grpSpPr>
        <p:sp>
          <p:nvSpPr>
            <p:cNvPr id="1340" name="object 1340">
              <a:extLst>
                <a:ext uri="{FF2B5EF4-FFF2-40B4-BE49-F238E27FC236}">
                  <a16:creationId xmlns:a16="http://schemas.microsoft.com/office/drawing/2014/main" id="{89DD0E13-5C85-6531-9D44-094CF62FC0B2}"/>
                </a:ext>
              </a:extLst>
            </p:cNvPr>
            <p:cNvSpPr/>
            <p:nvPr/>
          </p:nvSpPr>
          <p:spPr>
            <a:xfrm>
              <a:off x="6113971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1" name="object 1341">
              <a:extLst>
                <a:ext uri="{FF2B5EF4-FFF2-40B4-BE49-F238E27FC236}">
                  <a16:creationId xmlns:a16="http://schemas.microsoft.com/office/drawing/2014/main" id="{E4C4F98F-03C1-A5CF-54E4-99358BCD6CC8}"/>
                </a:ext>
              </a:extLst>
            </p:cNvPr>
            <p:cNvSpPr/>
            <p:nvPr/>
          </p:nvSpPr>
          <p:spPr>
            <a:xfrm>
              <a:off x="6148992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2" name="object 1342">
              <a:extLst>
                <a:ext uri="{FF2B5EF4-FFF2-40B4-BE49-F238E27FC236}">
                  <a16:creationId xmlns:a16="http://schemas.microsoft.com/office/drawing/2014/main" id="{BF0FEB91-954D-A7F7-B82A-3299A7D764F2}"/>
                </a:ext>
              </a:extLst>
            </p:cNvPr>
            <p:cNvSpPr/>
            <p:nvPr/>
          </p:nvSpPr>
          <p:spPr>
            <a:xfrm>
              <a:off x="604392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3" name="object 1343">
              <a:extLst>
                <a:ext uri="{FF2B5EF4-FFF2-40B4-BE49-F238E27FC236}">
                  <a16:creationId xmlns:a16="http://schemas.microsoft.com/office/drawing/2014/main" id="{63F94E20-5EC2-4FFE-C90B-DF604D767373}"/>
                </a:ext>
              </a:extLst>
            </p:cNvPr>
            <p:cNvSpPr/>
            <p:nvPr/>
          </p:nvSpPr>
          <p:spPr>
            <a:xfrm>
              <a:off x="5938863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4" name="object 1344">
              <a:extLst>
                <a:ext uri="{FF2B5EF4-FFF2-40B4-BE49-F238E27FC236}">
                  <a16:creationId xmlns:a16="http://schemas.microsoft.com/office/drawing/2014/main" id="{7CAEE235-B863-B8A6-E87A-D6F3F051C73A}"/>
                </a:ext>
              </a:extLst>
            </p:cNvPr>
            <p:cNvSpPr/>
            <p:nvPr/>
          </p:nvSpPr>
          <p:spPr>
            <a:xfrm>
              <a:off x="5973958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5" name="object 1345">
              <a:extLst>
                <a:ext uri="{FF2B5EF4-FFF2-40B4-BE49-F238E27FC236}">
                  <a16:creationId xmlns:a16="http://schemas.microsoft.com/office/drawing/2014/main" id="{6992EF8D-DE8B-30D4-B0A9-24E94E7259D3}"/>
                </a:ext>
              </a:extLst>
            </p:cNvPr>
            <p:cNvSpPr/>
            <p:nvPr/>
          </p:nvSpPr>
          <p:spPr>
            <a:xfrm>
              <a:off x="5868820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6" name="object 1346">
              <a:extLst>
                <a:ext uri="{FF2B5EF4-FFF2-40B4-BE49-F238E27FC236}">
                  <a16:creationId xmlns:a16="http://schemas.microsoft.com/office/drawing/2014/main" id="{406E306C-5BEF-FF1C-A153-CDF905404722}"/>
                </a:ext>
              </a:extLst>
            </p:cNvPr>
            <p:cNvSpPr/>
            <p:nvPr/>
          </p:nvSpPr>
          <p:spPr>
            <a:xfrm>
              <a:off x="6078949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7" name="object 1347">
              <a:extLst>
                <a:ext uri="{FF2B5EF4-FFF2-40B4-BE49-F238E27FC236}">
                  <a16:creationId xmlns:a16="http://schemas.microsoft.com/office/drawing/2014/main" id="{07EE4C0B-037F-8E65-9771-ACA8EA1DC5F9}"/>
                </a:ext>
              </a:extLst>
            </p:cNvPr>
            <p:cNvSpPr/>
            <p:nvPr/>
          </p:nvSpPr>
          <p:spPr>
            <a:xfrm>
              <a:off x="5903841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8" name="object 1348">
              <a:extLst>
                <a:ext uri="{FF2B5EF4-FFF2-40B4-BE49-F238E27FC236}">
                  <a16:creationId xmlns:a16="http://schemas.microsoft.com/office/drawing/2014/main" id="{DFC07E5A-52CA-8604-4B6A-8A5EFCF743C9}"/>
                </a:ext>
              </a:extLst>
            </p:cNvPr>
            <p:cNvSpPr/>
            <p:nvPr/>
          </p:nvSpPr>
          <p:spPr>
            <a:xfrm>
              <a:off x="6184014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9" name="object 1349">
              <a:extLst>
                <a:ext uri="{FF2B5EF4-FFF2-40B4-BE49-F238E27FC236}">
                  <a16:creationId xmlns:a16="http://schemas.microsoft.com/office/drawing/2014/main" id="{30082230-366D-9442-032B-C0CFBDD329B9}"/>
                </a:ext>
              </a:extLst>
            </p:cNvPr>
            <p:cNvSpPr/>
            <p:nvPr/>
          </p:nvSpPr>
          <p:spPr>
            <a:xfrm>
              <a:off x="6009043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0" name="object 1350">
              <a:extLst>
                <a:ext uri="{FF2B5EF4-FFF2-40B4-BE49-F238E27FC236}">
                  <a16:creationId xmlns:a16="http://schemas.microsoft.com/office/drawing/2014/main" id="{B3D95FE1-2549-5A31-DEEB-CF1405F18A7B}"/>
                </a:ext>
              </a:extLst>
            </p:cNvPr>
            <p:cNvSpPr/>
            <p:nvPr/>
          </p:nvSpPr>
          <p:spPr>
            <a:xfrm>
              <a:off x="5834073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1" name="object 1351">
              <a:extLst>
                <a:ext uri="{FF2B5EF4-FFF2-40B4-BE49-F238E27FC236}">
                  <a16:creationId xmlns:a16="http://schemas.microsoft.com/office/drawing/2014/main" id="{80789868-671B-24D9-8E0D-FD452E2BD1D1}"/>
                </a:ext>
              </a:extLst>
            </p:cNvPr>
            <p:cNvSpPr/>
            <p:nvPr/>
          </p:nvSpPr>
          <p:spPr>
            <a:xfrm>
              <a:off x="5834073" y="49321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2" name="object 1352">
              <a:extLst>
                <a:ext uri="{FF2B5EF4-FFF2-40B4-BE49-F238E27FC236}">
                  <a16:creationId xmlns:a16="http://schemas.microsoft.com/office/drawing/2014/main" id="{B3D84520-DE11-87FF-57BA-D1F622B394A8}"/>
                </a:ext>
              </a:extLst>
            </p:cNvPr>
            <p:cNvSpPr/>
            <p:nvPr/>
          </p:nvSpPr>
          <p:spPr>
            <a:xfrm>
              <a:off x="5834192" y="4906670"/>
              <a:ext cx="18598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6704"/>
                <a:gd name="f4" fmla="val 84454"/>
                <a:gd name="f5" fmla="val 306545"/>
                <a:gd name="f6" fmla="val 84133"/>
                <a:gd name="f7" fmla="*/ f0 1 306704"/>
                <a:gd name="f8" fmla="*/ f1 1 84454"/>
                <a:gd name="f9" fmla="+- f4 0 f2"/>
                <a:gd name="f10" fmla="+- f3 0 f2"/>
                <a:gd name="f11" fmla="*/ f10 1 3067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67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3" name="object 1353">
              <a:extLst>
                <a:ext uri="{FF2B5EF4-FFF2-40B4-BE49-F238E27FC236}">
                  <a16:creationId xmlns:a16="http://schemas.microsoft.com/office/drawing/2014/main" id="{20B84FA9-2EE8-F330-0E03-34C1B0AFE0AA}"/>
                </a:ext>
              </a:extLst>
            </p:cNvPr>
            <p:cNvSpPr/>
            <p:nvPr/>
          </p:nvSpPr>
          <p:spPr>
            <a:xfrm>
              <a:off x="5834192" y="4978962"/>
              <a:ext cx="20100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1470"/>
                <a:gd name="f4" fmla="val 84454"/>
                <a:gd name="f5" fmla="val 331047"/>
                <a:gd name="f6" fmla="val 84133"/>
                <a:gd name="f7" fmla="*/ f0 1 331470"/>
                <a:gd name="f8" fmla="*/ f1 1 84454"/>
                <a:gd name="f9" fmla="+- f4 0 f2"/>
                <a:gd name="f10" fmla="+- f3 0 f2"/>
                <a:gd name="f11" fmla="*/ f10 1 33147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3147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4" name="object 1354">
              <a:extLst>
                <a:ext uri="{FF2B5EF4-FFF2-40B4-BE49-F238E27FC236}">
                  <a16:creationId xmlns:a16="http://schemas.microsoft.com/office/drawing/2014/main" id="{05902413-7A83-B968-3AE8-86668A21CABE}"/>
                </a:ext>
              </a:extLst>
            </p:cNvPr>
            <p:cNvSpPr/>
            <p:nvPr/>
          </p:nvSpPr>
          <p:spPr>
            <a:xfrm>
              <a:off x="6113623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5" name="object 1355">
              <a:extLst>
                <a:ext uri="{FF2B5EF4-FFF2-40B4-BE49-F238E27FC236}">
                  <a16:creationId xmlns:a16="http://schemas.microsoft.com/office/drawing/2014/main" id="{E7A44B40-7694-010D-05AA-0F9D91F4D56A}"/>
                </a:ext>
              </a:extLst>
            </p:cNvPr>
            <p:cNvSpPr/>
            <p:nvPr/>
          </p:nvSpPr>
          <p:spPr>
            <a:xfrm>
              <a:off x="614864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6" name="object 1356">
              <a:extLst>
                <a:ext uri="{FF2B5EF4-FFF2-40B4-BE49-F238E27FC236}">
                  <a16:creationId xmlns:a16="http://schemas.microsoft.com/office/drawing/2014/main" id="{96263A2F-154C-5081-71F6-7B2FF4DFDF36}"/>
                </a:ext>
              </a:extLst>
            </p:cNvPr>
            <p:cNvSpPr/>
            <p:nvPr/>
          </p:nvSpPr>
          <p:spPr>
            <a:xfrm>
              <a:off x="604358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7" name="object 1357">
              <a:extLst>
                <a:ext uri="{FF2B5EF4-FFF2-40B4-BE49-F238E27FC236}">
                  <a16:creationId xmlns:a16="http://schemas.microsoft.com/office/drawing/2014/main" id="{A4B2FE7D-5DCE-B2BA-7AC3-C3635757F484}"/>
                </a:ext>
              </a:extLst>
            </p:cNvPr>
            <p:cNvSpPr/>
            <p:nvPr/>
          </p:nvSpPr>
          <p:spPr>
            <a:xfrm>
              <a:off x="593851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8" name="object 1358">
              <a:extLst>
                <a:ext uri="{FF2B5EF4-FFF2-40B4-BE49-F238E27FC236}">
                  <a16:creationId xmlns:a16="http://schemas.microsoft.com/office/drawing/2014/main" id="{20E56B5F-CB61-37F6-8E7C-710FCD7B96A1}"/>
                </a:ext>
              </a:extLst>
            </p:cNvPr>
            <p:cNvSpPr/>
            <p:nvPr/>
          </p:nvSpPr>
          <p:spPr>
            <a:xfrm>
              <a:off x="597361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9" name="object 1359">
              <a:extLst>
                <a:ext uri="{FF2B5EF4-FFF2-40B4-BE49-F238E27FC236}">
                  <a16:creationId xmlns:a16="http://schemas.microsoft.com/office/drawing/2014/main" id="{C3519CA2-513B-E906-80E6-864471997C37}"/>
                </a:ext>
              </a:extLst>
            </p:cNvPr>
            <p:cNvSpPr/>
            <p:nvPr/>
          </p:nvSpPr>
          <p:spPr>
            <a:xfrm>
              <a:off x="5868472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0" name="object 1360">
              <a:extLst>
                <a:ext uri="{FF2B5EF4-FFF2-40B4-BE49-F238E27FC236}">
                  <a16:creationId xmlns:a16="http://schemas.microsoft.com/office/drawing/2014/main" id="{813146D6-D232-8C61-B082-05446DD8210D}"/>
                </a:ext>
              </a:extLst>
            </p:cNvPr>
            <p:cNvSpPr/>
            <p:nvPr/>
          </p:nvSpPr>
          <p:spPr>
            <a:xfrm>
              <a:off x="6078602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1" name="object 1361">
              <a:extLst>
                <a:ext uri="{FF2B5EF4-FFF2-40B4-BE49-F238E27FC236}">
                  <a16:creationId xmlns:a16="http://schemas.microsoft.com/office/drawing/2014/main" id="{885F4A16-FD2C-D812-7A31-6DB0E6958842}"/>
                </a:ext>
              </a:extLst>
            </p:cNvPr>
            <p:cNvSpPr/>
            <p:nvPr/>
          </p:nvSpPr>
          <p:spPr>
            <a:xfrm>
              <a:off x="5903494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2" name="object 1362">
              <a:extLst>
                <a:ext uri="{FF2B5EF4-FFF2-40B4-BE49-F238E27FC236}">
                  <a16:creationId xmlns:a16="http://schemas.microsoft.com/office/drawing/2014/main" id="{460C1922-B2D0-2056-44EA-70A95E60C476}"/>
                </a:ext>
              </a:extLst>
            </p:cNvPr>
            <p:cNvSpPr/>
            <p:nvPr/>
          </p:nvSpPr>
          <p:spPr>
            <a:xfrm>
              <a:off x="6183666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3" name="object 1363">
              <a:extLst>
                <a:ext uri="{FF2B5EF4-FFF2-40B4-BE49-F238E27FC236}">
                  <a16:creationId xmlns:a16="http://schemas.microsoft.com/office/drawing/2014/main" id="{0CE7CCA2-C421-81DB-F6B2-CEAE4B6F8570}"/>
                </a:ext>
              </a:extLst>
            </p:cNvPr>
            <p:cNvSpPr/>
            <p:nvPr/>
          </p:nvSpPr>
          <p:spPr>
            <a:xfrm>
              <a:off x="6008696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4" name="object 1364">
              <a:extLst>
                <a:ext uri="{FF2B5EF4-FFF2-40B4-BE49-F238E27FC236}">
                  <a16:creationId xmlns:a16="http://schemas.microsoft.com/office/drawing/2014/main" id="{39B2D6BB-D777-604C-80A7-1F0C56FDA682}"/>
                </a:ext>
              </a:extLst>
            </p:cNvPr>
            <p:cNvSpPr/>
            <p:nvPr/>
          </p:nvSpPr>
          <p:spPr>
            <a:xfrm>
              <a:off x="5833725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5" name="object 1365">
              <a:extLst>
                <a:ext uri="{FF2B5EF4-FFF2-40B4-BE49-F238E27FC236}">
                  <a16:creationId xmlns:a16="http://schemas.microsoft.com/office/drawing/2014/main" id="{234B4619-6D93-6ADE-F006-F58713A5534A}"/>
                </a:ext>
              </a:extLst>
            </p:cNvPr>
            <p:cNvSpPr/>
            <p:nvPr/>
          </p:nvSpPr>
          <p:spPr>
            <a:xfrm>
              <a:off x="6008696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6" name="object 1366">
              <a:extLst>
                <a:ext uri="{FF2B5EF4-FFF2-40B4-BE49-F238E27FC236}">
                  <a16:creationId xmlns:a16="http://schemas.microsoft.com/office/drawing/2014/main" id="{B7720025-4911-B8BC-12F2-19C22991970A}"/>
                </a:ext>
              </a:extLst>
            </p:cNvPr>
            <p:cNvSpPr/>
            <p:nvPr/>
          </p:nvSpPr>
          <p:spPr>
            <a:xfrm>
              <a:off x="5833725" y="50044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367" name="object 1367">
            <a:extLst>
              <a:ext uri="{FF2B5EF4-FFF2-40B4-BE49-F238E27FC236}">
                <a16:creationId xmlns:a16="http://schemas.microsoft.com/office/drawing/2014/main" id="{DB3E420E-8F5D-C9B4-76D9-EE5F28D72915}"/>
              </a:ext>
            </a:extLst>
          </p:cNvPr>
          <p:cNvGrpSpPr/>
          <p:nvPr/>
        </p:nvGrpSpPr>
        <p:grpSpPr>
          <a:xfrm>
            <a:off x="5833725" y="5668868"/>
            <a:ext cx="350371" cy="123507"/>
            <a:chOff x="5833725" y="5668868"/>
            <a:chExt cx="350371" cy="123507"/>
          </a:xfrm>
        </p:grpSpPr>
        <p:sp>
          <p:nvSpPr>
            <p:cNvPr id="1368" name="object 1368">
              <a:extLst>
                <a:ext uri="{FF2B5EF4-FFF2-40B4-BE49-F238E27FC236}">
                  <a16:creationId xmlns:a16="http://schemas.microsoft.com/office/drawing/2014/main" id="{3F344718-CD61-FAB2-339A-77489D365A6B}"/>
                </a:ext>
              </a:extLst>
            </p:cNvPr>
            <p:cNvSpPr/>
            <p:nvPr/>
          </p:nvSpPr>
          <p:spPr>
            <a:xfrm>
              <a:off x="6113971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9" name="object 1369">
              <a:extLst>
                <a:ext uri="{FF2B5EF4-FFF2-40B4-BE49-F238E27FC236}">
                  <a16:creationId xmlns:a16="http://schemas.microsoft.com/office/drawing/2014/main" id="{C885A104-AF60-E55E-4E9C-91F6EBFAAFA8}"/>
                </a:ext>
              </a:extLst>
            </p:cNvPr>
            <p:cNvSpPr/>
            <p:nvPr/>
          </p:nvSpPr>
          <p:spPr>
            <a:xfrm>
              <a:off x="6148992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0" name="object 1370">
              <a:extLst>
                <a:ext uri="{FF2B5EF4-FFF2-40B4-BE49-F238E27FC236}">
                  <a16:creationId xmlns:a16="http://schemas.microsoft.com/office/drawing/2014/main" id="{32EF8FEE-C129-CFC9-D88D-5BD5A438C21C}"/>
                </a:ext>
              </a:extLst>
            </p:cNvPr>
            <p:cNvSpPr/>
            <p:nvPr/>
          </p:nvSpPr>
          <p:spPr>
            <a:xfrm>
              <a:off x="6043927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1" name="object 1371">
              <a:extLst>
                <a:ext uri="{FF2B5EF4-FFF2-40B4-BE49-F238E27FC236}">
                  <a16:creationId xmlns:a16="http://schemas.microsoft.com/office/drawing/2014/main" id="{120A534C-1D96-F6DF-D668-FDF9E8E6E8F9}"/>
                </a:ext>
              </a:extLst>
            </p:cNvPr>
            <p:cNvSpPr/>
            <p:nvPr/>
          </p:nvSpPr>
          <p:spPr>
            <a:xfrm>
              <a:off x="5938863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2" name="object 1372">
              <a:extLst>
                <a:ext uri="{FF2B5EF4-FFF2-40B4-BE49-F238E27FC236}">
                  <a16:creationId xmlns:a16="http://schemas.microsoft.com/office/drawing/2014/main" id="{63A148E5-C480-A3DA-620B-B762811AF992}"/>
                </a:ext>
              </a:extLst>
            </p:cNvPr>
            <p:cNvSpPr/>
            <p:nvPr/>
          </p:nvSpPr>
          <p:spPr>
            <a:xfrm>
              <a:off x="5973958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3" name="object 1373">
              <a:extLst>
                <a:ext uri="{FF2B5EF4-FFF2-40B4-BE49-F238E27FC236}">
                  <a16:creationId xmlns:a16="http://schemas.microsoft.com/office/drawing/2014/main" id="{BC0855E7-B73D-99E1-6336-9B4DDB73264C}"/>
                </a:ext>
              </a:extLst>
            </p:cNvPr>
            <p:cNvSpPr/>
            <p:nvPr/>
          </p:nvSpPr>
          <p:spPr>
            <a:xfrm>
              <a:off x="5868820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4" name="object 1374">
              <a:extLst>
                <a:ext uri="{FF2B5EF4-FFF2-40B4-BE49-F238E27FC236}">
                  <a16:creationId xmlns:a16="http://schemas.microsoft.com/office/drawing/2014/main" id="{C6EDDCE7-48B8-4C5D-BADE-1C80E22C598D}"/>
                </a:ext>
              </a:extLst>
            </p:cNvPr>
            <p:cNvSpPr/>
            <p:nvPr/>
          </p:nvSpPr>
          <p:spPr>
            <a:xfrm>
              <a:off x="6078949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5" name="object 1375">
              <a:extLst>
                <a:ext uri="{FF2B5EF4-FFF2-40B4-BE49-F238E27FC236}">
                  <a16:creationId xmlns:a16="http://schemas.microsoft.com/office/drawing/2014/main" id="{E1466D38-D261-55C0-FE4C-C3008B29EAE2}"/>
                </a:ext>
              </a:extLst>
            </p:cNvPr>
            <p:cNvSpPr/>
            <p:nvPr/>
          </p:nvSpPr>
          <p:spPr>
            <a:xfrm>
              <a:off x="5903841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6" name="object 1376">
              <a:extLst>
                <a:ext uri="{FF2B5EF4-FFF2-40B4-BE49-F238E27FC236}">
                  <a16:creationId xmlns:a16="http://schemas.microsoft.com/office/drawing/2014/main" id="{5A23791B-A374-4F95-CC86-47DE9D4B01AD}"/>
                </a:ext>
              </a:extLst>
            </p:cNvPr>
            <p:cNvSpPr/>
            <p:nvPr/>
          </p:nvSpPr>
          <p:spPr>
            <a:xfrm>
              <a:off x="6184014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7" name="object 1377">
              <a:extLst>
                <a:ext uri="{FF2B5EF4-FFF2-40B4-BE49-F238E27FC236}">
                  <a16:creationId xmlns:a16="http://schemas.microsoft.com/office/drawing/2014/main" id="{7ACC902A-8D72-5665-E842-373B76F2387D}"/>
                </a:ext>
              </a:extLst>
            </p:cNvPr>
            <p:cNvSpPr/>
            <p:nvPr/>
          </p:nvSpPr>
          <p:spPr>
            <a:xfrm>
              <a:off x="6009043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8" name="object 1378">
              <a:extLst>
                <a:ext uri="{FF2B5EF4-FFF2-40B4-BE49-F238E27FC236}">
                  <a16:creationId xmlns:a16="http://schemas.microsoft.com/office/drawing/2014/main" id="{FB16494A-D6AE-9B80-EEE9-F78DC9F4404B}"/>
                </a:ext>
              </a:extLst>
            </p:cNvPr>
            <p:cNvSpPr/>
            <p:nvPr/>
          </p:nvSpPr>
          <p:spPr>
            <a:xfrm>
              <a:off x="5834073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9" name="object 1379">
              <a:extLst>
                <a:ext uri="{FF2B5EF4-FFF2-40B4-BE49-F238E27FC236}">
                  <a16:creationId xmlns:a16="http://schemas.microsoft.com/office/drawing/2014/main" id="{4C0772F0-FAF4-5891-E290-4CB2821601D9}"/>
                </a:ext>
              </a:extLst>
            </p:cNvPr>
            <p:cNvSpPr/>
            <p:nvPr/>
          </p:nvSpPr>
          <p:spPr>
            <a:xfrm>
              <a:off x="5834073" y="569437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0" name="object 1380">
              <a:extLst>
                <a:ext uri="{FF2B5EF4-FFF2-40B4-BE49-F238E27FC236}">
                  <a16:creationId xmlns:a16="http://schemas.microsoft.com/office/drawing/2014/main" id="{B9D7158B-AF55-496C-4DDD-1FA73041C4BE}"/>
                </a:ext>
              </a:extLst>
            </p:cNvPr>
            <p:cNvSpPr/>
            <p:nvPr/>
          </p:nvSpPr>
          <p:spPr>
            <a:xfrm>
              <a:off x="5834192" y="5668868"/>
              <a:ext cx="18175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9720"/>
                <a:gd name="f4" fmla="val 84454"/>
                <a:gd name="f5" fmla="val 299624"/>
                <a:gd name="f6" fmla="val 84123"/>
                <a:gd name="f7" fmla="*/ f0 1 299720"/>
                <a:gd name="f8" fmla="*/ f1 1 84454"/>
                <a:gd name="f9" fmla="+- f4 0 f2"/>
                <a:gd name="f10" fmla="+- f3 0 f2"/>
                <a:gd name="f11" fmla="*/ f10 1 2997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97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1" name="object 1381">
              <a:extLst>
                <a:ext uri="{FF2B5EF4-FFF2-40B4-BE49-F238E27FC236}">
                  <a16:creationId xmlns:a16="http://schemas.microsoft.com/office/drawing/2014/main" id="{88DC0011-433E-8BDA-32B4-50C40557BDF9}"/>
                </a:ext>
              </a:extLst>
            </p:cNvPr>
            <p:cNvSpPr/>
            <p:nvPr/>
          </p:nvSpPr>
          <p:spPr>
            <a:xfrm>
              <a:off x="5834192" y="5741160"/>
              <a:ext cx="19214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6865"/>
                <a:gd name="f4" fmla="val 84454"/>
                <a:gd name="f5" fmla="val 316608"/>
                <a:gd name="f6" fmla="val 84123"/>
                <a:gd name="f7" fmla="*/ f0 1 316865"/>
                <a:gd name="f8" fmla="*/ f1 1 84454"/>
                <a:gd name="f9" fmla="+- f4 0 f2"/>
                <a:gd name="f10" fmla="+- f3 0 f2"/>
                <a:gd name="f11" fmla="*/ f10 1 3168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68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2" name="object 1382">
              <a:extLst>
                <a:ext uri="{FF2B5EF4-FFF2-40B4-BE49-F238E27FC236}">
                  <a16:creationId xmlns:a16="http://schemas.microsoft.com/office/drawing/2014/main" id="{5D15E418-2383-0C50-B37C-FA3FBE7E28AF}"/>
                </a:ext>
              </a:extLst>
            </p:cNvPr>
            <p:cNvSpPr/>
            <p:nvPr/>
          </p:nvSpPr>
          <p:spPr>
            <a:xfrm>
              <a:off x="6113623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3" name="object 1383">
              <a:extLst>
                <a:ext uri="{FF2B5EF4-FFF2-40B4-BE49-F238E27FC236}">
                  <a16:creationId xmlns:a16="http://schemas.microsoft.com/office/drawing/2014/main" id="{981040EA-2F50-D7BF-13D0-AE9CB8C41F51}"/>
                </a:ext>
              </a:extLst>
            </p:cNvPr>
            <p:cNvSpPr/>
            <p:nvPr/>
          </p:nvSpPr>
          <p:spPr>
            <a:xfrm>
              <a:off x="6148645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4" name="object 1384">
              <a:extLst>
                <a:ext uri="{FF2B5EF4-FFF2-40B4-BE49-F238E27FC236}">
                  <a16:creationId xmlns:a16="http://schemas.microsoft.com/office/drawing/2014/main" id="{BA22E06D-8E4B-1FDD-8F76-205D9D433C0E}"/>
                </a:ext>
              </a:extLst>
            </p:cNvPr>
            <p:cNvSpPr/>
            <p:nvPr/>
          </p:nvSpPr>
          <p:spPr>
            <a:xfrm>
              <a:off x="604358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5" name="object 1385">
              <a:extLst>
                <a:ext uri="{FF2B5EF4-FFF2-40B4-BE49-F238E27FC236}">
                  <a16:creationId xmlns:a16="http://schemas.microsoft.com/office/drawing/2014/main" id="{C5345F9D-243D-6E70-E6DE-37B53DF35BEE}"/>
                </a:ext>
              </a:extLst>
            </p:cNvPr>
            <p:cNvSpPr/>
            <p:nvPr/>
          </p:nvSpPr>
          <p:spPr>
            <a:xfrm>
              <a:off x="5938515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6" name="object 1386">
              <a:extLst>
                <a:ext uri="{FF2B5EF4-FFF2-40B4-BE49-F238E27FC236}">
                  <a16:creationId xmlns:a16="http://schemas.microsoft.com/office/drawing/2014/main" id="{C8415062-45E2-799A-CC18-20820CD7C1D8}"/>
                </a:ext>
              </a:extLst>
            </p:cNvPr>
            <p:cNvSpPr/>
            <p:nvPr/>
          </p:nvSpPr>
          <p:spPr>
            <a:xfrm>
              <a:off x="597361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7" name="object 1387">
              <a:extLst>
                <a:ext uri="{FF2B5EF4-FFF2-40B4-BE49-F238E27FC236}">
                  <a16:creationId xmlns:a16="http://schemas.microsoft.com/office/drawing/2014/main" id="{1825FCB1-49D2-9B94-1551-336B0E9858EF}"/>
                </a:ext>
              </a:extLst>
            </p:cNvPr>
            <p:cNvSpPr/>
            <p:nvPr/>
          </p:nvSpPr>
          <p:spPr>
            <a:xfrm>
              <a:off x="5868472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8" name="object 1388">
              <a:extLst>
                <a:ext uri="{FF2B5EF4-FFF2-40B4-BE49-F238E27FC236}">
                  <a16:creationId xmlns:a16="http://schemas.microsoft.com/office/drawing/2014/main" id="{9D065DF0-01FF-3942-C497-79D720C62C57}"/>
                </a:ext>
              </a:extLst>
            </p:cNvPr>
            <p:cNvSpPr/>
            <p:nvPr/>
          </p:nvSpPr>
          <p:spPr>
            <a:xfrm>
              <a:off x="6078602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9" name="object 1389">
              <a:extLst>
                <a:ext uri="{FF2B5EF4-FFF2-40B4-BE49-F238E27FC236}">
                  <a16:creationId xmlns:a16="http://schemas.microsoft.com/office/drawing/2014/main" id="{B07376F4-4A46-F840-628A-C85A3D489850}"/>
                </a:ext>
              </a:extLst>
            </p:cNvPr>
            <p:cNvSpPr/>
            <p:nvPr/>
          </p:nvSpPr>
          <p:spPr>
            <a:xfrm>
              <a:off x="5903494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0" name="object 1390">
              <a:extLst>
                <a:ext uri="{FF2B5EF4-FFF2-40B4-BE49-F238E27FC236}">
                  <a16:creationId xmlns:a16="http://schemas.microsoft.com/office/drawing/2014/main" id="{F8E29FD4-1444-4061-D176-A30AE92A0F41}"/>
                </a:ext>
              </a:extLst>
            </p:cNvPr>
            <p:cNvSpPr/>
            <p:nvPr/>
          </p:nvSpPr>
          <p:spPr>
            <a:xfrm>
              <a:off x="6183666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1" name="object 1391">
              <a:extLst>
                <a:ext uri="{FF2B5EF4-FFF2-40B4-BE49-F238E27FC236}">
                  <a16:creationId xmlns:a16="http://schemas.microsoft.com/office/drawing/2014/main" id="{74DF684F-13E7-133D-BAB5-38183CF438C0}"/>
                </a:ext>
              </a:extLst>
            </p:cNvPr>
            <p:cNvSpPr/>
            <p:nvPr/>
          </p:nvSpPr>
          <p:spPr>
            <a:xfrm>
              <a:off x="6008696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2" name="object 1392">
              <a:extLst>
                <a:ext uri="{FF2B5EF4-FFF2-40B4-BE49-F238E27FC236}">
                  <a16:creationId xmlns:a16="http://schemas.microsoft.com/office/drawing/2014/main" id="{7E037AA1-3AE9-FD72-131E-F06DADC13355}"/>
                </a:ext>
              </a:extLst>
            </p:cNvPr>
            <p:cNvSpPr/>
            <p:nvPr/>
          </p:nvSpPr>
          <p:spPr>
            <a:xfrm>
              <a:off x="5833725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3" name="object 1393">
              <a:extLst>
                <a:ext uri="{FF2B5EF4-FFF2-40B4-BE49-F238E27FC236}">
                  <a16:creationId xmlns:a16="http://schemas.microsoft.com/office/drawing/2014/main" id="{1F617114-012A-871A-B67D-A8647D991A2B}"/>
                </a:ext>
              </a:extLst>
            </p:cNvPr>
            <p:cNvSpPr/>
            <p:nvPr/>
          </p:nvSpPr>
          <p:spPr>
            <a:xfrm>
              <a:off x="6008696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4" name="object 1394">
              <a:extLst>
                <a:ext uri="{FF2B5EF4-FFF2-40B4-BE49-F238E27FC236}">
                  <a16:creationId xmlns:a16="http://schemas.microsoft.com/office/drawing/2014/main" id="{E09843CD-87EF-BF94-404F-7C61E2623B11}"/>
                </a:ext>
              </a:extLst>
            </p:cNvPr>
            <p:cNvSpPr/>
            <p:nvPr/>
          </p:nvSpPr>
          <p:spPr>
            <a:xfrm>
              <a:off x="5833725" y="57666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395" name="object 1395">
            <a:extLst>
              <a:ext uri="{FF2B5EF4-FFF2-40B4-BE49-F238E27FC236}">
                <a16:creationId xmlns:a16="http://schemas.microsoft.com/office/drawing/2014/main" id="{36AC62F0-A73F-3806-8910-B6CA52DC8219}"/>
              </a:ext>
            </a:extLst>
          </p:cNvPr>
          <p:cNvGrpSpPr/>
          <p:nvPr/>
        </p:nvGrpSpPr>
        <p:grpSpPr>
          <a:xfrm>
            <a:off x="5833725" y="6432932"/>
            <a:ext cx="350371" cy="123507"/>
            <a:chOff x="5833725" y="6432932"/>
            <a:chExt cx="350371" cy="123507"/>
          </a:xfrm>
        </p:grpSpPr>
        <p:sp>
          <p:nvSpPr>
            <p:cNvPr id="1396" name="object 1396">
              <a:extLst>
                <a:ext uri="{FF2B5EF4-FFF2-40B4-BE49-F238E27FC236}">
                  <a16:creationId xmlns:a16="http://schemas.microsoft.com/office/drawing/2014/main" id="{C7E860E7-06BD-207A-7562-CE7AD0E9EDAE}"/>
                </a:ext>
              </a:extLst>
            </p:cNvPr>
            <p:cNvSpPr/>
            <p:nvPr/>
          </p:nvSpPr>
          <p:spPr>
            <a:xfrm>
              <a:off x="6113971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7" name="object 1397">
              <a:extLst>
                <a:ext uri="{FF2B5EF4-FFF2-40B4-BE49-F238E27FC236}">
                  <a16:creationId xmlns:a16="http://schemas.microsoft.com/office/drawing/2014/main" id="{79C9BC3E-5B9B-E28D-5B6D-C6C0971BF77A}"/>
                </a:ext>
              </a:extLst>
            </p:cNvPr>
            <p:cNvSpPr/>
            <p:nvPr/>
          </p:nvSpPr>
          <p:spPr>
            <a:xfrm>
              <a:off x="6148992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8" name="object 1398">
              <a:extLst>
                <a:ext uri="{FF2B5EF4-FFF2-40B4-BE49-F238E27FC236}">
                  <a16:creationId xmlns:a16="http://schemas.microsoft.com/office/drawing/2014/main" id="{4B14AE17-337E-1074-B455-D95BCE364762}"/>
                </a:ext>
              </a:extLst>
            </p:cNvPr>
            <p:cNvSpPr/>
            <p:nvPr/>
          </p:nvSpPr>
          <p:spPr>
            <a:xfrm>
              <a:off x="6043927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9" name="object 1399">
              <a:extLst>
                <a:ext uri="{FF2B5EF4-FFF2-40B4-BE49-F238E27FC236}">
                  <a16:creationId xmlns:a16="http://schemas.microsoft.com/office/drawing/2014/main" id="{0D28EDB3-56D0-0764-8AB9-0C65B9187753}"/>
                </a:ext>
              </a:extLst>
            </p:cNvPr>
            <p:cNvSpPr/>
            <p:nvPr/>
          </p:nvSpPr>
          <p:spPr>
            <a:xfrm>
              <a:off x="5938863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0" name="object 1400">
              <a:extLst>
                <a:ext uri="{FF2B5EF4-FFF2-40B4-BE49-F238E27FC236}">
                  <a16:creationId xmlns:a16="http://schemas.microsoft.com/office/drawing/2014/main" id="{15889648-701B-9C10-D9F8-5C0779D5656B}"/>
                </a:ext>
              </a:extLst>
            </p:cNvPr>
            <p:cNvSpPr/>
            <p:nvPr/>
          </p:nvSpPr>
          <p:spPr>
            <a:xfrm>
              <a:off x="5973958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1" name="object 1401">
              <a:extLst>
                <a:ext uri="{FF2B5EF4-FFF2-40B4-BE49-F238E27FC236}">
                  <a16:creationId xmlns:a16="http://schemas.microsoft.com/office/drawing/2014/main" id="{3AC34C57-78D9-E32B-1F49-5676D40CB3A4}"/>
                </a:ext>
              </a:extLst>
            </p:cNvPr>
            <p:cNvSpPr/>
            <p:nvPr/>
          </p:nvSpPr>
          <p:spPr>
            <a:xfrm>
              <a:off x="5868820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2" name="object 1402">
              <a:extLst>
                <a:ext uri="{FF2B5EF4-FFF2-40B4-BE49-F238E27FC236}">
                  <a16:creationId xmlns:a16="http://schemas.microsoft.com/office/drawing/2014/main" id="{81E0A98F-C6F3-6B06-46A1-20C98D50DF93}"/>
                </a:ext>
              </a:extLst>
            </p:cNvPr>
            <p:cNvSpPr/>
            <p:nvPr/>
          </p:nvSpPr>
          <p:spPr>
            <a:xfrm>
              <a:off x="6078949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3" name="object 1403">
              <a:extLst>
                <a:ext uri="{FF2B5EF4-FFF2-40B4-BE49-F238E27FC236}">
                  <a16:creationId xmlns:a16="http://schemas.microsoft.com/office/drawing/2014/main" id="{BF815AB7-942E-FE3C-2F10-FE8CDA56A128}"/>
                </a:ext>
              </a:extLst>
            </p:cNvPr>
            <p:cNvSpPr/>
            <p:nvPr/>
          </p:nvSpPr>
          <p:spPr>
            <a:xfrm>
              <a:off x="5903841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4" name="object 1404">
              <a:extLst>
                <a:ext uri="{FF2B5EF4-FFF2-40B4-BE49-F238E27FC236}">
                  <a16:creationId xmlns:a16="http://schemas.microsoft.com/office/drawing/2014/main" id="{B4E00FBF-FD29-C2AA-1504-44661DF98911}"/>
                </a:ext>
              </a:extLst>
            </p:cNvPr>
            <p:cNvSpPr/>
            <p:nvPr/>
          </p:nvSpPr>
          <p:spPr>
            <a:xfrm>
              <a:off x="6184014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5" name="object 1405">
              <a:extLst>
                <a:ext uri="{FF2B5EF4-FFF2-40B4-BE49-F238E27FC236}">
                  <a16:creationId xmlns:a16="http://schemas.microsoft.com/office/drawing/2014/main" id="{ABC545AC-E8AE-E417-CE85-1F0940B93D57}"/>
                </a:ext>
              </a:extLst>
            </p:cNvPr>
            <p:cNvSpPr/>
            <p:nvPr/>
          </p:nvSpPr>
          <p:spPr>
            <a:xfrm>
              <a:off x="6009043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6" name="object 1406">
              <a:extLst>
                <a:ext uri="{FF2B5EF4-FFF2-40B4-BE49-F238E27FC236}">
                  <a16:creationId xmlns:a16="http://schemas.microsoft.com/office/drawing/2014/main" id="{A2853B36-F6C3-5785-7476-020C84C0E3DF}"/>
                </a:ext>
              </a:extLst>
            </p:cNvPr>
            <p:cNvSpPr/>
            <p:nvPr/>
          </p:nvSpPr>
          <p:spPr>
            <a:xfrm>
              <a:off x="5834073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7" name="object 1407">
              <a:extLst>
                <a:ext uri="{FF2B5EF4-FFF2-40B4-BE49-F238E27FC236}">
                  <a16:creationId xmlns:a16="http://schemas.microsoft.com/office/drawing/2014/main" id="{A78C1AAC-5F51-7D51-FE31-FDBE2340DBA9}"/>
                </a:ext>
              </a:extLst>
            </p:cNvPr>
            <p:cNvSpPr/>
            <p:nvPr/>
          </p:nvSpPr>
          <p:spPr>
            <a:xfrm>
              <a:off x="5834073" y="645843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8" name="object 1408">
              <a:extLst>
                <a:ext uri="{FF2B5EF4-FFF2-40B4-BE49-F238E27FC236}">
                  <a16:creationId xmlns:a16="http://schemas.microsoft.com/office/drawing/2014/main" id="{F0F7E2CC-A25B-1F71-8B4D-9DC27A709263}"/>
                </a:ext>
              </a:extLst>
            </p:cNvPr>
            <p:cNvSpPr/>
            <p:nvPr/>
          </p:nvSpPr>
          <p:spPr>
            <a:xfrm>
              <a:off x="5834192" y="6432932"/>
              <a:ext cx="10088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6370"/>
                <a:gd name="f4" fmla="val 84454"/>
                <a:gd name="f5" fmla="val 166089"/>
                <a:gd name="f6" fmla="val 84123"/>
                <a:gd name="f7" fmla="*/ f0 1 166370"/>
                <a:gd name="f8" fmla="*/ f1 1 84454"/>
                <a:gd name="f9" fmla="+- f4 0 f2"/>
                <a:gd name="f10" fmla="+- f3 0 f2"/>
                <a:gd name="f11" fmla="*/ f10 1 16637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637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9" name="object 1409">
              <a:extLst>
                <a:ext uri="{FF2B5EF4-FFF2-40B4-BE49-F238E27FC236}">
                  <a16:creationId xmlns:a16="http://schemas.microsoft.com/office/drawing/2014/main" id="{330C42ED-C1E9-345C-B159-EE28EB2A6E61}"/>
                </a:ext>
              </a:extLst>
            </p:cNvPr>
            <p:cNvSpPr/>
            <p:nvPr/>
          </p:nvSpPr>
          <p:spPr>
            <a:xfrm>
              <a:off x="5834192" y="6505224"/>
              <a:ext cx="23565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88620"/>
                <a:gd name="f4" fmla="val 84454"/>
                <a:gd name="f5" fmla="val 388270"/>
                <a:gd name="f6" fmla="val 84123"/>
                <a:gd name="f7" fmla="*/ f0 1 388620"/>
                <a:gd name="f8" fmla="*/ f1 1 84454"/>
                <a:gd name="f9" fmla="+- f4 0 f2"/>
                <a:gd name="f10" fmla="+- f3 0 f2"/>
                <a:gd name="f11" fmla="*/ f10 1 3886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886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0" name="object 1410">
              <a:extLst>
                <a:ext uri="{FF2B5EF4-FFF2-40B4-BE49-F238E27FC236}">
                  <a16:creationId xmlns:a16="http://schemas.microsoft.com/office/drawing/2014/main" id="{51E55261-2C68-8CD4-0446-FEC565E2C447}"/>
                </a:ext>
              </a:extLst>
            </p:cNvPr>
            <p:cNvSpPr/>
            <p:nvPr/>
          </p:nvSpPr>
          <p:spPr>
            <a:xfrm>
              <a:off x="6113623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1" name="object 1411">
              <a:extLst>
                <a:ext uri="{FF2B5EF4-FFF2-40B4-BE49-F238E27FC236}">
                  <a16:creationId xmlns:a16="http://schemas.microsoft.com/office/drawing/2014/main" id="{42B8F149-4E05-17C7-24B2-CE8111312F62}"/>
                </a:ext>
              </a:extLst>
            </p:cNvPr>
            <p:cNvSpPr/>
            <p:nvPr/>
          </p:nvSpPr>
          <p:spPr>
            <a:xfrm>
              <a:off x="6148645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2" name="object 1412">
              <a:extLst>
                <a:ext uri="{FF2B5EF4-FFF2-40B4-BE49-F238E27FC236}">
                  <a16:creationId xmlns:a16="http://schemas.microsoft.com/office/drawing/2014/main" id="{ECF8F31C-B766-5EF9-2062-A446F497C8CB}"/>
                </a:ext>
              </a:extLst>
            </p:cNvPr>
            <p:cNvSpPr/>
            <p:nvPr/>
          </p:nvSpPr>
          <p:spPr>
            <a:xfrm>
              <a:off x="604358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3" name="object 1413">
              <a:extLst>
                <a:ext uri="{FF2B5EF4-FFF2-40B4-BE49-F238E27FC236}">
                  <a16:creationId xmlns:a16="http://schemas.microsoft.com/office/drawing/2014/main" id="{3101873A-2687-B860-1F58-D222BBF640A8}"/>
                </a:ext>
              </a:extLst>
            </p:cNvPr>
            <p:cNvSpPr/>
            <p:nvPr/>
          </p:nvSpPr>
          <p:spPr>
            <a:xfrm>
              <a:off x="5938515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4" name="object 1414">
              <a:extLst>
                <a:ext uri="{FF2B5EF4-FFF2-40B4-BE49-F238E27FC236}">
                  <a16:creationId xmlns:a16="http://schemas.microsoft.com/office/drawing/2014/main" id="{A03AA7E5-7AEA-5F64-527F-E91796B98559}"/>
                </a:ext>
              </a:extLst>
            </p:cNvPr>
            <p:cNvSpPr/>
            <p:nvPr/>
          </p:nvSpPr>
          <p:spPr>
            <a:xfrm>
              <a:off x="597361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5" name="object 1415">
              <a:extLst>
                <a:ext uri="{FF2B5EF4-FFF2-40B4-BE49-F238E27FC236}">
                  <a16:creationId xmlns:a16="http://schemas.microsoft.com/office/drawing/2014/main" id="{CC9E6F48-90B5-2B34-4B80-58A36614E05B}"/>
                </a:ext>
              </a:extLst>
            </p:cNvPr>
            <p:cNvSpPr/>
            <p:nvPr/>
          </p:nvSpPr>
          <p:spPr>
            <a:xfrm>
              <a:off x="5868472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6" name="object 1416">
              <a:extLst>
                <a:ext uri="{FF2B5EF4-FFF2-40B4-BE49-F238E27FC236}">
                  <a16:creationId xmlns:a16="http://schemas.microsoft.com/office/drawing/2014/main" id="{C3CEF5AB-5DFE-0329-5664-B19E5BF49399}"/>
                </a:ext>
              </a:extLst>
            </p:cNvPr>
            <p:cNvSpPr/>
            <p:nvPr/>
          </p:nvSpPr>
          <p:spPr>
            <a:xfrm>
              <a:off x="6078602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7" name="object 1417">
              <a:extLst>
                <a:ext uri="{FF2B5EF4-FFF2-40B4-BE49-F238E27FC236}">
                  <a16:creationId xmlns:a16="http://schemas.microsoft.com/office/drawing/2014/main" id="{77FC53C7-C184-7984-7229-6B0253050BDF}"/>
                </a:ext>
              </a:extLst>
            </p:cNvPr>
            <p:cNvSpPr/>
            <p:nvPr/>
          </p:nvSpPr>
          <p:spPr>
            <a:xfrm>
              <a:off x="5903494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8" name="object 1418">
              <a:extLst>
                <a:ext uri="{FF2B5EF4-FFF2-40B4-BE49-F238E27FC236}">
                  <a16:creationId xmlns:a16="http://schemas.microsoft.com/office/drawing/2014/main" id="{681BC362-7471-6209-549B-254548C4DED0}"/>
                </a:ext>
              </a:extLst>
            </p:cNvPr>
            <p:cNvSpPr/>
            <p:nvPr/>
          </p:nvSpPr>
          <p:spPr>
            <a:xfrm>
              <a:off x="6183666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9" name="object 1419">
              <a:extLst>
                <a:ext uri="{FF2B5EF4-FFF2-40B4-BE49-F238E27FC236}">
                  <a16:creationId xmlns:a16="http://schemas.microsoft.com/office/drawing/2014/main" id="{4675C072-1725-C2F4-5A33-980006343DEA}"/>
                </a:ext>
              </a:extLst>
            </p:cNvPr>
            <p:cNvSpPr/>
            <p:nvPr/>
          </p:nvSpPr>
          <p:spPr>
            <a:xfrm>
              <a:off x="6008696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0" name="object 1420">
              <a:extLst>
                <a:ext uri="{FF2B5EF4-FFF2-40B4-BE49-F238E27FC236}">
                  <a16:creationId xmlns:a16="http://schemas.microsoft.com/office/drawing/2014/main" id="{F5BD958E-FB34-31E0-702A-CE020DD99001}"/>
                </a:ext>
              </a:extLst>
            </p:cNvPr>
            <p:cNvSpPr/>
            <p:nvPr/>
          </p:nvSpPr>
          <p:spPr>
            <a:xfrm>
              <a:off x="5833725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1" name="object 1421">
              <a:extLst>
                <a:ext uri="{FF2B5EF4-FFF2-40B4-BE49-F238E27FC236}">
                  <a16:creationId xmlns:a16="http://schemas.microsoft.com/office/drawing/2014/main" id="{4C83E47C-C3A9-3670-7E4B-93B09776EB4D}"/>
                </a:ext>
              </a:extLst>
            </p:cNvPr>
            <p:cNvSpPr/>
            <p:nvPr/>
          </p:nvSpPr>
          <p:spPr>
            <a:xfrm>
              <a:off x="6008696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2" name="object 1422">
              <a:extLst>
                <a:ext uri="{FF2B5EF4-FFF2-40B4-BE49-F238E27FC236}">
                  <a16:creationId xmlns:a16="http://schemas.microsoft.com/office/drawing/2014/main" id="{1B171353-A4EE-6E4E-670B-B0FE2E2BD278}"/>
                </a:ext>
              </a:extLst>
            </p:cNvPr>
            <p:cNvSpPr/>
            <p:nvPr/>
          </p:nvSpPr>
          <p:spPr>
            <a:xfrm>
              <a:off x="5833725" y="653073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423" name="object 1423">
            <a:extLst>
              <a:ext uri="{FF2B5EF4-FFF2-40B4-BE49-F238E27FC236}">
                <a16:creationId xmlns:a16="http://schemas.microsoft.com/office/drawing/2014/main" id="{0C5D393D-6291-03CF-F1AB-64B3F0B2749A}"/>
              </a:ext>
            </a:extLst>
          </p:cNvPr>
          <p:cNvGrpSpPr/>
          <p:nvPr/>
        </p:nvGrpSpPr>
        <p:grpSpPr>
          <a:xfrm>
            <a:off x="5012411" y="1848916"/>
            <a:ext cx="350371" cy="123526"/>
            <a:chOff x="5012411" y="1848916"/>
            <a:chExt cx="350371" cy="123526"/>
          </a:xfrm>
        </p:grpSpPr>
        <p:sp>
          <p:nvSpPr>
            <p:cNvPr id="1424" name="object 1424">
              <a:extLst>
                <a:ext uri="{FF2B5EF4-FFF2-40B4-BE49-F238E27FC236}">
                  <a16:creationId xmlns:a16="http://schemas.microsoft.com/office/drawing/2014/main" id="{CB584194-616D-7F06-24ED-3F0C5D1E2064}"/>
                </a:ext>
              </a:extLst>
            </p:cNvPr>
            <p:cNvSpPr/>
            <p:nvPr/>
          </p:nvSpPr>
          <p:spPr>
            <a:xfrm>
              <a:off x="529265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5" name="object 1425">
              <a:extLst>
                <a:ext uri="{FF2B5EF4-FFF2-40B4-BE49-F238E27FC236}">
                  <a16:creationId xmlns:a16="http://schemas.microsoft.com/office/drawing/2014/main" id="{B5E57EC2-64C6-9E5A-63E2-199E5F05E559}"/>
                </a:ext>
              </a:extLst>
            </p:cNvPr>
            <p:cNvSpPr/>
            <p:nvPr/>
          </p:nvSpPr>
          <p:spPr>
            <a:xfrm>
              <a:off x="532767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6" name="object 1426">
              <a:extLst>
                <a:ext uri="{FF2B5EF4-FFF2-40B4-BE49-F238E27FC236}">
                  <a16:creationId xmlns:a16="http://schemas.microsoft.com/office/drawing/2014/main" id="{A9D4EDCA-4ACA-0A96-6CB8-214A17769DAF}"/>
                </a:ext>
              </a:extLst>
            </p:cNvPr>
            <p:cNvSpPr/>
            <p:nvPr/>
          </p:nvSpPr>
          <p:spPr>
            <a:xfrm>
              <a:off x="522261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7" name="object 1427">
              <a:extLst>
                <a:ext uri="{FF2B5EF4-FFF2-40B4-BE49-F238E27FC236}">
                  <a16:creationId xmlns:a16="http://schemas.microsoft.com/office/drawing/2014/main" id="{3E539A47-F71D-1F4A-0E8A-17EF010E5096}"/>
                </a:ext>
              </a:extLst>
            </p:cNvPr>
            <p:cNvSpPr/>
            <p:nvPr/>
          </p:nvSpPr>
          <p:spPr>
            <a:xfrm>
              <a:off x="511754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8" name="object 1428">
              <a:extLst>
                <a:ext uri="{FF2B5EF4-FFF2-40B4-BE49-F238E27FC236}">
                  <a16:creationId xmlns:a16="http://schemas.microsoft.com/office/drawing/2014/main" id="{E61FBF4C-62EC-07D6-5E07-845AD96FF60A}"/>
                </a:ext>
              </a:extLst>
            </p:cNvPr>
            <p:cNvSpPr/>
            <p:nvPr/>
          </p:nvSpPr>
          <p:spPr>
            <a:xfrm>
              <a:off x="5152634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9" name="object 1429">
              <a:extLst>
                <a:ext uri="{FF2B5EF4-FFF2-40B4-BE49-F238E27FC236}">
                  <a16:creationId xmlns:a16="http://schemas.microsoft.com/office/drawing/2014/main" id="{0782F9B1-3D3F-4608-5AD5-B9C95E1DBF97}"/>
                </a:ext>
              </a:extLst>
            </p:cNvPr>
            <p:cNvSpPr/>
            <p:nvPr/>
          </p:nvSpPr>
          <p:spPr>
            <a:xfrm>
              <a:off x="504750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0" name="object 1430">
              <a:extLst>
                <a:ext uri="{FF2B5EF4-FFF2-40B4-BE49-F238E27FC236}">
                  <a16:creationId xmlns:a16="http://schemas.microsoft.com/office/drawing/2014/main" id="{29EBE643-5EB0-2D13-9C8D-DC486EAC14F6}"/>
                </a:ext>
              </a:extLst>
            </p:cNvPr>
            <p:cNvSpPr/>
            <p:nvPr/>
          </p:nvSpPr>
          <p:spPr>
            <a:xfrm>
              <a:off x="525763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1" name="object 1431">
              <a:extLst>
                <a:ext uri="{FF2B5EF4-FFF2-40B4-BE49-F238E27FC236}">
                  <a16:creationId xmlns:a16="http://schemas.microsoft.com/office/drawing/2014/main" id="{FAA96AA2-6E48-39A7-CC78-B54D74327449}"/>
                </a:ext>
              </a:extLst>
            </p:cNvPr>
            <p:cNvSpPr/>
            <p:nvPr/>
          </p:nvSpPr>
          <p:spPr>
            <a:xfrm>
              <a:off x="508252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2" name="object 1432">
              <a:extLst>
                <a:ext uri="{FF2B5EF4-FFF2-40B4-BE49-F238E27FC236}">
                  <a16:creationId xmlns:a16="http://schemas.microsoft.com/office/drawing/2014/main" id="{F8DE8BFB-BC59-E6DD-996C-FD359CAB58C3}"/>
                </a:ext>
              </a:extLst>
            </p:cNvPr>
            <p:cNvSpPr/>
            <p:nvPr/>
          </p:nvSpPr>
          <p:spPr>
            <a:xfrm>
              <a:off x="536269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3" name="object 1433">
              <a:extLst>
                <a:ext uri="{FF2B5EF4-FFF2-40B4-BE49-F238E27FC236}">
                  <a16:creationId xmlns:a16="http://schemas.microsoft.com/office/drawing/2014/main" id="{B039E674-B264-5841-8216-7648C70E3F0F}"/>
                </a:ext>
              </a:extLst>
            </p:cNvPr>
            <p:cNvSpPr/>
            <p:nvPr/>
          </p:nvSpPr>
          <p:spPr>
            <a:xfrm>
              <a:off x="518772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4" name="object 1434">
              <a:extLst>
                <a:ext uri="{FF2B5EF4-FFF2-40B4-BE49-F238E27FC236}">
                  <a16:creationId xmlns:a16="http://schemas.microsoft.com/office/drawing/2014/main" id="{2EA08F06-B1F2-D9B5-F52F-165FFF8B2B30}"/>
                </a:ext>
              </a:extLst>
            </p:cNvPr>
            <p:cNvSpPr/>
            <p:nvPr/>
          </p:nvSpPr>
          <p:spPr>
            <a:xfrm>
              <a:off x="501275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5" name="object 1435">
              <a:extLst>
                <a:ext uri="{FF2B5EF4-FFF2-40B4-BE49-F238E27FC236}">
                  <a16:creationId xmlns:a16="http://schemas.microsoft.com/office/drawing/2014/main" id="{06AF316B-9E94-3C2C-B074-755949CA92E7}"/>
                </a:ext>
              </a:extLst>
            </p:cNvPr>
            <p:cNvSpPr/>
            <p:nvPr/>
          </p:nvSpPr>
          <p:spPr>
            <a:xfrm>
              <a:off x="5012759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6" name="object 1436">
              <a:extLst>
                <a:ext uri="{FF2B5EF4-FFF2-40B4-BE49-F238E27FC236}">
                  <a16:creationId xmlns:a16="http://schemas.microsoft.com/office/drawing/2014/main" id="{AFDCEA0F-B7BC-DA4F-F717-F92679E3C99B}"/>
                </a:ext>
              </a:extLst>
            </p:cNvPr>
            <p:cNvSpPr/>
            <p:nvPr/>
          </p:nvSpPr>
          <p:spPr>
            <a:xfrm>
              <a:off x="5012877" y="1848916"/>
              <a:ext cx="19946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8929"/>
                <a:gd name="f4" fmla="val 84455"/>
                <a:gd name="f5" fmla="val 328450"/>
                <a:gd name="f6" fmla="val 84112"/>
                <a:gd name="f7" fmla="*/ f0 1 328929"/>
                <a:gd name="f8" fmla="*/ f1 1 84455"/>
                <a:gd name="f9" fmla="+- f4 0 f2"/>
                <a:gd name="f10" fmla="+- f3 0 f2"/>
                <a:gd name="f11" fmla="*/ f10 1 32892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2892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7" name="object 1437">
              <a:extLst>
                <a:ext uri="{FF2B5EF4-FFF2-40B4-BE49-F238E27FC236}">
                  <a16:creationId xmlns:a16="http://schemas.microsoft.com/office/drawing/2014/main" id="{D92B962C-5A5A-D6FE-E114-24D5E69E1F8F}"/>
                </a:ext>
              </a:extLst>
            </p:cNvPr>
            <p:cNvSpPr/>
            <p:nvPr/>
          </p:nvSpPr>
          <p:spPr>
            <a:xfrm>
              <a:off x="5012877" y="1921227"/>
              <a:ext cx="16557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73050"/>
                <a:gd name="f4" fmla="val 84454"/>
                <a:gd name="f5" fmla="val 272850"/>
                <a:gd name="f6" fmla="val 84091"/>
                <a:gd name="f7" fmla="*/ f0 1 273050"/>
                <a:gd name="f8" fmla="*/ f1 1 84454"/>
                <a:gd name="f9" fmla="+- f4 0 f2"/>
                <a:gd name="f10" fmla="+- f3 0 f2"/>
                <a:gd name="f11" fmla="*/ f10 1 2730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730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8" name="object 1438">
              <a:extLst>
                <a:ext uri="{FF2B5EF4-FFF2-40B4-BE49-F238E27FC236}">
                  <a16:creationId xmlns:a16="http://schemas.microsoft.com/office/drawing/2014/main" id="{8432EA56-5086-23F2-3CBA-9FE183A91BDC}"/>
                </a:ext>
              </a:extLst>
            </p:cNvPr>
            <p:cNvSpPr/>
            <p:nvPr/>
          </p:nvSpPr>
          <p:spPr>
            <a:xfrm>
              <a:off x="529230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9" name="object 1439">
              <a:extLst>
                <a:ext uri="{FF2B5EF4-FFF2-40B4-BE49-F238E27FC236}">
                  <a16:creationId xmlns:a16="http://schemas.microsoft.com/office/drawing/2014/main" id="{6DD87652-4356-835C-BBCC-4FCB81C0A0D0}"/>
                </a:ext>
              </a:extLst>
            </p:cNvPr>
            <p:cNvSpPr/>
            <p:nvPr/>
          </p:nvSpPr>
          <p:spPr>
            <a:xfrm>
              <a:off x="532733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0" name="object 1440">
              <a:extLst>
                <a:ext uri="{FF2B5EF4-FFF2-40B4-BE49-F238E27FC236}">
                  <a16:creationId xmlns:a16="http://schemas.microsoft.com/office/drawing/2014/main" id="{641F024A-C12F-6EA1-7338-6017AE335B45}"/>
                </a:ext>
              </a:extLst>
            </p:cNvPr>
            <p:cNvSpPr/>
            <p:nvPr/>
          </p:nvSpPr>
          <p:spPr>
            <a:xfrm>
              <a:off x="522226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1" name="object 1441">
              <a:extLst>
                <a:ext uri="{FF2B5EF4-FFF2-40B4-BE49-F238E27FC236}">
                  <a16:creationId xmlns:a16="http://schemas.microsoft.com/office/drawing/2014/main" id="{C1E02BE5-9625-3C23-9B78-7BB4B295D12B}"/>
                </a:ext>
              </a:extLst>
            </p:cNvPr>
            <p:cNvSpPr/>
            <p:nvPr/>
          </p:nvSpPr>
          <p:spPr>
            <a:xfrm>
              <a:off x="511720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2" name="object 1442">
              <a:extLst>
                <a:ext uri="{FF2B5EF4-FFF2-40B4-BE49-F238E27FC236}">
                  <a16:creationId xmlns:a16="http://schemas.microsoft.com/office/drawing/2014/main" id="{306C22F7-59F6-B9B1-1BD2-71FC3E693B38}"/>
                </a:ext>
              </a:extLst>
            </p:cNvPr>
            <p:cNvSpPr/>
            <p:nvPr/>
          </p:nvSpPr>
          <p:spPr>
            <a:xfrm>
              <a:off x="515229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3" name="object 1443">
              <a:extLst>
                <a:ext uri="{FF2B5EF4-FFF2-40B4-BE49-F238E27FC236}">
                  <a16:creationId xmlns:a16="http://schemas.microsoft.com/office/drawing/2014/main" id="{F9454695-5A51-3E97-9550-061C4FB8FC24}"/>
                </a:ext>
              </a:extLst>
            </p:cNvPr>
            <p:cNvSpPr/>
            <p:nvPr/>
          </p:nvSpPr>
          <p:spPr>
            <a:xfrm>
              <a:off x="504715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4" name="object 1444">
              <a:extLst>
                <a:ext uri="{FF2B5EF4-FFF2-40B4-BE49-F238E27FC236}">
                  <a16:creationId xmlns:a16="http://schemas.microsoft.com/office/drawing/2014/main" id="{6B65233B-9F64-86F8-DB05-4C8BE76E10DF}"/>
                </a:ext>
              </a:extLst>
            </p:cNvPr>
            <p:cNvSpPr/>
            <p:nvPr/>
          </p:nvSpPr>
          <p:spPr>
            <a:xfrm>
              <a:off x="5257287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5" name="object 1445">
              <a:extLst>
                <a:ext uri="{FF2B5EF4-FFF2-40B4-BE49-F238E27FC236}">
                  <a16:creationId xmlns:a16="http://schemas.microsoft.com/office/drawing/2014/main" id="{68129949-BF60-A393-B726-20EEBBD35E9C}"/>
                </a:ext>
              </a:extLst>
            </p:cNvPr>
            <p:cNvSpPr/>
            <p:nvPr/>
          </p:nvSpPr>
          <p:spPr>
            <a:xfrm>
              <a:off x="508218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6" name="object 1446">
              <a:extLst>
                <a:ext uri="{FF2B5EF4-FFF2-40B4-BE49-F238E27FC236}">
                  <a16:creationId xmlns:a16="http://schemas.microsoft.com/office/drawing/2014/main" id="{2A4E413A-169C-205E-1C28-E987A8F5D8DF}"/>
                </a:ext>
              </a:extLst>
            </p:cNvPr>
            <p:cNvSpPr/>
            <p:nvPr/>
          </p:nvSpPr>
          <p:spPr>
            <a:xfrm>
              <a:off x="5362352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7" name="object 1447">
              <a:extLst>
                <a:ext uri="{FF2B5EF4-FFF2-40B4-BE49-F238E27FC236}">
                  <a16:creationId xmlns:a16="http://schemas.microsoft.com/office/drawing/2014/main" id="{51D4765F-F21E-E6CC-4D8A-3267144C9CB2}"/>
                </a:ext>
              </a:extLst>
            </p:cNvPr>
            <p:cNvSpPr/>
            <p:nvPr/>
          </p:nvSpPr>
          <p:spPr>
            <a:xfrm>
              <a:off x="5187382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8" name="object 1448">
              <a:extLst>
                <a:ext uri="{FF2B5EF4-FFF2-40B4-BE49-F238E27FC236}">
                  <a16:creationId xmlns:a16="http://schemas.microsoft.com/office/drawing/2014/main" id="{115BD055-2D15-4464-5AD6-C0708BBC5F20}"/>
                </a:ext>
              </a:extLst>
            </p:cNvPr>
            <p:cNvSpPr/>
            <p:nvPr/>
          </p:nvSpPr>
          <p:spPr>
            <a:xfrm>
              <a:off x="501241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9" name="object 1449">
              <a:extLst>
                <a:ext uri="{FF2B5EF4-FFF2-40B4-BE49-F238E27FC236}">
                  <a16:creationId xmlns:a16="http://schemas.microsoft.com/office/drawing/2014/main" id="{9A16383E-719C-32D1-AD49-1901A7170F47}"/>
                </a:ext>
              </a:extLst>
            </p:cNvPr>
            <p:cNvSpPr/>
            <p:nvPr/>
          </p:nvSpPr>
          <p:spPr>
            <a:xfrm>
              <a:off x="5187382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0" name="object 1450">
              <a:extLst>
                <a:ext uri="{FF2B5EF4-FFF2-40B4-BE49-F238E27FC236}">
                  <a16:creationId xmlns:a16="http://schemas.microsoft.com/office/drawing/2014/main" id="{7E0F3AD0-D18D-83C9-B076-703401347B08}"/>
                </a:ext>
              </a:extLst>
            </p:cNvPr>
            <p:cNvSpPr/>
            <p:nvPr/>
          </p:nvSpPr>
          <p:spPr>
            <a:xfrm>
              <a:off x="5012411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451" name="object 1451">
            <a:extLst>
              <a:ext uri="{FF2B5EF4-FFF2-40B4-BE49-F238E27FC236}">
                <a16:creationId xmlns:a16="http://schemas.microsoft.com/office/drawing/2014/main" id="{1E2B552B-C46A-02C3-837D-3483FF627708}"/>
              </a:ext>
            </a:extLst>
          </p:cNvPr>
          <p:cNvGrpSpPr/>
          <p:nvPr/>
        </p:nvGrpSpPr>
        <p:grpSpPr>
          <a:xfrm>
            <a:off x="5012411" y="2613309"/>
            <a:ext cx="350371" cy="123535"/>
            <a:chOff x="5012411" y="2613309"/>
            <a:chExt cx="350371" cy="123535"/>
          </a:xfrm>
        </p:grpSpPr>
        <p:sp>
          <p:nvSpPr>
            <p:cNvPr id="1452" name="object 1452">
              <a:extLst>
                <a:ext uri="{FF2B5EF4-FFF2-40B4-BE49-F238E27FC236}">
                  <a16:creationId xmlns:a16="http://schemas.microsoft.com/office/drawing/2014/main" id="{5DA6AA92-96A8-368D-EE41-E87B257BECAF}"/>
                </a:ext>
              </a:extLst>
            </p:cNvPr>
            <p:cNvSpPr/>
            <p:nvPr/>
          </p:nvSpPr>
          <p:spPr>
            <a:xfrm>
              <a:off x="529265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3" name="object 1453">
              <a:extLst>
                <a:ext uri="{FF2B5EF4-FFF2-40B4-BE49-F238E27FC236}">
                  <a16:creationId xmlns:a16="http://schemas.microsoft.com/office/drawing/2014/main" id="{0E704923-5E03-4A0A-FA2E-05BAAC9B98D0}"/>
                </a:ext>
              </a:extLst>
            </p:cNvPr>
            <p:cNvSpPr/>
            <p:nvPr/>
          </p:nvSpPr>
          <p:spPr>
            <a:xfrm>
              <a:off x="532767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4" name="object 1454">
              <a:extLst>
                <a:ext uri="{FF2B5EF4-FFF2-40B4-BE49-F238E27FC236}">
                  <a16:creationId xmlns:a16="http://schemas.microsoft.com/office/drawing/2014/main" id="{2A810088-9DFB-966F-F9A7-CB9E15C3666E}"/>
                </a:ext>
              </a:extLst>
            </p:cNvPr>
            <p:cNvSpPr/>
            <p:nvPr/>
          </p:nvSpPr>
          <p:spPr>
            <a:xfrm>
              <a:off x="522261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5" name="object 1455">
              <a:extLst>
                <a:ext uri="{FF2B5EF4-FFF2-40B4-BE49-F238E27FC236}">
                  <a16:creationId xmlns:a16="http://schemas.microsoft.com/office/drawing/2014/main" id="{DD5BE81A-27AC-15C2-F37E-AA3FCF6E281E}"/>
                </a:ext>
              </a:extLst>
            </p:cNvPr>
            <p:cNvSpPr/>
            <p:nvPr/>
          </p:nvSpPr>
          <p:spPr>
            <a:xfrm>
              <a:off x="511754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6" name="object 1456">
              <a:extLst>
                <a:ext uri="{FF2B5EF4-FFF2-40B4-BE49-F238E27FC236}">
                  <a16:creationId xmlns:a16="http://schemas.microsoft.com/office/drawing/2014/main" id="{A5B168C7-1EB9-01B4-273C-4A1EF39C4412}"/>
                </a:ext>
              </a:extLst>
            </p:cNvPr>
            <p:cNvSpPr/>
            <p:nvPr/>
          </p:nvSpPr>
          <p:spPr>
            <a:xfrm>
              <a:off x="5152634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7" name="object 1457">
              <a:extLst>
                <a:ext uri="{FF2B5EF4-FFF2-40B4-BE49-F238E27FC236}">
                  <a16:creationId xmlns:a16="http://schemas.microsoft.com/office/drawing/2014/main" id="{014B020B-18A3-EA7C-E5F9-FF091CD9E3D8}"/>
                </a:ext>
              </a:extLst>
            </p:cNvPr>
            <p:cNvSpPr/>
            <p:nvPr/>
          </p:nvSpPr>
          <p:spPr>
            <a:xfrm>
              <a:off x="504750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8" name="object 1458">
              <a:extLst>
                <a:ext uri="{FF2B5EF4-FFF2-40B4-BE49-F238E27FC236}">
                  <a16:creationId xmlns:a16="http://schemas.microsoft.com/office/drawing/2014/main" id="{FCADB7C7-EF52-56FC-5C02-5A5DB8473471}"/>
                </a:ext>
              </a:extLst>
            </p:cNvPr>
            <p:cNvSpPr/>
            <p:nvPr/>
          </p:nvSpPr>
          <p:spPr>
            <a:xfrm>
              <a:off x="525763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9" name="object 1459">
              <a:extLst>
                <a:ext uri="{FF2B5EF4-FFF2-40B4-BE49-F238E27FC236}">
                  <a16:creationId xmlns:a16="http://schemas.microsoft.com/office/drawing/2014/main" id="{F9A91CB0-9CA2-1D8D-446C-03FBFB86A3D8}"/>
                </a:ext>
              </a:extLst>
            </p:cNvPr>
            <p:cNvSpPr/>
            <p:nvPr/>
          </p:nvSpPr>
          <p:spPr>
            <a:xfrm>
              <a:off x="508252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0" name="object 1460">
              <a:extLst>
                <a:ext uri="{FF2B5EF4-FFF2-40B4-BE49-F238E27FC236}">
                  <a16:creationId xmlns:a16="http://schemas.microsoft.com/office/drawing/2014/main" id="{6CD1FA59-A4EB-6B99-1944-EBE6F17208E6}"/>
                </a:ext>
              </a:extLst>
            </p:cNvPr>
            <p:cNvSpPr/>
            <p:nvPr/>
          </p:nvSpPr>
          <p:spPr>
            <a:xfrm>
              <a:off x="5362699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1" name="object 1461">
              <a:extLst>
                <a:ext uri="{FF2B5EF4-FFF2-40B4-BE49-F238E27FC236}">
                  <a16:creationId xmlns:a16="http://schemas.microsoft.com/office/drawing/2014/main" id="{C5ED2A2B-9E34-2812-A09C-CAD68997CD8C}"/>
                </a:ext>
              </a:extLst>
            </p:cNvPr>
            <p:cNvSpPr/>
            <p:nvPr/>
          </p:nvSpPr>
          <p:spPr>
            <a:xfrm>
              <a:off x="5187729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2" name="object 1462">
              <a:extLst>
                <a:ext uri="{FF2B5EF4-FFF2-40B4-BE49-F238E27FC236}">
                  <a16:creationId xmlns:a16="http://schemas.microsoft.com/office/drawing/2014/main" id="{F45CC021-19F6-2FA8-FEE5-08D1A5381F2A}"/>
                </a:ext>
              </a:extLst>
            </p:cNvPr>
            <p:cNvSpPr/>
            <p:nvPr/>
          </p:nvSpPr>
          <p:spPr>
            <a:xfrm>
              <a:off x="5012759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3" name="object 1463">
              <a:extLst>
                <a:ext uri="{FF2B5EF4-FFF2-40B4-BE49-F238E27FC236}">
                  <a16:creationId xmlns:a16="http://schemas.microsoft.com/office/drawing/2014/main" id="{951C81D9-8A9E-C727-80B8-F2856C354A56}"/>
                </a:ext>
              </a:extLst>
            </p:cNvPr>
            <p:cNvSpPr/>
            <p:nvPr/>
          </p:nvSpPr>
          <p:spPr>
            <a:xfrm>
              <a:off x="5012759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4" name="object 1464">
              <a:extLst>
                <a:ext uri="{FF2B5EF4-FFF2-40B4-BE49-F238E27FC236}">
                  <a16:creationId xmlns:a16="http://schemas.microsoft.com/office/drawing/2014/main" id="{F8AE7C49-284F-1203-9EE6-AA4583040CC1}"/>
                </a:ext>
              </a:extLst>
            </p:cNvPr>
            <p:cNvSpPr/>
            <p:nvPr/>
          </p:nvSpPr>
          <p:spPr>
            <a:xfrm>
              <a:off x="5012877" y="2613318"/>
              <a:ext cx="8047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715"/>
                <a:gd name="f4" fmla="val 84454"/>
                <a:gd name="f5" fmla="val 132582"/>
                <a:gd name="f6" fmla="val 84102"/>
                <a:gd name="f7" fmla="*/ f0 1 132715"/>
                <a:gd name="f8" fmla="*/ f1 1 84454"/>
                <a:gd name="f9" fmla="+- f4 0 f2"/>
                <a:gd name="f10" fmla="+- f3 0 f2"/>
                <a:gd name="f11" fmla="*/ f10 1 13271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71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5" name="object 1465">
              <a:extLst>
                <a:ext uri="{FF2B5EF4-FFF2-40B4-BE49-F238E27FC236}">
                  <a16:creationId xmlns:a16="http://schemas.microsoft.com/office/drawing/2014/main" id="{F9EAAF9A-8680-4154-76FF-C3EB31D38BFE}"/>
                </a:ext>
              </a:extLst>
            </p:cNvPr>
            <p:cNvSpPr/>
            <p:nvPr/>
          </p:nvSpPr>
          <p:spPr>
            <a:xfrm>
              <a:off x="5012877" y="2685629"/>
              <a:ext cx="17481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8290"/>
                <a:gd name="f4" fmla="val 84454"/>
                <a:gd name="f5" fmla="val 287760"/>
                <a:gd name="f6" fmla="val 84102"/>
                <a:gd name="f7" fmla="*/ f0 1 288290"/>
                <a:gd name="f8" fmla="*/ f1 1 84454"/>
                <a:gd name="f9" fmla="+- f4 0 f2"/>
                <a:gd name="f10" fmla="+- f3 0 f2"/>
                <a:gd name="f11" fmla="*/ f10 1 288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88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6" name="object 1466">
              <a:extLst>
                <a:ext uri="{FF2B5EF4-FFF2-40B4-BE49-F238E27FC236}">
                  <a16:creationId xmlns:a16="http://schemas.microsoft.com/office/drawing/2014/main" id="{E094AC65-C211-923C-ED3D-4B410B904375}"/>
                </a:ext>
              </a:extLst>
            </p:cNvPr>
            <p:cNvSpPr/>
            <p:nvPr/>
          </p:nvSpPr>
          <p:spPr>
            <a:xfrm>
              <a:off x="5292309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7" name="object 1467">
              <a:extLst>
                <a:ext uri="{FF2B5EF4-FFF2-40B4-BE49-F238E27FC236}">
                  <a16:creationId xmlns:a16="http://schemas.microsoft.com/office/drawing/2014/main" id="{23FD921C-C4FF-141D-519B-56AB79C45841}"/>
                </a:ext>
              </a:extLst>
            </p:cNvPr>
            <p:cNvSpPr/>
            <p:nvPr/>
          </p:nvSpPr>
          <p:spPr>
            <a:xfrm>
              <a:off x="532733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8" name="object 1468">
              <a:extLst>
                <a:ext uri="{FF2B5EF4-FFF2-40B4-BE49-F238E27FC236}">
                  <a16:creationId xmlns:a16="http://schemas.microsoft.com/office/drawing/2014/main" id="{3AB4F8EE-4177-7CD1-DE52-6934EC8CC8C2}"/>
                </a:ext>
              </a:extLst>
            </p:cNvPr>
            <p:cNvSpPr/>
            <p:nvPr/>
          </p:nvSpPr>
          <p:spPr>
            <a:xfrm>
              <a:off x="522226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9" name="object 1469">
              <a:extLst>
                <a:ext uri="{FF2B5EF4-FFF2-40B4-BE49-F238E27FC236}">
                  <a16:creationId xmlns:a16="http://schemas.microsoft.com/office/drawing/2014/main" id="{A1DD2B8D-0560-E0E9-5FD0-55A3F7925F4C}"/>
                </a:ext>
              </a:extLst>
            </p:cNvPr>
            <p:cNvSpPr/>
            <p:nvPr/>
          </p:nvSpPr>
          <p:spPr>
            <a:xfrm>
              <a:off x="511720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0" name="object 1470">
              <a:extLst>
                <a:ext uri="{FF2B5EF4-FFF2-40B4-BE49-F238E27FC236}">
                  <a16:creationId xmlns:a16="http://schemas.microsoft.com/office/drawing/2014/main" id="{AD2E369E-A115-B7A7-F5D6-62C493887B53}"/>
                </a:ext>
              </a:extLst>
            </p:cNvPr>
            <p:cNvSpPr/>
            <p:nvPr/>
          </p:nvSpPr>
          <p:spPr>
            <a:xfrm>
              <a:off x="515229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1" name="object 1471">
              <a:extLst>
                <a:ext uri="{FF2B5EF4-FFF2-40B4-BE49-F238E27FC236}">
                  <a16:creationId xmlns:a16="http://schemas.microsoft.com/office/drawing/2014/main" id="{1F2C3BB2-1B95-3F58-BB70-8F397A35DC9F}"/>
                </a:ext>
              </a:extLst>
            </p:cNvPr>
            <p:cNvSpPr/>
            <p:nvPr/>
          </p:nvSpPr>
          <p:spPr>
            <a:xfrm>
              <a:off x="504715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2" name="object 1472">
              <a:extLst>
                <a:ext uri="{FF2B5EF4-FFF2-40B4-BE49-F238E27FC236}">
                  <a16:creationId xmlns:a16="http://schemas.microsoft.com/office/drawing/2014/main" id="{79734768-404D-1348-645E-08B827D2FBEF}"/>
                </a:ext>
              </a:extLst>
            </p:cNvPr>
            <p:cNvSpPr/>
            <p:nvPr/>
          </p:nvSpPr>
          <p:spPr>
            <a:xfrm>
              <a:off x="5257287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3" name="object 1473">
              <a:extLst>
                <a:ext uri="{FF2B5EF4-FFF2-40B4-BE49-F238E27FC236}">
                  <a16:creationId xmlns:a16="http://schemas.microsoft.com/office/drawing/2014/main" id="{AEE6BCBA-D9E9-94E0-F9B9-A278ECA39EAB}"/>
                </a:ext>
              </a:extLst>
            </p:cNvPr>
            <p:cNvSpPr/>
            <p:nvPr/>
          </p:nvSpPr>
          <p:spPr>
            <a:xfrm>
              <a:off x="508218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4" name="object 1474">
              <a:extLst>
                <a:ext uri="{FF2B5EF4-FFF2-40B4-BE49-F238E27FC236}">
                  <a16:creationId xmlns:a16="http://schemas.microsoft.com/office/drawing/2014/main" id="{1514FB82-0931-326B-1393-52FB05BCCEE0}"/>
                </a:ext>
              </a:extLst>
            </p:cNvPr>
            <p:cNvSpPr/>
            <p:nvPr/>
          </p:nvSpPr>
          <p:spPr>
            <a:xfrm>
              <a:off x="5362352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5" name="object 1475">
              <a:extLst>
                <a:ext uri="{FF2B5EF4-FFF2-40B4-BE49-F238E27FC236}">
                  <a16:creationId xmlns:a16="http://schemas.microsoft.com/office/drawing/2014/main" id="{162C0999-AD4F-D54E-8CF7-E1BB68A10520}"/>
                </a:ext>
              </a:extLst>
            </p:cNvPr>
            <p:cNvSpPr/>
            <p:nvPr/>
          </p:nvSpPr>
          <p:spPr>
            <a:xfrm>
              <a:off x="5187382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6" name="object 1476">
              <a:extLst>
                <a:ext uri="{FF2B5EF4-FFF2-40B4-BE49-F238E27FC236}">
                  <a16:creationId xmlns:a16="http://schemas.microsoft.com/office/drawing/2014/main" id="{4C8C0764-348F-626F-6FEB-99B3A1E8CCEC}"/>
                </a:ext>
              </a:extLst>
            </p:cNvPr>
            <p:cNvSpPr/>
            <p:nvPr/>
          </p:nvSpPr>
          <p:spPr>
            <a:xfrm>
              <a:off x="5012411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7" name="object 1477">
              <a:extLst>
                <a:ext uri="{FF2B5EF4-FFF2-40B4-BE49-F238E27FC236}">
                  <a16:creationId xmlns:a16="http://schemas.microsoft.com/office/drawing/2014/main" id="{88DBA0B6-0F6D-257D-69DE-9D5934FDA94F}"/>
                </a:ext>
              </a:extLst>
            </p:cNvPr>
            <p:cNvSpPr/>
            <p:nvPr/>
          </p:nvSpPr>
          <p:spPr>
            <a:xfrm>
              <a:off x="5187382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8" name="object 1478">
              <a:extLst>
                <a:ext uri="{FF2B5EF4-FFF2-40B4-BE49-F238E27FC236}">
                  <a16:creationId xmlns:a16="http://schemas.microsoft.com/office/drawing/2014/main" id="{2D94E64D-ECA7-78DD-CE17-28C140719AD9}"/>
                </a:ext>
              </a:extLst>
            </p:cNvPr>
            <p:cNvSpPr/>
            <p:nvPr/>
          </p:nvSpPr>
          <p:spPr>
            <a:xfrm>
              <a:off x="5012411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479" name="object 1479">
            <a:extLst>
              <a:ext uri="{FF2B5EF4-FFF2-40B4-BE49-F238E27FC236}">
                <a16:creationId xmlns:a16="http://schemas.microsoft.com/office/drawing/2014/main" id="{497C2D15-20FF-BEAD-3959-2EB8F4EE44E7}"/>
              </a:ext>
            </a:extLst>
          </p:cNvPr>
          <p:cNvGrpSpPr/>
          <p:nvPr/>
        </p:nvGrpSpPr>
        <p:grpSpPr>
          <a:xfrm>
            <a:off x="5012411" y="3378077"/>
            <a:ext cx="350371" cy="123525"/>
            <a:chOff x="5012411" y="3378077"/>
            <a:chExt cx="350371" cy="123525"/>
          </a:xfrm>
        </p:grpSpPr>
        <p:sp>
          <p:nvSpPr>
            <p:cNvPr id="1480" name="object 1480">
              <a:extLst>
                <a:ext uri="{FF2B5EF4-FFF2-40B4-BE49-F238E27FC236}">
                  <a16:creationId xmlns:a16="http://schemas.microsoft.com/office/drawing/2014/main" id="{D2D41598-0537-E1AD-B965-EEB4F8D1B1E1}"/>
                </a:ext>
              </a:extLst>
            </p:cNvPr>
            <p:cNvSpPr/>
            <p:nvPr/>
          </p:nvSpPr>
          <p:spPr>
            <a:xfrm>
              <a:off x="529265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1" name="object 1481">
              <a:extLst>
                <a:ext uri="{FF2B5EF4-FFF2-40B4-BE49-F238E27FC236}">
                  <a16:creationId xmlns:a16="http://schemas.microsoft.com/office/drawing/2014/main" id="{2544F5CC-A94A-870A-AAB9-F6745FAB2F2B}"/>
                </a:ext>
              </a:extLst>
            </p:cNvPr>
            <p:cNvSpPr/>
            <p:nvPr/>
          </p:nvSpPr>
          <p:spPr>
            <a:xfrm>
              <a:off x="532767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2" name="object 1482">
              <a:extLst>
                <a:ext uri="{FF2B5EF4-FFF2-40B4-BE49-F238E27FC236}">
                  <a16:creationId xmlns:a16="http://schemas.microsoft.com/office/drawing/2014/main" id="{9637BBB8-0085-DA8A-5935-1EE49F50F84D}"/>
                </a:ext>
              </a:extLst>
            </p:cNvPr>
            <p:cNvSpPr/>
            <p:nvPr/>
          </p:nvSpPr>
          <p:spPr>
            <a:xfrm>
              <a:off x="5222613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3" name="object 1483">
              <a:extLst>
                <a:ext uri="{FF2B5EF4-FFF2-40B4-BE49-F238E27FC236}">
                  <a16:creationId xmlns:a16="http://schemas.microsoft.com/office/drawing/2014/main" id="{F5528751-864B-7A0F-26F4-1DA0B6D59E00}"/>
                </a:ext>
              </a:extLst>
            </p:cNvPr>
            <p:cNvSpPr/>
            <p:nvPr/>
          </p:nvSpPr>
          <p:spPr>
            <a:xfrm>
              <a:off x="511754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4" name="object 1484">
              <a:extLst>
                <a:ext uri="{FF2B5EF4-FFF2-40B4-BE49-F238E27FC236}">
                  <a16:creationId xmlns:a16="http://schemas.microsoft.com/office/drawing/2014/main" id="{C7A00C78-87A1-7864-F8A3-86910510C26A}"/>
                </a:ext>
              </a:extLst>
            </p:cNvPr>
            <p:cNvSpPr/>
            <p:nvPr/>
          </p:nvSpPr>
          <p:spPr>
            <a:xfrm>
              <a:off x="515263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5" name="object 1485">
              <a:extLst>
                <a:ext uri="{FF2B5EF4-FFF2-40B4-BE49-F238E27FC236}">
                  <a16:creationId xmlns:a16="http://schemas.microsoft.com/office/drawing/2014/main" id="{3B46A25C-6B79-D701-1179-C3AC78662A00}"/>
                </a:ext>
              </a:extLst>
            </p:cNvPr>
            <p:cNvSpPr/>
            <p:nvPr/>
          </p:nvSpPr>
          <p:spPr>
            <a:xfrm>
              <a:off x="504750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6" name="object 1486">
              <a:extLst>
                <a:ext uri="{FF2B5EF4-FFF2-40B4-BE49-F238E27FC236}">
                  <a16:creationId xmlns:a16="http://schemas.microsoft.com/office/drawing/2014/main" id="{433F2709-B16B-975A-FED2-2BDA672314E5}"/>
                </a:ext>
              </a:extLst>
            </p:cNvPr>
            <p:cNvSpPr/>
            <p:nvPr/>
          </p:nvSpPr>
          <p:spPr>
            <a:xfrm>
              <a:off x="525763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7" name="object 1487">
              <a:extLst>
                <a:ext uri="{FF2B5EF4-FFF2-40B4-BE49-F238E27FC236}">
                  <a16:creationId xmlns:a16="http://schemas.microsoft.com/office/drawing/2014/main" id="{A2F1941F-571A-232A-FF33-27BB24D3442B}"/>
                </a:ext>
              </a:extLst>
            </p:cNvPr>
            <p:cNvSpPr/>
            <p:nvPr/>
          </p:nvSpPr>
          <p:spPr>
            <a:xfrm>
              <a:off x="508252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8" name="object 1488">
              <a:extLst>
                <a:ext uri="{FF2B5EF4-FFF2-40B4-BE49-F238E27FC236}">
                  <a16:creationId xmlns:a16="http://schemas.microsoft.com/office/drawing/2014/main" id="{A71EE342-AEB9-8448-88F2-638C7CA005E7}"/>
                </a:ext>
              </a:extLst>
            </p:cNvPr>
            <p:cNvSpPr/>
            <p:nvPr/>
          </p:nvSpPr>
          <p:spPr>
            <a:xfrm>
              <a:off x="536269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9" name="object 1489">
              <a:extLst>
                <a:ext uri="{FF2B5EF4-FFF2-40B4-BE49-F238E27FC236}">
                  <a16:creationId xmlns:a16="http://schemas.microsoft.com/office/drawing/2014/main" id="{96843C90-8A87-E59A-DA66-373E4BDBEA54}"/>
                </a:ext>
              </a:extLst>
            </p:cNvPr>
            <p:cNvSpPr/>
            <p:nvPr/>
          </p:nvSpPr>
          <p:spPr>
            <a:xfrm>
              <a:off x="518772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0" name="object 1490">
              <a:extLst>
                <a:ext uri="{FF2B5EF4-FFF2-40B4-BE49-F238E27FC236}">
                  <a16:creationId xmlns:a16="http://schemas.microsoft.com/office/drawing/2014/main" id="{72F07147-2277-90CE-232B-86D02BAE70EF}"/>
                </a:ext>
              </a:extLst>
            </p:cNvPr>
            <p:cNvSpPr/>
            <p:nvPr/>
          </p:nvSpPr>
          <p:spPr>
            <a:xfrm>
              <a:off x="501275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1" name="object 1491">
              <a:extLst>
                <a:ext uri="{FF2B5EF4-FFF2-40B4-BE49-F238E27FC236}">
                  <a16:creationId xmlns:a16="http://schemas.microsoft.com/office/drawing/2014/main" id="{DF677FEA-C12B-F53B-CC7C-BD38DE38F988}"/>
                </a:ext>
              </a:extLst>
            </p:cNvPr>
            <p:cNvSpPr/>
            <p:nvPr/>
          </p:nvSpPr>
          <p:spPr>
            <a:xfrm>
              <a:off x="5012759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2" name="object 1492">
              <a:extLst>
                <a:ext uri="{FF2B5EF4-FFF2-40B4-BE49-F238E27FC236}">
                  <a16:creationId xmlns:a16="http://schemas.microsoft.com/office/drawing/2014/main" id="{D3CA69BD-737D-4175-827D-D09C1CD77804}"/>
                </a:ext>
              </a:extLst>
            </p:cNvPr>
            <p:cNvSpPr/>
            <p:nvPr/>
          </p:nvSpPr>
          <p:spPr>
            <a:xfrm>
              <a:off x="5012877" y="3378086"/>
              <a:ext cx="2133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51790"/>
                <a:gd name="f4" fmla="val 84454"/>
                <a:gd name="f5" fmla="val 351559"/>
                <a:gd name="f6" fmla="val 84112"/>
                <a:gd name="f7" fmla="*/ f0 1 351790"/>
                <a:gd name="f8" fmla="*/ f1 1 84454"/>
                <a:gd name="f9" fmla="+- f4 0 f2"/>
                <a:gd name="f10" fmla="+- f3 0 f2"/>
                <a:gd name="f11" fmla="*/ f10 1 3517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517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3" name="object 1493">
              <a:extLst>
                <a:ext uri="{FF2B5EF4-FFF2-40B4-BE49-F238E27FC236}">
                  <a16:creationId xmlns:a16="http://schemas.microsoft.com/office/drawing/2014/main" id="{5204C73E-1ECC-82FC-C732-EC59073F057B}"/>
                </a:ext>
              </a:extLst>
            </p:cNvPr>
            <p:cNvSpPr/>
            <p:nvPr/>
          </p:nvSpPr>
          <p:spPr>
            <a:xfrm>
              <a:off x="5012877" y="3450387"/>
              <a:ext cx="1135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7325"/>
                <a:gd name="f4" fmla="val 84454"/>
                <a:gd name="f5" fmla="val 187030"/>
                <a:gd name="f6" fmla="val 84112"/>
                <a:gd name="f7" fmla="*/ f0 1 187325"/>
                <a:gd name="f8" fmla="*/ f1 1 84454"/>
                <a:gd name="f9" fmla="+- f4 0 f2"/>
                <a:gd name="f10" fmla="+- f3 0 f2"/>
                <a:gd name="f11" fmla="*/ f10 1 1873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73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4" name="object 1494">
              <a:extLst>
                <a:ext uri="{FF2B5EF4-FFF2-40B4-BE49-F238E27FC236}">
                  <a16:creationId xmlns:a16="http://schemas.microsoft.com/office/drawing/2014/main" id="{BF4AB5A3-D11A-2315-5E60-CEC44105395C}"/>
                </a:ext>
              </a:extLst>
            </p:cNvPr>
            <p:cNvSpPr/>
            <p:nvPr/>
          </p:nvSpPr>
          <p:spPr>
            <a:xfrm>
              <a:off x="5292309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5" name="object 1495">
              <a:extLst>
                <a:ext uri="{FF2B5EF4-FFF2-40B4-BE49-F238E27FC236}">
                  <a16:creationId xmlns:a16="http://schemas.microsoft.com/office/drawing/2014/main" id="{9397F7C4-CB02-8FC6-BD82-308FF16116A1}"/>
                </a:ext>
              </a:extLst>
            </p:cNvPr>
            <p:cNvSpPr/>
            <p:nvPr/>
          </p:nvSpPr>
          <p:spPr>
            <a:xfrm>
              <a:off x="532733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6" name="object 1496">
              <a:extLst>
                <a:ext uri="{FF2B5EF4-FFF2-40B4-BE49-F238E27FC236}">
                  <a16:creationId xmlns:a16="http://schemas.microsoft.com/office/drawing/2014/main" id="{35EB8090-4A11-C0C4-F8F3-A463B4840E44}"/>
                </a:ext>
              </a:extLst>
            </p:cNvPr>
            <p:cNvSpPr/>
            <p:nvPr/>
          </p:nvSpPr>
          <p:spPr>
            <a:xfrm>
              <a:off x="5222266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7" name="object 1497">
              <a:extLst>
                <a:ext uri="{FF2B5EF4-FFF2-40B4-BE49-F238E27FC236}">
                  <a16:creationId xmlns:a16="http://schemas.microsoft.com/office/drawing/2014/main" id="{55EDE441-F49A-4B4B-6109-657C31CD3314}"/>
                </a:ext>
              </a:extLst>
            </p:cNvPr>
            <p:cNvSpPr/>
            <p:nvPr/>
          </p:nvSpPr>
          <p:spPr>
            <a:xfrm>
              <a:off x="511720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8" name="object 1498">
              <a:extLst>
                <a:ext uri="{FF2B5EF4-FFF2-40B4-BE49-F238E27FC236}">
                  <a16:creationId xmlns:a16="http://schemas.microsoft.com/office/drawing/2014/main" id="{17B523CA-0397-5422-55D0-23D4F5DEA80F}"/>
                </a:ext>
              </a:extLst>
            </p:cNvPr>
            <p:cNvSpPr/>
            <p:nvPr/>
          </p:nvSpPr>
          <p:spPr>
            <a:xfrm>
              <a:off x="5152296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9" name="object 1499">
              <a:extLst>
                <a:ext uri="{FF2B5EF4-FFF2-40B4-BE49-F238E27FC236}">
                  <a16:creationId xmlns:a16="http://schemas.microsoft.com/office/drawing/2014/main" id="{96534736-49BF-AEF9-03EE-425A598F659B}"/>
                </a:ext>
              </a:extLst>
            </p:cNvPr>
            <p:cNvSpPr/>
            <p:nvPr/>
          </p:nvSpPr>
          <p:spPr>
            <a:xfrm>
              <a:off x="504715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0" name="object 1500">
              <a:extLst>
                <a:ext uri="{FF2B5EF4-FFF2-40B4-BE49-F238E27FC236}">
                  <a16:creationId xmlns:a16="http://schemas.microsoft.com/office/drawing/2014/main" id="{54FD573D-D5B0-2550-1343-A10A5A29AD1C}"/>
                </a:ext>
              </a:extLst>
            </p:cNvPr>
            <p:cNvSpPr/>
            <p:nvPr/>
          </p:nvSpPr>
          <p:spPr>
            <a:xfrm>
              <a:off x="5257287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1" name="object 1501">
              <a:extLst>
                <a:ext uri="{FF2B5EF4-FFF2-40B4-BE49-F238E27FC236}">
                  <a16:creationId xmlns:a16="http://schemas.microsoft.com/office/drawing/2014/main" id="{C2E20955-387A-2BE5-D346-3BC13409EAC7}"/>
                </a:ext>
              </a:extLst>
            </p:cNvPr>
            <p:cNvSpPr/>
            <p:nvPr/>
          </p:nvSpPr>
          <p:spPr>
            <a:xfrm>
              <a:off x="508218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2" name="object 1502">
              <a:extLst>
                <a:ext uri="{FF2B5EF4-FFF2-40B4-BE49-F238E27FC236}">
                  <a16:creationId xmlns:a16="http://schemas.microsoft.com/office/drawing/2014/main" id="{0A36A642-3CE7-0D37-CE75-BCEEA44CD620}"/>
                </a:ext>
              </a:extLst>
            </p:cNvPr>
            <p:cNvSpPr/>
            <p:nvPr/>
          </p:nvSpPr>
          <p:spPr>
            <a:xfrm>
              <a:off x="5362352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3" name="object 1503">
              <a:extLst>
                <a:ext uri="{FF2B5EF4-FFF2-40B4-BE49-F238E27FC236}">
                  <a16:creationId xmlns:a16="http://schemas.microsoft.com/office/drawing/2014/main" id="{650F370E-A612-2536-572F-5ABD33F54884}"/>
                </a:ext>
              </a:extLst>
            </p:cNvPr>
            <p:cNvSpPr/>
            <p:nvPr/>
          </p:nvSpPr>
          <p:spPr>
            <a:xfrm>
              <a:off x="5187382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4" name="object 1504">
              <a:extLst>
                <a:ext uri="{FF2B5EF4-FFF2-40B4-BE49-F238E27FC236}">
                  <a16:creationId xmlns:a16="http://schemas.microsoft.com/office/drawing/2014/main" id="{0C61A086-4DB2-C669-609C-1061CCB08896}"/>
                </a:ext>
              </a:extLst>
            </p:cNvPr>
            <p:cNvSpPr/>
            <p:nvPr/>
          </p:nvSpPr>
          <p:spPr>
            <a:xfrm>
              <a:off x="501241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5" name="object 1505">
              <a:extLst>
                <a:ext uri="{FF2B5EF4-FFF2-40B4-BE49-F238E27FC236}">
                  <a16:creationId xmlns:a16="http://schemas.microsoft.com/office/drawing/2014/main" id="{A730D095-AA0C-9131-75A4-9CFCA0884382}"/>
                </a:ext>
              </a:extLst>
            </p:cNvPr>
            <p:cNvSpPr/>
            <p:nvPr/>
          </p:nvSpPr>
          <p:spPr>
            <a:xfrm>
              <a:off x="5187382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6" name="object 1506">
              <a:extLst>
                <a:ext uri="{FF2B5EF4-FFF2-40B4-BE49-F238E27FC236}">
                  <a16:creationId xmlns:a16="http://schemas.microsoft.com/office/drawing/2014/main" id="{F6809D17-02A7-130D-B79A-D83C84AF04D6}"/>
                </a:ext>
              </a:extLst>
            </p:cNvPr>
            <p:cNvSpPr/>
            <p:nvPr/>
          </p:nvSpPr>
          <p:spPr>
            <a:xfrm>
              <a:off x="5012411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07" name="object 1507">
            <a:extLst>
              <a:ext uri="{FF2B5EF4-FFF2-40B4-BE49-F238E27FC236}">
                <a16:creationId xmlns:a16="http://schemas.microsoft.com/office/drawing/2014/main" id="{B22DA875-217F-553C-930E-2A8A682CE225}"/>
              </a:ext>
            </a:extLst>
          </p:cNvPr>
          <p:cNvGrpSpPr/>
          <p:nvPr/>
        </p:nvGrpSpPr>
        <p:grpSpPr>
          <a:xfrm>
            <a:off x="5012411" y="4146136"/>
            <a:ext cx="350371" cy="123517"/>
            <a:chOff x="5012411" y="4146136"/>
            <a:chExt cx="350371" cy="123517"/>
          </a:xfrm>
        </p:grpSpPr>
        <p:sp>
          <p:nvSpPr>
            <p:cNvPr id="1508" name="object 1508">
              <a:extLst>
                <a:ext uri="{FF2B5EF4-FFF2-40B4-BE49-F238E27FC236}">
                  <a16:creationId xmlns:a16="http://schemas.microsoft.com/office/drawing/2014/main" id="{36DAD5CF-44C8-DCFD-6884-6EB01291DAEB}"/>
                </a:ext>
              </a:extLst>
            </p:cNvPr>
            <p:cNvSpPr/>
            <p:nvPr/>
          </p:nvSpPr>
          <p:spPr>
            <a:xfrm>
              <a:off x="5292656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9" name="object 1509">
              <a:extLst>
                <a:ext uri="{FF2B5EF4-FFF2-40B4-BE49-F238E27FC236}">
                  <a16:creationId xmlns:a16="http://schemas.microsoft.com/office/drawing/2014/main" id="{D1C53AF6-1C1F-0A5A-D747-6A9E10F6455B}"/>
                </a:ext>
              </a:extLst>
            </p:cNvPr>
            <p:cNvSpPr/>
            <p:nvPr/>
          </p:nvSpPr>
          <p:spPr>
            <a:xfrm>
              <a:off x="5327678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0" name="object 1510">
              <a:extLst>
                <a:ext uri="{FF2B5EF4-FFF2-40B4-BE49-F238E27FC236}">
                  <a16:creationId xmlns:a16="http://schemas.microsoft.com/office/drawing/2014/main" id="{3987CD38-947C-A835-E2E5-2845FCC36035}"/>
                </a:ext>
              </a:extLst>
            </p:cNvPr>
            <p:cNvSpPr/>
            <p:nvPr/>
          </p:nvSpPr>
          <p:spPr>
            <a:xfrm>
              <a:off x="5222613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1" name="object 1511">
              <a:extLst>
                <a:ext uri="{FF2B5EF4-FFF2-40B4-BE49-F238E27FC236}">
                  <a16:creationId xmlns:a16="http://schemas.microsoft.com/office/drawing/2014/main" id="{334DEF11-95AB-06BF-D570-99624C742BC0}"/>
                </a:ext>
              </a:extLst>
            </p:cNvPr>
            <p:cNvSpPr/>
            <p:nvPr/>
          </p:nvSpPr>
          <p:spPr>
            <a:xfrm>
              <a:off x="5117549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2" name="object 1512">
              <a:extLst>
                <a:ext uri="{FF2B5EF4-FFF2-40B4-BE49-F238E27FC236}">
                  <a16:creationId xmlns:a16="http://schemas.microsoft.com/office/drawing/2014/main" id="{5FFBA1A6-744B-864C-9530-BE2208AFC64C}"/>
                </a:ext>
              </a:extLst>
            </p:cNvPr>
            <p:cNvSpPr/>
            <p:nvPr/>
          </p:nvSpPr>
          <p:spPr>
            <a:xfrm>
              <a:off x="5152634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3" name="object 1513">
              <a:extLst>
                <a:ext uri="{FF2B5EF4-FFF2-40B4-BE49-F238E27FC236}">
                  <a16:creationId xmlns:a16="http://schemas.microsoft.com/office/drawing/2014/main" id="{1B91BC66-1331-E137-A5B9-68EBE21E1134}"/>
                </a:ext>
              </a:extLst>
            </p:cNvPr>
            <p:cNvSpPr/>
            <p:nvPr/>
          </p:nvSpPr>
          <p:spPr>
            <a:xfrm>
              <a:off x="5047506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4" name="object 1514">
              <a:extLst>
                <a:ext uri="{FF2B5EF4-FFF2-40B4-BE49-F238E27FC236}">
                  <a16:creationId xmlns:a16="http://schemas.microsoft.com/office/drawing/2014/main" id="{6865A36E-E0A0-873D-6603-29F02BE87C32}"/>
                </a:ext>
              </a:extLst>
            </p:cNvPr>
            <p:cNvSpPr/>
            <p:nvPr/>
          </p:nvSpPr>
          <p:spPr>
            <a:xfrm>
              <a:off x="5257635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5" name="object 1515">
              <a:extLst>
                <a:ext uri="{FF2B5EF4-FFF2-40B4-BE49-F238E27FC236}">
                  <a16:creationId xmlns:a16="http://schemas.microsoft.com/office/drawing/2014/main" id="{4270F458-DEB4-6931-54EB-8D418A096ECD}"/>
                </a:ext>
              </a:extLst>
            </p:cNvPr>
            <p:cNvSpPr/>
            <p:nvPr/>
          </p:nvSpPr>
          <p:spPr>
            <a:xfrm>
              <a:off x="5082527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6" name="object 1516">
              <a:extLst>
                <a:ext uri="{FF2B5EF4-FFF2-40B4-BE49-F238E27FC236}">
                  <a16:creationId xmlns:a16="http://schemas.microsoft.com/office/drawing/2014/main" id="{2B3AC0EC-4B09-763D-A653-E0228B356138}"/>
                </a:ext>
              </a:extLst>
            </p:cNvPr>
            <p:cNvSpPr/>
            <p:nvPr/>
          </p:nvSpPr>
          <p:spPr>
            <a:xfrm>
              <a:off x="5362699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7" name="object 1517">
              <a:extLst>
                <a:ext uri="{FF2B5EF4-FFF2-40B4-BE49-F238E27FC236}">
                  <a16:creationId xmlns:a16="http://schemas.microsoft.com/office/drawing/2014/main" id="{7C162FBC-835B-7DC1-1BA8-B1CFE81E50B7}"/>
                </a:ext>
              </a:extLst>
            </p:cNvPr>
            <p:cNvSpPr/>
            <p:nvPr/>
          </p:nvSpPr>
          <p:spPr>
            <a:xfrm>
              <a:off x="5187729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8" name="object 1518">
              <a:extLst>
                <a:ext uri="{FF2B5EF4-FFF2-40B4-BE49-F238E27FC236}">
                  <a16:creationId xmlns:a16="http://schemas.microsoft.com/office/drawing/2014/main" id="{6B46BD28-FE63-7493-85D8-49A05855EC72}"/>
                </a:ext>
              </a:extLst>
            </p:cNvPr>
            <p:cNvSpPr/>
            <p:nvPr/>
          </p:nvSpPr>
          <p:spPr>
            <a:xfrm>
              <a:off x="5012759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9" name="object 1519">
              <a:extLst>
                <a:ext uri="{FF2B5EF4-FFF2-40B4-BE49-F238E27FC236}">
                  <a16:creationId xmlns:a16="http://schemas.microsoft.com/office/drawing/2014/main" id="{1E005729-C9F3-D0DB-1AA6-4DBA87711089}"/>
                </a:ext>
              </a:extLst>
            </p:cNvPr>
            <p:cNvSpPr/>
            <p:nvPr/>
          </p:nvSpPr>
          <p:spPr>
            <a:xfrm>
              <a:off x="5012759" y="417163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0" name="object 1520">
              <a:extLst>
                <a:ext uri="{FF2B5EF4-FFF2-40B4-BE49-F238E27FC236}">
                  <a16:creationId xmlns:a16="http://schemas.microsoft.com/office/drawing/2014/main" id="{FD53BC55-C0D1-483F-778C-A80AA58034DB}"/>
                </a:ext>
              </a:extLst>
            </p:cNvPr>
            <p:cNvSpPr/>
            <p:nvPr/>
          </p:nvSpPr>
          <p:spPr>
            <a:xfrm>
              <a:off x="5012877" y="4146136"/>
              <a:ext cx="26646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9420"/>
                <a:gd name="f4" fmla="val 84454"/>
                <a:gd name="f5" fmla="val 438970"/>
                <a:gd name="f6" fmla="val 84123"/>
                <a:gd name="f7" fmla="*/ f0 1 439420"/>
                <a:gd name="f8" fmla="*/ f1 1 84454"/>
                <a:gd name="f9" fmla="+- f4 0 f2"/>
                <a:gd name="f10" fmla="+- f3 0 f2"/>
                <a:gd name="f11" fmla="*/ f10 1 4394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94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1" name="object 1521">
              <a:extLst>
                <a:ext uri="{FF2B5EF4-FFF2-40B4-BE49-F238E27FC236}">
                  <a16:creationId xmlns:a16="http://schemas.microsoft.com/office/drawing/2014/main" id="{1B969FEF-261E-97B4-621C-5A4ABDFF0724}"/>
                </a:ext>
              </a:extLst>
            </p:cNvPr>
            <p:cNvSpPr/>
            <p:nvPr/>
          </p:nvSpPr>
          <p:spPr>
            <a:xfrm>
              <a:off x="5012877" y="4218438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4"/>
                <a:gd name="f5" fmla="val 291163"/>
                <a:gd name="f6" fmla="val 84123"/>
                <a:gd name="f7" fmla="*/ f0 1 291465"/>
                <a:gd name="f8" fmla="*/ f1 1 84454"/>
                <a:gd name="f9" fmla="+- f4 0 f2"/>
                <a:gd name="f10" fmla="+- f3 0 f2"/>
                <a:gd name="f11" fmla="*/ f10 1 2914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2" name="object 1522">
              <a:extLst>
                <a:ext uri="{FF2B5EF4-FFF2-40B4-BE49-F238E27FC236}">
                  <a16:creationId xmlns:a16="http://schemas.microsoft.com/office/drawing/2014/main" id="{68419B36-8254-01A5-BBBE-AF277A87B718}"/>
                </a:ext>
              </a:extLst>
            </p:cNvPr>
            <p:cNvSpPr/>
            <p:nvPr/>
          </p:nvSpPr>
          <p:spPr>
            <a:xfrm>
              <a:off x="5292309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3" name="object 1523">
              <a:extLst>
                <a:ext uri="{FF2B5EF4-FFF2-40B4-BE49-F238E27FC236}">
                  <a16:creationId xmlns:a16="http://schemas.microsoft.com/office/drawing/2014/main" id="{4B694F3C-4BB7-B3FC-3CDA-E9D6564B56AF}"/>
                </a:ext>
              </a:extLst>
            </p:cNvPr>
            <p:cNvSpPr/>
            <p:nvPr/>
          </p:nvSpPr>
          <p:spPr>
            <a:xfrm>
              <a:off x="532733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4" name="object 1524">
              <a:extLst>
                <a:ext uri="{FF2B5EF4-FFF2-40B4-BE49-F238E27FC236}">
                  <a16:creationId xmlns:a16="http://schemas.microsoft.com/office/drawing/2014/main" id="{F280F596-F043-6429-5E0C-0714A041EA03}"/>
                </a:ext>
              </a:extLst>
            </p:cNvPr>
            <p:cNvSpPr/>
            <p:nvPr/>
          </p:nvSpPr>
          <p:spPr>
            <a:xfrm>
              <a:off x="5222266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5" name="object 1525">
              <a:extLst>
                <a:ext uri="{FF2B5EF4-FFF2-40B4-BE49-F238E27FC236}">
                  <a16:creationId xmlns:a16="http://schemas.microsoft.com/office/drawing/2014/main" id="{696721E8-BE15-8112-2F79-08EA60CDEA17}"/>
                </a:ext>
              </a:extLst>
            </p:cNvPr>
            <p:cNvSpPr/>
            <p:nvPr/>
          </p:nvSpPr>
          <p:spPr>
            <a:xfrm>
              <a:off x="5117201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6" name="object 1526">
              <a:extLst>
                <a:ext uri="{FF2B5EF4-FFF2-40B4-BE49-F238E27FC236}">
                  <a16:creationId xmlns:a16="http://schemas.microsoft.com/office/drawing/2014/main" id="{1F846744-3334-11EE-7BEF-5E5C413C6C38}"/>
                </a:ext>
              </a:extLst>
            </p:cNvPr>
            <p:cNvSpPr/>
            <p:nvPr/>
          </p:nvSpPr>
          <p:spPr>
            <a:xfrm>
              <a:off x="5152296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7" name="object 1527">
              <a:extLst>
                <a:ext uri="{FF2B5EF4-FFF2-40B4-BE49-F238E27FC236}">
                  <a16:creationId xmlns:a16="http://schemas.microsoft.com/office/drawing/2014/main" id="{E138E628-85D9-AFFF-6577-5CCF512AED5C}"/>
                </a:ext>
              </a:extLst>
            </p:cNvPr>
            <p:cNvSpPr/>
            <p:nvPr/>
          </p:nvSpPr>
          <p:spPr>
            <a:xfrm>
              <a:off x="5047158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8" name="object 1528">
              <a:extLst>
                <a:ext uri="{FF2B5EF4-FFF2-40B4-BE49-F238E27FC236}">
                  <a16:creationId xmlns:a16="http://schemas.microsoft.com/office/drawing/2014/main" id="{19BE8B1E-04FB-C2F5-777D-64FEF36FF4B2}"/>
                </a:ext>
              </a:extLst>
            </p:cNvPr>
            <p:cNvSpPr/>
            <p:nvPr/>
          </p:nvSpPr>
          <p:spPr>
            <a:xfrm>
              <a:off x="5257287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9" name="object 1529">
              <a:extLst>
                <a:ext uri="{FF2B5EF4-FFF2-40B4-BE49-F238E27FC236}">
                  <a16:creationId xmlns:a16="http://schemas.microsoft.com/office/drawing/2014/main" id="{6E51693B-CFA7-209A-6BFA-DCC843B26919}"/>
                </a:ext>
              </a:extLst>
            </p:cNvPr>
            <p:cNvSpPr/>
            <p:nvPr/>
          </p:nvSpPr>
          <p:spPr>
            <a:xfrm>
              <a:off x="508218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0" name="object 1530">
              <a:extLst>
                <a:ext uri="{FF2B5EF4-FFF2-40B4-BE49-F238E27FC236}">
                  <a16:creationId xmlns:a16="http://schemas.microsoft.com/office/drawing/2014/main" id="{0FE9A7D4-979F-E099-1391-9B1D2E245546}"/>
                </a:ext>
              </a:extLst>
            </p:cNvPr>
            <p:cNvSpPr/>
            <p:nvPr/>
          </p:nvSpPr>
          <p:spPr>
            <a:xfrm>
              <a:off x="5362352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1" name="object 1531">
              <a:extLst>
                <a:ext uri="{FF2B5EF4-FFF2-40B4-BE49-F238E27FC236}">
                  <a16:creationId xmlns:a16="http://schemas.microsoft.com/office/drawing/2014/main" id="{A0AFB71B-D458-9243-E719-1C152CC65F8B}"/>
                </a:ext>
              </a:extLst>
            </p:cNvPr>
            <p:cNvSpPr/>
            <p:nvPr/>
          </p:nvSpPr>
          <p:spPr>
            <a:xfrm>
              <a:off x="5187382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2" name="object 1532">
              <a:extLst>
                <a:ext uri="{FF2B5EF4-FFF2-40B4-BE49-F238E27FC236}">
                  <a16:creationId xmlns:a16="http://schemas.microsoft.com/office/drawing/2014/main" id="{C02E2115-9E2B-52C2-1452-CDE37600F8C8}"/>
                </a:ext>
              </a:extLst>
            </p:cNvPr>
            <p:cNvSpPr/>
            <p:nvPr/>
          </p:nvSpPr>
          <p:spPr>
            <a:xfrm>
              <a:off x="5012411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3" name="object 1533">
              <a:extLst>
                <a:ext uri="{FF2B5EF4-FFF2-40B4-BE49-F238E27FC236}">
                  <a16:creationId xmlns:a16="http://schemas.microsoft.com/office/drawing/2014/main" id="{0FA6A356-A813-6E41-A1AA-7547913602F8}"/>
                </a:ext>
              </a:extLst>
            </p:cNvPr>
            <p:cNvSpPr/>
            <p:nvPr/>
          </p:nvSpPr>
          <p:spPr>
            <a:xfrm>
              <a:off x="5187382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4" name="object 1534">
              <a:extLst>
                <a:ext uri="{FF2B5EF4-FFF2-40B4-BE49-F238E27FC236}">
                  <a16:creationId xmlns:a16="http://schemas.microsoft.com/office/drawing/2014/main" id="{59953E9D-231D-DBA3-8AB6-1244CEFD2E40}"/>
                </a:ext>
              </a:extLst>
            </p:cNvPr>
            <p:cNvSpPr/>
            <p:nvPr/>
          </p:nvSpPr>
          <p:spPr>
            <a:xfrm>
              <a:off x="5012411" y="42439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35" name="object 1535">
            <a:extLst>
              <a:ext uri="{FF2B5EF4-FFF2-40B4-BE49-F238E27FC236}">
                <a16:creationId xmlns:a16="http://schemas.microsoft.com/office/drawing/2014/main" id="{4DA2B4F9-38D2-401E-97BB-671603EAC8F6}"/>
              </a:ext>
            </a:extLst>
          </p:cNvPr>
          <p:cNvGrpSpPr/>
          <p:nvPr/>
        </p:nvGrpSpPr>
        <p:grpSpPr>
          <a:xfrm>
            <a:off x="5012411" y="4906670"/>
            <a:ext cx="350371" cy="123507"/>
            <a:chOff x="5012411" y="4906670"/>
            <a:chExt cx="350371" cy="123507"/>
          </a:xfrm>
        </p:grpSpPr>
        <p:sp>
          <p:nvSpPr>
            <p:cNvPr id="1536" name="object 1536">
              <a:extLst>
                <a:ext uri="{FF2B5EF4-FFF2-40B4-BE49-F238E27FC236}">
                  <a16:creationId xmlns:a16="http://schemas.microsoft.com/office/drawing/2014/main" id="{4BA2CF19-C2ED-0936-4982-68B8108584BC}"/>
                </a:ext>
              </a:extLst>
            </p:cNvPr>
            <p:cNvSpPr/>
            <p:nvPr/>
          </p:nvSpPr>
          <p:spPr>
            <a:xfrm>
              <a:off x="5292656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7" name="object 1537">
              <a:extLst>
                <a:ext uri="{FF2B5EF4-FFF2-40B4-BE49-F238E27FC236}">
                  <a16:creationId xmlns:a16="http://schemas.microsoft.com/office/drawing/2014/main" id="{DD592579-FFA1-03B3-05B2-9581B9D1A527}"/>
                </a:ext>
              </a:extLst>
            </p:cNvPr>
            <p:cNvSpPr/>
            <p:nvPr/>
          </p:nvSpPr>
          <p:spPr>
            <a:xfrm>
              <a:off x="5327678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8" name="object 1538">
              <a:extLst>
                <a:ext uri="{FF2B5EF4-FFF2-40B4-BE49-F238E27FC236}">
                  <a16:creationId xmlns:a16="http://schemas.microsoft.com/office/drawing/2014/main" id="{732F2C68-E300-ADBE-8C56-B2E62BF4F7F6}"/>
                </a:ext>
              </a:extLst>
            </p:cNvPr>
            <p:cNvSpPr/>
            <p:nvPr/>
          </p:nvSpPr>
          <p:spPr>
            <a:xfrm>
              <a:off x="5222613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9" name="object 1539">
              <a:extLst>
                <a:ext uri="{FF2B5EF4-FFF2-40B4-BE49-F238E27FC236}">
                  <a16:creationId xmlns:a16="http://schemas.microsoft.com/office/drawing/2014/main" id="{1E22884C-F7ED-52C4-9B64-2A02083CA543}"/>
                </a:ext>
              </a:extLst>
            </p:cNvPr>
            <p:cNvSpPr/>
            <p:nvPr/>
          </p:nvSpPr>
          <p:spPr>
            <a:xfrm>
              <a:off x="5117549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0" name="object 1540">
              <a:extLst>
                <a:ext uri="{FF2B5EF4-FFF2-40B4-BE49-F238E27FC236}">
                  <a16:creationId xmlns:a16="http://schemas.microsoft.com/office/drawing/2014/main" id="{65774C9C-A930-2A97-8508-77751A1E3EE4}"/>
                </a:ext>
              </a:extLst>
            </p:cNvPr>
            <p:cNvSpPr/>
            <p:nvPr/>
          </p:nvSpPr>
          <p:spPr>
            <a:xfrm>
              <a:off x="5152634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1" name="object 1541">
              <a:extLst>
                <a:ext uri="{FF2B5EF4-FFF2-40B4-BE49-F238E27FC236}">
                  <a16:creationId xmlns:a16="http://schemas.microsoft.com/office/drawing/2014/main" id="{17468FC5-E8D0-08EC-8BEF-667F0227D864}"/>
                </a:ext>
              </a:extLst>
            </p:cNvPr>
            <p:cNvSpPr/>
            <p:nvPr/>
          </p:nvSpPr>
          <p:spPr>
            <a:xfrm>
              <a:off x="5047506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2" name="object 1542">
              <a:extLst>
                <a:ext uri="{FF2B5EF4-FFF2-40B4-BE49-F238E27FC236}">
                  <a16:creationId xmlns:a16="http://schemas.microsoft.com/office/drawing/2014/main" id="{D9DC572F-C5A8-A574-E094-02D4C33A30DC}"/>
                </a:ext>
              </a:extLst>
            </p:cNvPr>
            <p:cNvSpPr/>
            <p:nvPr/>
          </p:nvSpPr>
          <p:spPr>
            <a:xfrm>
              <a:off x="5257635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3" name="object 1543">
              <a:extLst>
                <a:ext uri="{FF2B5EF4-FFF2-40B4-BE49-F238E27FC236}">
                  <a16:creationId xmlns:a16="http://schemas.microsoft.com/office/drawing/2014/main" id="{CB5137DC-6B02-590A-3199-D08F278644E7}"/>
                </a:ext>
              </a:extLst>
            </p:cNvPr>
            <p:cNvSpPr/>
            <p:nvPr/>
          </p:nvSpPr>
          <p:spPr>
            <a:xfrm>
              <a:off x="508252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4" name="object 1544">
              <a:extLst>
                <a:ext uri="{FF2B5EF4-FFF2-40B4-BE49-F238E27FC236}">
                  <a16:creationId xmlns:a16="http://schemas.microsoft.com/office/drawing/2014/main" id="{5163ED54-9098-CC28-EDA9-FC8E2B1DC990}"/>
                </a:ext>
              </a:extLst>
            </p:cNvPr>
            <p:cNvSpPr/>
            <p:nvPr/>
          </p:nvSpPr>
          <p:spPr>
            <a:xfrm>
              <a:off x="536269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5" name="object 1545">
              <a:extLst>
                <a:ext uri="{FF2B5EF4-FFF2-40B4-BE49-F238E27FC236}">
                  <a16:creationId xmlns:a16="http://schemas.microsoft.com/office/drawing/2014/main" id="{AD9FC638-99FE-EA98-0C40-06F393422CF4}"/>
                </a:ext>
              </a:extLst>
            </p:cNvPr>
            <p:cNvSpPr/>
            <p:nvPr/>
          </p:nvSpPr>
          <p:spPr>
            <a:xfrm>
              <a:off x="518772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6" name="object 1546">
              <a:extLst>
                <a:ext uri="{FF2B5EF4-FFF2-40B4-BE49-F238E27FC236}">
                  <a16:creationId xmlns:a16="http://schemas.microsoft.com/office/drawing/2014/main" id="{DAB4E603-B7B8-51F3-F2BC-E82D6C309905}"/>
                </a:ext>
              </a:extLst>
            </p:cNvPr>
            <p:cNvSpPr/>
            <p:nvPr/>
          </p:nvSpPr>
          <p:spPr>
            <a:xfrm>
              <a:off x="501275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7" name="object 1547">
              <a:extLst>
                <a:ext uri="{FF2B5EF4-FFF2-40B4-BE49-F238E27FC236}">
                  <a16:creationId xmlns:a16="http://schemas.microsoft.com/office/drawing/2014/main" id="{4C740C91-5124-A013-1FA3-02A51ACFEF46}"/>
                </a:ext>
              </a:extLst>
            </p:cNvPr>
            <p:cNvSpPr/>
            <p:nvPr/>
          </p:nvSpPr>
          <p:spPr>
            <a:xfrm>
              <a:off x="5012759" y="49321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8" name="object 1548">
              <a:extLst>
                <a:ext uri="{FF2B5EF4-FFF2-40B4-BE49-F238E27FC236}">
                  <a16:creationId xmlns:a16="http://schemas.microsoft.com/office/drawing/2014/main" id="{EC305790-983F-DBD5-4620-AF6ECB0997D0}"/>
                </a:ext>
              </a:extLst>
            </p:cNvPr>
            <p:cNvSpPr/>
            <p:nvPr/>
          </p:nvSpPr>
          <p:spPr>
            <a:xfrm>
              <a:off x="5012877" y="4906670"/>
              <a:ext cx="978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1290"/>
                <a:gd name="f4" fmla="val 84454"/>
                <a:gd name="f5" fmla="val 161220"/>
                <a:gd name="f6" fmla="val 84133"/>
                <a:gd name="f7" fmla="*/ f0 1 161290"/>
                <a:gd name="f8" fmla="*/ f1 1 84454"/>
                <a:gd name="f9" fmla="+- f4 0 f2"/>
                <a:gd name="f10" fmla="+- f3 0 f2"/>
                <a:gd name="f11" fmla="*/ f10 1 161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1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9" name="object 1549">
              <a:extLst>
                <a:ext uri="{FF2B5EF4-FFF2-40B4-BE49-F238E27FC236}">
                  <a16:creationId xmlns:a16="http://schemas.microsoft.com/office/drawing/2014/main" id="{42F94C12-A86D-3E1A-E9CD-379F5B4FE237}"/>
                </a:ext>
              </a:extLst>
            </p:cNvPr>
            <p:cNvSpPr/>
            <p:nvPr/>
          </p:nvSpPr>
          <p:spPr>
            <a:xfrm>
              <a:off x="5362352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0" name="object 1550">
              <a:extLst>
                <a:ext uri="{FF2B5EF4-FFF2-40B4-BE49-F238E27FC236}">
                  <a16:creationId xmlns:a16="http://schemas.microsoft.com/office/drawing/2014/main" id="{E1EC77C3-333B-CEC2-27B5-712C7A688841}"/>
                </a:ext>
              </a:extLst>
            </p:cNvPr>
            <p:cNvSpPr/>
            <p:nvPr/>
          </p:nvSpPr>
          <p:spPr>
            <a:xfrm>
              <a:off x="5187382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1" name="object 1551">
              <a:extLst>
                <a:ext uri="{FF2B5EF4-FFF2-40B4-BE49-F238E27FC236}">
                  <a16:creationId xmlns:a16="http://schemas.microsoft.com/office/drawing/2014/main" id="{7961DA3B-F76E-4B5C-E98F-633C546AE93D}"/>
                </a:ext>
              </a:extLst>
            </p:cNvPr>
            <p:cNvSpPr/>
            <p:nvPr/>
          </p:nvSpPr>
          <p:spPr>
            <a:xfrm>
              <a:off x="501241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2" name="object 1552">
              <a:extLst>
                <a:ext uri="{FF2B5EF4-FFF2-40B4-BE49-F238E27FC236}">
                  <a16:creationId xmlns:a16="http://schemas.microsoft.com/office/drawing/2014/main" id="{20A269DF-48F4-BCE8-ACAF-9583292ABE06}"/>
                </a:ext>
              </a:extLst>
            </p:cNvPr>
            <p:cNvSpPr/>
            <p:nvPr/>
          </p:nvSpPr>
          <p:spPr>
            <a:xfrm>
              <a:off x="5187382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3" name="object 1553">
              <a:extLst>
                <a:ext uri="{FF2B5EF4-FFF2-40B4-BE49-F238E27FC236}">
                  <a16:creationId xmlns:a16="http://schemas.microsoft.com/office/drawing/2014/main" id="{FBEA677E-26AE-8C75-267F-00759EF0F58B}"/>
                </a:ext>
              </a:extLst>
            </p:cNvPr>
            <p:cNvSpPr/>
            <p:nvPr/>
          </p:nvSpPr>
          <p:spPr>
            <a:xfrm>
              <a:off x="5292309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4" name="object 1554">
              <a:extLst>
                <a:ext uri="{FF2B5EF4-FFF2-40B4-BE49-F238E27FC236}">
                  <a16:creationId xmlns:a16="http://schemas.microsoft.com/office/drawing/2014/main" id="{31AE1C57-4F4B-9C5B-54B7-685C25597F3B}"/>
                </a:ext>
              </a:extLst>
            </p:cNvPr>
            <p:cNvSpPr/>
            <p:nvPr/>
          </p:nvSpPr>
          <p:spPr>
            <a:xfrm>
              <a:off x="532733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5" name="object 1555">
              <a:extLst>
                <a:ext uri="{FF2B5EF4-FFF2-40B4-BE49-F238E27FC236}">
                  <a16:creationId xmlns:a16="http://schemas.microsoft.com/office/drawing/2014/main" id="{9E20283D-E893-7ABD-3F8D-FB61810844E8}"/>
                </a:ext>
              </a:extLst>
            </p:cNvPr>
            <p:cNvSpPr/>
            <p:nvPr/>
          </p:nvSpPr>
          <p:spPr>
            <a:xfrm>
              <a:off x="5222266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6" name="object 1556">
              <a:extLst>
                <a:ext uri="{FF2B5EF4-FFF2-40B4-BE49-F238E27FC236}">
                  <a16:creationId xmlns:a16="http://schemas.microsoft.com/office/drawing/2014/main" id="{21617F5C-5303-7B31-8DC7-0534EBDEB6A6}"/>
                </a:ext>
              </a:extLst>
            </p:cNvPr>
            <p:cNvSpPr/>
            <p:nvPr/>
          </p:nvSpPr>
          <p:spPr>
            <a:xfrm>
              <a:off x="5117201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7" name="object 1557">
              <a:extLst>
                <a:ext uri="{FF2B5EF4-FFF2-40B4-BE49-F238E27FC236}">
                  <a16:creationId xmlns:a16="http://schemas.microsoft.com/office/drawing/2014/main" id="{9EB60C0C-8396-73AB-0585-19ADC4A72C28}"/>
                </a:ext>
              </a:extLst>
            </p:cNvPr>
            <p:cNvSpPr/>
            <p:nvPr/>
          </p:nvSpPr>
          <p:spPr>
            <a:xfrm>
              <a:off x="5152296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8" name="object 1558">
              <a:extLst>
                <a:ext uri="{FF2B5EF4-FFF2-40B4-BE49-F238E27FC236}">
                  <a16:creationId xmlns:a16="http://schemas.microsoft.com/office/drawing/2014/main" id="{74E57FD1-9040-7F2F-6923-ECA55BD1E770}"/>
                </a:ext>
              </a:extLst>
            </p:cNvPr>
            <p:cNvSpPr/>
            <p:nvPr/>
          </p:nvSpPr>
          <p:spPr>
            <a:xfrm>
              <a:off x="5047158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9" name="object 1559">
              <a:extLst>
                <a:ext uri="{FF2B5EF4-FFF2-40B4-BE49-F238E27FC236}">
                  <a16:creationId xmlns:a16="http://schemas.microsoft.com/office/drawing/2014/main" id="{0F02EBB5-C1C2-B2A6-61B9-9FB99BEC3B4A}"/>
                </a:ext>
              </a:extLst>
            </p:cNvPr>
            <p:cNvSpPr/>
            <p:nvPr/>
          </p:nvSpPr>
          <p:spPr>
            <a:xfrm>
              <a:off x="5257287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0" name="object 1560">
              <a:extLst>
                <a:ext uri="{FF2B5EF4-FFF2-40B4-BE49-F238E27FC236}">
                  <a16:creationId xmlns:a16="http://schemas.microsoft.com/office/drawing/2014/main" id="{04A2A277-953E-0EBC-54AE-4B2022D8CD13}"/>
                </a:ext>
              </a:extLst>
            </p:cNvPr>
            <p:cNvSpPr/>
            <p:nvPr/>
          </p:nvSpPr>
          <p:spPr>
            <a:xfrm>
              <a:off x="508218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1" name="object 1561">
              <a:extLst>
                <a:ext uri="{FF2B5EF4-FFF2-40B4-BE49-F238E27FC236}">
                  <a16:creationId xmlns:a16="http://schemas.microsoft.com/office/drawing/2014/main" id="{57E0717E-F7B1-007E-B2D0-382C80D05E59}"/>
                </a:ext>
              </a:extLst>
            </p:cNvPr>
            <p:cNvSpPr/>
            <p:nvPr/>
          </p:nvSpPr>
          <p:spPr>
            <a:xfrm>
              <a:off x="5012411" y="50044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62" name="object 1562">
            <a:extLst>
              <a:ext uri="{FF2B5EF4-FFF2-40B4-BE49-F238E27FC236}">
                <a16:creationId xmlns:a16="http://schemas.microsoft.com/office/drawing/2014/main" id="{F492B25F-D407-E92F-D149-C0C71142553A}"/>
              </a:ext>
            </a:extLst>
          </p:cNvPr>
          <p:cNvGrpSpPr/>
          <p:nvPr/>
        </p:nvGrpSpPr>
        <p:grpSpPr>
          <a:xfrm>
            <a:off x="5012411" y="5668868"/>
            <a:ext cx="350371" cy="123507"/>
            <a:chOff x="5012411" y="5668868"/>
            <a:chExt cx="350371" cy="123507"/>
          </a:xfrm>
        </p:grpSpPr>
        <p:sp>
          <p:nvSpPr>
            <p:cNvPr id="1563" name="object 1563">
              <a:extLst>
                <a:ext uri="{FF2B5EF4-FFF2-40B4-BE49-F238E27FC236}">
                  <a16:creationId xmlns:a16="http://schemas.microsoft.com/office/drawing/2014/main" id="{90EB78D4-EBEE-E619-ACF4-11D779CB337E}"/>
                </a:ext>
              </a:extLst>
            </p:cNvPr>
            <p:cNvSpPr/>
            <p:nvPr/>
          </p:nvSpPr>
          <p:spPr>
            <a:xfrm>
              <a:off x="5292656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4" name="object 1564">
              <a:extLst>
                <a:ext uri="{FF2B5EF4-FFF2-40B4-BE49-F238E27FC236}">
                  <a16:creationId xmlns:a16="http://schemas.microsoft.com/office/drawing/2014/main" id="{1329F75E-4EBF-291C-46E9-BFF272D3A178}"/>
                </a:ext>
              </a:extLst>
            </p:cNvPr>
            <p:cNvSpPr/>
            <p:nvPr/>
          </p:nvSpPr>
          <p:spPr>
            <a:xfrm>
              <a:off x="5327678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5" name="object 1565">
              <a:extLst>
                <a:ext uri="{FF2B5EF4-FFF2-40B4-BE49-F238E27FC236}">
                  <a16:creationId xmlns:a16="http://schemas.microsoft.com/office/drawing/2014/main" id="{E1568E87-ED42-9332-2BA8-340057A3246C}"/>
                </a:ext>
              </a:extLst>
            </p:cNvPr>
            <p:cNvSpPr/>
            <p:nvPr/>
          </p:nvSpPr>
          <p:spPr>
            <a:xfrm>
              <a:off x="5222613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6" name="object 1566">
              <a:extLst>
                <a:ext uri="{FF2B5EF4-FFF2-40B4-BE49-F238E27FC236}">
                  <a16:creationId xmlns:a16="http://schemas.microsoft.com/office/drawing/2014/main" id="{980595C6-324E-069E-D26C-048ABAF39A4D}"/>
                </a:ext>
              </a:extLst>
            </p:cNvPr>
            <p:cNvSpPr/>
            <p:nvPr/>
          </p:nvSpPr>
          <p:spPr>
            <a:xfrm>
              <a:off x="5117549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7" name="object 1567">
              <a:extLst>
                <a:ext uri="{FF2B5EF4-FFF2-40B4-BE49-F238E27FC236}">
                  <a16:creationId xmlns:a16="http://schemas.microsoft.com/office/drawing/2014/main" id="{F0FCCB4E-11C8-4E44-FE74-83A31152E8FD}"/>
                </a:ext>
              </a:extLst>
            </p:cNvPr>
            <p:cNvSpPr/>
            <p:nvPr/>
          </p:nvSpPr>
          <p:spPr>
            <a:xfrm>
              <a:off x="5152634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8" name="object 1568">
              <a:extLst>
                <a:ext uri="{FF2B5EF4-FFF2-40B4-BE49-F238E27FC236}">
                  <a16:creationId xmlns:a16="http://schemas.microsoft.com/office/drawing/2014/main" id="{850B1820-A9E9-D6F7-DD7B-DEFEAFB7DE3C}"/>
                </a:ext>
              </a:extLst>
            </p:cNvPr>
            <p:cNvSpPr/>
            <p:nvPr/>
          </p:nvSpPr>
          <p:spPr>
            <a:xfrm>
              <a:off x="5047506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9" name="object 1569">
              <a:extLst>
                <a:ext uri="{FF2B5EF4-FFF2-40B4-BE49-F238E27FC236}">
                  <a16:creationId xmlns:a16="http://schemas.microsoft.com/office/drawing/2014/main" id="{64F5E713-5F66-7FAE-2244-60EC037680C1}"/>
                </a:ext>
              </a:extLst>
            </p:cNvPr>
            <p:cNvSpPr/>
            <p:nvPr/>
          </p:nvSpPr>
          <p:spPr>
            <a:xfrm>
              <a:off x="5257635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0" name="object 1570">
              <a:extLst>
                <a:ext uri="{FF2B5EF4-FFF2-40B4-BE49-F238E27FC236}">
                  <a16:creationId xmlns:a16="http://schemas.microsoft.com/office/drawing/2014/main" id="{6B3D7BAF-1652-B7CC-D07C-AEEC9AEBD08D}"/>
                </a:ext>
              </a:extLst>
            </p:cNvPr>
            <p:cNvSpPr/>
            <p:nvPr/>
          </p:nvSpPr>
          <p:spPr>
            <a:xfrm>
              <a:off x="5082527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1" name="object 1571">
              <a:extLst>
                <a:ext uri="{FF2B5EF4-FFF2-40B4-BE49-F238E27FC236}">
                  <a16:creationId xmlns:a16="http://schemas.microsoft.com/office/drawing/2014/main" id="{7C9339F9-79E1-AAE1-D990-EB24E3604A40}"/>
                </a:ext>
              </a:extLst>
            </p:cNvPr>
            <p:cNvSpPr/>
            <p:nvPr/>
          </p:nvSpPr>
          <p:spPr>
            <a:xfrm>
              <a:off x="5362699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2" name="object 1572">
              <a:extLst>
                <a:ext uri="{FF2B5EF4-FFF2-40B4-BE49-F238E27FC236}">
                  <a16:creationId xmlns:a16="http://schemas.microsoft.com/office/drawing/2014/main" id="{FD3588EA-0FC6-A813-2E2E-E6BA7D210AAF}"/>
                </a:ext>
              </a:extLst>
            </p:cNvPr>
            <p:cNvSpPr/>
            <p:nvPr/>
          </p:nvSpPr>
          <p:spPr>
            <a:xfrm>
              <a:off x="5187729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3" name="object 1573">
              <a:extLst>
                <a:ext uri="{FF2B5EF4-FFF2-40B4-BE49-F238E27FC236}">
                  <a16:creationId xmlns:a16="http://schemas.microsoft.com/office/drawing/2014/main" id="{FBD088F7-BFE0-D061-C4BC-ADC5A97D874A}"/>
                </a:ext>
              </a:extLst>
            </p:cNvPr>
            <p:cNvSpPr/>
            <p:nvPr/>
          </p:nvSpPr>
          <p:spPr>
            <a:xfrm>
              <a:off x="5012759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4" name="object 1574">
              <a:extLst>
                <a:ext uri="{FF2B5EF4-FFF2-40B4-BE49-F238E27FC236}">
                  <a16:creationId xmlns:a16="http://schemas.microsoft.com/office/drawing/2014/main" id="{5459AAF6-263A-9E9D-167F-3423F43AA9F5}"/>
                </a:ext>
              </a:extLst>
            </p:cNvPr>
            <p:cNvSpPr/>
            <p:nvPr/>
          </p:nvSpPr>
          <p:spPr>
            <a:xfrm>
              <a:off x="5012759" y="569437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5" name="object 1575">
              <a:extLst>
                <a:ext uri="{FF2B5EF4-FFF2-40B4-BE49-F238E27FC236}">
                  <a16:creationId xmlns:a16="http://schemas.microsoft.com/office/drawing/2014/main" id="{E3C6D04E-F6FB-AD53-A798-29A31B3D177A}"/>
                </a:ext>
              </a:extLst>
            </p:cNvPr>
            <p:cNvSpPr/>
            <p:nvPr/>
          </p:nvSpPr>
          <p:spPr>
            <a:xfrm>
              <a:off x="5012877" y="5668868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4"/>
                <a:gd name="f5" fmla="val 241751"/>
                <a:gd name="f6" fmla="val 84123"/>
                <a:gd name="f7" fmla="*/ f0 1 241934"/>
                <a:gd name="f8" fmla="*/ f1 1 84454"/>
                <a:gd name="f9" fmla="+- f4 0 f2"/>
                <a:gd name="f10" fmla="+- f3 0 f2"/>
                <a:gd name="f11" fmla="*/ f10 1 2419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6" name="object 1576">
              <a:extLst>
                <a:ext uri="{FF2B5EF4-FFF2-40B4-BE49-F238E27FC236}">
                  <a16:creationId xmlns:a16="http://schemas.microsoft.com/office/drawing/2014/main" id="{4BA2A77B-702A-652A-0409-CE3D566C72BE}"/>
                </a:ext>
              </a:extLst>
            </p:cNvPr>
            <p:cNvSpPr/>
            <p:nvPr/>
          </p:nvSpPr>
          <p:spPr>
            <a:xfrm>
              <a:off x="5362352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7" name="object 1577">
              <a:extLst>
                <a:ext uri="{FF2B5EF4-FFF2-40B4-BE49-F238E27FC236}">
                  <a16:creationId xmlns:a16="http://schemas.microsoft.com/office/drawing/2014/main" id="{DCA6D4E4-A852-056E-E3E1-A4537DB5F7F1}"/>
                </a:ext>
              </a:extLst>
            </p:cNvPr>
            <p:cNvSpPr/>
            <p:nvPr/>
          </p:nvSpPr>
          <p:spPr>
            <a:xfrm>
              <a:off x="5187382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8" name="object 1578">
              <a:extLst>
                <a:ext uri="{FF2B5EF4-FFF2-40B4-BE49-F238E27FC236}">
                  <a16:creationId xmlns:a16="http://schemas.microsoft.com/office/drawing/2014/main" id="{8A581607-2799-303A-BD0A-26FF1DA40184}"/>
                </a:ext>
              </a:extLst>
            </p:cNvPr>
            <p:cNvSpPr/>
            <p:nvPr/>
          </p:nvSpPr>
          <p:spPr>
            <a:xfrm>
              <a:off x="5012411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9" name="object 1579">
              <a:extLst>
                <a:ext uri="{FF2B5EF4-FFF2-40B4-BE49-F238E27FC236}">
                  <a16:creationId xmlns:a16="http://schemas.microsoft.com/office/drawing/2014/main" id="{412908FA-7527-4D34-BF96-0999EE9D40A5}"/>
                </a:ext>
              </a:extLst>
            </p:cNvPr>
            <p:cNvSpPr/>
            <p:nvPr/>
          </p:nvSpPr>
          <p:spPr>
            <a:xfrm>
              <a:off x="5187382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0" name="object 1580">
              <a:extLst>
                <a:ext uri="{FF2B5EF4-FFF2-40B4-BE49-F238E27FC236}">
                  <a16:creationId xmlns:a16="http://schemas.microsoft.com/office/drawing/2014/main" id="{6E475061-295A-F2C1-AC39-F369AE736D48}"/>
                </a:ext>
              </a:extLst>
            </p:cNvPr>
            <p:cNvSpPr/>
            <p:nvPr/>
          </p:nvSpPr>
          <p:spPr>
            <a:xfrm>
              <a:off x="5292309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1" name="object 1581">
              <a:extLst>
                <a:ext uri="{FF2B5EF4-FFF2-40B4-BE49-F238E27FC236}">
                  <a16:creationId xmlns:a16="http://schemas.microsoft.com/office/drawing/2014/main" id="{9D63029E-636C-4ED2-6746-37FAE4130AAA}"/>
                </a:ext>
              </a:extLst>
            </p:cNvPr>
            <p:cNvSpPr/>
            <p:nvPr/>
          </p:nvSpPr>
          <p:spPr>
            <a:xfrm>
              <a:off x="532733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2" name="object 1582">
              <a:extLst>
                <a:ext uri="{FF2B5EF4-FFF2-40B4-BE49-F238E27FC236}">
                  <a16:creationId xmlns:a16="http://schemas.microsoft.com/office/drawing/2014/main" id="{1B3D9369-BFD5-E66F-9329-E992A525D9FA}"/>
                </a:ext>
              </a:extLst>
            </p:cNvPr>
            <p:cNvSpPr/>
            <p:nvPr/>
          </p:nvSpPr>
          <p:spPr>
            <a:xfrm>
              <a:off x="5222266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3" name="object 1583">
              <a:extLst>
                <a:ext uri="{FF2B5EF4-FFF2-40B4-BE49-F238E27FC236}">
                  <a16:creationId xmlns:a16="http://schemas.microsoft.com/office/drawing/2014/main" id="{528EC27F-E629-D220-69B0-8AB025A27945}"/>
                </a:ext>
              </a:extLst>
            </p:cNvPr>
            <p:cNvSpPr/>
            <p:nvPr/>
          </p:nvSpPr>
          <p:spPr>
            <a:xfrm>
              <a:off x="5117201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4" name="object 1584">
              <a:extLst>
                <a:ext uri="{FF2B5EF4-FFF2-40B4-BE49-F238E27FC236}">
                  <a16:creationId xmlns:a16="http://schemas.microsoft.com/office/drawing/2014/main" id="{A1C326ED-2DA8-00F3-CD5E-958BD32008EF}"/>
                </a:ext>
              </a:extLst>
            </p:cNvPr>
            <p:cNvSpPr/>
            <p:nvPr/>
          </p:nvSpPr>
          <p:spPr>
            <a:xfrm>
              <a:off x="5152296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5" name="object 1585">
              <a:extLst>
                <a:ext uri="{FF2B5EF4-FFF2-40B4-BE49-F238E27FC236}">
                  <a16:creationId xmlns:a16="http://schemas.microsoft.com/office/drawing/2014/main" id="{EB6A9196-6482-AB00-7F0B-3F0E5F8FB249}"/>
                </a:ext>
              </a:extLst>
            </p:cNvPr>
            <p:cNvSpPr/>
            <p:nvPr/>
          </p:nvSpPr>
          <p:spPr>
            <a:xfrm>
              <a:off x="5047158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6" name="object 1586">
              <a:extLst>
                <a:ext uri="{FF2B5EF4-FFF2-40B4-BE49-F238E27FC236}">
                  <a16:creationId xmlns:a16="http://schemas.microsoft.com/office/drawing/2014/main" id="{92A51668-60E0-1687-3D14-FBE868BB753C}"/>
                </a:ext>
              </a:extLst>
            </p:cNvPr>
            <p:cNvSpPr/>
            <p:nvPr/>
          </p:nvSpPr>
          <p:spPr>
            <a:xfrm>
              <a:off x="5257287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7" name="object 1587">
              <a:extLst>
                <a:ext uri="{FF2B5EF4-FFF2-40B4-BE49-F238E27FC236}">
                  <a16:creationId xmlns:a16="http://schemas.microsoft.com/office/drawing/2014/main" id="{DF75EF74-E1BA-1693-B7FD-544AFDACC8E9}"/>
                </a:ext>
              </a:extLst>
            </p:cNvPr>
            <p:cNvSpPr/>
            <p:nvPr/>
          </p:nvSpPr>
          <p:spPr>
            <a:xfrm>
              <a:off x="508218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8" name="object 1588">
              <a:extLst>
                <a:ext uri="{FF2B5EF4-FFF2-40B4-BE49-F238E27FC236}">
                  <a16:creationId xmlns:a16="http://schemas.microsoft.com/office/drawing/2014/main" id="{571F2082-D00D-11D2-F8F8-F73594C2F81B}"/>
                </a:ext>
              </a:extLst>
            </p:cNvPr>
            <p:cNvSpPr/>
            <p:nvPr/>
          </p:nvSpPr>
          <p:spPr>
            <a:xfrm>
              <a:off x="5012411" y="57666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89" name="object 1589">
            <a:extLst>
              <a:ext uri="{FF2B5EF4-FFF2-40B4-BE49-F238E27FC236}">
                <a16:creationId xmlns:a16="http://schemas.microsoft.com/office/drawing/2014/main" id="{42725232-3E02-F740-AC77-AFD60BE55117}"/>
              </a:ext>
            </a:extLst>
          </p:cNvPr>
          <p:cNvGrpSpPr/>
          <p:nvPr/>
        </p:nvGrpSpPr>
        <p:grpSpPr>
          <a:xfrm>
            <a:off x="5012411" y="6432932"/>
            <a:ext cx="350371" cy="123507"/>
            <a:chOff x="5012411" y="6432932"/>
            <a:chExt cx="350371" cy="123507"/>
          </a:xfrm>
        </p:grpSpPr>
        <p:sp>
          <p:nvSpPr>
            <p:cNvPr id="1590" name="object 1590">
              <a:extLst>
                <a:ext uri="{FF2B5EF4-FFF2-40B4-BE49-F238E27FC236}">
                  <a16:creationId xmlns:a16="http://schemas.microsoft.com/office/drawing/2014/main" id="{E9EC1AC3-6212-ADDC-C294-F0B8AB243EE6}"/>
                </a:ext>
              </a:extLst>
            </p:cNvPr>
            <p:cNvSpPr/>
            <p:nvPr/>
          </p:nvSpPr>
          <p:spPr>
            <a:xfrm>
              <a:off x="5292656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1" name="object 1591">
              <a:extLst>
                <a:ext uri="{FF2B5EF4-FFF2-40B4-BE49-F238E27FC236}">
                  <a16:creationId xmlns:a16="http://schemas.microsoft.com/office/drawing/2014/main" id="{CD1C6F0A-4362-A1E8-9A0E-AF4E5AE7CCEA}"/>
                </a:ext>
              </a:extLst>
            </p:cNvPr>
            <p:cNvSpPr/>
            <p:nvPr/>
          </p:nvSpPr>
          <p:spPr>
            <a:xfrm>
              <a:off x="5327678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2" name="object 1592">
              <a:extLst>
                <a:ext uri="{FF2B5EF4-FFF2-40B4-BE49-F238E27FC236}">
                  <a16:creationId xmlns:a16="http://schemas.microsoft.com/office/drawing/2014/main" id="{A9378C8A-B7D8-1C93-27F0-943E1A5EA258}"/>
                </a:ext>
              </a:extLst>
            </p:cNvPr>
            <p:cNvSpPr/>
            <p:nvPr/>
          </p:nvSpPr>
          <p:spPr>
            <a:xfrm>
              <a:off x="5222613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3" name="object 1593">
              <a:extLst>
                <a:ext uri="{FF2B5EF4-FFF2-40B4-BE49-F238E27FC236}">
                  <a16:creationId xmlns:a16="http://schemas.microsoft.com/office/drawing/2014/main" id="{9B59B520-E5AF-93A3-528D-0F51D4510E2D}"/>
                </a:ext>
              </a:extLst>
            </p:cNvPr>
            <p:cNvSpPr/>
            <p:nvPr/>
          </p:nvSpPr>
          <p:spPr>
            <a:xfrm>
              <a:off x="5117549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4" name="object 1594">
              <a:extLst>
                <a:ext uri="{FF2B5EF4-FFF2-40B4-BE49-F238E27FC236}">
                  <a16:creationId xmlns:a16="http://schemas.microsoft.com/office/drawing/2014/main" id="{6C3B20C1-6708-5663-87BE-B3370A1BA980}"/>
                </a:ext>
              </a:extLst>
            </p:cNvPr>
            <p:cNvSpPr/>
            <p:nvPr/>
          </p:nvSpPr>
          <p:spPr>
            <a:xfrm>
              <a:off x="5152634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5" name="object 1595">
              <a:extLst>
                <a:ext uri="{FF2B5EF4-FFF2-40B4-BE49-F238E27FC236}">
                  <a16:creationId xmlns:a16="http://schemas.microsoft.com/office/drawing/2014/main" id="{0DB37E8D-04D9-236A-41E8-E4E403B11A81}"/>
                </a:ext>
              </a:extLst>
            </p:cNvPr>
            <p:cNvSpPr/>
            <p:nvPr/>
          </p:nvSpPr>
          <p:spPr>
            <a:xfrm>
              <a:off x="5047506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6" name="object 1596">
              <a:extLst>
                <a:ext uri="{FF2B5EF4-FFF2-40B4-BE49-F238E27FC236}">
                  <a16:creationId xmlns:a16="http://schemas.microsoft.com/office/drawing/2014/main" id="{BD73F047-1A48-1F52-4536-C4B24538F3C9}"/>
                </a:ext>
              </a:extLst>
            </p:cNvPr>
            <p:cNvSpPr/>
            <p:nvPr/>
          </p:nvSpPr>
          <p:spPr>
            <a:xfrm>
              <a:off x="5257635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7" name="object 1597">
              <a:extLst>
                <a:ext uri="{FF2B5EF4-FFF2-40B4-BE49-F238E27FC236}">
                  <a16:creationId xmlns:a16="http://schemas.microsoft.com/office/drawing/2014/main" id="{73413824-A508-D2C6-89CA-5471952479B5}"/>
                </a:ext>
              </a:extLst>
            </p:cNvPr>
            <p:cNvSpPr/>
            <p:nvPr/>
          </p:nvSpPr>
          <p:spPr>
            <a:xfrm>
              <a:off x="5082527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8" name="object 1598">
              <a:extLst>
                <a:ext uri="{FF2B5EF4-FFF2-40B4-BE49-F238E27FC236}">
                  <a16:creationId xmlns:a16="http://schemas.microsoft.com/office/drawing/2014/main" id="{BC3151F2-7732-0ECE-8F13-CABB3DD9C6FD}"/>
                </a:ext>
              </a:extLst>
            </p:cNvPr>
            <p:cNvSpPr/>
            <p:nvPr/>
          </p:nvSpPr>
          <p:spPr>
            <a:xfrm>
              <a:off x="5362699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9" name="object 1599">
              <a:extLst>
                <a:ext uri="{FF2B5EF4-FFF2-40B4-BE49-F238E27FC236}">
                  <a16:creationId xmlns:a16="http://schemas.microsoft.com/office/drawing/2014/main" id="{507D7D68-A40F-7053-D610-C83C67191AB1}"/>
                </a:ext>
              </a:extLst>
            </p:cNvPr>
            <p:cNvSpPr/>
            <p:nvPr/>
          </p:nvSpPr>
          <p:spPr>
            <a:xfrm>
              <a:off x="5187729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0" name="object 1600">
              <a:extLst>
                <a:ext uri="{FF2B5EF4-FFF2-40B4-BE49-F238E27FC236}">
                  <a16:creationId xmlns:a16="http://schemas.microsoft.com/office/drawing/2014/main" id="{60D85EBC-A52C-14E0-3DE1-6FC0337D3B84}"/>
                </a:ext>
              </a:extLst>
            </p:cNvPr>
            <p:cNvSpPr/>
            <p:nvPr/>
          </p:nvSpPr>
          <p:spPr>
            <a:xfrm>
              <a:off x="5012759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1" name="object 1601">
              <a:extLst>
                <a:ext uri="{FF2B5EF4-FFF2-40B4-BE49-F238E27FC236}">
                  <a16:creationId xmlns:a16="http://schemas.microsoft.com/office/drawing/2014/main" id="{EAE7D725-50D8-CA69-2EF3-2C56A11E4D35}"/>
                </a:ext>
              </a:extLst>
            </p:cNvPr>
            <p:cNvSpPr/>
            <p:nvPr/>
          </p:nvSpPr>
          <p:spPr>
            <a:xfrm>
              <a:off x="5012759" y="645843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2" name="object 1602">
              <a:extLst>
                <a:ext uri="{FF2B5EF4-FFF2-40B4-BE49-F238E27FC236}">
                  <a16:creationId xmlns:a16="http://schemas.microsoft.com/office/drawing/2014/main" id="{E635789F-1296-1253-68BD-1493C2FD7887}"/>
                </a:ext>
              </a:extLst>
            </p:cNvPr>
            <p:cNvSpPr/>
            <p:nvPr/>
          </p:nvSpPr>
          <p:spPr>
            <a:xfrm>
              <a:off x="5012877" y="6432932"/>
              <a:ext cx="4158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8579"/>
                <a:gd name="f4" fmla="val 84454"/>
                <a:gd name="f5" fmla="val 68479"/>
                <a:gd name="f6" fmla="val 84123"/>
                <a:gd name="f7" fmla="*/ f0 1 68579"/>
                <a:gd name="f8" fmla="*/ f1 1 84454"/>
                <a:gd name="f9" fmla="+- f4 0 f2"/>
                <a:gd name="f10" fmla="+- f3 0 f2"/>
                <a:gd name="f11" fmla="*/ f10 1 68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8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3" name="object 1603">
              <a:extLst>
                <a:ext uri="{FF2B5EF4-FFF2-40B4-BE49-F238E27FC236}">
                  <a16:creationId xmlns:a16="http://schemas.microsoft.com/office/drawing/2014/main" id="{37CFB504-66C4-E2F6-D87B-9D302F582581}"/>
                </a:ext>
              </a:extLst>
            </p:cNvPr>
            <p:cNvSpPr/>
            <p:nvPr/>
          </p:nvSpPr>
          <p:spPr>
            <a:xfrm>
              <a:off x="5362352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4" name="object 1604">
              <a:extLst>
                <a:ext uri="{FF2B5EF4-FFF2-40B4-BE49-F238E27FC236}">
                  <a16:creationId xmlns:a16="http://schemas.microsoft.com/office/drawing/2014/main" id="{2537799F-B3C0-B576-ED78-3140D544636F}"/>
                </a:ext>
              </a:extLst>
            </p:cNvPr>
            <p:cNvSpPr/>
            <p:nvPr/>
          </p:nvSpPr>
          <p:spPr>
            <a:xfrm>
              <a:off x="5187382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5" name="object 1605">
              <a:extLst>
                <a:ext uri="{FF2B5EF4-FFF2-40B4-BE49-F238E27FC236}">
                  <a16:creationId xmlns:a16="http://schemas.microsoft.com/office/drawing/2014/main" id="{B9A36F5A-B84D-9D98-B852-F8471ADD09CD}"/>
                </a:ext>
              </a:extLst>
            </p:cNvPr>
            <p:cNvSpPr/>
            <p:nvPr/>
          </p:nvSpPr>
          <p:spPr>
            <a:xfrm>
              <a:off x="5012411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6" name="object 1606">
              <a:extLst>
                <a:ext uri="{FF2B5EF4-FFF2-40B4-BE49-F238E27FC236}">
                  <a16:creationId xmlns:a16="http://schemas.microsoft.com/office/drawing/2014/main" id="{B2C620B6-5E31-EE90-71B5-0EE308F585B9}"/>
                </a:ext>
              </a:extLst>
            </p:cNvPr>
            <p:cNvSpPr/>
            <p:nvPr/>
          </p:nvSpPr>
          <p:spPr>
            <a:xfrm>
              <a:off x="5187382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7" name="object 1607">
              <a:extLst>
                <a:ext uri="{FF2B5EF4-FFF2-40B4-BE49-F238E27FC236}">
                  <a16:creationId xmlns:a16="http://schemas.microsoft.com/office/drawing/2014/main" id="{B8520DE5-9F57-BA26-CB78-336832F47AA5}"/>
                </a:ext>
              </a:extLst>
            </p:cNvPr>
            <p:cNvSpPr/>
            <p:nvPr/>
          </p:nvSpPr>
          <p:spPr>
            <a:xfrm>
              <a:off x="5292309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8" name="object 1608">
              <a:extLst>
                <a:ext uri="{FF2B5EF4-FFF2-40B4-BE49-F238E27FC236}">
                  <a16:creationId xmlns:a16="http://schemas.microsoft.com/office/drawing/2014/main" id="{97BC0343-77B2-AB27-3EA4-BDB8898340CB}"/>
                </a:ext>
              </a:extLst>
            </p:cNvPr>
            <p:cNvSpPr/>
            <p:nvPr/>
          </p:nvSpPr>
          <p:spPr>
            <a:xfrm>
              <a:off x="532733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9" name="object 1609">
              <a:extLst>
                <a:ext uri="{FF2B5EF4-FFF2-40B4-BE49-F238E27FC236}">
                  <a16:creationId xmlns:a16="http://schemas.microsoft.com/office/drawing/2014/main" id="{A9E063D2-9F33-A351-597D-D589E88866CE}"/>
                </a:ext>
              </a:extLst>
            </p:cNvPr>
            <p:cNvSpPr/>
            <p:nvPr/>
          </p:nvSpPr>
          <p:spPr>
            <a:xfrm>
              <a:off x="5222266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0" name="object 1610">
              <a:extLst>
                <a:ext uri="{FF2B5EF4-FFF2-40B4-BE49-F238E27FC236}">
                  <a16:creationId xmlns:a16="http://schemas.microsoft.com/office/drawing/2014/main" id="{55C58E57-99C3-3E21-49C6-5A7CE0EA8C30}"/>
                </a:ext>
              </a:extLst>
            </p:cNvPr>
            <p:cNvSpPr/>
            <p:nvPr/>
          </p:nvSpPr>
          <p:spPr>
            <a:xfrm>
              <a:off x="5117201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1" name="object 1611">
              <a:extLst>
                <a:ext uri="{FF2B5EF4-FFF2-40B4-BE49-F238E27FC236}">
                  <a16:creationId xmlns:a16="http://schemas.microsoft.com/office/drawing/2014/main" id="{2C9949CE-9274-98E8-986C-E8A2109CCC09}"/>
                </a:ext>
              </a:extLst>
            </p:cNvPr>
            <p:cNvSpPr/>
            <p:nvPr/>
          </p:nvSpPr>
          <p:spPr>
            <a:xfrm>
              <a:off x="5152296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2" name="object 1612">
              <a:extLst>
                <a:ext uri="{FF2B5EF4-FFF2-40B4-BE49-F238E27FC236}">
                  <a16:creationId xmlns:a16="http://schemas.microsoft.com/office/drawing/2014/main" id="{48A003AF-B9AC-5001-D8A0-CDA6193B54CB}"/>
                </a:ext>
              </a:extLst>
            </p:cNvPr>
            <p:cNvSpPr/>
            <p:nvPr/>
          </p:nvSpPr>
          <p:spPr>
            <a:xfrm>
              <a:off x="5047158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3" name="object 1613">
              <a:extLst>
                <a:ext uri="{FF2B5EF4-FFF2-40B4-BE49-F238E27FC236}">
                  <a16:creationId xmlns:a16="http://schemas.microsoft.com/office/drawing/2014/main" id="{8DB01B87-BF26-D72E-97CA-910743C4CC5E}"/>
                </a:ext>
              </a:extLst>
            </p:cNvPr>
            <p:cNvSpPr/>
            <p:nvPr/>
          </p:nvSpPr>
          <p:spPr>
            <a:xfrm>
              <a:off x="5257287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4" name="object 1614">
              <a:extLst>
                <a:ext uri="{FF2B5EF4-FFF2-40B4-BE49-F238E27FC236}">
                  <a16:creationId xmlns:a16="http://schemas.microsoft.com/office/drawing/2014/main" id="{5D9CB63B-60A3-0C37-96C6-CCCFB3545487}"/>
                </a:ext>
              </a:extLst>
            </p:cNvPr>
            <p:cNvSpPr/>
            <p:nvPr/>
          </p:nvSpPr>
          <p:spPr>
            <a:xfrm>
              <a:off x="508218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5" name="object 1615">
              <a:extLst>
                <a:ext uri="{FF2B5EF4-FFF2-40B4-BE49-F238E27FC236}">
                  <a16:creationId xmlns:a16="http://schemas.microsoft.com/office/drawing/2014/main" id="{B910432A-A51D-CE3C-3B6E-C22A4645269B}"/>
                </a:ext>
              </a:extLst>
            </p:cNvPr>
            <p:cNvSpPr/>
            <p:nvPr/>
          </p:nvSpPr>
          <p:spPr>
            <a:xfrm>
              <a:off x="5012411" y="653073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16" name="object 1616">
            <a:extLst>
              <a:ext uri="{FF2B5EF4-FFF2-40B4-BE49-F238E27FC236}">
                <a16:creationId xmlns:a16="http://schemas.microsoft.com/office/drawing/2014/main" id="{12B00FCF-793F-5F67-5A9D-AE331157DAA0}"/>
              </a:ext>
            </a:extLst>
          </p:cNvPr>
          <p:cNvGrpSpPr/>
          <p:nvPr/>
        </p:nvGrpSpPr>
        <p:grpSpPr>
          <a:xfrm>
            <a:off x="9944676" y="3636550"/>
            <a:ext cx="346941" cy="346941"/>
            <a:chOff x="9944676" y="3636550"/>
            <a:chExt cx="346941" cy="346941"/>
          </a:xfrm>
        </p:grpSpPr>
        <p:pic>
          <p:nvPicPr>
            <p:cNvPr id="1617" name="object 1617">
              <a:extLst>
                <a:ext uri="{FF2B5EF4-FFF2-40B4-BE49-F238E27FC236}">
                  <a16:creationId xmlns:a16="http://schemas.microsoft.com/office/drawing/2014/main" id="{EC609576-380C-176A-CA43-58A9666D0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9944676" y="3636550"/>
              <a:ext cx="346694" cy="34669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18" name="object 1618">
              <a:extLst>
                <a:ext uri="{FF2B5EF4-FFF2-40B4-BE49-F238E27FC236}">
                  <a16:creationId xmlns:a16="http://schemas.microsoft.com/office/drawing/2014/main" id="{12A8001F-D54D-5E29-BCEA-DA2670DF6A3D}"/>
                </a:ext>
              </a:extLst>
            </p:cNvPr>
            <p:cNvSpPr/>
            <p:nvPr/>
          </p:nvSpPr>
          <p:spPr>
            <a:xfrm>
              <a:off x="9944676" y="3636550"/>
              <a:ext cx="346941" cy="34694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2134"/>
                <a:gd name="f4" fmla="val 285865"/>
                <a:gd name="f5" fmla="val 3741"/>
                <a:gd name="f6" fmla="val 332231"/>
                <a:gd name="f7" fmla="val 14573"/>
                <a:gd name="f8" fmla="val 376215"/>
                <a:gd name="f9" fmla="val 31907"/>
                <a:gd name="f10" fmla="val 417228"/>
                <a:gd name="f11" fmla="val 55155"/>
                <a:gd name="f12" fmla="val 454682"/>
                <a:gd name="f13" fmla="val 83727"/>
                <a:gd name="f14" fmla="val 487989"/>
                <a:gd name="f15" fmla="val 117036"/>
                <a:gd name="f16" fmla="val 516559"/>
                <a:gd name="f17" fmla="val 154493"/>
                <a:gd name="f18" fmla="val 539805"/>
                <a:gd name="f19" fmla="val 195509"/>
                <a:gd name="f20" fmla="val 557137"/>
                <a:gd name="f21" fmla="val 239496"/>
                <a:gd name="f22" fmla="val 567969"/>
                <a:gd name="f23" fmla="val 571710"/>
                <a:gd name="f24" fmla="val 376216"/>
                <a:gd name="f25" fmla="val 417230"/>
                <a:gd name="f26" fmla="val 454686"/>
                <a:gd name="f27" fmla="val 487994"/>
                <a:gd name="f28" fmla="val 516566"/>
                <a:gd name="f29" fmla="val 539813"/>
                <a:gd name="f30" fmla="val 557147"/>
                <a:gd name="f31" fmla="val 567979"/>
                <a:gd name="f32" fmla="val 571720"/>
                <a:gd name="f33" fmla="*/ f0 1 572134"/>
                <a:gd name="f34" fmla="*/ f1 1 572134"/>
                <a:gd name="f35" fmla="+- f3 0 f2"/>
                <a:gd name="f36" fmla="*/ f35 1 572134"/>
                <a:gd name="f37" fmla="*/ f2 1 f36"/>
                <a:gd name="f38" fmla="*/ f3 1 f36"/>
                <a:gd name="f39" fmla="*/ f37 f33 1"/>
                <a:gd name="f40" fmla="*/ f38 f33 1"/>
                <a:gd name="f41" fmla="*/ f38 f34 1"/>
                <a:gd name="f42" fmla="*/ f37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9" t="f42" r="f40" b="f41"/>
              <a:pathLst>
                <a:path w="572134" h="572134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4" y="f23"/>
                  </a:lnTo>
                  <a:lnTo>
                    <a:pt x="f6" y="f22"/>
                  </a:lnTo>
                  <a:lnTo>
                    <a:pt x="f24" y="f20"/>
                  </a:lnTo>
                  <a:lnTo>
                    <a:pt x="f25" y="f18"/>
                  </a:lnTo>
                  <a:lnTo>
                    <a:pt x="f26" y="f16"/>
                  </a:lnTo>
                  <a:lnTo>
                    <a:pt x="f27" y="f14"/>
                  </a:lnTo>
                  <a:lnTo>
                    <a:pt x="f28" y="f12"/>
                  </a:lnTo>
                  <a:lnTo>
                    <a:pt x="f29" y="f10"/>
                  </a:lnTo>
                  <a:lnTo>
                    <a:pt x="f30" y="f8"/>
                  </a:lnTo>
                  <a:lnTo>
                    <a:pt x="f31" y="f6"/>
                  </a:lnTo>
                  <a:lnTo>
                    <a:pt x="f32" y="f4"/>
                  </a:lnTo>
                  <a:lnTo>
                    <a:pt x="f31" y="f21"/>
                  </a:lnTo>
                  <a:lnTo>
                    <a:pt x="f30" y="f19"/>
                  </a:lnTo>
                  <a:lnTo>
                    <a:pt x="f29" y="f17"/>
                  </a:lnTo>
                  <a:lnTo>
                    <a:pt x="f28" y="f15"/>
                  </a:lnTo>
                  <a:lnTo>
                    <a:pt x="f27" y="f13"/>
                  </a:lnTo>
                  <a:lnTo>
                    <a:pt x="f26" y="f11"/>
                  </a:lnTo>
                  <a:lnTo>
                    <a:pt x="f25" y="f9"/>
                  </a:lnTo>
                  <a:lnTo>
                    <a:pt x="f24" y="f7"/>
                  </a:lnTo>
                  <a:lnTo>
                    <a:pt x="f6" y="f5"/>
                  </a:lnTo>
                  <a:lnTo>
                    <a:pt x="f4" y="f2"/>
                  </a:lnTo>
                  <a:lnTo>
                    <a:pt x="f21" y="f5"/>
                  </a:lnTo>
                  <a:lnTo>
                    <a:pt x="f19" y="f7"/>
                  </a:lnTo>
                  <a:lnTo>
                    <a:pt x="f17" y="f9"/>
                  </a:lnTo>
                  <a:lnTo>
                    <a:pt x="f15" y="f11"/>
                  </a:lnTo>
                  <a:lnTo>
                    <a:pt x="f13" y="f13"/>
                  </a:lnTo>
                  <a:lnTo>
                    <a:pt x="f11" y="f15"/>
                  </a:lnTo>
                  <a:lnTo>
                    <a:pt x="f9" y="f17"/>
                  </a:lnTo>
                  <a:lnTo>
                    <a:pt x="f7" y="f19"/>
                  </a:lnTo>
                  <a:lnTo>
                    <a:pt x="f5" y="f21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19" name="object 1619">
            <a:extLst>
              <a:ext uri="{FF2B5EF4-FFF2-40B4-BE49-F238E27FC236}">
                <a16:creationId xmlns:a16="http://schemas.microsoft.com/office/drawing/2014/main" id="{EC3523F8-B328-956F-AC63-F0CAD1AF3B75}"/>
              </a:ext>
            </a:extLst>
          </p:cNvPr>
          <p:cNvGrpSpPr/>
          <p:nvPr/>
        </p:nvGrpSpPr>
        <p:grpSpPr>
          <a:xfrm>
            <a:off x="5833817" y="3633295"/>
            <a:ext cx="351175" cy="351175"/>
            <a:chOff x="5833817" y="3633295"/>
            <a:chExt cx="351175" cy="351175"/>
          </a:xfrm>
        </p:grpSpPr>
        <p:pic>
          <p:nvPicPr>
            <p:cNvPr id="1620" name="object 1620">
              <a:extLst>
                <a:ext uri="{FF2B5EF4-FFF2-40B4-BE49-F238E27FC236}">
                  <a16:creationId xmlns:a16="http://schemas.microsoft.com/office/drawing/2014/main" id="{7B0F0CBB-D375-91E8-0FC1-11B7E89DFF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5833817" y="3633295"/>
              <a:ext cx="351083" cy="35110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21" name="object 1621">
              <a:extLst>
                <a:ext uri="{FF2B5EF4-FFF2-40B4-BE49-F238E27FC236}">
                  <a16:creationId xmlns:a16="http://schemas.microsoft.com/office/drawing/2014/main" id="{4FFABD7A-A6C9-9884-295C-7B1ED62B2954}"/>
                </a:ext>
              </a:extLst>
            </p:cNvPr>
            <p:cNvSpPr/>
            <p:nvPr/>
          </p:nvSpPr>
          <p:spPr>
            <a:xfrm>
              <a:off x="5833817" y="3633295"/>
              <a:ext cx="351175" cy="35117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9120"/>
                <a:gd name="f4" fmla="val 289488"/>
                <a:gd name="f5" fmla="val 3788"/>
                <a:gd name="f6" fmla="val 336445"/>
                <a:gd name="f7" fmla="val 14757"/>
                <a:gd name="f8" fmla="val 380989"/>
                <a:gd name="f9" fmla="val 32309"/>
                <a:gd name="f10" fmla="val 422525"/>
                <a:gd name="f11" fmla="val 55850"/>
                <a:gd name="f12" fmla="val 460456"/>
                <a:gd name="f13" fmla="val 84782"/>
                <a:gd name="f14" fmla="val 494187"/>
                <a:gd name="f15" fmla="val 118511"/>
                <a:gd name="f16" fmla="val 523122"/>
                <a:gd name="f17" fmla="val 156440"/>
                <a:gd name="f18" fmla="val 546664"/>
                <a:gd name="f19" fmla="val 197973"/>
                <a:gd name="f20" fmla="val 564218"/>
                <a:gd name="f21" fmla="val 242514"/>
                <a:gd name="f22" fmla="val 575188"/>
                <a:gd name="f23" fmla="val 289467"/>
                <a:gd name="f24" fmla="val 578977"/>
                <a:gd name="f25" fmla="val 336426"/>
                <a:gd name="f26" fmla="val 380972"/>
                <a:gd name="f27" fmla="val 422508"/>
                <a:gd name="f28" fmla="val 460440"/>
                <a:gd name="f29" fmla="val 494170"/>
                <a:gd name="f30" fmla="val 523104"/>
                <a:gd name="f31" fmla="val 546645"/>
                <a:gd name="f32" fmla="val 564198"/>
                <a:gd name="f33" fmla="val 575167"/>
                <a:gd name="f34" fmla="val 578956"/>
                <a:gd name="f35" fmla="val 242534"/>
                <a:gd name="f36" fmla="val 197991"/>
                <a:gd name="f37" fmla="val 156456"/>
                <a:gd name="f38" fmla="val 118524"/>
                <a:gd name="f39" fmla="val 84793"/>
                <a:gd name="f40" fmla="val 55857"/>
                <a:gd name="f41" fmla="val 32314"/>
                <a:gd name="f42" fmla="val 14759"/>
                <a:gd name="f43" fmla="val 3789"/>
                <a:gd name="f44" fmla="*/ f0 1 579120"/>
                <a:gd name="f45" fmla="*/ f1 1 579120"/>
                <a:gd name="f46" fmla="+- f3 0 f2"/>
                <a:gd name="f47" fmla="*/ f46 1 579120"/>
                <a:gd name="f48" fmla="*/ f2 1 f47"/>
                <a:gd name="f49" fmla="*/ f3 1 f47"/>
                <a:gd name="f50" fmla="*/ f48 f44 1"/>
                <a:gd name="f51" fmla="*/ f49 f44 1"/>
                <a:gd name="f52" fmla="*/ f49 f45 1"/>
                <a:gd name="f53" fmla="*/ f48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9120" h="579120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2"/>
                  </a:lnTo>
                  <a:lnTo>
                    <a:pt x="f26" y="f20"/>
                  </a:lnTo>
                  <a:lnTo>
                    <a:pt x="f27" y="f18"/>
                  </a:lnTo>
                  <a:lnTo>
                    <a:pt x="f28" y="f16"/>
                  </a:lnTo>
                  <a:lnTo>
                    <a:pt x="f29" y="f14"/>
                  </a:lnTo>
                  <a:lnTo>
                    <a:pt x="f30" y="f12"/>
                  </a:lnTo>
                  <a:lnTo>
                    <a:pt x="f31" y="f10"/>
                  </a:lnTo>
                  <a:lnTo>
                    <a:pt x="f32" y="f8"/>
                  </a:lnTo>
                  <a:lnTo>
                    <a:pt x="f33" y="f6"/>
                  </a:lnTo>
                  <a:lnTo>
                    <a:pt x="f34" y="f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42"/>
                  </a:lnTo>
                  <a:lnTo>
                    <a:pt x="f25" y="f43"/>
                  </a:lnTo>
                  <a:lnTo>
                    <a:pt x="f23" y="f2"/>
                  </a:lnTo>
                  <a:lnTo>
                    <a:pt x="f21" y="f43"/>
                  </a:lnTo>
                  <a:lnTo>
                    <a:pt x="f19" y="f42"/>
                  </a:lnTo>
                  <a:lnTo>
                    <a:pt x="f17" y="f41"/>
                  </a:lnTo>
                  <a:lnTo>
                    <a:pt x="f15" y="f40"/>
                  </a:lnTo>
                  <a:lnTo>
                    <a:pt x="f13" y="f39"/>
                  </a:lnTo>
                  <a:lnTo>
                    <a:pt x="f11" y="f38"/>
                  </a:lnTo>
                  <a:lnTo>
                    <a:pt x="f9" y="f37"/>
                  </a:lnTo>
                  <a:lnTo>
                    <a:pt x="f7" y="f36"/>
                  </a:lnTo>
                  <a:lnTo>
                    <a:pt x="f5" y="f35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22" name="object 1622">
            <a:extLst>
              <a:ext uri="{FF2B5EF4-FFF2-40B4-BE49-F238E27FC236}">
                <a16:creationId xmlns:a16="http://schemas.microsoft.com/office/drawing/2014/main" id="{F07CC871-3DCA-5471-F2C4-6BBD56516D7E}"/>
              </a:ext>
            </a:extLst>
          </p:cNvPr>
          <p:cNvGrpSpPr/>
          <p:nvPr/>
        </p:nvGrpSpPr>
        <p:grpSpPr>
          <a:xfrm>
            <a:off x="2545707" y="2103376"/>
            <a:ext cx="350023" cy="350023"/>
            <a:chOff x="2545707" y="2103376"/>
            <a:chExt cx="350023" cy="350023"/>
          </a:xfrm>
        </p:grpSpPr>
        <p:pic>
          <p:nvPicPr>
            <p:cNvPr id="1623" name="object 1623">
              <a:extLst>
                <a:ext uri="{FF2B5EF4-FFF2-40B4-BE49-F238E27FC236}">
                  <a16:creationId xmlns:a16="http://schemas.microsoft.com/office/drawing/2014/main" id="{FB784B68-3FF7-B0A7-2FF8-522F3F1C7E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2545707" y="2103376"/>
              <a:ext cx="349959" cy="349959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24" name="object 1624">
              <a:extLst>
                <a:ext uri="{FF2B5EF4-FFF2-40B4-BE49-F238E27FC236}">
                  <a16:creationId xmlns:a16="http://schemas.microsoft.com/office/drawing/2014/main" id="{8CA610AC-C6C3-6B9C-64DC-842778D9F722}"/>
                </a:ext>
              </a:extLst>
            </p:cNvPr>
            <p:cNvSpPr/>
            <p:nvPr/>
          </p:nvSpPr>
          <p:spPr>
            <a:xfrm>
              <a:off x="2545707" y="210337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288546"/>
                <a:gd name="f5" fmla="val 3776"/>
                <a:gd name="f6" fmla="val 335351"/>
                <a:gd name="f7" fmla="val 14710"/>
                <a:gd name="f8" fmla="val 379752"/>
                <a:gd name="f9" fmla="val 32207"/>
                <a:gd name="f10" fmla="val 421155"/>
                <a:gd name="f11" fmla="val 55674"/>
                <a:gd name="f12" fmla="val 458964"/>
                <a:gd name="f13" fmla="val 84515"/>
                <a:gd name="f14" fmla="val 492587"/>
                <a:gd name="f15" fmla="val 118138"/>
                <a:gd name="f16" fmla="val 521428"/>
                <a:gd name="f17" fmla="val 155947"/>
                <a:gd name="f18" fmla="val 544894"/>
                <a:gd name="f19" fmla="val 197349"/>
                <a:gd name="f20" fmla="val 562392"/>
                <a:gd name="f21" fmla="val 241750"/>
                <a:gd name="f22" fmla="val 573326"/>
                <a:gd name="f23" fmla="val 288556"/>
                <a:gd name="f24" fmla="val 577102"/>
                <a:gd name="f25" fmla="val 335359"/>
                <a:gd name="f26" fmla="val 379758"/>
                <a:gd name="f27" fmla="val 421158"/>
                <a:gd name="f28" fmla="val 458966"/>
                <a:gd name="f29" fmla="val 492588"/>
                <a:gd name="f30" fmla="val 521429"/>
                <a:gd name="f31" fmla="val 544895"/>
                <a:gd name="f32" fmla="val 241743"/>
                <a:gd name="f33" fmla="val 197344"/>
                <a:gd name="f34" fmla="val 155944"/>
                <a:gd name="f35" fmla="val 118135"/>
                <a:gd name="f36" fmla="val 84514"/>
                <a:gd name="f37" fmla="val 55673"/>
                <a:gd name="f38" fmla="*/ f0 1 577214"/>
                <a:gd name="f39" fmla="*/ f1 1 577214"/>
                <a:gd name="f40" fmla="+- f3 0 f2"/>
                <a:gd name="f41" fmla="*/ f40 1 577214"/>
                <a:gd name="f42" fmla="*/ f2 1 f41"/>
                <a:gd name="f43" fmla="*/ f3 1 f41"/>
                <a:gd name="f44" fmla="*/ f42 f38 1"/>
                <a:gd name="f45" fmla="*/ f43 f38 1"/>
                <a:gd name="f46" fmla="*/ f43 f39 1"/>
                <a:gd name="f47" fmla="*/ f42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4" t="f47" r="f45" b="f46"/>
              <a:pathLst>
                <a:path w="577214" h="577214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2"/>
                  </a:lnTo>
                  <a:lnTo>
                    <a:pt x="f26" y="f20"/>
                  </a:lnTo>
                  <a:lnTo>
                    <a:pt x="f27" y="f18"/>
                  </a:lnTo>
                  <a:lnTo>
                    <a:pt x="f28" y="f16"/>
                  </a:lnTo>
                  <a:lnTo>
                    <a:pt x="f29" y="f14"/>
                  </a:lnTo>
                  <a:lnTo>
                    <a:pt x="f30" y="f12"/>
                  </a:lnTo>
                  <a:lnTo>
                    <a:pt x="f31" y="f10"/>
                  </a:lnTo>
                  <a:lnTo>
                    <a:pt x="f20" y="f8"/>
                  </a:lnTo>
                  <a:lnTo>
                    <a:pt x="f22" y="f6"/>
                  </a:lnTo>
                  <a:lnTo>
                    <a:pt x="f24" y="f4"/>
                  </a:lnTo>
                  <a:lnTo>
                    <a:pt x="f22" y="f32"/>
                  </a:lnTo>
                  <a:lnTo>
                    <a:pt x="f20" y="f33"/>
                  </a:lnTo>
                  <a:lnTo>
                    <a:pt x="f31" y="f34"/>
                  </a:lnTo>
                  <a:lnTo>
                    <a:pt x="f30" y="f35"/>
                  </a:lnTo>
                  <a:lnTo>
                    <a:pt x="f29" y="f36"/>
                  </a:lnTo>
                  <a:lnTo>
                    <a:pt x="f28" y="f37"/>
                  </a:lnTo>
                  <a:lnTo>
                    <a:pt x="f27" y="f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2"/>
                  </a:lnTo>
                  <a:lnTo>
                    <a:pt x="f21" y="f5"/>
                  </a:lnTo>
                  <a:lnTo>
                    <a:pt x="f19" y="f7"/>
                  </a:lnTo>
                  <a:lnTo>
                    <a:pt x="f17" y="f9"/>
                  </a:lnTo>
                  <a:lnTo>
                    <a:pt x="f15" y="f37"/>
                  </a:lnTo>
                  <a:lnTo>
                    <a:pt x="f13" y="f36"/>
                  </a:lnTo>
                  <a:lnTo>
                    <a:pt x="f11" y="f35"/>
                  </a:lnTo>
                  <a:lnTo>
                    <a:pt x="f9" y="f34"/>
                  </a:lnTo>
                  <a:lnTo>
                    <a:pt x="f7" y="f33"/>
                  </a:lnTo>
                  <a:lnTo>
                    <a:pt x="f5" y="f32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25" name="object 1625">
            <a:extLst>
              <a:ext uri="{FF2B5EF4-FFF2-40B4-BE49-F238E27FC236}">
                <a16:creationId xmlns:a16="http://schemas.microsoft.com/office/drawing/2014/main" id="{F7CDFA86-7954-652E-A470-1DD555C58C6B}"/>
              </a:ext>
            </a:extLst>
          </p:cNvPr>
          <p:cNvGrpSpPr/>
          <p:nvPr/>
        </p:nvGrpSpPr>
        <p:grpSpPr>
          <a:xfrm>
            <a:off x="3373395" y="570082"/>
            <a:ext cx="348102" cy="348093"/>
            <a:chOff x="3373395" y="570082"/>
            <a:chExt cx="348102" cy="348093"/>
          </a:xfrm>
        </p:grpSpPr>
        <p:pic>
          <p:nvPicPr>
            <p:cNvPr id="1626" name="object 1626">
              <a:extLst>
                <a:ext uri="{FF2B5EF4-FFF2-40B4-BE49-F238E27FC236}">
                  <a16:creationId xmlns:a16="http://schemas.microsoft.com/office/drawing/2014/main" id="{41C28D14-3ECE-BAA5-D25A-116B21BA9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3373395" y="570091"/>
              <a:ext cx="348048" cy="34804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27" name="object 1627">
              <a:extLst>
                <a:ext uri="{FF2B5EF4-FFF2-40B4-BE49-F238E27FC236}">
                  <a16:creationId xmlns:a16="http://schemas.microsoft.com/office/drawing/2014/main" id="{E422ADFC-0F82-E61D-43B4-BA3535C23B5D}"/>
                </a:ext>
              </a:extLst>
            </p:cNvPr>
            <p:cNvSpPr/>
            <p:nvPr/>
          </p:nvSpPr>
          <p:spPr>
            <a:xfrm>
              <a:off x="3373404" y="570082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39"/>
                <a:gd name="f4" fmla="val 574040"/>
                <a:gd name="f5" fmla="val 286975"/>
                <a:gd name="f6" fmla="val 3755"/>
                <a:gd name="f7" fmla="val 333523"/>
                <a:gd name="f8" fmla="val 14629"/>
                <a:gd name="f9" fmla="val 377680"/>
                <a:gd name="f10" fmla="val 32030"/>
                <a:gd name="f11" fmla="val 418855"/>
                <a:gd name="f12" fmla="val 55368"/>
                <a:gd name="f13" fmla="val 456457"/>
                <a:gd name="f14" fmla="val 84051"/>
                <a:gd name="f15" fmla="val 489896"/>
                <a:gd name="f16" fmla="val 117489"/>
                <a:gd name="f17" fmla="val 518580"/>
                <a:gd name="f18" fmla="val 155091"/>
                <a:gd name="f19" fmla="val 541918"/>
                <a:gd name="f20" fmla="val 196266"/>
                <a:gd name="f21" fmla="val 559320"/>
                <a:gd name="f22" fmla="val 240425"/>
                <a:gd name="f23" fmla="val 570194"/>
                <a:gd name="f24" fmla="val 573951"/>
                <a:gd name="f25" fmla="val 333522"/>
                <a:gd name="f26" fmla="val 377679"/>
                <a:gd name="f27" fmla="val 418852"/>
                <a:gd name="f28" fmla="val 456453"/>
                <a:gd name="f29" fmla="val 489890"/>
                <a:gd name="f30" fmla="val 518573"/>
                <a:gd name="f31" fmla="val 541910"/>
                <a:gd name="f32" fmla="val 559311"/>
                <a:gd name="f33" fmla="val 570184"/>
                <a:gd name="f34" fmla="val 573940"/>
                <a:gd name="f35" fmla="val 240427"/>
                <a:gd name="f36" fmla="val 196270"/>
                <a:gd name="f37" fmla="val 155095"/>
                <a:gd name="f38" fmla="val 117493"/>
                <a:gd name="f39" fmla="val 84055"/>
                <a:gd name="f40" fmla="val 55371"/>
                <a:gd name="f41" fmla="val 32032"/>
                <a:gd name="f42" fmla="val 14630"/>
                <a:gd name="f43" fmla="val 3756"/>
                <a:gd name="f44" fmla="*/ f0 1 574039"/>
                <a:gd name="f45" fmla="*/ f1 1 574040"/>
                <a:gd name="f46" fmla="+- f4 0 f2"/>
                <a:gd name="f47" fmla="+- f3 0 f2"/>
                <a:gd name="f48" fmla="*/ f47 1 574039"/>
                <a:gd name="f49" fmla="*/ f46 1 574040"/>
                <a:gd name="f50" fmla="*/ f2 1 f48"/>
                <a:gd name="f51" fmla="*/ f3 1 f48"/>
                <a:gd name="f52" fmla="*/ f2 1 f49"/>
                <a:gd name="f53" fmla="*/ f4 1 f49"/>
                <a:gd name="f54" fmla="*/ f50 f44 1"/>
                <a:gd name="f55" fmla="*/ f51 f44 1"/>
                <a:gd name="f56" fmla="*/ f53 f45 1"/>
                <a:gd name="f57" fmla="*/ f52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4" t="f57" r="f55" b="f56"/>
              <a:pathLst>
                <a:path w="574039" h="574040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4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33" y="f7"/>
                  </a:lnTo>
                  <a:lnTo>
                    <a:pt x="f34" y="f5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42"/>
                  </a:lnTo>
                  <a:lnTo>
                    <a:pt x="f25" y="f43"/>
                  </a:lnTo>
                  <a:lnTo>
                    <a:pt x="f5" y="f2"/>
                  </a:lnTo>
                  <a:lnTo>
                    <a:pt x="f22" y="f43"/>
                  </a:lnTo>
                  <a:lnTo>
                    <a:pt x="f20" y="f42"/>
                  </a:lnTo>
                  <a:lnTo>
                    <a:pt x="f18" y="f41"/>
                  </a:lnTo>
                  <a:lnTo>
                    <a:pt x="f16" y="f40"/>
                  </a:lnTo>
                  <a:lnTo>
                    <a:pt x="f14" y="f39"/>
                  </a:lnTo>
                  <a:lnTo>
                    <a:pt x="f12" y="f38"/>
                  </a:lnTo>
                  <a:lnTo>
                    <a:pt x="f10" y="f37"/>
                  </a:lnTo>
                  <a:lnTo>
                    <a:pt x="f8" y="f36"/>
                  </a:lnTo>
                  <a:lnTo>
                    <a:pt x="f6" y="f35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28" name="object 1628">
            <a:extLst>
              <a:ext uri="{FF2B5EF4-FFF2-40B4-BE49-F238E27FC236}">
                <a16:creationId xmlns:a16="http://schemas.microsoft.com/office/drawing/2014/main" id="{219BD5BB-970D-3A5D-7C7A-546A8BCC1A3A}"/>
              </a:ext>
            </a:extLst>
          </p:cNvPr>
          <p:cNvGrpSpPr/>
          <p:nvPr/>
        </p:nvGrpSpPr>
        <p:grpSpPr>
          <a:xfrm>
            <a:off x="3373395" y="4396298"/>
            <a:ext cx="348102" cy="348093"/>
            <a:chOff x="3373395" y="4396298"/>
            <a:chExt cx="348102" cy="348093"/>
          </a:xfrm>
        </p:grpSpPr>
        <p:pic>
          <p:nvPicPr>
            <p:cNvPr id="1629" name="object 1629">
              <a:extLst>
                <a:ext uri="{FF2B5EF4-FFF2-40B4-BE49-F238E27FC236}">
                  <a16:creationId xmlns:a16="http://schemas.microsoft.com/office/drawing/2014/main" id="{E291CA0D-2208-962D-7735-5ADA932FB9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3373395" y="4396298"/>
              <a:ext cx="348048" cy="34804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30" name="object 1630">
              <a:extLst>
                <a:ext uri="{FF2B5EF4-FFF2-40B4-BE49-F238E27FC236}">
                  <a16:creationId xmlns:a16="http://schemas.microsoft.com/office/drawing/2014/main" id="{5D9E73C9-1D2D-194E-402B-0ABB8E86DA43}"/>
                </a:ext>
              </a:extLst>
            </p:cNvPr>
            <p:cNvSpPr/>
            <p:nvPr/>
          </p:nvSpPr>
          <p:spPr>
            <a:xfrm>
              <a:off x="3373404" y="4396298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39"/>
                <a:gd name="f4" fmla="val 574040"/>
                <a:gd name="f5" fmla="val 286986"/>
                <a:gd name="f6" fmla="val 3755"/>
                <a:gd name="f7" fmla="val 333533"/>
                <a:gd name="f8" fmla="val 14629"/>
                <a:gd name="f9" fmla="val 377689"/>
                <a:gd name="f10" fmla="val 32030"/>
                <a:gd name="f11" fmla="val 418863"/>
                <a:gd name="f12" fmla="val 55368"/>
                <a:gd name="f13" fmla="val 456464"/>
                <a:gd name="f14" fmla="val 84051"/>
                <a:gd name="f15" fmla="val 489901"/>
                <a:gd name="f16" fmla="val 117489"/>
                <a:gd name="f17" fmla="val 518583"/>
                <a:gd name="f18" fmla="val 155091"/>
                <a:gd name="f19" fmla="val 541920"/>
                <a:gd name="f20" fmla="val 196266"/>
                <a:gd name="f21" fmla="val 559321"/>
                <a:gd name="f22" fmla="val 240425"/>
                <a:gd name="f23" fmla="val 570195"/>
                <a:gd name="f24" fmla="val 286975"/>
                <a:gd name="f25" fmla="val 573951"/>
                <a:gd name="f26" fmla="val 333522"/>
                <a:gd name="f27" fmla="val 377679"/>
                <a:gd name="f28" fmla="val 418852"/>
                <a:gd name="f29" fmla="val 456453"/>
                <a:gd name="f30" fmla="val 489890"/>
                <a:gd name="f31" fmla="val 518573"/>
                <a:gd name="f32" fmla="val 541910"/>
                <a:gd name="f33" fmla="val 559311"/>
                <a:gd name="f34" fmla="val 570184"/>
                <a:gd name="f35" fmla="val 573940"/>
                <a:gd name="f36" fmla="val 240435"/>
                <a:gd name="f37" fmla="val 196276"/>
                <a:gd name="f38" fmla="val 155099"/>
                <a:gd name="f39" fmla="val 117495"/>
                <a:gd name="f40" fmla="val 84056"/>
                <a:gd name="f41" fmla="val 55371"/>
                <a:gd name="f42" fmla="val 32032"/>
                <a:gd name="f43" fmla="val 14630"/>
                <a:gd name="f44" fmla="val 3756"/>
                <a:gd name="f45" fmla="*/ f0 1 574039"/>
                <a:gd name="f46" fmla="*/ f1 1 574040"/>
                <a:gd name="f47" fmla="+- f4 0 f2"/>
                <a:gd name="f48" fmla="+- f3 0 f2"/>
                <a:gd name="f49" fmla="*/ f48 1 574039"/>
                <a:gd name="f50" fmla="*/ f47 1 574040"/>
                <a:gd name="f51" fmla="*/ f2 1 f49"/>
                <a:gd name="f52" fmla="*/ f3 1 f49"/>
                <a:gd name="f53" fmla="*/ f2 1 f50"/>
                <a:gd name="f54" fmla="*/ f4 1 f50"/>
                <a:gd name="f55" fmla="*/ f51 f45 1"/>
                <a:gd name="f56" fmla="*/ f52 f45 1"/>
                <a:gd name="f57" fmla="*/ f54 f46 1"/>
                <a:gd name="f58" fmla="*/ f53 f4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5" t="f58" r="f56" b="f57"/>
              <a:pathLst>
                <a:path w="574039" h="574040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3"/>
                  </a:lnTo>
                  <a:lnTo>
                    <a:pt x="f27" y="f21"/>
                  </a:lnTo>
                  <a:lnTo>
                    <a:pt x="f28" y="f19"/>
                  </a:lnTo>
                  <a:lnTo>
                    <a:pt x="f29" y="f17"/>
                  </a:lnTo>
                  <a:lnTo>
                    <a:pt x="f30" y="f15"/>
                  </a:lnTo>
                  <a:lnTo>
                    <a:pt x="f31" y="f13"/>
                  </a:lnTo>
                  <a:lnTo>
                    <a:pt x="f32" y="f11"/>
                  </a:lnTo>
                  <a:lnTo>
                    <a:pt x="f33" y="f9"/>
                  </a:lnTo>
                  <a:lnTo>
                    <a:pt x="f34" y="f7"/>
                  </a:lnTo>
                  <a:lnTo>
                    <a:pt x="f35" y="f5"/>
                  </a:lnTo>
                  <a:lnTo>
                    <a:pt x="f34" y="f36"/>
                  </a:lnTo>
                  <a:lnTo>
                    <a:pt x="f33" y="f37"/>
                  </a:lnTo>
                  <a:lnTo>
                    <a:pt x="f32" y="f38"/>
                  </a:lnTo>
                  <a:lnTo>
                    <a:pt x="f31" y="f39"/>
                  </a:lnTo>
                  <a:lnTo>
                    <a:pt x="f30" y="f40"/>
                  </a:lnTo>
                  <a:lnTo>
                    <a:pt x="f29" y="f41"/>
                  </a:lnTo>
                  <a:lnTo>
                    <a:pt x="f28" y="f42"/>
                  </a:lnTo>
                  <a:lnTo>
                    <a:pt x="f27" y="f43"/>
                  </a:lnTo>
                  <a:lnTo>
                    <a:pt x="f26" y="f44"/>
                  </a:lnTo>
                  <a:lnTo>
                    <a:pt x="f24" y="f2"/>
                  </a:lnTo>
                  <a:lnTo>
                    <a:pt x="f22" y="f44"/>
                  </a:lnTo>
                  <a:lnTo>
                    <a:pt x="f20" y="f43"/>
                  </a:lnTo>
                  <a:lnTo>
                    <a:pt x="f18" y="f42"/>
                  </a:lnTo>
                  <a:lnTo>
                    <a:pt x="f16" y="f41"/>
                  </a:lnTo>
                  <a:lnTo>
                    <a:pt x="f14" y="f40"/>
                  </a:lnTo>
                  <a:lnTo>
                    <a:pt x="f12" y="f39"/>
                  </a:lnTo>
                  <a:lnTo>
                    <a:pt x="f10" y="f38"/>
                  </a:lnTo>
                  <a:lnTo>
                    <a:pt x="f8" y="f37"/>
                  </a:lnTo>
                  <a:lnTo>
                    <a:pt x="f6" y="f36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31" name="object 1631">
            <a:extLst>
              <a:ext uri="{FF2B5EF4-FFF2-40B4-BE49-F238E27FC236}">
                <a16:creationId xmlns:a16="http://schemas.microsoft.com/office/drawing/2014/main" id="{9D306C10-3988-1026-0B79-FFD1B9816D3A}"/>
              </a:ext>
            </a:extLst>
          </p:cNvPr>
          <p:cNvGrpSpPr/>
          <p:nvPr/>
        </p:nvGrpSpPr>
        <p:grpSpPr>
          <a:xfrm>
            <a:off x="9943039" y="1317065"/>
            <a:ext cx="350032" cy="350023"/>
            <a:chOff x="9943039" y="1317065"/>
            <a:chExt cx="350032" cy="350023"/>
          </a:xfrm>
        </p:grpSpPr>
        <p:pic>
          <p:nvPicPr>
            <p:cNvPr id="1632" name="object 1632">
              <a:extLst>
                <a:ext uri="{FF2B5EF4-FFF2-40B4-BE49-F238E27FC236}">
                  <a16:creationId xmlns:a16="http://schemas.microsoft.com/office/drawing/2014/main" id="{5413BC47-EB5E-05DF-9CF3-5D9FFDA2E2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9943039" y="1317065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33" name="object 1633">
              <a:extLst>
                <a:ext uri="{FF2B5EF4-FFF2-40B4-BE49-F238E27FC236}">
                  <a16:creationId xmlns:a16="http://schemas.microsoft.com/office/drawing/2014/main" id="{25366B7D-67D9-F234-236F-4F2F1EC5BC13}"/>
                </a:ext>
              </a:extLst>
            </p:cNvPr>
            <p:cNvSpPr/>
            <p:nvPr/>
          </p:nvSpPr>
          <p:spPr>
            <a:xfrm>
              <a:off x="9943048" y="131706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34" name="object 1634">
            <a:extLst>
              <a:ext uri="{FF2B5EF4-FFF2-40B4-BE49-F238E27FC236}">
                <a16:creationId xmlns:a16="http://schemas.microsoft.com/office/drawing/2014/main" id="{9E214DEB-ED3F-99FB-08E6-F310E7ED0768}"/>
              </a:ext>
            </a:extLst>
          </p:cNvPr>
          <p:cNvGrpSpPr/>
          <p:nvPr/>
        </p:nvGrpSpPr>
        <p:grpSpPr>
          <a:xfrm>
            <a:off x="9943039" y="2100349"/>
            <a:ext cx="350032" cy="350032"/>
            <a:chOff x="9943039" y="2100349"/>
            <a:chExt cx="350032" cy="350032"/>
          </a:xfrm>
        </p:grpSpPr>
        <p:pic>
          <p:nvPicPr>
            <p:cNvPr id="1635" name="object 1635">
              <a:extLst>
                <a:ext uri="{FF2B5EF4-FFF2-40B4-BE49-F238E27FC236}">
                  <a16:creationId xmlns:a16="http://schemas.microsoft.com/office/drawing/2014/main" id="{71A4110B-FC36-4348-BBD2-478AB164E3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9943039" y="2100349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36" name="object 1636">
              <a:extLst>
                <a:ext uri="{FF2B5EF4-FFF2-40B4-BE49-F238E27FC236}">
                  <a16:creationId xmlns:a16="http://schemas.microsoft.com/office/drawing/2014/main" id="{742C8625-687A-5E08-2DCE-876E2A16FBCE}"/>
                </a:ext>
              </a:extLst>
            </p:cNvPr>
            <p:cNvSpPr/>
            <p:nvPr/>
          </p:nvSpPr>
          <p:spPr>
            <a:xfrm>
              <a:off x="9943048" y="210035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37" name="object 1637">
            <a:extLst>
              <a:ext uri="{FF2B5EF4-FFF2-40B4-BE49-F238E27FC236}">
                <a16:creationId xmlns:a16="http://schemas.microsoft.com/office/drawing/2014/main" id="{560B4378-E923-C0D4-136C-17B5C989F675}"/>
              </a:ext>
            </a:extLst>
          </p:cNvPr>
          <p:cNvGrpSpPr/>
          <p:nvPr/>
        </p:nvGrpSpPr>
        <p:grpSpPr>
          <a:xfrm>
            <a:off x="5833725" y="4392046"/>
            <a:ext cx="350023" cy="350023"/>
            <a:chOff x="5833725" y="4392046"/>
            <a:chExt cx="350023" cy="350023"/>
          </a:xfrm>
        </p:grpSpPr>
        <p:pic>
          <p:nvPicPr>
            <p:cNvPr id="1638" name="object 1638">
              <a:extLst>
                <a:ext uri="{FF2B5EF4-FFF2-40B4-BE49-F238E27FC236}">
                  <a16:creationId xmlns:a16="http://schemas.microsoft.com/office/drawing/2014/main" id="{83ACE2E8-BB62-4D62-989F-029CC4B76C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5833734" y="4392046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39" name="object 1639">
              <a:extLst>
                <a:ext uri="{FF2B5EF4-FFF2-40B4-BE49-F238E27FC236}">
                  <a16:creationId xmlns:a16="http://schemas.microsoft.com/office/drawing/2014/main" id="{D4E87292-DFC1-FAC4-2E80-2E03BC66DAC8}"/>
                </a:ext>
              </a:extLst>
            </p:cNvPr>
            <p:cNvSpPr/>
            <p:nvPr/>
          </p:nvSpPr>
          <p:spPr>
            <a:xfrm>
              <a:off x="5833725" y="439204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40" name="object 1640">
            <a:extLst>
              <a:ext uri="{FF2B5EF4-FFF2-40B4-BE49-F238E27FC236}">
                <a16:creationId xmlns:a16="http://schemas.microsoft.com/office/drawing/2014/main" id="{8983BD2D-C895-3913-801B-E844B60CF543}"/>
              </a:ext>
            </a:extLst>
          </p:cNvPr>
          <p:cNvGrpSpPr/>
          <p:nvPr/>
        </p:nvGrpSpPr>
        <p:grpSpPr>
          <a:xfrm>
            <a:off x="5830781" y="2097039"/>
            <a:ext cx="354229" cy="351055"/>
            <a:chOff x="5830781" y="2097039"/>
            <a:chExt cx="354229" cy="351055"/>
          </a:xfrm>
        </p:grpSpPr>
        <p:pic>
          <p:nvPicPr>
            <p:cNvPr id="1641" name="object 1641">
              <a:extLst>
                <a:ext uri="{FF2B5EF4-FFF2-40B4-BE49-F238E27FC236}">
                  <a16:creationId xmlns:a16="http://schemas.microsoft.com/office/drawing/2014/main" id="{88AFC902-4C14-EF3A-6662-D4073C3B2B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5830781" y="2098154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42" name="object 1642">
              <a:extLst>
                <a:ext uri="{FF2B5EF4-FFF2-40B4-BE49-F238E27FC236}">
                  <a16:creationId xmlns:a16="http://schemas.microsoft.com/office/drawing/2014/main" id="{A08C7D84-C75F-7F44-6666-9E3FC9963685}"/>
                </a:ext>
              </a:extLst>
            </p:cNvPr>
            <p:cNvSpPr/>
            <p:nvPr/>
          </p:nvSpPr>
          <p:spPr>
            <a:xfrm>
              <a:off x="5834987" y="209703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43" name="object 1643">
            <a:extLst>
              <a:ext uri="{FF2B5EF4-FFF2-40B4-BE49-F238E27FC236}">
                <a16:creationId xmlns:a16="http://schemas.microsoft.com/office/drawing/2014/main" id="{657296DE-BA52-2AD0-5F07-764BA8C9643E}"/>
              </a:ext>
            </a:extLst>
          </p:cNvPr>
          <p:cNvGrpSpPr/>
          <p:nvPr/>
        </p:nvGrpSpPr>
        <p:grpSpPr>
          <a:xfrm>
            <a:off x="5830781" y="557738"/>
            <a:ext cx="350023" cy="350032"/>
            <a:chOff x="5830781" y="557738"/>
            <a:chExt cx="350023" cy="350032"/>
          </a:xfrm>
        </p:grpSpPr>
        <p:pic>
          <p:nvPicPr>
            <p:cNvPr id="1644" name="object 1644">
              <a:extLst>
                <a:ext uri="{FF2B5EF4-FFF2-40B4-BE49-F238E27FC236}">
                  <a16:creationId xmlns:a16="http://schemas.microsoft.com/office/drawing/2014/main" id="{350E32D8-01CC-6CE0-A8EF-EEF9F289F3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5830781" y="557738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45" name="object 1645">
              <a:extLst>
                <a:ext uri="{FF2B5EF4-FFF2-40B4-BE49-F238E27FC236}">
                  <a16:creationId xmlns:a16="http://schemas.microsoft.com/office/drawing/2014/main" id="{12253FA5-F45E-B4A3-77DC-D595606ACA50}"/>
                </a:ext>
              </a:extLst>
            </p:cNvPr>
            <p:cNvSpPr/>
            <p:nvPr/>
          </p:nvSpPr>
          <p:spPr>
            <a:xfrm>
              <a:off x="5830781" y="55774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46" name="object 1646">
            <a:extLst>
              <a:ext uri="{FF2B5EF4-FFF2-40B4-BE49-F238E27FC236}">
                <a16:creationId xmlns:a16="http://schemas.microsoft.com/office/drawing/2014/main" id="{0E837E55-9DB4-A3EE-166E-B4EBAACA3975}"/>
              </a:ext>
            </a:extLst>
          </p:cNvPr>
          <p:cNvGrpSpPr/>
          <p:nvPr/>
        </p:nvGrpSpPr>
        <p:grpSpPr>
          <a:xfrm>
            <a:off x="5830781" y="2860087"/>
            <a:ext cx="354229" cy="354010"/>
            <a:chOff x="5830781" y="2860087"/>
            <a:chExt cx="354229" cy="354010"/>
          </a:xfrm>
        </p:grpSpPr>
        <p:pic>
          <p:nvPicPr>
            <p:cNvPr id="1647" name="object 1647">
              <a:extLst>
                <a:ext uri="{FF2B5EF4-FFF2-40B4-BE49-F238E27FC236}">
                  <a16:creationId xmlns:a16="http://schemas.microsoft.com/office/drawing/2014/main" id="{3C8C7BA2-596F-B1C7-ED8F-E8FCAC4BD7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5830781" y="286414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48" name="object 1648">
              <a:extLst>
                <a:ext uri="{FF2B5EF4-FFF2-40B4-BE49-F238E27FC236}">
                  <a16:creationId xmlns:a16="http://schemas.microsoft.com/office/drawing/2014/main" id="{18DED9F6-5FFA-7744-06C6-AFDF8303426A}"/>
                </a:ext>
              </a:extLst>
            </p:cNvPr>
            <p:cNvSpPr/>
            <p:nvPr/>
          </p:nvSpPr>
          <p:spPr>
            <a:xfrm>
              <a:off x="5834987" y="286008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49" name="object 1649">
            <a:extLst>
              <a:ext uri="{FF2B5EF4-FFF2-40B4-BE49-F238E27FC236}">
                <a16:creationId xmlns:a16="http://schemas.microsoft.com/office/drawing/2014/main" id="{33F87B9E-FA68-AE11-9502-55FBD0724381}"/>
              </a:ext>
            </a:extLst>
          </p:cNvPr>
          <p:cNvGrpSpPr/>
          <p:nvPr/>
        </p:nvGrpSpPr>
        <p:grpSpPr>
          <a:xfrm>
            <a:off x="5830781" y="1324837"/>
            <a:ext cx="350023" cy="350032"/>
            <a:chOff x="5830781" y="1324837"/>
            <a:chExt cx="350023" cy="350032"/>
          </a:xfrm>
        </p:grpSpPr>
        <p:pic>
          <p:nvPicPr>
            <p:cNvPr id="1650" name="object 1650">
              <a:extLst>
                <a:ext uri="{FF2B5EF4-FFF2-40B4-BE49-F238E27FC236}">
                  <a16:creationId xmlns:a16="http://schemas.microsoft.com/office/drawing/2014/main" id="{A8FB3836-B65A-D996-C9EB-4C23CC422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5830781" y="132483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51" name="object 1651">
              <a:extLst>
                <a:ext uri="{FF2B5EF4-FFF2-40B4-BE49-F238E27FC236}">
                  <a16:creationId xmlns:a16="http://schemas.microsoft.com/office/drawing/2014/main" id="{D363383E-1943-7857-60BA-041D07AEED00}"/>
                </a:ext>
              </a:extLst>
            </p:cNvPr>
            <p:cNvSpPr/>
            <p:nvPr/>
          </p:nvSpPr>
          <p:spPr>
            <a:xfrm>
              <a:off x="5830781" y="132484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52" name="object 1652">
            <a:extLst>
              <a:ext uri="{FF2B5EF4-FFF2-40B4-BE49-F238E27FC236}">
                <a16:creationId xmlns:a16="http://schemas.microsoft.com/office/drawing/2014/main" id="{537BFC04-85DA-8AC8-A625-953E899297E4}"/>
              </a:ext>
            </a:extLst>
          </p:cNvPr>
          <p:cNvGrpSpPr/>
          <p:nvPr/>
        </p:nvGrpSpPr>
        <p:grpSpPr>
          <a:xfrm>
            <a:off x="9943039" y="560490"/>
            <a:ext cx="350032" cy="350032"/>
            <a:chOff x="9943039" y="560490"/>
            <a:chExt cx="350032" cy="350032"/>
          </a:xfrm>
        </p:grpSpPr>
        <p:pic>
          <p:nvPicPr>
            <p:cNvPr id="1653" name="object 1653">
              <a:extLst>
                <a:ext uri="{FF2B5EF4-FFF2-40B4-BE49-F238E27FC236}">
                  <a16:creationId xmlns:a16="http://schemas.microsoft.com/office/drawing/2014/main" id="{1CB1AB7B-863E-D689-5DE3-0F87C868A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9943039" y="560490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54" name="object 1654">
              <a:extLst>
                <a:ext uri="{FF2B5EF4-FFF2-40B4-BE49-F238E27FC236}">
                  <a16:creationId xmlns:a16="http://schemas.microsoft.com/office/drawing/2014/main" id="{F82530A0-1024-E06C-BA64-D6BAABA84B52}"/>
                </a:ext>
              </a:extLst>
            </p:cNvPr>
            <p:cNvSpPr/>
            <p:nvPr/>
          </p:nvSpPr>
          <p:spPr>
            <a:xfrm>
              <a:off x="9943048" y="56049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55" name="object 1655">
            <a:extLst>
              <a:ext uri="{FF2B5EF4-FFF2-40B4-BE49-F238E27FC236}">
                <a16:creationId xmlns:a16="http://schemas.microsoft.com/office/drawing/2014/main" id="{A9A7719A-A477-6279-1128-84D1F25821EE}"/>
              </a:ext>
            </a:extLst>
          </p:cNvPr>
          <p:cNvGrpSpPr/>
          <p:nvPr/>
        </p:nvGrpSpPr>
        <p:grpSpPr>
          <a:xfrm>
            <a:off x="5831467" y="5157353"/>
            <a:ext cx="350032" cy="350032"/>
            <a:chOff x="5831467" y="5157353"/>
            <a:chExt cx="350032" cy="350032"/>
          </a:xfrm>
        </p:grpSpPr>
        <p:pic>
          <p:nvPicPr>
            <p:cNvPr id="1656" name="object 1656">
              <a:extLst>
                <a:ext uri="{FF2B5EF4-FFF2-40B4-BE49-F238E27FC236}">
                  <a16:creationId xmlns:a16="http://schemas.microsoft.com/office/drawing/2014/main" id="{6E511803-3809-B3FF-6A34-C024328E1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5831467" y="5157353"/>
              <a:ext cx="34995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57" name="object 1657">
              <a:extLst>
                <a:ext uri="{FF2B5EF4-FFF2-40B4-BE49-F238E27FC236}">
                  <a16:creationId xmlns:a16="http://schemas.microsoft.com/office/drawing/2014/main" id="{756B1327-636A-7F45-81DF-649C80A1696B}"/>
                </a:ext>
              </a:extLst>
            </p:cNvPr>
            <p:cNvSpPr/>
            <p:nvPr/>
          </p:nvSpPr>
          <p:spPr>
            <a:xfrm>
              <a:off x="5831476" y="515736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58" name="object 1658">
            <a:extLst>
              <a:ext uri="{FF2B5EF4-FFF2-40B4-BE49-F238E27FC236}">
                <a16:creationId xmlns:a16="http://schemas.microsoft.com/office/drawing/2014/main" id="{47F8B187-0C15-54F5-4FF3-5234926668BD}"/>
              </a:ext>
            </a:extLst>
          </p:cNvPr>
          <p:cNvGrpSpPr/>
          <p:nvPr/>
        </p:nvGrpSpPr>
        <p:grpSpPr>
          <a:xfrm>
            <a:off x="2548890" y="1329967"/>
            <a:ext cx="350023" cy="350023"/>
            <a:chOff x="2548890" y="1329967"/>
            <a:chExt cx="350023" cy="350023"/>
          </a:xfrm>
        </p:grpSpPr>
        <p:pic>
          <p:nvPicPr>
            <p:cNvPr id="1659" name="object 1659">
              <a:extLst>
                <a:ext uri="{FF2B5EF4-FFF2-40B4-BE49-F238E27FC236}">
                  <a16:creationId xmlns:a16="http://schemas.microsoft.com/office/drawing/2014/main" id="{39208D40-7F63-B648-0C29-F29278DC5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2548890" y="1329967"/>
              <a:ext cx="34995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60" name="object 1660">
              <a:extLst>
                <a:ext uri="{FF2B5EF4-FFF2-40B4-BE49-F238E27FC236}">
                  <a16:creationId xmlns:a16="http://schemas.microsoft.com/office/drawing/2014/main" id="{F6F6A9C7-EAE0-B82D-7A23-683C035733A1}"/>
                </a:ext>
              </a:extLst>
            </p:cNvPr>
            <p:cNvSpPr/>
            <p:nvPr/>
          </p:nvSpPr>
          <p:spPr>
            <a:xfrm>
              <a:off x="2548890" y="132996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61" name="object 1661">
            <a:extLst>
              <a:ext uri="{FF2B5EF4-FFF2-40B4-BE49-F238E27FC236}">
                <a16:creationId xmlns:a16="http://schemas.microsoft.com/office/drawing/2014/main" id="{C66D3248-FA4A-6075-6785-32C58B94DC30}"/>
              </a:ext>
            </a:extLst>
          </p:cNvPr>
          <p:cNvGrpSpPr/>
          <p:nvPr/>
        </p:nvGrpSpPr>
        <p:grpSpPr>
          <a:xfrm>
            <a:off x="9119804" y="1317238"/>
            <a:ext cx="350023" cy="350023"/>
            <a:chOff x="9119804" y="1317238"/>
            <a:chExt cx="350023" cy="350023"/>
          </a:xfrm>
        </p:grpSpPr>
        <p:sp>
          <p:nvSpPr>
            <p:cNvPr id="1662" name="object 1662">
              <a:extLst>
                <a:ext uri="{FF2B5EF4-FFF2-40B4-BE49-F238E27FC236}">
                  <a16:creationId xmlns:a16="http://schemas.microsoft.com/office/drawing/2014/main" id="{3E2AB4C7-E274-DAE1-C7DB-86FA355F2D8D}"/>
                </a:ext>
              </a:extLst>
            </p:cNvPr>
            <p:cNvSpPr/>
            <p:nvPr/>
          </p:nvSpPr>
          <p:spPr>
            <a:xfrm>
              <a:off x="9122100" y="1317238"/>
              <a:ext cx="347709" cy="32345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3405"/>
                <a:gd name="f4" fmla="val 533400"/>
                <a:gd name="f5" fmla="val 573304"/>
                <a:gd name="f6" fmla="val 288535"/>
                <a:gd name="f7" fmla="val 569528"/>
                <a:gd name="f8" fmla="val 241737"/>
                <a:gd name="f9" fmla="val 436016"/>
                <a:gd name="f10" fmla="val 533300"/>
                <a:gd name="f11" fmla="val 488795"/>
                <a:gd name="f12" fmla="val 492567"/>
                <a:gd name="f13" fmla="val 517634"/>
                <a:gd name="f14" fmla="val 458945"/>
                <a:gd name="f15" fmla="val 541099"/>
                <a:gd name="f16" fmla="val 421137"/>
                <a:gd name="f17" fmla="val 558595"/>
                <a:gd name="f18" fmla="val 379737"/>
                <a:gd name="f19" fmla="val 335338"/>
                <a:gd name="f20" fmla="val 469015"/>
                <a:gd name="f21" fmla="val 67541"/>
                <a:gd name="f22" fmla="val 417368"/>
                <a:gd name="f23" fmla="val 32205"/>
                <a:gd name="f24" fmla="val 375969"/>
                <a:gd name="f25" fmla="val 14709"/>
                <a:gd name="f26" fmla="val 331571"/>
                <a:gd name="f27" fmla="val 3776"/>
                <a:gd name="f28" fmla="val 284768"/>
                <a:gd name="f29" fmla="val 237966"/>
                <a:gd name="f30" fmla="val 193567"/>
                <a:gd name="f31" fmla="val 152166"/>
                <a:gd name="f32" fmla="val 133517"/>
                <a:gd name="f33" fmla="val 43779"/>
                <a:gd name="f34" fmla="val 335340"/>
                <a:gd name="f35" fmla="val 10933"/>
                <a:gd name="f36" fmla="val 28430"/>
                <a:gd name="f37" fmla="val 51896"/>
                <a:gd name="f38" fmla="val 80737"/>
                <a:gd name="f39" fmla="val 100521"/>
                <a:gd name="f40" fmla="val 509538"/>
                <a:gd name="f41" fmla="*/ f0 1 573405"/>
                <a:gd name="f42" fmla="*/ f1 1 533400"/>
                <a:gd name="f43" fmla="+- f4 0 f2"/>
                <a:gd name="f44" fmla="+- f3 0 f2"/>
                <a:gd name="f45" fmla="*/ f44 1 573405"/>
                <a:gd name="f46" fmla="*/ f43 1 533400"/>
                <a:gd name="f47" fmla="*/ f2 1 f45"/>
                <a:gd name="f48" fmla="*/ f3 1 f45"/>
                <a:gd name="f49" fmla="*/ f2 1 f46"/>
                <a:gd name="f50" fmla="*/ f4 1 f46"/>
                <a:gd name="f51" fmla="*/ f47 f41 1"/>
                <a:gd name="f52" fmla="*/ f48 f41 1"/>
                <a:gd name="f53" fmla="*/ f50 f42 1"/>
                <a:gd name="f54" fmla="*/ f49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1" t="f54" r="f52" b="f53"/>
              <a:pathLst>
                <a:path w="573405" h="533400">
                  <a:moveTo>
                    <a:pt x="f5" y="f6"/>
                  </a:moveTo>
                  <a:lnTo>
                    <a:pt x="f7" y="f8"/>
                  </a:lnTo>
                </a:path>
                <a:path w="573405" h="533400">
                  <a:moveTo>
                    <a:pt x="f9" y="f10"/>
                  </a:move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7" y="f19"/>
                  </a:lnTo>
                  <a:lnTo>
                    <a:pt x="f5" y="f6"/>
                  </a:lnTo>
                </a:path>
                <a:path w="573405" h="533400">
                  <a:moveTo>
                    <a:pt x="f20" y="f21"/>
                  </a:move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"/>
                  </a:lnTo>
                  <a:lnTo>
                    <a:pt x="f29" y="f27"/>
                  </a:lnTo>
                  <a:lnTo>
                    <a:pt x="f30" y="f25"/>
                  </a:lnTo>
                  <a:lnTo>
                    <a:pt x="f31" y="f23"/>
                  </a:lnTo>
                  <a:lnTo>
                    <a:pt x="f32" y="f33"/>
                  </a:lnTo>
                </a:path>
                <a:path w="573405" h="533400">
                  <a:moveTo>
                    <a:pt x="f2" y="f34"/>
                  </a:moveTo>
                  <a:lnTo>
                    <a:pt x="f35" y="f18"/>
                  </a:lnTo>
                  <a:lnTo>
                    <a:pt x="f36" y="f16"/>
                  </a:lnTo>
                  <a:lnTo>
                    <a:pt x="f37" y="f14"/>
                  </a:lnTo>
                  <a:lnTo>
                    <a:pt x="f38" y="f12"/>
                  </a:lnTo>
                  <a:lnTo>
                    <a:pt x="f39" y="f40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63" name="object 1663">
              <a:extLst>
                <a:ext uri="{FF2B5EF4-FFF2-40B4-BE49-F238E27FC236}">
                  <a16:creationId xmlns:a16="http://schemas.microsoft.com/office/drawing/2014/main" id="{2A757FC7-1DD9-4A5B-C1F7-BE8106833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9162480" y="1341443"/>
              <a:ext cx="296137" cy="32573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64" name="object 1664">
              <a:extLst>
                <a:ext uri="{FF2B5EF4-FFF2-40B4-BE49-F238E27FC236}">
                  <a16:creationId xmlns:a16="http://schemas.microsoft.com/office/drawing/2014/main" id="{9CEF695C-FCC6-DEC3-1631-B48E11AEDB22}"/>
                </a:ext>
              </a:extLst>
            </p:cNvPr>
            <p:cNvSpPr/>
            <p:nvPr/>
          </p:nvSpPr>
          <p:spPr>
            <a:xfrm>
              <a:off x="9119804" y="131723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65" name="object 1665">
            <a:extLst>
              <a:ext uri="{FF2B5EF4-FFF2-40B4-BE49-F238E27FC236}">
                <a16:creationId xmlns:a16="http://schemas.microsoft.com/office/drawing/2014/main" id="{A8FCA280-2E98-A1E1-78F6-926FB7F6C9E8}"/>
              </a:ext>
            </a:extLst>
          </p:cNvPr>
          <p:cNvGrpSpPr/>
          <p:nvPr/>
        </p:nvGrpSpPr>
        <p:grpSpPr>
          <a:xfrm>
            <a:off x="3373441" y="2102150"/>
            <a:ext cx="350023" cy="350023"/>
            <a:chOff x="3373441" y="2102150"/>
            <a:chExt cx="350023" cy="350023"/>
          </a:xfrm>
        </p:grpSpPr>
        <p:pic>
          <p:nvPicPr>
            <p:cNvPr id="1666" name="object 1666">
              <a:extLst>
                <a:ext uri="{FF2B5EF4-FFF2-40B4-BE49-F238E27FC236}">
                  <a16:creationId xmlns:a16="http://schemas.microsoft.com/office/drawing/2014/main" id="{683156A4-32D9-BA1C-B875-E53D2C8E3A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/>
            <a:stretch>
              <a:fillRect/>
            </a:stretch>
          </p:blipFill>
          <p:spPr>
            <a:xfrm>
              <a:off x="3373441" y="2102150"/>
              <a:ext cx="349940" cy="34978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67" name="object 1667">
              <a:extLst>
                <a:ext uri="{FF2B5EF4-FFF2-40B4-BE49-F238E27FC236}">
                  <a16:creationId xmlns:a16="http://schemas.microsoft.com/office/drawing/2014/main" id="{96DE5954-A958-480B-6B3D-1EC7BA21DD49}"/>
                </a:ext>
              </a:extLst>
            </p:cNvPr>
            <p:cNvSpPr/>
            <p:nvPr/>
          </p:nvSpPr>
          <p:spPr>
            <a:xfrm>
              <a:off x="3373441" y="21021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68" name="object 1668">
            <a:extLst>
              <a:ext uri="{FF2B5EF4-FFF2-40B4-BE49-F238E27FC236}">
                <a16:creationId xmlns:a16="http://schemas.microsoft.com/office/drawing/2014/main" id="{7BC3772B-CA67-882C-8B37-2EF121E880D6}"/>
              </a:ext>
            </a:extLst>
          </p:cNvPr>
          <p:cNvGrpSpPr/>
          <p:nvPr/>
        </p:nvGrpSpPr>
        <p:grpSpPr>
          <a:xfrm>
            <a:off x="3373441" y="1329619"/>
            <a:ext cx="350023" cy="350023"/>
            <a:chOff x="3373441" y="1329619"/>
            <a:chExt cx="350023" cy="350023"/>
          </a:xfrm>
        </p:grpSpPr>
        <p:pic>
          <p:nvPicPr>
            <p:cNvPr id="1669" name="object 1669">
              <a:extLst>
                <a:ext uri="{FF2B5EF4-FFF2-40B4-BE49-F238E27FC236}">
                  <a16:creationId xmlns:a16="http://schemas.microsoft.com/office/drawing/2014/main" id="{7FF5C03D-D63A-0539-B1EB-24608105CB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3373441" y="1334420"/>
              <a:ext cx="349940" cy="34498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70" name="object 1670">
              <a:extLst>
                <a:ext uri="{FF2B5EF4-FFF2-40B4-BE49-F238E27FC236}">
                  <a16:creationId xmlns:a16="http://schemas.microsoft.com/office/drawing/2014/main" id="{3C4D535D-631F-2137-7692-B4801271F028}"/>
                </a:ext>
              </a:extLst>
            </p:cNvPr>
            <p:cNvSpPr/>
            <p:nvPr/>
          </p:nvSpPr>
          <p:spPr>
            <a:xfrm>
              <a:off x="3373441" y="132961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71" name="object 1671">
            <a:extLst>
              <a:ext uri="{FF2B5EF4-FFF2-40B4-BE49-F238E27FC236}">
                <a16:creationId xmlns:a16="http://schemas.microsoft.com/office/drawing/2014/main" id="{6A07EA6A-6394-6D02-37B3-93732C0849CF}"/>
              </a:ext>
            </a:extLst>
          </p:cNvPr>
          <p:cNvGrpSpPr/>
          <p:nvPr/>
        </p:nvGrpSpPr>
        <p:grpSpPr>
          <a:xfrm>
            <a:off x="3373441" y="2865153"/>
            <a:ext cx="350023" cy="350023"/>
            <a:chOff x="3373441" y="2865153"/>
            <a:chExt cx="350023" cy="350023"/>
          </a:xfrm>
        </p:grpSpPr>
        <p:pic>
          <p:nvPicPr>
            <p:cNvPr id="1672" name="object 1672">
              <a:extLst>
                <a:ext uri="{FF2B5EF4-FFF2-40B4-BE49-F238E27FC236}">
                  <a16:creationId xmlns:a16="http://schemas.microsoft.com/office/drawing/2014/main" id="{BE340A0D-396B-0032-F9CA-4C6BC4B043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/>
            <a:stretch>
              <a:fillRect/>
            </a:stretch>
          </p:blipFill>
          <p:spPr>
            <a:xfrm>
              <a:off x="3373441" y="2865153"/>
              <a:ext cx="349940" cy="34909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73" name="object 1673">
              <a:extLst>
                <a:ext uri="{FF2B5EF4-FFF2-40B4-BE49-F238E27FC236}">
                  <a16:creationId xmlns:a16="http://schemas.microsoft.com/office/drawing/2014/main" id="{2214CB5A-C235-D014-A899-7813BEC85326}"/>
                </a:ext>
              </a:extLst>
            </p:cNvPr>
            <p:cNvSpPr/>
            <p:nvPr/>
          </p:nvSpPr>
          <p:spPr>
            <a:xfrm>
              <a:off x="3373441" y="286515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74" name="object 1674">
            <a:extLst>
              <a:ext uri="{FF2B5EF4-FFF2-40B4-BE49-F238E27FC236}">
                <a16:creationId xmlns:a16="http://schemas.microsoft.com/office/drawing/2014/main" id="{0060BF1A-76A1-CA24-D463-3439BCFA3F75}"/>
              </a:ext>
            </a:extLst>
          </p:cNvPr>
          <p:cNvGrpSpPr/>
          <p:nvPr/>
        </p:nvGrpSpPr>
        <p:grpSpPr>
          <a:xfrm>
            <a:off x="5012402" y="568345"/>
            <a:ext cx="350023" cy="350032"/>
            <a:chOff x="5012402" y="568345"/>
            <a:chExt cx="350023" cy="350032"/>
          </a:xfrm>
        </p:grpSpPr>
        <p:pic>
          <p:nvPicPr>
            <p:cNvPr id="1675" name="object 1675">
              <a:extLst>
                <a:ext uri="{FF2B5EF4-FFF2-40B4-BE49-F238E27FC236}">
                  <a16:creationId xmlns:a16="http://schemas.microsoft.com/office/drawing/2014/main" id="{83065FF5-7B76-868B-BBDA-1DC77B2D0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5012402" y="568345"/>
              <a:ext cx="34995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76" name="object 1676">
              <a:extLst>
                <a:ext uri="{FF2B5EF4-FFF2-40B4-BE49-F238E27FC236}">
                  <a16:creationId xmlns:a16="http://schemas.microsoft.com/office/drawing/2014/main" id="{5D956B91-65A6-0F8E-3A7F-F04FC37DA0B4}"/>
                </a:ext>
              </a:extLst>
            </p:cNvPr>
            <p:cNvSpPr/>
            <p:nvPr/>
          </p:nvSpPr>
          <p:spPr>
            <a:xfrm>
              <a:off x="5012402" y="56835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77" name="object 1677">
            <a:extLst>
              <a:ext uri="{FF2B5EF4-FFF2-40B4-BE49-F238E27FC236}">
                <a16:creationId xmlns:a16="http://schemas.microsoft.com/office/drawing/2014/main" id="{E903D2AE-4437-FD42-B8FA-C99BEAE82E7B}"/>
              </a:ext>
            </a:extLst>
          </p:cNvPr>
          <p:cNvGrpSpPr/>
          <p:nvPr/>
        </p:nvGrpSpPr>
        <p:grpSpPr>
          <a:xfrm>
            <a:off x="8294193" y="2100413"/>
            <a:ext cx="350023" cy="350023"/>
            <a:chOff x="8294193" y="2100413"/>
            <a:chExt cx="350023" cy="350023"/>
          </a:xfrm>
        </p:grpSpPr>
        <p:pic>
          <p:nvPicPr>
            <p:cNvPr id="1678" name="object 1678">
              <a:extLst>
                <a:ext uri="{FF2B5EF4-FFF2-40B4-BE49-F238E27FC236}">
                  <a16:creationId xmlns:a16="http://schemas.microsoft.com/office/drawing/2014/main" id="{EB7E29C6-2146-E70F-EECF-A00BD33CB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8294193" y="210041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79" name="object 1679">
              <a:extLst>
                <a:ext uri="{FF2B5EF4-FFF2-40B4-BE49-F238E27FC236}">
                  <a16:creationId xmlns:a16="http://schemas.microsoft.com/office/drawing/2014/main" id="{50EF41FA-5339-C4E9-623D-1D7E1B662865}"/>
                </a:ext>
              </a:extLst>
            </p:cNvPr>
            <p:cNvSpPr/>
            <p:nvPr/>
          </p:nvSpPr>
          <p:spPr>
            <a:xfrm>
              <a:off x="8294193" y="210041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0"/>
                <a:gd name="f27" fmla="val 197340"/>
                <a:gd name="f28" fmla="val 155939"/>
                <a:gd name="f29" fmla="val 118131"/>
                <a:gd name="f30" fmla="val 84510"/>
                <a:gd name="f31" fmla="val 55670"/>
                <a:gd name="f32" fmla="val 335338"/>
                <a:gd name="f33" fmla="val 379737"/>
                <a:gd name="f34" fmla="val 421137"/>
                <a:gd name="f35" fmla="val 458945"/>
                <a:gd name="f36" fmla="val 492567"/>
                <a:gd name="f37" fmla="val 521408"/>
                <a:gd name="f38" fmla="val 544874"/>
                <a:gd name="f39" fmla="val 562371"/>
                <a:gd name="f40" fmla="*/ f0 1 577215"/>
                <a:gd name="f41" fmla="*/ f1 1 577214"/>
                <a:gd name="f42" fmla="+- f4 0 f2"/>
                <a:gd name="f43" fmla="+- f3 0 f2"/>
                <a:gd name="f44" fmla="*/ f43 1 577215"/>
                <a:gd name="f45" fmla="*/ f42 1 577214"/>
                <a:gd name="f46" fmla="*/ f2 1 f44"/>
                <a:gd name="f47" fmla="*/ f3 1 f44"/>
                <a:gd name="f48" fmla="*/ f2 1 f45"/>
                <a:gd name="f49" fmla="*/ f4 1 f45"/>
                <a:gd name="f50" fmla="*/ f46 f40 1"/>
                <a:gd name="f51" fmla="*/ f47 f40 1"/>
                <a:gd name="f52" fmla="*/ f49 f41 1"/>
                <a:gd name="f53" fmla="*/ f48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2"/>
                  </a:lnTo>
                  <a:lnTo>
                    <a:pt x="f22" y="f33"/>
                  </a:lnTo>
                  <a:lnTo>
                    <a:pt x="f20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39"/>
                  </a:lnTo>
                  <a:lnTo>
                    <a:pt x="f19" y="f38"/>
                  </a:lnTo>
                  <a:lnTo>
                    <a:pt x="f17" y="f37"/>
                  </a:lnTo>
                  <a:lnTo>
                    <a:pt x="f15" y="f36"/>
                  </a:lnTo>
                  <a:lnTo>
                    <a:pt x="f13" y="f35"/>
                  </a:lnTo>
                  <a:lnTo>
                    <a:pt x="f11" y="f34"/>
                  </a:lnTo>
                  <a:lnTo>
                    <a:pt x="f9" y="f33"/>
                  </a:lnTo>
                  <a:lnTo>
                    <a:pt x="f7" y="f3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80" name="object 1680">
            <a:extLst>
              <a:ext uri="{FF2B5EF4-FFF2-40B4-BE49-F238E27FC236}">
                <a16:creationId xmlns:a16="http://schemas.microsoft.com/office/drawing/2014/main" id="{E0533321-D12B-857F-B18C-2D0B24A1C932}"/>
              </a:ext>
            </a:extLst>
          </p:cNvPr>
          <p:cNvGrpSpPr/>
          <p:nvPr/>
        </p:nvGrpSpPr>
        <p:grpSpPr>
          <a:xfrm>
            <a:off x="8299478" y="566287"/>
            <a:ext cx="350023" cy="350042"/>
            <a:chOff x="8299478" y="566287"/>
            <a:chExt cx="350023" cy="350042"/>
          </a:xfrm>
        </p:grpSpPr>
        <p:pic>
          <p:nvPicPr>
            <p:cNvPr id="1681" name="object 1681">
              <a:extLst>
                <a:ext uri="{FF2B5EF4-FFF2-40B4-BE49-F238E27FC236}">
                  <a16:creationId xmlns:a16="http://schemas.microsoft.com/office/drawing/2014/main" id="{54E42E2D-3E62-F68D-052F-929B2ABA6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>
              <a:off x="8299478" y="56628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82" name="object 1682">
              <a:extLst>
                <a:ext uri="{FF2B5EF4-FFF2-40B4-BE49-F238E27FC236}">
                  <a16:creationId xmlns:a16="http://schemas.microsoft.com/office/drawing/2014/main" id="{142677A0-6DA0-7343-1B14-987259A14C58}"/>
                </a:ext>
              </a:extLst>
            </p:cNvPr>
            <p:cNvSpPr/>
            <p:nvPr/>
          </p:nvSpPr>
          <p:spPr>
            <a:xfrm>
              <a:off x="8299478" y="56630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83" name="object 1683">
            <a:extLst>
              <a:ext uri="{FF2B5EF4-FFF2-40B4-BE49-F238E27FC236}">
                <a16:creationId xmlns:a16="http://schemas.microsoft.com/office/drawing/2014/main" id="{BC4B964A-7AFC-B30E-7F8B-4E5539948726}"/>
              </a:ext>
            </a:extLst>
          </p:cNvPr>
          <p:cNvGrpSpPr/>
          <p:nvPr/>
        </p:nvGrpSpPr>
        <p:grpSpPr>
          <a:xfrm>
            <a:off x="9117409" y="5924214"/>
            <a:ext cx="350023" cy="350032"/>
            <a:chOff x="9117409" y="5924214"/>
            <a:chExt cx="350023" cy="350032"/>
          </a:xfrm>
        </p:grpSpPr>
        <p:pic>
          <p:nvPicPr>
            <p:cNvPr id="1684" name="object 1684">
              <a:extLst>
                <a:ext uri="{FF2B5EF4-FFF2-40B4-BE49-F238E27FC236}">
                  <a16:creationId xmlns:a16="http://schemas.microsoft.com/office/drawing/2014/main" id="{E075C521-93CE-C7D0-5869-ED062CE297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9117409" y="5924214"/>
              <a:ext cx="308838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85" name="object 1685">
              <a:extLst>
                <a:ext uri="{FF2B5EF4-FFF2-40B4-BE49-F238E27FC236}">
                  <a16:creationId xmlns:a16="http://schemas.microsoft.com/office/drawing/2014/main" id="{63ADFCDB-AE54-0C53-B0B1-092AD327E2E2}"/>
                </a:ext>
              </a:extLst>
            </p:cNvPr>
            <p:cNvSpPr/>
            <p:nvPr/>
          </p:nvSpPr>
          <p:spPr>
            <a:xfrm>
              <a:off x="9117409" y="592422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86" name="object 1686">
            <a:extLst>
              <a:ext uri="{FF2B5EF4-FFF2-40B4-BE49-F238E27FC236}">
                <a16:creationId xmlns:a16="http://schemas.microsoft.com/office/drawing/2014/main" id="{0EB9C84B-FDB9-D515-B794-5045B3FD7C65}"/>
              </a:ext>
            </a:extLst>
          </p:cNvPr>
          <p:cNvGrpSpPr/>
          <p:nvPr/>
        </p:nvGrpSpPr>
        <p:grpSpPr>
          <a:xfrm>
            <a:off x="9119475" y="5159117"/>
            <a:ext cx="350023" cy="350033"/>
            <a:chOff x="9119475" y="5159117"/>
            <a:chExt cx="350023" cy="350033"/>
          </a:xfrm>
        </p:grpSpPr>
        <p:pic>
          <p:nvPicPr>
            <p:cNvPr id="1687" name="object 1687">
              <a:extLst>
                <a:ext uri="{FF2B5EF4-FFF2-40B4-BE49-F238E27FC236}">
                  <a16:creationId xmlns:a16="http://schemas.microsoft.com/office/drawing/2014/main" id="{973B13F7-26D0-9EBE-3F52-CDA7F1BAC3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/>
            <a:stretch>
              <a:fillRect/>
            </a:stretch>
          </p:blipFill>
          <p:spPr>
            <a:xfrm>
              <a:off x="9178308" y="5159117"/>
              <a:ext cx="291108" cy="34619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88" name="object 1688">
              <a:extLst>
                <a:ext uri="{FF2B5EF4-FFF2-40B4-BE49-F238E27FC236}">
                  <a16:creationId xmlns:a16="http://schemas.microsoft.com/office/drawing/2014/main" id="{E08A46E8-F30F-7C0B-DD33-F95DD4F38741}"/>
                </a:ext>
              </a:extLst>
            </p:cNvPr>
            <p:cNvSpPr/>
            <p:nvPr/>
          </p:nvSpPr>
          <p:spPr>
            <a:xfrm>
              <a:off x="9119475" y="515912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0"/>
                <a:gd name="f26" fmla="val 197340"/>
                <a:gd name="f27" fmla="val 155939"/>
                <a:gd name="f28" fmla="val 118131"/>
                <a:gd name="f29" fmla="val 84510"/>
                <a:gd name="f30" fmla="val 55670"/>
                <a:gd name="f31" fmla="val 335338"/>
                <a:gd name="f32" fmla="val 379737"/>
                <a:gd name="f33" fmla="val 421137"/>
                <a:gd name="f34" fmla="val 458945"/>
                <a:gd name="f35" fmla="val 492567"/>
                <a:gd name="f36" fmla="val 521408"/>
                <a:gd name="f37" fmla="val 544874"/>
                <a:gd name="f38" fmla="val 562371"/>
                <a:gd name="f39" fmla="*/ f0 1 577215"/>
                <a:gd name="f40" fmla="*/ f1 1 577215"/>
                <a:gd name="f41" fmla="+- f3 0 f2"/>
                <a:gd name="f42" fmla="*/ f41 1 577215"/>
                <a:gd name="f43" fmla="*/ f2 1 f42"/>
                <a:gd name="f44" fmla="*/ f3 1 f42"/>
                <a:gd name="f45" fmla="*/ f43 f39 1"/>
                <a:gd name="f46" fmla="*/ f44 f39 1"/>
                <a:gd name="f47" fmla="*/ f44 f40 1"/>
                <a:gd name="f48" fmla="*/ f43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5" t="f48" r="f46" b="f47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1"/>
                  </a:lnTo>
                  <a:lnTo>
                    <a:pt x="f21" y="f32"/>
                  </a:lnTo>
                  <a:lnTo>
                    <a:pt x="f19" y="f33"/>
                  </a:lnTo>
                  <a:lnTo>
                    <a:pt x="f30" y="f34"/>
                  </a:lnTo>
                  <a:lnTo>
                    <a:pt x="f29" y="f35"/>
                  </a:lnTo>
                  <a:lnTo>
                    <a:pt x="f28" y="f36"/>
                  </a:lnTo>
                  <a:lnTo>
                    <a:pt x="f27" y="f37"/>
                  </a:lnTo>
                  <a:lnTo>
                    <a:pt x="f26" y="f38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38"/>
                  </a:lnTo>
                  <a:lnTo>
                    <a:pt x="f18" y="f37"/>
                  </a:lnTo>
                  <a:lnTo>
                    <a:pt x="f16" y="f36"/>
                  </a:lnTo>
                  <a:lnTo>
                    <a:pt x="f14" y="f35"/>
                  </a:lnTo>
                  <a:lnTo>
                    <a:pt x="f12" y="f34"/>
                  </a:lnTo>
                  <a:lnTo>
                    <a:pt x="f10" y="f33"/>
                  </a:lnTo>
                  <a:lnTo>
                    <a:pt x="f8" y="f32"/>
                  </a:lnTo>
                  <a:lnTo>
                    <a:pt x="f6" y="f31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89" name="object 1689">
            <a:extLst>
              <a:ext uri="{FF2B5EF4-FFF2-40B4-BE49-F238E27FC236}">
                <a16:creationId xmlns:a16="http://schemas.microsoft.com/office/drawing/2014/main" id="{8060FC0C-16F5-F0C7-1C1A-233A35E5A68C}"/>
              </a:ext>
            </a:extLst>
          </p:cNvPr>
          <p:cNvGrpSpPr/>
          <p:nvPr/>
        </p:nvGrpSpPr>
        <p:grpSpPr>
          <a:xfrm>
            <a:off x="9123325" y="2855918"/>
            <a:ext cx="350023" cy="350023"/>
            <a:chOff x="9123325" y="2855918"/>
            <a:chExt cx="350023" cy="350023"/>
          </a:xfrm>
        </p:grpSpPr>
        <p:pic>
          <p:nvPicPr>
            <p:cNvPr id="1690" name="object 1690">
              <a:extLst>
                <a:ext uri="{FF2B5EF4-FFF2-40B4-BE49-F238E27FC236}">
                  <a16:creationId xmlns:a16="http://schemas.microsoft.com/office/drawing/2014/main" id="{EE4389E6-E89D-57EE-E6DE-F5364DDD2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9123334" y="2885754"/>
              <a:ext cx="349931" cy="27756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91" name="object 1691">
              <a:extLst>
                <a:ext uri="{FF2B5EF4-FFF2-40B4-BE49-F238E27FC236}">
                  <a16:creationId xmlns:a16="http://schemas.microsoft.com/office/drawing/2014/main" id="{234F408C-78AE-DD82-7378-7CC6414B5757}"/>
                </a:ext>
              </a:extLst>
            </p:cNvPr>
            <p:cNvSpPr/>
            <p:nvPr/>
          </p:nvSpPr>
          <p:spPr>
            <a:xfrm>
              <a:off x="9123325" y="285591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92" name="object 1692">
            <a:extLst>
              <a:ext uri="{FF2B5EF4-FFF2-40B4-BE49-F238E27FC236}">
                <a16:creationId xmlns:a16="http://schemas.microsoft.com/office/drawing/2014/main" id="{D948F374-E418-47CA-CFC3-07C2D79E54BF}"/>
              </a:ext>
            </a:extLst>
          </p:cNvPr>
          <p:cNvGrpSpPr/>
          <p:nvPr/>
        </p:nvGrpSpPr>
        <p:grpSpPr>
          <a:xfrm>
            <a:off x="9125391" y="2100340"/>
            <a:ext cx="350023" cy="350023"/>
            <a:chOff x="9125391" y="2100340"/>
            <a:chExt cx="350023" cy="350023"/>
          </a:xfrm>
        </p:grpSpPr>
        <p:pic>
          <p:nvPicPr>
            <p:cNvPr id="1693" name="object 1693">
              <a:extLst>
                <a:ext uri="{FF2B5EF4-FFF2-40B4-BE49-F238E27FC236}">
                  <a16:creationId xmlns:a16="http://schemas.microsoft.com/office/drawing/2014/main" id="{48B4C982-8AE3-3AC7-2C5D-F62A87F031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>
              <a:off x="9125401" y="2133249"/>
              <a:ext cx="349931" cy="273259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94" name="object 1694">
              <a:extLst>
                <a:ext uri="{FF2B5EF4-FFF2-40B4-BE49-F238E27FC236}">
                  <a16:creationId xmlns:a16="http://schemas.microsoft.com/office/drawing/2014/main" id="{059E64EA-099F-C93F-63E9-369DEA04551C}"/>
                </a:ext>
              </a:extLst>
            </p:cNvPr>
            <p:cNvSpPr/>
            <p:nvPr/>
          </p:nvSpPr>
          <p:spPr>
            <a:xfrm>
              <a:off x="9125391" y="210034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95" name="object 1695">
            <a:extLst>
              <a:ext uri="{FF2B5EF4-FFF2-40B4-BE49-F238E27FC236}">
                <a16:creationId xmlns:a16="http://schemas.microsoft.com/office/drawing/2014/main" id="{A680E03C-F48D-A481-8F84-CF3C8DC61435}"/>
              </a:ext>
            </a:extLst>
          </p:cNvPr>
          <p:cNvGrpSpPr/>
          <p:nvPr/>
        </p:nvGrpSpPr>
        <p:grpSpPr>
          <a:xfrm>
            <a:off x="9125391" y="564834"/>
            <a:ext cx="350023" cy="350023"/>
            <a:chOff x="9125391" y="564834"/>
            <a:chExt cx="350023" cy="350023"/>
          </a:xfrm>
        </p:grpSpPr>
        <p:sp>
          <p:nvSpPr>
            <p:cNvPr id="1696" name="object 1696">
              <a:extLst>
                <a:ext uri="{FF2B5EF4-FFF2-40B4-BE49-F238E27FC236}">
                  <a16:creationId xmlns:a16="http://schemas.microsoft.com/office/drawing/2014/main" id="{3D097C30-F4D2-491C-16ED-224380F7B863}"/>
                </a:ext>
              </a:extLst>
            </p:cNvPr>
            <p:cNvSpPr/>
            <p:nvPr/>
          </p:nvSpPr>
          <p:spPr>
            <a:xfrm>
              <a:off x="9297536" y="565062"/>
              <a:ext cx="172510" cy="3496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4480"/>
                <a:gd name="f4" fmla="val 576580"/>
                <a:gd name="f5" fmla="val 283989"/>
                <a:gd name="f6" fmla="val 288168"/>
                <a:gd name="f7" fmla="val 280213"/>
                <a:gd name="f8" fmla="val 241366"/>
                <a:gd name="f9" fmla="val 269279"/>
                <a:gd name="f10" fmla="val 196968"/>
                <a:gd name="f11" fmla="val 251784"/>
                <a:gd name="f12" fmla="val 155568"/>
                <a:gd name="f13" fmla="val 228319"/>
                <a:gd name="f14" fmla="val 117762"/>
                <a:gd name="f15" fmla="val 199480"/>
                <a:gd name="f16" fmla="val 84142"/>
                <a:gd name="f17" fmla="val 165860"/>
                <a:gd name="f18" fmla="val 55303"/>
                <a:gd name="f19" fmla="val 128053"/>
                <a:gd name="f20" fmla="val 31838"/>
                <a:gd name="f21" fmla="val 86654"/>
                <a:gd name="f22" fmla="val 14342"/>
                <a:gd name="f23" fmla="val 42256"/>
                <a:gd name="f24" fmla="val 3409"/>
                <a:gd name="f25" fmla="val 112"/>
                <a:gd name="f26" fmla="val 576339"/>
                <a:gd name="f27" fmla="val 572938"/>
                <a:gd name="f28" fmla="val 562004"/>
                <a:gd name="f29" fmla="val 544507"/>
                <a:gd name="f30" fmla="val 521041"/>
                <a:gd name="f31" fmla="val 492200"/>
                <a:gd name="f32" fmla="val 458579"/>
                <a:gd name="f33" fmla="val 420771"/>
                <a:gd name="f34" fmla="val 379370"/>
                <a:gd name="f35" fmla="val 334971"/>
                <a:gd name="f36" fmla="*/ f0 1 284480"/>
                <a:gd name="f37" fmla="*/ f1 1 576580"/>
                <a:gd name="f38" fmla="+- f4 0 f2"/>
                <a:gd name="f39" fmla="+- f3 0 f2"/>
                <a:gd name="f40" fmla="*/ f39 1 284480"/>
                <a:gd name="f41" fmla="*/ f38 1 576580"/>
                <a:gd name="f42" fmla="*/ f2 1 f40"/>
                <a:gd name="f43" fmla="*/ f3 1 f40"/>
                <a:gd name="f44" fmla="*/ f2 1 f41"/>
                <a:gd name="f45" fmla="*/ f4 1 f41"/>
                <a:gd name="f46" fmla="*/ f42 f36 1"/>
                <a:gd name="f47" fmla="*/ f43 f36 1"/>
                <a:gd name="f48" fmla="*/ f45 f37 1"/>
                <a:gd name="f49" fmla="*/ f4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6" t="f49" r="f47" b="f48"/>
              <a:pathLst>
                <a:path w="284480" h="576580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" y="f2"/>
                  </a:lnTo>
                </a:path>
                <a:path w="284480" h="576580">
                  <a:moveTo>
                    <a:pt x="f25" y="f26"/>
                  </a:moveTo>
                  <a:lnTo>
                    <a:pt x="f23" y="f27"/>
                  </a:lnTo>
                  <a:lnTo>
                    <a:pt x="f21" y="f28"/>
                  </a:lnTo>
                  <a:lnTo>
                    <a:pt x="f19" y="f29"/>
                  </a:lnTo>
                  <a:lnTo>
                    <a:pt x="f17" y="f30"/>
                  </a:lnTo>
                  <a:lnTo>
                    <a:pt x="f15" y="f31"/>
                  </a:lnTo>
                  <a:lnTo>
                    <a:pt x="f13" y="f32"/>
                  </a:lnTo>
                  <a:lnTo>
                    <a:pt x="f11" y="f33"/>
                  </a:lnTo>
                  <a:lnTo>
                    <a:pt x="f9" y="f34"/>
                  </a:lnTo>
                  <a:lnTo>
                    <a:pt x="f7" y="f35"/>
                  </a:lnTo>
                  <a:lnTo>
                    <a:pt x="f5" y="f6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97" name="object 1697">
              <a:extLst>
                <a:ext uri="{FF2B5EF4-FFF2-40B4-BE49-F238E27FC236}">
                  <a16:creationId xmlns:a16="http://schemas.microsoft.com/office/drawing/2014/main" id="{39C1DE6F-4F14-5E88-8A3B-46468BE84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9125401" y="597542"/>
              <a:ext cx="349931" cy="26527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98" name="object 1698">
              <a:extLst>
                <a:ext uri="{FF2B5EF4-FFF2-40B4-BE49-F238E27FC236}">
                  <a16:creationId xmlns:a16="http://schemas.microsoft.com/office/drawing/2014/main" id="{76575CB7-7720-FCBF-5E43-10703593D43E}"/>
                </a:ext>
              </a:extLst>
            </p:cNvPr>
            <p:cNvSpPr/>
            <p:nvPr/>
          </p:nvSpPr>
          <p:spPr>
            <a:xfrm>
              <a:off x="9298021" y="565016"/>
              <a:ext cx="172894" cy="3496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5115"/>
                <a:gd name="f4" fmla="val 576580"/>
                <a:gd name="f5" fmla="val 284780"/>
                <a:gd name="f6" fmla="val 288232"/>
                <a:gd name="f7" fmla="val 281004"/>
                <a:gd name="f8" fmla="val 241430"/>
                <a:gd name="f9" fmla="val 270071"/>
                <a:gd name="f10" fmla="val 197032"/>
                <a:gd name="f11" fmla="val 252575"/>
                <a:gd name="f12" fmla="val 155632"/>
                <a:gd name="f13" fmla="val 229110"/>
                <a:gd name="f14" fmla="val 117826"/>
                <a:gd name="f15" fmla="val 200271"/>
                <a:gd name="f16" fmla="val 84206"/>
                <a:gd name="f17" fmla="val 166651"/>
                <a:gd name="f18" fmla="val 55366"/>
                <a:gd name="f19" fmla="val 128844"/>
                <a:gd name="f20" fmla="val 31902"/>
                <a:gd name="f21" fmla="val 87445"/>
                <a:gd name="f22" fmla="val 14406"/>
                <a:gd name="f23" fmla="val 43047"/>
                <a:gd name="f24" fmla="val 3473"/>
                <a:gd name="f25" fmla="val 112"/>
                <a:gd name="f26" fmla="val 576466"/>
                <a:gd name="f27" fmla="val 573002"/>
                <a:gd name="f28" fmla="val 562068"/>
                <a:gd name="f29" fmla="val 544571"/>
                <a:gd name="f30" fmla="val 521105"/>
                <a:gd name="f31" fmla="val 492264"/>
                <a:gd name="f32" fmla="val 458642"/>
                <a:gd name="f33" fmla="val 420834"/>
                <a:gd name="f34" fmla="val 379434"/>
                <a:gd name="f35" fmla="val 335035"/>
                <a:gd name="f36" fmla="*/ f0 1 285115"/>
                <a:gd name="f37" fmla="*/ f1 1 576580"/>
                <a:gd name="f38" fmla="+- f4 0 f2"/>
                <a:gd name="f39" fmla="+- f3 0 f2"/>
                <a:gd name="f40" fmla="*/ f39 1 285115"/>
                <a:gd name="f41" fmla="*/ f38 1 576580"/>
                <a:gd name="f42" fmla="*/ f2 1 f40"/>
                <a:gd name="f43" fmla="*/ f3 1 f40"/>
                <a:gd name="f44" fmla="*/ f2 1 f41"/>
                <a:gd name="f45" fmla="*/ f4 1 f41"/>
                <a:gd name="f46" fmla="*/ f42 f36 1"/>
                <a:gd name="f47" fmla="*/ f43 f36 1"/>
                <a:gd name="f48" fmla="*/ f45 f37 1"/>
                <a:gd name="f49" fmla="*/ f4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6" t="f49" r="f47" b="f48"/>
              <a:pathLst>
                <a:path w="285115" h="576580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" y="f2"/>
                  </a:lnTo>
                </a:path>
                <a:path w="285115" h="576580">
                  <a:moveTo>
                    <a:pt x="f25" y="f26"/>
                  </a:moveTo>
                  <a:lnTo>
                    <a:pt x="f23" y="f27"/>
                  </a:lnTo>
                  <a:lnTo>
                    <a:pt x="f21" y="f28"/>
                  </a:lnTo>
                  <a:lnTo>
                    <a:pt x="f19" y="f29"/>
                  </a:lnTo>
                  <a:lnTo>
                    <a:pt x="f17" y="f30"/>
                  </a:lnTo>
                  <a:lnTo>
                    <a:pt x="f15" y="f31"/>
                  </a:lnTo>
                  <a:lnTo>
                    <a:pt x="f13" y="f32"/>
                  </a:lnTo>
                  <a:lnTo>
                    <a:pt x="f11" y="f33"/>
                  </a:lnTo>
                  <a:lnTo>
                    <a:pt x="f9" y="f34"/>
                  </a:lnTo>
                  <a:lnTo>
                    <a:pt x="f7" y="f35"/>
                  </a:lnTo>
                  <a:lnTo>
                    <a:pt x="f5" y="f6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9" name="object 1699">
              <a:extLst>
                <a:ext uri="{FF2B5EF4-FFF2-40B4-BE49-F238E27FC236}">
                  <a16:creationId xmlns:a16="http://schemas.microsoft.com/office/drawing/2014/main" id="{A7CEE76E-4A0F-22F4-3EA3-C63DB7DF2CC0}"/>
                </a:ext>
              </a:extLst>
            </p:cNvPr>
            <p:cNvSpPr/>
            <p:nvPr/>
          </p:nvSpPr>
          <p:spPr>
            <a:xfrm>
              <a:off x="9125391" y="56483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700" name="object 1700">
            <a:extLst>
              <a:ext uri="{FF2B5EF4-FFF2-40B4-BE49-F238E27FC236}">
                <a16:creationId xmlns:a16="http://schemas.microsoft.com/office/drawing/2014/main" id="{59748759-8C48-BDD9-B76D-90A09B575463}"/>
              </a:ext>
            </a:extLst>
          </p:cNvPr>
          <p:cNvGrpSpPr/>
          <p:nvPr/>
        </p:nvGrpSpPr>
        <p:grpSpPr>
          <a:xfrm>
            <a:off x="9125135" y="4385361"/>
            <a:ext cx="350023" cy="350023"/>
            <a:chOff x="9125135" y="4385361"/>
            <a:chExt cx="350023" cy="350023"/>
          </a:xfrm>
        </p:grpSpPr>
        <p:pic>
          <p:nvPicPr>
            <p:cNvPr id="1701" name="object 1701">
              <a:extLst>
                <a:ext uri="{FF2B5EF4-FFF2-40B4-BE49-F238E27FC236}">
                  <a16:creationId xmlns:a16="http://schemas.microsoft.com/office/drawing/2014/main" id="{AA26F33B-A4C2-0ABC-8B69-C560A23E39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/>
            <a:stretch>
              <a:fillRect/>
            </a:stretch>
          </p:blipFill>
          <p:spPr>
            <a:xfrm>
              <a:off x="9125318" y="4435434"/>
              <a:ext cx="341665" cy="25624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02" name="object 1702">
              <a:extLst>
                <a:ext uri="{FF2B5EF4-FFF2-40B4-BE49-F238E27FC236}">
                  <a16:creationId xmlns:a16="http://schemas.microsoft.com/office/drawing/2014/main" id="{2E7FE4BD-C976-432A-343F-0DCF91B25666}"/>
                </a:ext>
              </a:extLst>
            </p:cNvPr>
            <p:cNvSpPr/>
            <p:nvPr/>
          </p:nvSpPr>
          <p:spPr>
            <a:xfrm>
              <a:off x="9125135" y="438536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703" name="object 1703">
            <a:extLst>
              <a:ext uri="{FF2B5EF4-FFF2-40B4-BE49-F238E27FC236}">
                <a16:creationId xmlns:a16="http://schemas.microsoft.com/office/drawing/2014/main" id="{9FAE00B7-33BD-7ED7-DD2A-15DAFAA5055E}"/>
              </a:ext>
            </a:extLst>
          </p:cNvPr>
          <p:cNvGrpSpPr/>
          <p:nvPr/>
        </p:nvGrpSpPr>
        <p:grpSpPr>
          <a:xfrm>
            <a:off x="9126096" y="3628796"/>
            <a:ext cx="350023" cy="350023"/>
            <a:chOff x="9126096" y="3628796"/>
            <a:chExt cx="350023" cy="350023"/>
          </a:xfrm>
        </p:grpSpPr>
        <p:pic>
          <p:nvPicPr>
            <p:cNvPr id="1704" name="object 1704">
              <a:extLst>
                <a:ext uri="{FF2B5EF4-FFF2-40B4-BE49-F238E27FC236}">
                  <a16:creationId xmlns:a16="http://schemas.microsoft.com/office/drawing/2014/main" id="{B7FE4177-6AB3-41CF-7EEE-3697F919E5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/>
            <a:stretch>
              <a:fillRect/>
            </a:stretch>
          </p:blipFill>
          <p:spPr>
            <a:xfrm>
              <a:off x="9162251" y="3664393"/>
              <a:ext cx="267791" cy="26779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05" name="object 1705">
              <a:extLst>
                <a:ext uri="{FF2B5EF4-FFF2-40B4-BE49-F238E27FC236}">
                  <a16:creationId xmlns:a16="http://schemas.microsoft.com/office/drawing/2014/main" id="{DD20BE83-6D80-72F8-A1E5-B654E29183EF}"/>
                </a:ext>
              </a:extLst>
            </p:cNvPr>
            <p:cNvSpPr/>
            <p:nvPr/>
          </p:nvSpPr>
          <p:spPr>
            <a:xfrm>
              <a:off x="9126096" y="362879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706" name="object 1706">
            <a:extLst>
              <a:ext uri="{FF2B5EF4-FFF2-40B4-BE49-F238E27FC236}">
                <a16:creationId xmlns:a16="http://schemas.microsoft.com/office/drawing/2014/main" id="{6E8D67C1-41B2-3F36-F13B-6BC56376E39E}"/>
              </a:ext>
            </a:extLst>
          </p:cNvPr>
          <p:cNvGrpSpPr/>
          <p:nvPr/>
        </p:nvGrpSpPr>
        <p:grpSpPr>
          <a:xfrm>
            <a:off x="9943386" y="4387437"/>
            <a:ext cx="350023" cy="350023"/>
            <a:chOff x="9943386" y="4387437"/>
            <a:chExt cx="350023" cy="350023"/>
          </a:xfrm>
        </p:grpSpPr>
        <p:pic>
          <p:nvPicPr>
            <p:cNvPr id="1707" name="object 1707">
              <a:extLst>
                <a:ext uri="{FF2B5EF4-FFF2-40B4-BE49-F238E27FC236}">
                  <a16:creationId xmlns:a16="http://schemas.microsoft.com/office/drawing/2014/main" id="{CFFEC3CA-66C9-2C7F-E822-D91FCC9687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/>
            <a:stretch>
              <a:fillRect/>
            </a:stretch>
          </p:blipFill>
          <p:spPr>
            <a:xfrm>
              <a:off x="9943395" y="4388370"/>
              <a:ext cx="349940" cy="34900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08" name="object 1708">
              <a:extLst>
                <a:ext uri="{FF2B5EF4-FFF2-40B4-BE49-F238E27FC236}">
                  <a16:creationId xmlns:a16="http://schemas.microsoft.com/office/drawing/2014/main" id="{E7A09955-2C9A-A92F-93B0-08EC13F42885}"/>
                </a:ext>
              </a:extLst>
            </p:cNvPr>
            <p:cNvSpPr/>
            <p:nvPr/>
          </p:nvSpPr>
          <p:spPr>
            <a:xfrm>
              <a:off x="9943386" y="438743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709" name="object 1709">
            <a:extLst>
              <a:ext uri="{FF2B5EF4-FFF2-40B4-BE49-F238E27FC236}">
                <a16:creationId xmlns:a16="http://schemas.microsoft.com/office/drawing/2014/main" id="{23D10946-5894-3BA6-7A95-A1A72B4108C3}"/>
              </a:ext>
            </a:extLst>
          </p:cNvPr>
          <p:cNvGrpSpPr/>
          <p:nvPr/>
        </p:nvGrpSpPr>
        <p:grpSpPr>
          <a:xfrm>
            <a:off x="8298024" y="5911852"/>
            <a:ext cx="350023" cy="350023"/>
            <a:chOff x="8298024" y="5911852"/>
            <a:chExt cx="350023" cy="350023"/>
          </a:xfrm>
        </p:grpSpPr>
        <p:pic>
          <p:nvPicPr>
            <p:cNvPr id="1710" name="object 1710">
              <a:extLst>
                <a:ext uri="{FF2B5EF4-FFF2-40B4-BE49-F238E27FC236}">
                  <a16:creationId xmlns:a16="http://schemas.microsoft.com/office/drawing/2014/main" id="{43D307D7-AD69-BEC8-41F5-8032CC0C1F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8298024" y="5911852"/>
              <a:ext cx="34993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11" name="object 1711">
              <a:extLst>
                <a:ext uri="{FF2B5EF4-FFF2-40B4-BE49-F238E27FC236}">
                  <a16:creationId xmlns:a16="http://schemas.microsoft.com/office/drawing/2014/main" id="{5A5E786C-3D55-F9F4-CED2-BCFDC719E7F3}"/>
                </a:ext>
              </a:extLst>
            </p:cNvPr>
            <p:cNvSpPr/>
            <p:nvPr/>
          </p:nvSpPr>
          <p:spPr>
            <a:xfrm>
              <a:off x="8298024" y="591185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712" name="object 1712">
            <a:extLst>
              <a:ext uri="{FF2B5EF4-FFF2-40B4-BE49-F238E27FC236}">
                <a16:creationId xmlns:a16="http://schemas.microsoft.com/office/drawing/2014/main" id="{5AA63272-C6E9-89B8-26AE-C9531DC6CA16}"/>
              </a:ext>
            </a:extLst>
          </p:cNvPr>
          <p:cNvGrpSpPr/>
          <p:nvPr/>
        </p:nvGrpSpPr>
        <p:grpSpPr>
          <a:xfrm>
            <a:off x="5834987" y="5918993"/>
            <a:ext cx="350023" cy="350023"/>
            <a:chOff x="5834987" y="5918993"/>
            <a:chExt cx="350023" cy="350023"/>
          </a:xfrm>
        </p:grpSpPr>
        <p:pic>
          <p:nvPicPr>
            <p:cNvPr id="1713" name="object 1713">
              <a:extLst>
                <a:ext uri="{FF2B5EF4-FFF2-40B4-BE49-F238E27FC236}">
                  <a16:creationId xmlns:a16="http://schemas.microsoft.com/office/drawing/2014/main" id="{7A9A4F89-2915-510A-9012-CB787EFA7B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/>
            <a:stretch>
              <a:fillRect/>
            </a:stretch>
          </p:blipFill>
          <p:spPr>
            <a:xfrm>
              <a:off x="5834987" y="5919094"/>
              <a:ext cx="349940" cy="34973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14" name="object 1714">
              <a:extLst>
                <a:ext uri="{FF2B5EF4-FFF2-40B4-BE49-F238E27FC236}">
                  <a16:creationId xmlns:a16="http://schemas.microsoft.com/office/drawing/2014/main" id="{124EFCD8-99C6-CB87-6808-4EB6D98C9BA2}"/>
                </a:ext>
              </a:extLst>
            </p:cNvPr>
            <p:cNvSpPr/>
            <p:nvPr/>
          </p:nvSpPr>
          <p:spPr>
            <a:xfrm>
              <a:off x="5834987" y="591899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1715" name="object 1715">
            <a:extLst>
              <a:ext uri="{FF2B5EF4-FFF2-40B4-BE49-F238E27FC236}">
                <a16:creationId xmlns:a16="http://schemas.microsoft.com/office/drawing/2014/main" id="{ED608A77-327A-79AE-2489-64832F9BBA1B}"/>
              </a:ext>
            </a:extLst>
          </p:cNvPr>
          <p:cNvSpPr txBox="1"/>
          <p:nvPr/>
        </p:nvSpPr>
        <p:spPr>
          <a:xfrm>
            <a:off x="2540120" y="3242334"/>
            <a:ext cx="456303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-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lement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polystyrene+</a:t>
            </a:r>
            <a:r>
              <a:rPr lang="en-US" sz="334" b="0" i="0" u="none" strike="noStrike" kern="1200" cap="none" spc="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grpSp>
        <p:nvGrpSpPr>
          <p:cNvPr id="1716" name="object 1716">
            <a:extLst>
              <a:ext uri="{FF2B5EF4-FFF2-40B4-BE49-F238E27FC236}">
                <a16:creationId xmlns:a16="http://schemas.microsoft.com/office/drawing/2014/main" id="{927F60B2-C0EC-FEC8-D4E5-E2A01094A464}"/>
              </a:ext>
            </a:extLst>
          </p:cNvPr>
          <p:cNvGrpSpPr/>
          <p:nvPr/>
        </p:nvGrpSpPr>
        <p:grpSpPr>
          <a:xfrm>
            <a:off x="2547829" y="1848496"/>
            <a:ext cx="350023" cy="124230"/>
            <a:chOff x="2547829" y="1848496"/>
            <a:chExt cx="350023" cy="124230"/>
          </a:xfrm>
        </p:grpSpPr>
        <p:sp>
          <p:nvSpPr>
            <p:cNvPr id="1717" name="object 1717">
              <a:extLst>
                <a:ext uri="{FF2B5EF4-FFF2-40B4-BE49-F238E27FC236}">
                  <a16:creationId xmlns:a16="http://schemas.microsoft.com/office/drawing/2014/main" id="{3E7CAB9F-12DB-2153-FCE8-0642A5A8820F}"/>
                </a:ext>
              </a:extLst>
            </p:cNvPr>
            <p:cNvSpPr/>
            <p:nvPr/>
          </p:nvSpPr>
          <p:spPr>
            <a:xfrm>
              <a:off x="2827736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8" name="object 1718">
              <a:extLst>
                <a:ext uri="{FF2B5EF4-FFF2-40B4-BE49-F238E27FC236}">
                  <a16:creationId xmlns:a16="http://schemas.microsoft.com/office/drawing/2014/main" id="{546EB8FA-2117-D0EE-84D8-568DB3F8E5C0}"/>
                </a:ext>
              </a:extLst>
            </p:cNvPr>
            <p:cNvSpPr/>
            <p:nvPr/>
          </p:nvSpPr>
          <p:spPr>
            <a:xfrm>
              <a:off x="2862757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9" name="object 1719">
              <a:extLst>
                <a:ext uri="{FF2B5EF4-FFF2-40B4-BE49-F238E27FC236}">
                  <a16:creationId xmlns:a16="http://schemas.microsoft.com/office/drawing/2014/main" id="{5CBB7D39-31E0-605D-79F9-141FDA3849A6}"/>
                </a:ext>
              </a:extLst>
            </p:cNvPr>
            <p:cNvSpPr/>
            <p:nvPr/>
          </p:nvSpPr>
          <p:spPr>
            <a:xfrm>
              <a:off x="2757693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0" name="object 1720">
              <a:extLst>
                <a:ext uri="{FF2B5EF4-FFF2-40B4-BE49-F238E27FC236}">
                  <a16:creationId xmlns:a16="http://schemas.microsoft.com/office/drawing/2014/main" id="{66D33181-DE24-6AC2-642E-2D69D2A3272D}"/>
                </a:ext>
              </a:extLst>
            </p:cNvPr>
            <p:cNvSpPr/>
            <p:nvPr/>
          </p:nvSpPr>
          <p:spPr>
            <a:xfrm>
              <a:off x="2652619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1" name="object 1721">
              <a:extLst>
                <a:ext uri="{FF2B5EF4-FFF2-40B4-BE49-F238E27FC236}">
                  <a16:creationId xmlns:a16="http://schemas.microsoft.com/office/drawing/2014/main" id="{E377E0D7-2DEE-CEEF-C10A-EDA10C0A1178}"/>
                </a:ext>
              </a:extLst>
            </p:cNvPr>
            <p:cNvSpPr/>
            <p:nvPr/>
          </p:nvSpPr>
          <p:spPr>
            <a:xfrm>
              <a:off x="2687714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2" name="object 1722">
              <a:extLst>
                <a:ext uri="{FF2B5EF4-FFF2-40B4-BE49-F238E27FC236}">
                  <a16:creationId xmlns:a16="http://schemas.microsoft.com/office/drawing/2014/main" id="{B6B5BF35-A34B-D312-A22E-CC34DFAF3D48}"/>
                </a:ext>
              </a:extLst>
            </p:cNvPr>
            <p:cNvSpPr/>
            <p:nvPr/>
          </p:nvSpPr>
          <p:spPr>
            <a:xfrm>
              <a:off x="2582576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3" name="object 1723">
              <a:extLst>
                <a:ext uri="{FF2B5EF4-FFF2-40B4-BE49-F238E27FC236}">
                  <a16:creationId xmlns:a16="http://schemas.microsoft.com/office/drawing/2014/main" id="{A043F547-A291-0EF8-393B-9DB38456112F}"/>
                </a:ext>
              </a:extLst>
            </p:cNvPr>
            <p:cNvSpPr/>
            <p:nvPr/>
          </p:nvSpPr>
          <p:spPr>
            <a:xfrm>
              <a:off x="2792714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4" name="object 1724">
              <a:extLst>
                <a:ext uri="{FF2B5EF4-FFF2-40B4-BE49-F238E27FC236}">
                  <a16:creationId xmlns:a16="http://schemas.microsoft.com/office/drawing/2014/main" id="{F43831C5-43C2-9EB3-BB55-35D5C34F6FED}"/>
                </a:ext>
              </a:extLst>
            </p:cNvPr>
            <p:cNvSpPr/>
            <p:nvPr/>
          </p:nvSpPr>
          <p:spPr>
            <a:xfrm>
              <a:off x="2617598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5" name="object 1725">
              <a:extLst>
                <a:ext uri="{FF2B5EF4-FFF2-40B4-BE49-F238E27FC236}">
                  <a16:creationId xmlns:a16="http://schemas.microsoft.com/office/drawing/2014/main" id="{1AF691B9-E37B-A404-5A86-DCCF88956664}"/>
                </a:ext>
              </a:extLst>
            </p:cNvPr>
            <p:cNvSpPr/>
            <p:nvPr/>
          </p:nvSpPr>
          <p:spPr>
            <a:xfrm>
              <a:off x="2897779" y="1848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6" name="object 1726">
              <a:extLst>
                <a:ext uri="{FF2B5EF4-FFF2-40B4-BE49-F238E27FC236}">
                  <a16:creationId xmlns:a16="http://schemas.microsoft.com/office/drawing/2014/main" id="{F63F1A95-B7E3-DD90-3696-F17C860084A3}"/>
                </a:ext>
              </a:extLst>
            </p:cNvPr>
            <p:cNvSpPr/>
            <p:nvPr/>
          </p:nvSpPr>
          <p:spPr>
            <a:xfrm>
              <a:off x="2722808" y="1848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7" name="object 1727">
              <a:extLst>
                <a:ext uri="{FF2B5EF4-FFF2-40B4-BE49-F238E27FC236}">
                  <a16:creationId xmlns:a16="http://schemas.microsoft.com/office/drawing/2014/main" id="{1D8A10BF-9301-B457-FEA7-04E86C199C45}"/>
                </a:ext>
              </a:extLst>
            </p:cNvPr>
            <p:cNvSpPr/>
            <p:nvPr/>
          </p:nvSpPr>
          <p:spPr>
            <a:xfrm>
              <a:off x="2547838" y="1848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8" name="object 1728">
              <a:extLst>
                <a:ext uri="{FF2B5EF4-FFF2-40B4-BE49-F238E27FC236}">
                  <a16:creationId xmlns:a16="http://schemas.microsoft.com/office/drawing/2014/main" id="{CFD62D10-80E7-EF10-ACC3-20437CC9B129}"/>
                </a:ext>
              </a:extLst>
            </p:cNvPr>
            <p:cNvSpPr/>
            <p:nvPr/>
          </p:nvSpPr>
          <p:spPr>
            <a:xfrm>
              <a:off x="2547829" y="187399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9" name="object 1729">
              <a:extLst>
                <a:ext uri="{FF2B5EF4-FFF2-40B4-BE49-F238E27FC236}">
                  <a16:creationId xmlns:a16="http://schemas.microsoft.com/office/drawing/2014/main" id="{38A33588-2F40-285B-AC37-396C23AD8264}"/>
                </a:ext>
              </a:extLst>
            </p:cNvPr>
            <p:cNvSpPr/>
            <p:nvPr/>
          </p:nvSpPr>
          <p:spPr>
            <a:xfrm>
              <a:off x="2547838" y="1848496"/>
              <a:ext cx="11898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6214"/>
                <a:gd name="f4" fmla="val 84455"/>
                <a:gd name="f5" fmla="val 195617"/>
                <a:gd name="f6" fmla="val 84123"/>
                <a:gd name="f7" fmla="*/ f0 1 196214"/>
                <a:gd name="f8" fmla="*/ f1 1 84455"/>
                <a:gd name="f9" fmla="+- f4 0 f2"/>
                <a:gd name="f10" fmla="+- f3 0 f2"/>
                <a:gd name="f11" fmla="*/ f10 1 19621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621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0" name="object 1730">
              <a:extLst>
                <a:ext uri="{FF2B5EF4-FFF2-40B4-BE49-F238E27FC236}">
                  <a16:creationId xmlns:a16="http://schemas.microsoft.com/office/drawing/2014/main" id="{FE889D2D-EB9D-1FFB-66BA-C9C7C344637D}"/>
                </a:ext>
              </a:extLst>
            </p:cNvPr>
            <p:cNvSpPr/>
            <p:nvPr/>
          </p:nvSpPr>
          <p:spPr>
            <a:xfrm>
              <a:off x="2897779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1" name="object 1731">
              <a:extLst>
                <a:ext uri="{FF2B5EF4-FFF2-40B4-BE49-F238E27FC236}">
                  <a16:creationId xmlns:a16="http://schemas.microsoft.com/office/drawing/2014/main" id="{CD6349BE-2A83-F797-3DC2-E475598D2C44}"/>
                </a:ext>
              </a:extLst>
            </p:cNvPr>
            <p:cNvSpPr/>
            <p:nvPr/>
          </p:nvSpPr>
          <p:spPr>
            <a:xfrm>
              <a:off x="2722808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2" name="object 1732">
              <a:extLst>
                <a:ext uri="{FF2B5EF4-FFF2-40B4-BE49-F238E27FC236}">
                  <a16:creationId xmlns:a16="http://schemas.microsoft.com/office/drawing/2014/main" id="{B640D6D9-E205-64A9-B594-AC5760FD2F1F}"/>
                </a:ext>
              </a:extLst>
            </p:cNvPr>
            <p:cNvSpPr/>
            <p:nvPr/>
          </p:nvSpPr>
          <p:spPr>
            <a:xfrm>
              <a:off x="2547838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3" name="object 1733">
              <a:extLst>
                <a:ext uri="{FF2B5EF4-FFF2-40B4-BE49-F238E27FC236}">
                  <a16:creationId xmlns:a16="http://schemas.microsoft.com/office/drawing/2014/main" id="{036E2889-A5F7-1CD4-A71D-7BFA9C34A70E}"/>
                </a:ext>
              </a:extLst>
            </p:cNvPr>
            <p:cNvSpPr/>
            <p:nvPr/>
          </p:nvSpPr>
          <p:spPr>
            <a:xfrm>
              <a:off x="2722808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4" name="object 1734">
              <a:extLst>
                <a:ext uri="{FF2B5EF4-FFF2-40B4-BE49-F238E27FC236}">
                  <a16:creationId xmlns:a16="http://schemas.microsoft.com/office/drawing/2014/main" id="{79547B2D-AADF-935A-DE92-EE97307C68C2}"/>
                </a:ext>
              </a:extLst>
            </p:cNvPr>
            <p:cNvSpPr/>
            <p:nvPr/>
          </p:nvSpPr>
          <p:spPr>
            <a:xfrm>
              <a:off x="2827736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5" name="object 1735">
              <a:extLst>
                <a:ext uri="{FF2B5EF4-FFF2-40B4-BE49-F238E27FC236}">
                  <a16:creationId xmlns:a16="http://schemas.microsoft.com/office/drawing/2014/main" id="{4B74A25A-5959-A91A-FD26-903ABAFAC5A2}"/>
                </a:ext>
              </a:extLst>
            </p:cNvPr>
            <p:cNvSpPr/>
            <p:nvPr/>
          </p:nvSpPr>
          <p:spPr>
            <a:xfrm>
              <a:off x="2862757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6" name="object 1736">
              <a:extLst>
                <a:ext uri="{FF2B5EF4-FFF2-40B4-BE49-F238E27FC236}">
                  <a16:creationId xmlns:a16="http://schemas.microsoft.com/office/drawing/2014/main" id="{CB789511-208E-E9BB-D40B-CEAA912BFD4F}"/>
                </a:ext>
              </a:extLst>
            </p:cNvPr>
            <p:cNvSpPr/>
            <p:nvPr/>
          </p:nvSpPr>
          <p:spPr>
            <a:xfrm>
              <a:off x="2757693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7" name="object 1737">
              <a:extLst>
                <a:ext uri="{FF2B5EF4-FFF2-40B4-BE49-F238E27FC236}">
                  <a16:creationId xmlns:a16="http://schemas.microsoft.com/office/drawing/2014/main" id="{80AFD292-0CE5-2D0B-AC75-6447EB17CD44}"/>
                </a:ext>
              </a:extLst>
            </p:cNvPr>
            <p:cNvSpPr/>
            <p:nvPr/>
          </p:nvSpPr>
          <p:spPr>
            <a:xfrm>
              <a:off x="2652619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8" name="object 1738">
              <a:extLst>
                <a:ext uri="{FF2B5EF4-FFF2-40B4-BE49-F238E27FC236}">
                  <a16:creationId xmlns:a16="http://schemas.microsoft.com/office/drawing/2014/main" id="{F9F6932C-0551-852A-B721-5B5464FA856C}"/>
                </a:ext>
              </a:extLst>
            </p:cNvPr>
            <p:cNvSpPr/>
            <p:nvPr/>
          </p:nvSpPr>
          <p:spPr>
            <a:xfrm>
              <a:off x="2687714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9" name="object 1739">
              <a:extLst>
                <a:ext uri="{FF2B5EF4-FFF2-40B4-BE49-F238E27FC236}">
                  <a16:creationId xmlns:a16="http://schemas.microsoft.com/office/drawing/2014/main" id="{11A724F8-4BAF-F104-1334-D4819F0F30D2}"/>
                </a:ext>
              </a:extLst>
            </p:cNvPr>
            <p:cNvSpPr/>
            <p:nvPr/>
          </p:nvSpPr>
          <p:spPr>
            <a:xfrm>
              <a:off x="2582576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0" name="object 1740">
              <a:extLst>
                <a:ext uri="{FF2B5EF4-FFF2-40B4-BE49-F238E27FC236}">
                  <a16:creationId xmlns:a16="http://schemas.microsoft.com/office/drawing/2014/main" id="{B97380CE-1513-57A8-E98D-CB0B6A38DB9F}"/>
                </a:ext>
              </a:extLst>
            </p:cNvPr>
            <p:cNvSpPr/>
            <p:nvPr/>
          </p:nvSpPr>
          <p:spPr>
            <a:xfrm>
              <a:off x="2792714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1" name="object 1741">
              <a:extLst>
                <a:ext uri="{FF2B5EF4-FFF2-40B4-BE49-F238E27FC236}">
                  <a16:creationId xmlns:a16="http://schemas.microsoft.com/office/drawing/2014/main" id="{8E198553-07F2-CE29-8E0E-F46545AE2EEC}"/>
                </a:ext>
              </a:extLst>
            </p:cNvPr>
            <p:cNvSpPr/>
            <p:nvPr/>
          </p:nvSpPr>
          <p:spPr>
            <a:xfrm>
              <a:off x="2617598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2" name="object 1742">
              <a:extLst>
                <a:ext uri="{FF2B5EF4-FFF2-40B4-BE49-F238E27FC236}">
                  <a16:creationId xmlns:a16="http://schemas.microsoft.com/office/drawing/2014/main" id="{85752A10-AF1C-9A74-E33C-A58ADE3E3E4D}"/>
                </a:ext>
              </a:extLst>
            </p:cNvPr>
            <p:cNvSpPr/>
            <p:nvPr/>
          </p:nvSpPr>
          <p:spPr>
            <a:xfrm>
              <a:off x="2547829" y="194702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3" name="object 1743">
              <a:extLst>
                <a:ext uri="{FF2B5EF4-FFF2-40B4-BE49-F238E27FC236}">
                  <a16:creationId xmlns:a16="http://schemas.microsoft.com/office/drawing/2014/main" id="{B7B50A5C-E3B1-1F14-494C-124A73703F02}"/>
                </a:ext>
              </a:extLst>
            </p:cNvPr>
            <p:cNvSpPr/>
            <p:nvPr/>
          </p:nvSpPr>
          <p:spPr>
            <a:xfrm>
              <a:off x="2547838" y="1921511"/>
              <a:ext cx="8355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7795"/>
                <a:gd name="f4" fmla="val 84454"/>
                <a:gd name="f5" fmla="val 137440"/>
                <a:gd name="f6" fmla="val 84133"/>
                <a:gd name="f7" fmla="*/ f0 1 137795"/>
                <a:gd name="f8" fmla="*/ f1 1 84454"/>
                <a:gd name="f9" fmla="+- f4 0 f2"/>
                <a:gd name="f10" fmla="+- f3 0 f2"/>
                <a:gd name="f11" fmla="*/ f10 1 13779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779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744" name="object 1744">
            <a:extLst>
              <a:ext uri="{FF2B5EF4-FFF2-40B4-BE49-F238E27FC236}">
                <a16:creationId xmlns:a16="http://schemas.microsoft.com/office/drawing/2014/main" id="{6E5AE205-A343-1321-D829-531C564C526F}"/>
              </a:ext>
            </a:extLst>
          </p:cNvPr>
          <p:cNvGrpSpPr/>
          <p:nvPr/>
        </p:nvGrpSpPr>
        <p:grpSpPr>
          <a:xfrm>
            <a:off x="2547829" y="3378909"/>
            <a:ext cx="350023" cy="124257"/>
            <a:chOff x="2547829" y="3378909"/>
            <a:chExt cx="350023" cy="124257"/>
          </a:xfrm>
        </p:grpSpPr>
        <p:sp>
          <p:nvSpPr>
            <p:cNvPr id="1745" name="object 1745">
              <a:extLst>
                <a:ext uri="{FF2B5EF4-FFF2-40B4-BE49-F238E27FC236}">
                  <a16:creationId xmlns:a16="http://schemas.microsoft.com/office/drawing/2014/main" id="{A2F94864-9DD7-B4B8-7274-E5D2134364C0}"/>
                </a:ext>
              </a:extLst>
            </p:cNvPr>
            <p:cNvSpPr/>
            <p:nvPr/>
          </p:nvSpPr>
          <p:spPr>
            <a:xfrm>
              <a:off x="2547838" y="3379028"/>
              <a:ext cx="11590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1135"/>
                <a:gd name="f4" fmla="val 84454"/>
                <a:gd name="f5" fmla="val 190968"/>
                <a:gd name="f6" fmla="val 84123"/>
                <a:gd name="f7" fmla="*/ f0 1 191135"/>
                <a:gd name="f8" fmla="*/ f1 1 84454"/>
                <a:gd name="f9" fmla="+- f4 0 f2"/>
                <a:gd name="f10" fmla="+- f3 0 f2"/>
                <a:gd name="f11" fmla="*/ f10 1 1911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11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6" name="object 1746">
              <a:extLst>
                <a:ext uri="{FF2B5EF4-FFF2-40B4-BE49-F238E27FC236}">
                  <a16:creationId xmlns:a16="http://schemas.microsoft.com/office/drawing/2014/main" id="{4D89A459-4A7B-F35F-E171-8B8B0C7530AC}"/>
                </a:ext>
              </a:extLst>
            </p:cNvPr>
            <p:cNvSpPr/>
            <p:nvPr/>
          </p:nvSpPr>
          <p:spPr>
            <a:xfrm>
              <a:off x="2652619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7" name="object 1747">
              <a:extLst>
                <a:ext uri="{FF2B5EF4-FFF2-40B4-BE49-F238E27FC236}">
                  <a16:creationId xmlns:a16="http://schemas.microsoft.com/office/drawing/2014/main" id="{7CAB6E38-5066-A08B-1AF8-A29DE3EB1FA6}"/>
                </a:ext>
              </a:extLst>
            </p:cNvPr>
            <p:cNvSpPr/>
            <p:nvPr/>
          </p:nvSpPr>
          <p:spPr>
            <a:xfrm>
              <a:off x="2687714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8" name="object 1748">
              <a:extLst>
                <a:ext uri="{FF2B5EF4-FFF2-40B4-BE49-F238E27FC236}">
                  <a16:creationId xmlns:a16="http://schemas.microsoft.com/office/drawing/2014/main" id="{86B9AC9D-3E83-0C69-77EC-6644D4447AF5}"/>
                </a:ext>
              </a:extLst>
            </p:cNvPr>
            <p:cNvSpPr/>
            <p:nvPr/>
          </p:nvSpPr>
          <p:spPr>
            <a:xfrm>
              <a:off x="2582576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9" name="object 1749">
              <a:extLst>
                <a:ext uri="{FF2B5EF4-FFF2-40B4-BE49-F238E27FC236}">
                  <a16:creationId xmlns:a16="http://schemas.microsoft.com/office/drawing/2014/main" id="{BEFD264A-90D1-8C35-2C43-F449360C0882}"/>
                </a:ext>
              </a:extLst>
            </p:cNvPr>
            <p:cNvSpPr/>
            <p:nvPr/>
          </p:nvSpPr>
          <p:spPr>
            <a:xfrm>
              <a:off x="2617598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0" name="object 1750">
              <a:extLst>
                <a:ext uri="{FF2B5EF4-FFF2-40B4-BE49-F238E27FC236}">
                  <a16:creationId xmlns:a16="http://schemas.microsoft.com/office/drawing/2014/main" id="{9F5CBF14-FB04-E04C-22A6-06771CD20079}"/>
                </a:ext>
              </a:extLst>
            </p:cNvPr>
            <p:cNvSpPr/>
            <p:nvPr/>
          </p:nvSpPr>
          <p:spPr>
            <a:xfrm>
              <a:off x="2547838" y="33789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1" name="object 1751">
              <a:extLst>
                <a:ext uri="{FF2B5EF4-FFF2-40B4-BE49-F238E27FC236}">
                  <a16:creationId xmlns:a16="http://schemas.microsoft.com/office/drawing/2014/main" id="{6F1D9AF7-2518-E924-7138-D66C1F2933A3}"/>
                </a:ext>
              </a:extLst>
            </p:cNvPr>
            <p:cNvSpPr/>
            <p:nvPr/>
          </p:nvSpPr>
          <p:spPr>
            <a:xfrm>
              <a:off x="2827736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2" name="object 1752">
              <a:extLst>
                <a:ext uri="{FF2B5EF4-FFF2-40B4-BE49-F238E27FC236}">
                  <a16:creationId xmlns:a16="http://schemas.microsoft.com/office/drawing/2014/main" id="{BA8C3DCD-365E-E843-7490-92FD51CC0DD5}"/>
                </a:ext>
              </a:extLst>
            </p:cNvPr>
            <p:cNvSpPr/>
            <p:nvPr/>
          </p:nvSpPr>
          <p:spPr>
            <a:xfrm>
              <a:off x="2862757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3" name="object 1753">
              <a:extLst>
                <a:ext uri="{FF2B5EF4-FFF2-40B4-BE49-F238E27FC236}">
                  <a16:creationId xmlns:a16="http://schemas.microsoft.com/office/drawing/2014/main" id="{C59F86AD-5A54-4237-1BA0-D743EC0A5507}"/>
                </a:ext>
              </a:extLst>
            </p:cNvPr>
            <p:cNvSpPr/>
            <p:nvPr/>
          </p:nvSpPr>
          <p:spPr>
            <a:xfrm>
              <a:off x="2757693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4" name="object 1754">
              <a:extLst>
                <a:ext uri="{FF2B5EF4-FFF2-40B4-BE49-F238E27FC236}">
                  <a16:creationId xmlns:a16="http://schemas.microsoft.com/office/drawing/2014/main" id="{9928D6C0-C6A9-6AB7-9033-9DFB4ED7E83F}"/>
                </a:ext>
              </a:extLst>
            </p:cNvPr>
            <p:cNvSpPr/>
            <p:nvPr/>
          </p:nvSpPr>
          <p:spPr>
            <a:xfrm>
              <a:off x="2792714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5" name="object 1755">
              <a:extLst>
                <a:ext uri="{FF2B5EF4-FFF2-40B4-BE49-F238E27FC236}">
                  <a16:creationId xmlns:a16="http://schemas.microsoft.com/office/drawing/2014/main" id="{0B711669-D94B-8243-AB68-36123EF1434A}"/>
                </a:ext>
              </a:extLst>
            </p:cNvPr>
            <p:cNvSpPr/>
            <p:nvPr/>
          </p:nvSpPr>
          <p:spPr>
            <a:xfrm>
              <a:off x="2897779" y="33789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6" name="object 1756">
              <a:extLst>
                <a:ext uri="{FF2B5EF4-FFF2-40B4-BE49-F238E27FC236}">
                  <a16:creationId xmlns:a16="http://schemas.microsoft.com/office/drawing/2014/main" id="{09FA27EA-C2F6-E018-F6CD-9D9FB9B05D92}"/>
                </a:ext>
              </a:extLst>
            </p:cNvPr>
            <p:cNvSpPr/>
            <p:nvPr/>
          </p:nvSpPr>
          <p:spPr>
            <a:xfrm>
              <a:off x="2722808" y="33789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7" name="object 1757">
              <a:extLst>
                <a:ext uri="{FF2B5EF4-FFF2-40B4-BE49-F238E27FC236}">
                  <a16:creationId xmlns:a16="http://schemas.microsoft.com/office/drawing/2014/main" id="{21B166A8-B314-09BA-CDC3-B94D1441832E}"/>
                </a:ext>
              </a:extLst>
            </p:cNvPr>
            <p:cNvSpPr/>
            <p:nvPr/>
          </p:nvSpPr>
          <p:spPr>
            <a:xfrm>
              <a:off x="2547829" y="340442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8" name="object 1758">
              <a:extLst>
                <a:ext uri="{FF2B5EF4-FFF2-40B4-BE49-F238E27FC236}">
                  <a16:creationId xmlns:a16="http://schemas.microsoft.com/office/drawing/2014/main" id="{AC011382-4874-81B6-66C5-36C73C91E44D}"/>
                </a:ext>
              </a:extLst>
            </p:cNvPr>
            <p:cNvSpPr/>
            <p:nvPr/>
          </p:nvSpPr>
          <p:spPr>
            <a:xfrm>
              <a:off x="2897779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9" name="object 1759">
              <a:extLst>
                <a:ext uri="{FF2B5EF4-FFF2-40B4-BE49-F238E27FC236}">
                  <a16:creationId xmlns:a16="http://schemas.microsoft.com/office/drawing/2014/main" id="{F47C0B73-4721-2C26-C9B4-27CA491AF052}"/>
                </a:ext>
              </a:extLst>
            </p:cNvPr>
            <p:cNvSpPr/>
            <p:nvPr/>
          </p:nvSpPr>
          <p:spPr>
            <a:xfrm>
              <a:off x="2722808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0" name="object 1760">
              <a:extLst>
                <a:ext uri="{FF2B5EF4-FFF2-40B4-BE49-F238E27FC236}">
                  <a16:creationId xmlns:a16="http://schemas.microsoft.com/office/drawing/2014/main" id="{4A99DA99-B904-BF0D-F7F7-28EF3FF69F1B}"/>
                </a:ext>
              </a:extLst>
            </p:cNvPr>
            <p:cNvSpPr/>
            <p:nvPr/>
          </p:nvSpPr>
          <p:spPr>
            <a:xfrm>
              <a:off x="2547838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1" name="object 1761">
              <a:extLst>
                <a:ext uri="{FF2B5EF4-FFF2-40B4-BE49-F238E27FC236}">
                  <a16:creationId xmlns:a16="http://schemas.microsoft.com/office/drawing/2014/main" id="{58CB7B47-5BAD-FA74-107A-6092D17F30DD}"/>
                </a:ext>
              </a:extLst>
            </p:cNvPr>
            <p:cNvSpPr/>
            <p:nvPr/>
          </p:nvSpPr>
          <p:spPr>
            <a:xfrm>
              <a:off x="2722808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2" name="object 1762">
              <a:extLst>
                <a:ext uri="{FF2B5EF4-FFF2-40B4-BE49-F238E27FC236}">
                  <a16:creationId xmlns:a16="http://schemas.microsoft.com/office/drawing/2014/main" id="{95A591E1-8B09-8294-6A2E-80BA59F3467E}"/>
                </a:ext>
              </a:extLst>
            </p:cNvPr>
            <p:cNvSpPr/>
            <p:nvPr/>
          </p:nvSpPr>
          <p:spPr>
            <a:xfrm>
              <a:off x="2827736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3" name="object 1763">
              <a:extLst>
                <a:ext uri="{FF2B5EF4-FFF2-40B4-BE49-F238E27FC236}">
                  <a16:creationId xmlns:a16="http://schemas.microsoft.com/office/drawing/2014/main" id="{3186377B-5437-6C3C-D477-B544EAC52E20}"/>
                </a:ext>
              </a:extLst>
            </p:cNvPr>
            <p:cNvSpPr/>
            <p:nvPr/>
          </p:nvSpPr>
          <p:spPr>
            <a:xfrm>
              <a:off x="2862757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4" name="object 1764">
              <a:extLst>
                <a:ext uri="{FF2B5EF4-FFF2-40B4-BE49-F238E27FC236}">
                  <a16:creationId xmlns:a16="http://schemas.microsoft.com/office/drawing/2014/main" id="{C3A1744B-04F9-3E6D-8CC5-7FD779BC942C}"/>
                </a:ext>
              </a:extLst>
            </p:cNvPr>
            <p:cNvSpPr/>
            <p:nvPr/>
          </p:nvSpPr>
          <p:spPr>
            <a:xfrm>
              <a:off x="2757693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5" name="object 1765">
              <a:extLst>
                <a:ext uri="{FF2B5EF4-FFF2-40B4-BE49-F238E27FC236}">
                  <a16:creationId xmlns:a16="http://schemas.microsoft.com/office/drawing/2014/main" id="{2ACEA2A1-B11B-3299-436F-D11237A862D1}"/>
                </a:ext>
              </a:extLst>
            </p:cNvPr>
            <p:cNvSpPr/>
            <p:nvPr/>
          </p:nvSpPr>
          <p:spPr>
            <a:xfrm>
              <a:off x="2652619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6" name="object 1766">
              <a:extLst>
                <a:ext uri="{FF2B5EF4-FFF2-40B4-BE49-F238E27FC236}">
                  <a16:creationId xmlns:a16="http://schemas.microsoft.com/office/drawing/2014/main" id="{1EECC81F-9224-500F-5D52-5A4B6EE862EE}"/>
                </a:ext>
              </a:extLst>
            </p:cNvPr>
            <p:cNvSpPr/>
            <p:nvPr/>
          </p:nvSpPr>
          <p:spPr>
            <a:xfrm>
              <a:off x="2687714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7" name="object 1767">
              <a:extLst>
                <a:ext uri="{FF2B5EF4-FFF2-40B4-BE49-F238E27FC236}">
                  <a16:creationId xmlns:a16="http://schemas.microsoft.com/office/drawing/2014/main" id="{A472B6EF-E6A2-97DF-256E-44F9B17EC876}"/>
                </a:ext>
              </a:extLst>
            </p:cNvPr>
            <p:cNvSpPr/>
            <p:nvPr/>
          </p:nvSpPr>
          <p:spPr>
            <a:xfrm>
              <a:off x="2582576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8" name="object 1768">
              <a:extLst>
                <a:ext uri="{FF2B5EF4-FFF2-40B4-BE49-F238E27FC236}">
                  <a16:creationId xmlns:a16="http://schemas.microsoft.com/office/drawing/2014/main" id="{C583C315-8662-2534-27CB-4E1F87955E59}"/>
                </a:ext>
              </a:extLst>
            </p:cNvPr>
            <p:cNvSpPr/>
            <p:nvPr/>
          </p:nvSpPr>
          <p:spPr>
            <a:xfrm>
              <a:off x="2792714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9" name="object 1769">
              <a:extLst>
                <a:ext uri="{FF2B5EF4-FFF2-40B4-BE49-F238E27FC236}">
                  <a16:creationId xmlns:a16="http://schemas.microsoft.com/office/drawing/2014/main" id="{765EEE51-6B19-50C2-AABD-51583718C12E}"/>
                </a:ext>
              </a:extLst>
            </p:cNvPr>
            <p:cNvSpPr/>
            <p:nvPr/>
          </p:nvSpPr>
          <p:spPr>
            <a:xfrm>
              <a:off x="2617598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0" name="object 1770">
              <a:extLst>
                <a:ext uri="{FF2B5EF4-FFF2-40B4-BE49-F238E27FC236}">
                  <a16:creationId xmlns:a16="http://schemas.microsoft.com/office/drawing/2014/main" id="{EAEEC161-BEF5-D891-3500-73CC891E6FD2}"/>
                </a:ext>
              </a:extLst>
            </p:cNvPr>
            <p:cNvSpPr/>
            <p:nvPr/>
          </p:nvSpPr>
          <p:spPr>
            <a:xfrm>
              <a:off x="2547829" y="347743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1" name="object 1771">
              <a:extLst>
                <a:ext uri="{FF2B5EF4-FFF2-40B4-BE49-F238E27FC236}">
                  <a16:creationId xmlns:a16="http://schemas.microsoft.com/office/drawing/2014/main" id="{6EAFB278-FBFE-B480-F81C-B5B377CECC7C}"/>
                </a:ext>
              </a:extLst>
            </p:cNvPr>
            <p:cNvSpPr/>
            <p:nvPr/>
          </p:nvSpPr>
          <p:spPr>
            <a:xfrm>
              <a:off x="2547838" y="3451951"/>
              <a:ext cx="8202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5254"/>
                <a:gd name="f4" fmla="val 84454"/>
                <a:gd name="f5" fmla="val 135116"/>
                <a:gd name="f6" fmla="val 84102"/>
                <a:gd name="f7" fmla="*/ f0 1 135254"/>
                <a:gd name="f8" fmla="*/ f1 1 84454"/>
                <a:gd name="f9" fmla="+- f4 0 f2"/>
                <a:gd name="f10" fmla="+- f3 0 f2"/>
                <a:gd name="f11" fmla="*/ f10 1 13525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525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772" name="object 1772">
            <a:extLst>
              <a:ext uri="{FF2B5EF4-FFF2-40B4-BE49-F238E27FC236}">
                <a16:creationId xmlns:a16="http://schemas.microsoft.com/office/drawing/2014/main" id="{1D470B34-5AF9-5B26-F168-373BFE3D8BD1}"/>
              </a:ext>
            </a:extLst>
          </p:cNvPr>
          <p:cNvGrpSpPr/>
          <p:nvPr/>
        </p:nvGrpSpPr>
        <p:grpSpPr>
          <a:xfrm>
            <a:off x="3369692" y="4145084"/>
            <a:ext cx="350023" cy="124239"/>
            <a:chOff x="3369692" y="4145084"/>
            <a:chExt cx="350023" cy="124239"/>
          </a:xfrm>
        </p:grpSpPr>
        <p:sp>
          <p:nvSpPr>
            <p:cNvPr id="1773" name="object 1773">
              <a:extLst>
                <a:ext uri="{FF2B5EF4-FFF2-40B4-BE49-F238E27FC236}">
                  <a16:creationId xmlns:a16="http://schemas.microsoft.com/office/drawing/2014/main" id="{F43AE951-68E1-04C6-28F1-F8B234E17F95}"/>
                </a:ext>
              </a:extLst>
            </p:cNvPr>
            <p:cNvSpPr/>
            <p:nvPr/>
          </p:nvSpPr>
          <p:spPr>
            <a:xfrm>
              <a:off x="3370158" y="4218108"/>
              <a:ext cx="86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2875"/>
                <a:gd name="f4" fmla="val 84454"/>
                <a:gd name="f5" fmla="val 142330"/>
                <a:gd name="f6" fmla="val 84123"/>
                <a:gd name="f7" fmla="*/ f0 1 142875"/>
                <a:gd name="f8" fmla="*/ f1 1 84454"/>
                <a:gd name="f9" fmla="+- f4 0 f2"/>
                <a:gd name="f10" fmla="+- f3 0 f2"/>
                <a:gd name="f11" fmla="*/ f10 1 1428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28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4" name="object 1774">
              <a:extLst>
                <a:ext uri="{FF2B5EF4-FFF2-40B4-BE49-F238E27FC236}">
                  <a16:creationId xmlns:a16="http://schemas.microsoft.com/office/drawing/2014/main" id="{4C0C1E78-4842-C040-8A72-08219CFE721B}"/>
                </a:ext>
              </a:extLst>
            </p:cNvPr>
            <p:cNvSpPr/>
            <p:nvPr/>
          </p:nvSpPr>
          <p:spPr>
            <a:xfrm>
              <a:off x="3369692" y="4145084"/>
              <a:ext cx="2398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95604"/>
                <a:gd name="f4" fmla="val 84454"/>
                <a:gd name="f5" fmla="val 395569"/>
                <a:gd name="f6" fmla="val 84123"/>
                <a:gd name="f7" fmla="*/ f0 1 395604"/>
                <a:gd name="f8" fmla="*/ f1 1 84454"/>
                <a:gd name="f9" fmla="+- f4 0 f2"/>
                <a:gd name="f10" fmla="+- f3 0 f2"/>
                <a:gd name="f11" fmla="*/ f10 1 3956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956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5" name="object 1775">
              <a:extLst>
                <a:ext uri="{FF2B5EF4-FFF2-40B4-BE49-F238E27FC236}">
                  <a16:creationId xmlns:a16="http://schemas.microsoft.com/office/drawing/2014/main" id="{415C884A-1715-A6F8-C141-F8D3155ED401}"/>
                </a:ext>
              </a:extLst>
            </p:cNvPr>
            <p:cNvSpPr/>
            <p:nvPr/>
          </p:nvSpPr>
          <p:spPr>
            <a:xfrm>
              <a:off x="3579546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6" name="object 1776">
              <a:extLst>
                <a:ext uri="{FF2B5EF4-FFF2-40B4-BE49-F238E27FC236}">
                  <a16:creationId xmlns:a16="http://schemas.microsoft.com/office/drawing/2014/main" id="{BEF2EE20-2B36-6CBC-D734-8301B8D63C9F}"/>
                </a:ext>
              </a:extLst>
            </p:cNvPr>
            <p:cNvSpPr/>
            <p:nvPr/>
          </p:nvSpPr>
          <p:spPr>
            <a:xfrm>
              <a:off x="3474482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7" name="object 1777">
              <a:extLst>
                <a:ext uri="{FF2B5EF4-FFF2-40B4-BE49-F238E27FC236}">
                  <a16:creationId xmlns:a16="http://schemas.microsoft.com/office/drawing/2014/main" id="{4A5A3D20-503A-0AE4-437C-F7B09FFC367C}"/>
                </a:ext>
              </a:extLst>
            </p:cNvPr>
            <p:cNvSpPr/>
            <p:nvPr/>
          </p:nvSpPr>
          <p:spPr>
            <a:xfrm>
              <a:off x="3509576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8" name="object 1778">
              <a:extLst>
                <a:ext uri="{FF2B5EF4-FFF2-40B4-BE49-F238E27FC236}">
                  <a16:creationId xmlns:a16="http://schemas.microsoft.com/office/drawing/2014/main" id="{C91AE81C-5B32-B858-1339-F8ADCA63BFF8}"/>
                </a:ext>
              </a:extLst>
            </p:cNvPr>
            <p:cNvSpPr/>
            <p:nvPr/>
          </p:nvSpPr>
          <p:spPr>
            <a:xfrm>
              <a:off x="3404439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9" name="object 1779">
              <a:extLst>
                <a:ext uri="{FF2B5EF4-FFF2-40B4-BE49-F238E27FC236}">
                  <a16:creationId xmlns:a16="http://schemas.microsoft.com/office/drawing/2014/main" id="{0565182D-CF84-8BC3-C72E-F34F194BDB4D}"/>
                </a:ext>
              </a:extLst>
            </p:cNvPr>
            <p:cNvSpPr/>
            <p:nvPr/>
          </p:nvSpPr>
          <p:spPr>
            <a:xfrm>
              <a:off x="3614568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0" name="object 1780">
              <a:extLst>
                <a:ext uri="{FF2B5EF4-FFF2-40B4-BE49-F238E27FC236}">
                  <a16:creationId xmlns:a16="http://schemas.microsoft.com/office/drawing/2014/main" id="{61B7AB80-F0F4-E04B-003C-90A56E610D6C}"/>
                </a:ext>
              </a:extLst>
            </p:cNvPr>
            <p:cNvSpPr/>
            <p:nvPr/>
          </p:nvSpPr>
          <p:spPr>
            <a:xfrm>
              <a:off x="3439460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1" name="object 1781">
              <a:extLst>
                <a:ext uri="{FF2B5EF4-FFF2-40B4-BE49-F238E27FC236}">
                  <a16:creationId xmlns:a16="http://schemas.microsoft.com/office/drawing/2014/main" id="{401755D2-FB5C-D52F-920B-59B80CEA2815}"/>
                </a:ext>
              </a:extLst>
            </p:cNvPr>
            <p:cNvSpPr/>
            <p:nvPr/>
          </p:nvSpPr>
          <p:spPr>
            <a:xfrm>
              <a:off x="354466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2" name="object 1782">
              <a:extLst>
                <a:ext uri="{FF2B5EF4-FFF2-40B4-BE49-F238E27FC236}">
                  <a16:creationId xmlns:a16="http://schemas.microsoft.com/office/drawing/2014/main" id="{E316732A-8DC7-EE1E-8C3A-A880F805AA16}"/>
                </a:ext>
              </a:extLst>
            </p:cNvPr>
            <p:cNvSpPr/>
            <p:nvPr/>
          </p:nvSpPr>
          <p:spPr>
            <a:xfrm>
              <a:off x="336969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3" name="object 1783">
              <a:extLst>
                <a:ext uri="{FF2B5EF4-FFF2-40B4-BE49-F238E27FC236}">
                  <a16:creationId xmlns:a16="http://schemas.microsoft.com/office/drawing/2014/main" id="{F2CBF798-926A-6E5B-3451-FEC19D2E7C36}"/>
                </a:ext>
              </a:extLst>
            </p:cNvPr>
            <p:cNvSpPr/>
            <p:nvPr/>
          </p:nvSpPr>
          <p:spPr>
            <a:xfrm>
              <a:off x="354466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4" name="object 1784">
              <a:extLst>
                <a:ext uri="{FF2B5EF4-FFF2-40B4-BE49-F238E27FC236}">
                  <a16:creationId xmlns:a16="http://schemas.microsoft.com/office/drawing/2014/main" id="{0B195F9B-65A4-031B-8B5B-8097C1AB9E04}"/>
                </a:ext>
              </a:extLst>
            </p:cNvPr>
            <p:cNvSpPr/>
            <p:nvPr/>
          </p:nvSpPr>
          <p:spPr>
            <a:xfrm>
              <a:off x="3649589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5" name="object 1785">
              <a:extLst>
                <a:ext uri="{FF2B5EF4-FFF2-40B4-BE49-F238E27FC236}">
                  <a16:creationId xmlns:a16="http://schemas.microsoft.com/office/drawing/2014/main" id="{9D896AF9-70C9-ED32-AB59-E6AE681D4791}"/>
                </a:ext>
              </a:extLst>
            </p:cNvPr>
            <p:cNvSpPr/>
            <p:nvPr/>
          </p:nvSpPr>
          <p:spPr>
            <a:xfrm>
              <a:off x="3684611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6" name="object 1786">
              <a:extLst>
                <a:ext uri="{FF2B5EF4-FFF2-40B4-BE49-F238E27FC236}">
                  <a16:creationId xmlns:a16="http://schemas.microsoft.com/office/drawing/2014/main" id="{9598B94D-C842-5670-6E72-190BC52D2BB9}"/>
                </a:ext>
              </a:extLst>
            </p:cNvPr>
            <p:cNvSpPr/>
            <p:nvPr/>
          </p:nvSpPr>
          <p:spPr>
            <a:xfrm>
              <a:off x="371963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7" name="object 1787">
              <a:extLst>
                <a:ext uri="{FF2B5EF4-FFF2-40B4-BE49-F238E27FC236}">
                  <a16:creationId xmlns:a16="http://schemas.microsoft.com/office/drawing/2014/main" id="{264282F9-1B73-01AF-035D-34BE8532454B}"/>
                </a:ext>
              </a:extLst>
            </p:cNvPr>
            <p:cNvSpPr/>
            <p:nvPr/>
          </p:nvSpPr>
          <p:spPr>
            <a:xfrm>
              <a:off x="3369692" y="417058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8" name="object 1788">
              <a:extLst>
                <a:ext uri="{FF2B5EF4-FFF2-40B4-BE49-F238E27FC236}">
                  <a16:creationId xmlns:a16="http://schemas.microsoft.com/office/drawing/2014/main" id="{DCA5C9F6-B6B0-D78A-7179-AAABC72CC48B}"/>
                </a:ext>
              </a:extLst>
            </p:cNvPr>
            <p:cNvSpPr/>
            <p:nvPr/>
          </p:nvSpPr>
          <p:spPr>
            <a:xfrm>
              <a:off x="3649589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9" name="object 1789">
              <a:extLst>
                <a:ext uri="{FF2B5EF4-FFF2-40B4-BE49-F238E27FC236}">
                  <a16:creationId xmlns:a16="http://schemas.microsoft.com/office/drawing/2014/main" id="{1E7B9A20-C144-8124-6730-311F0EC852C9}"/>
                </a:ext>
              </a:extLst>
            </p:cNvPr>
            <p:cNvSpPr/>
            <p:nvPr/>
          </p:nvSpPr>
          <p:spPr>
            <a:xfrm>
              <a:off x="3684611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0" name="object 1790">
              <a:extLst>
                <a:ext uri="{FF2B5EF4-FFF2-40B4-BE49-F238E27FC236}">
                  <a16:creationId xmlns:a16="http://schemas.microsoft.com/office/drawing/2014/main" id="{483B9C75-F5B2-33F0-CF0A-751A0ACE1306}"/>
                </a:ext>
              </a:extLst>
            </p:cNvPr>
            <p:cNvSpPr/>
            <p:nvPr/>
          </p:nvSpPr>
          <p:spPr>
            <a:xfrm>
              <a:off x="3579546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1" name="object 1791">
              <a:extLst>
                <a:ext uri="{FF2B5EF4-FFF2-40B4-BE49-F238E27FC236}">
                  <a16:creationId xmlns:a16="http://schemas.microsoft.com/office/drawing/2014/main" id="{66D6B9A2-74BC-330D-1C1B-947D62F41B57}"/>
                </a:ext>
              </a:extLst>
            </p:cNvPr>
            <p:cNvSpPr/>
            <p:nvPr/>
          </p:nvSpPr>
          <p:spPr>
            <a:xfrm>
              <a:off x="3474482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2" name="object 1792">
              <a:extLst>
                <a:ext uri="{FF2B5EF4-FFF2-40B4-BE49-F238E27FC236}">
                  <a16:creationId xmlns:a16="http://schemas.microsoft.com/office/drawing/2014/main" id="{DF2DED69-8704-E97E-F20C-E04887ECA7F5}"/>
                </a:ext>
              </a:extLst>
            </p:cNvPr>
            <p:cNvSpPr/>
            <p:nvPr/>
          </p:nvSpPr>
          <p:spPr>
            <a:xfrm>
              <a:off x="3509576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3" name="object 1793">
              <a:extLst>
                <a:ext uri="{FF2B5EF4-FFF2-40B4-BE49-F238E27FC236}">
                  <a16:creationId xmlns:a16="http://schemas.microsoft.com/office/drawing/2014/main" id="{362627EA-A5AA-A3FC-0552-D003B1977D3F}"/>
                </a:ext>
              </a:extLst>
            </p:cNvPr>
            <p:cNvSpPr/>
            <p:nvPr/>
          </p:nvSpPr>
          <p:spPr>
            <a:xfrm>
              <a:off x="3404439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4" name="object 1794">
              <a:extLst>
                <a:ext uri="{FF2B5EF4-FFF2-40B4-BE49-F238E27FC236}">
                  <a16:creationId xmlns:a16="http://schemas.microsoft.com/office/drawing/2014/main" id="{14D2DED1-D732-70BE-1DF8-25B6517A0A9A}"/>
                </a:ext>
              </a:extLst>
            </p:cNvPr>
            <p:cNvSpPr/>
            <p:nvPr/>
          </p:nvSpPr>
          <p:spPr>
            <a:xfrm>
              <a:off x="3614568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5" name="object 1795">
              <a:extLst>
                <a:ext uri="{FF2B5EF4-FFF2-40B4-BE49-F238E27FC236}">
                  <a16:creationId xmlns:a16="http://schemas.microsoft.com/office/drawing/2014/main" id="{003DACF9-6DD2-CA97-B5EC-222885D9953B}"/>
                </a:ext>
              </a:extLst>
            </p:cNvPr>
            <p:cNvSpPr/>
            <p:nvPr/>
          </p:nvSpPr>
          <p:spPr>
            <a:xfrm>
              <a:off x="3439460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6" name="object 1796">
              <a:extLst>
                <a:ext uri="{FF2B5EF4-FFF2-40B4-BE49-F238E27FC236}">
                  <a16:creationId xmlns:a16="http://schemas.microsoft.com/office/drawing/2014/main" id="{F38C2B30-6FD9-4623-3796-3BAFABA21BFA}"/>
                </a:ext>
              </a:extLst>
            </p:cNvPr>
            <p:cNvSpPr/>
            <p:nvPr/>
          </p:nvSpPr>
          <p:spPr>
            <a:xfrm>
              <a:off x="371963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7" name="object 1797">
              <a:extLst>
                <a:ext uri="{FF2B5EF4-FFF2-40B4-BE49-F238E27FC236}">
                  <a16:creationId xmlns:a16="http://schemas.microsoft.com/office/drawing/2014/main" id="{6ED3EAD1-8E0A-5572-0162-E41B87DAE413}"/>
                </a:ext>
              </a:extLst>
            </p:cNvPr>
            <p:cNvSpPr/>
            <p:nvPr/>
          </p:nvSpPr>
          <p:spPr>
            <a:xfrm>
              <a:off x="354466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8" name="object 1798">
              <a:extLst>
                <a:ext uri="{FF2B5EF4-FFF2-40B4-BE49-F238E27FC236}">
                  <a16:creationId xmlns:a16="http://schemas.microsoft.com/office/drawing/2014/main" id="{C22AA700-FB18-64ED-5B5C-7923353D3E24}"/>
                </a:ext>
              </a:extLst>
            </p:cNvPr>
            <p:cNvSpPr/>
            <p:nvPr/>
          </p:nvSpPr>
          <p:spPr>
            <a:xfrm>
              <a:off x="336969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9" name="object 1799">
              <a:extLst>
                <a:ext uri="{FF2B5EF4-FFF2-40B4-BE49-F238E27FC236}">
                  <a16:creationId xmlns:a16="http://schemas.microsoft.com/office/drawing/2014/main" id="{4703A28C-FE27-2128-18B3-EF23EAE08825}"/>
                </a:ext>
              </a:extLst>
            </p:cNvPr>
            <p:cNvSpPr/>
            <p:nvPr/>
          </p:nvSpPr>
          <p:spPr>
            <a:xfrm>
              <a:off x="354466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0" name="object 1800">
              <a:extLst>
                <a:ext uri="{FF2B5EF4-FFF2-40B4-BE49-F238E27FC236}">
                  <a16:creationId xmlns:a16="http://schemas.microsoft.com/office/drawing/2014/main" id="{323A3878-59DE-1397-BB8D-5B902D353944}"/>
                </a:ext>
              </a:extLst>
            </p:cNvPr>
            <p:cNvSpPr/>
            <p:nvPr/>
          </p:nvSpPr>
          <p:spPr>
            <a:xfrm>
              <a:off x="3369692" y="424361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01" name="object 1801">
            <a:extLst>
              <a:ext uri="{FF2B5EF4-FFF2-40B4-BE49-F238E27FC236}">
                <a16:creationId xmlns:a16="http://schemas.microsoft.com/office/drawing/2014/main" id="{31D709EB-75B8-AAFC-07CA-7B011C60622A}"/>
              </a:ext>
            </a:extLst>
          </p:cNvPr>
          <p:cNvGrpSpPr/>
          <p:nvPr/>
        </p:nvGrpSpPr>
        <p:grpSpPr>
          <a:xfrm>
            <a:off x="3369692" y="4906094"/>
            <a:ext cx="350023" cy="124248"/>
            <a:chOff x="3369692" y="4906094"/>
            <a:chExt cx="350023" cy="124248"/>
          </a:xfrm>
        </p:grpSpPr>
        <p:sp>
          <p:nvSpPr>
            <p:cNvPr id="1802" name="object 1802">
              <a:extLst>
                <a:ext uri="{FF2B5EF4-FFF2-40B4-BE49-F238E27FC236}">
                  <a16:creationId xmlns:a16="http://schemas.microsoft.com/office/drawing/2014/main" id="{FEFE67C9-8689-DA62-19C1-DF7DCD19BC35}"/>
                </a:ext>
              </a:extLst>
            </p:cNvPr>
            <p:cNvSpPr/>
            <p:nvPr/>
          </p:nvSpPr>
          <p:spPr>
            <a:xfrm>
              <a:off x="3370158" y="4979127"/>
              <a:ext cx="8510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0335"/>
                <a:gd name="f4" fmla="val 84454"/>
                <a:gd name="f5" fmla="val 139995"/>
                <a:gd name="f6" fmla="val 84123"/>
                <a:gd name="f7" fmla="*/ f0 1 140335"/>
                <a:gd name="f8" fmla="*/ f1 1 84454"/>
                <a:gd name="f9" fmla="+- f4 0 f2"/>
                <a:gd name="f10" fmla="+- f3 0 f2"/>
                <a:gd name="f11" fmla="*/ f10 1 1403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03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3" name="object 1803">
              <a:extLst>
                <a:ext uri="{FF2B5EF4-FFF2-40B4-BE49-F238E27FC236}">
                  <a16:creationId xmlns:a16="http://schemas.microsoft.com/office/drawing/2014/main" id="{93D1F72A-EB12-9B39-A0B8-D20584C5E5F3}"/>
                </a:ext>
              </a:extLst>
            </p:cNvPr>
            <p:cNvSpPr/>
            <p:nvPr/>
          </p:nvSpPr>
          <p:spPr>
            <a:xfrm>
              <a:off x="3369692" y="4906094"/>
              <a:ext cx="18521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5435"/>
                <a:gd name="f4" fmla="val 84454"/>
                <a:gd name="f5" fmla="val 304817"/>
                <a:gd name="f6" fmla="val 84123"/>
                <a:gd name="f7" fmla="*/ f0 1 305435"/>
                <a:gd name="f8" fmla="*/ f1 1 84454"/>
                <a:gd name="f9" fmla="+- f4 0 f2"/>
                <a:gd name="f10" fmla="+- f3 0 f2"/>
                <a:gd name="f11" fmla="*/ f10 1 3054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54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4" name="object 1804">
              <a:extLst>
                <a:ext uri="{FF2B5EF4-FFF2-40B4-BE49-F238E27FC236}">
                  <a16:creationId xmlns:a16="http://schemas.microsoft.com/office/drawing/2014/main" id="{86E68EF0-7ADD-20EA-9A58-4759699175B1}"/>
                </a:ext>
              </a:extLst>
            </p:cNvPr>
            <p:cNvSpPr/>
            <p:nvPr/>
          </p:nvSpPr>
          <p:spPr>
            <a:xfrm>
              <a:off x="3579546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5" name="object 1805">
              <a:extLst>
                <a:ext uri="{FF2B5EF4-FFF2-40B4-BE49-F238E27FC236}">
                  <a16:creationId xmlns:a16="http://schemas.microsoft.com/office/drawing/2014/main" id="{FE7EA707-55C4-C615-F67E-8F95712698B7}"/>
                </a:ext>
              </a:extLst>
            </p:cNvPr>
            <p:cNvSpPr/>
            <p:nvPr/>
          </p:nvSpPr>
          <p:spPr>
            <a:xfrm>
              <a:off x="3474482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6" name="object 1806">
              <a:extLst>
                <a:ext uri="{FF2B5EF4-FFF2-40B4-BE49-F238E27FC236}">
                  <a16:creationId xmlns:a16="http://schemas.microsoft.com/office/drawing/2014/main" id="{02E7D36D-AC3D-A9CB-46BB-F8F4EC0C6E38}"/>
                </a:ext>
              </a:extLst>
            </p:cNvPr>
            <p:cNvSpPr/>
            <p:nvPr/>
          </p:nvSpPr>
          <p:spPr>
            <a:xfrm>
              <a:off x="3509576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7" name="object 1807">
              <a:extLst>
                <a:ext uri="{FF2B5EF4-FFF2-40B4-BE49-F238E27FC236}">
                  <a16:creationId xmlns:a16="http://schemas.microsoft.com/office/drawing/2014/main" id="{2FC8A8B7-3985-6300-FE1F-93972F372245}"/>
                </a:ext>
              </a:extLst>
            </p:cNvPr>
            <p:cNvSpPr/>
            <p:nvPr/>
          </p:nvSpPr>
          <p:spPr>
            <a:xfrm>
              <a:off x="3404439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8" name="object 1808">
              <a:extLst>
                <a:ext uri="{FF2B5EF4-FFF2-40B4-BE49-F238E27FC236}">
                  <a16:creationId xmlns:a16="http://schemas.microsoft.com/office/drawing/2014/main" id="{90442640-22BD-6C8A-0867-FC8FFFEB7B47}"/>
                </a:ext>
              </a:extLst>
            </p:cNvPr>
            <p:cNvSpPr/>
            <p:nvPr/>
          </p:nvSpPr>
          <p:spPr>
            <a:xfrm>
              <a:off x="3439460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9" name="object 1809">
              <a:extLst>
                <a:ext uri="{FF2B5EF4-FFF2-40B4-BE49-F238E27FC236}">
                  <a16:creationId xmlns:a16="http://schemas.microsoft.com/office/drawing/2014/main" id="{09475A88-1184-61A9-11BA-0FAE632F8D00}"/>
                </a:ext>
              </a:extLst>
            </p:cNvPr>
            <p:cNvSpPr/>
            <p:nvPr/>
          </p:nvSpPr>
          <p:spPr>
            <a:xfrm>
              <a:off x="354466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0" name="object 1810">
              <a:extLst>
                <a:ext uri="{FF2B5EF4-FFF2-40B4-BE49-F238E27FC236}">
                  <a16:creationId xmlns:a16="http://schemas.microsoft.com/office/drawing/2014/main" id="{2F8EC93D-018C-6D3C-C7E4-F1BA903C1D29}"/>
                </a:ext>
              </a:extLst>
            </p:cNvPr>
            <p:cNvSpPr/>
            <p:nvPr/>
          </p:nvSpPr>
          <p:spPr>
            <a:xfrm>
              <a:off x="336969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1" name="object 1811">
              <a:extLst>
                <a:ext uri="{FF2B5EF4-FFF2-40B4-BE49-F238E27FC236}">
                  <a16:creationId xmlns:a16="http://schemas.microsoft.com/office/drawing/2014/main" id="{A5668809-3DA4-886F-ABC9-511B367690C8}"/>
                </a:ext>
              </a:extLst>
            </p:cNvPr>
            <p:cNvSpPr/>
            <p:nvPr/>
          </p:nvSpPr>
          <p:spPr>
            <a:xfrm>
              <a:off x="354466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2" name="object 1812">
              <a:extLst>
                <a:ext uri="{FF2B5EF4-FFF2-40B4-BE49-F238E27FC236}">
                  <a16:creationId xmlns:a16="http://schemas.microsoft.com/office/drawing/2014/main" id="{1B5A2E62-942C-8EEB-1F69-776A9C68EFDF}"/>
                </a:ext>
              </a:extLst>
            </p:cNvPr>
            <p:cNvSpPr/>
            <p:nvPr/>
          </p:nvSpPr>
          <p:spPr>
            <a:xfrm>
              <a:off x="3649589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3" name="object 1813">
              <a:extLst>
                <a:ext uri="{FF2B5EF4-FFF2-40B4-BE49-F238E27FC236}">
                  <a16:creationId xmlns:a16="http://schemas.microsoft.com/office/drawing/2014/main" id="{5F933210-7CE8-B749-AC44-AD99138526A3}"/>
                </a:ext>
              </a:extLst>
            </p:cNvPr>
            <p:cNvSpPr/>
            <p:nvPr/>
          </p:nvSpPr>
          <p:spPr>
            <a:xfrm>
              <a:off x="3684611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4" name="object 1814">
              <a:extLst>
                <a:ext uri="{FF2B5EF4-FFF2-40B4-BE49-F238E27FC236}">
                  <a16:creationId xmlns:a16="http://schemas.microsoft.com/office/drawing/2014/main" id="{EFEA347B-382C-CBF5-2A7B-32B348D5E870}"/>
                </a:ext>
              </a:extLst>
            </p:cNvPr>
            <p:cNvSpPr/>
            <p:nvPr/>
          </p:nvSpPr>
          <p:spPr>
            <a:xfrm>
              <a:off x="3614568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5" name="object 1815">
              <a:extLst>
                <a:ext uri="{FF2B5EF4-FFF2-40B4-BE49-F238E27FC236}">
                  <a16:creationId xmlns:a16="http://schemas.microsoft.com/office/drawing/2014/main" id="{30FF1205-4B9F-0415-D554-E28037AF2F70}"/>
                </a:ext>
              </a:extLst>
            </p:cNvPr>
            <p:cNvSpPr/>
            <p:nvPr/>
          </p:nvSpPr>
          <p:spPr>
            <a:xfrm>
              <a:off x="371963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6" name="object 1816">
              <a:extLst>
                <a:ext uri="{FF2B5EF4-FFF2-40B4-BE49-F238E27FC236}">
                  <a16:creationId xmlns:a16="http://schemas.microsoft.com/office/drawing/2014/main" id="{BE428679-E43F-64AF-D9D3-3CB3A7365AAB}"/>
                </a:ext>
              </a:extLst>
            </p:cNvPr>
            <p:cNvSpPr/>
            <p:nvPr/>
          </p:nvSpPr>
          <p:spPr>
            <a:xfrm>
              <a:off x="3369692" y="49316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7" name="object 1817">
              <a:extLst>
                <a:ext uri="{FF2B5EF4-FFF2-40B4-BE49-F238E27FC236}">
                  <a16:creationId xmlns:a16="http://schemas.microsoft.com/office/drawing/2014/main" id="{058ED8B3-E9EF-27E9-57A4-A8619353B5C6}"/>
                </a:ext>
              </a:extLst>
            </p:cNvPr>
            <p:cNvSpPr/>
            <p:nvPr/>
          </p:nvSpPr>
          <p:spPr>
            <a:xfrm>
              <a:off x="3649589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8" name="object 1818">
              <a:extLst>
                <a:ext uri="{FF2B5EF4-FFF2-40B4-BE49-F238E27FC236}">
                  <a16:creationId xmlns:a16="http://schemas.microsoft.com/office/drawing/2014/main" id="{0AEC5F85-4A0A-6F98-3D82-6AA553B41573}"/>
                </a:ext>
              </a:extLst>
            </p:cNvPr>
            <p:cNvSpPr/>
            <p:nvPr/>
          </p:nvSpPr>
          <p:spPr>
            <a:xfrm>
              <a:off x="3684611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9" name="object 1819">
              <a:extLst>
                <a:ext uri="{FF2B5EF4-FFF2-40B4-BE49-F238E27FC236}">
                  <a16:creationId xmlns:a16="http://schemas.microsoft.com/office/drawing/2014/main" id="{3533A413-D35D-B1AE-480D-F4236DF6C2B2}"/>
                </a:ext>
              </a:extLst>
            </p:cNvPr>
            <p:cNvSpPr/>
            <p:nvPr/>
          </p:nvSpPr>
          <p:spPr>
            <a:xfrm>
              <a:off x="3579546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0" name="object 1820">
              <a:extLst>
                <a:ext uri="{FF2B5EF4-FFF2-40B4-BE49-F238E27FC236}">
                  <a16:creationId xmlns:a16="http://schemas.microsoft.com/office/drawing/2014/main" id="{8C9CB9CA-D2DD-0663-15C7-F1DCFA989313}"/>
                </a:ext>
              </a:extLst>
            </p:cNvPr>
            <p:cNvSpPr/>
            <p:nvPr/>
          </p:nvSpPr>
          <p:spPr>
            <a:xfrm>
              <a:off x="3474482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1" name="object 1821">
              <a:extLst>
                <a:ext uri="{FF2B5EF4-FFF2-40B4-BE49-F238E27FC236}">
                  <a16:creationId xmlns:a16="http://schemas.microsoft.com/office/drawing/2014/main" id="{4B46C05D-1E5D-CED4-2F5A-C99EBD947048}"/>
                </a:ext>
              </a:extLst>
            </p:cNvPr>
            <p:cNvSpPr/>
            <p:nvPr/>
          </p:nvSpPr>
          <p:spPr>
            <a:xfrm>
              <a:off x="3509576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2" name="object 1822">
              <a:extLst>
                <a:ext uri="{FF2B5EF4-FFF2-40B4-BE49-F238E27FC236}">
                  <a16:creationId xmlns:a16="http://schemas.microsoft.com/office/drawing/2014/main" id="{954251F7-BC9C-8EB7-04A1-0A7400A54251}"/>
                </a:ext>
              </a:extLst>
            </p:cNvPr>
            <p:cNvSpPr/>
            <p:nvPr/>
          </p:nvSpPr>
          <p:spPr>
            <a:xfrm>
              <a:off x="3404439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3" name="object 1823">
              <a:extLst>
                <a:ext uri="{FF2B5EF4-FFF2-40B4-BE49-F238E27FC236}">
                  <a16:creationId xmlns:a16="http://schemas.microsoft.com/office/drawing/2014/main" id="{D258B9E8-9D72-6FB1-05D0-81C8F4619195}"/>
                </a:ext>
              </a:extLst>
            </p:cNvPr>
            <p:cNvSpPr/>
            <p:nvPr/>
          </p:nvSpPr>
          <p:spPr>
            <a:xfrm>
              <a:off x="3614568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4" name="object 1824">
              <a:extLst>
                <a:ext uri="{FF2B5EF4-FFF2-40B4-BE49-F238E27FC236}">
                  <a16:creationId xmlns:a16="http://schemas.microsoft.com/office/drawing/2014/main" id="{0AD2D6F6-0191-AA5D-AF7A-5C2B4D0E07DF}"/>
                </a:ext>
              </a:extLst>
            </p:cNvPr>
            <p:cNvSpPr/>
            <p:nvPr/>
          </p:nvSpPr>
          <p:spPr>
            <a:xfrm>
              <a:off x="3439460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5" name="object 1825">
              <a:extLst>
                <a:ext uri="{FF2B5EF4-FFF2-40B4-BE49-F238E27FC236}">
                  <a16:creationId xmlns:a16="http://schemas.microsoft.com/office/drawing/2014/main" id="{99947E6C-58B2-3018-91A5-14FF3100B8DE}"/>
                </a:ext>
              </a:extLst>
            </p:cNvPr>
            <p:cNvSpPr/>
            <p:nvPr/>
          </p:nvSpPr>
          <p:spPr>
            <a:xfrm>
              <a:off x="371963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6" name="object 1826">
              <a:extLst>
                <a:ext uri="{FF2B5EF4-FFF2-40B4-BE49-F238E27FC236}">
                  <a16:creationId xmlns:a16="http://schemas.microsoft.com/office/drawing/2014/main" id="{043EAFED-CAAA-4C05-FF6B-5C1C3ED24F34}"/>
                </a:ext>
              </a:extLst>
            </p:cNvPr>
            <p:cNvSpPr/>
            <p:nvPr/>
          </p:nvSpPr>
          <p:spPr>
            <a:xfrm>
              <a:off x="354466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7" name="object 1827">
              <a:extLst>
                <a:ext uri="{FF2B5EF4-FFF2-40B4-BE49-F238E27FC236}">
                  <a16:creationId xmlns:a16="http://schemas.microsoft.com/office/drawing/2014/main" id="{FC81CFB4-096F-6926-9BBD-CA2F69B48336}"/>
                </a:ext>
              </a:extLst>
            </p:cNvPr>
            <p:cNvSpPr/>
            <p:nvPr/>
          </p:nvSpPr>
          <p:spPr>
            <a:xfrm>
              <a:off x="336969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8" name="object 1828">
              <a:extLst>
                <a:ext uri="{FF2B5EF4-FFF2-40B4-BE49-F238E27FC236}">
                  <a16:creationId xmlns:a16="http://schemas.microsoft.com/office/drawing/2014/main" id="{E3818A8F-F9BB-FB39-F6EF-0849035E2DC6}"/>
                </a:ext>
              </a:extLst>
            </p:cNvPr>
            <p:cNvSpPr/>
            <p:nvPr/>
          </p:nvSpPr>
          <p:spPr>
            <a:xfrm>
              <a:off x="354466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9" name="object 1829">
              <a:extLst>
                <a:ext uri="{FF2B5EF4-FFF2-40B4-BE49-F238E27FC236}">
                  <a16:creationId xmlns:a16="http://schemas.microsoft.com/office/drawing/2014/main" id="{738CDBA4-2586-52AD-1269-17AE46445F79}"/>
                </a:ext>
              </a:extLst>
            </p:cNvPr>
            <p:cNvSpPr/>
            <p:nvPr/>
          </p:nvSpPr>
          <p:spPr>
            <a:xfrm>
              <a:off x="3369692" y="500462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30" name="object 1830">
            <a:extLst>
              <a:ext uri="{FF2B5EF4-FFF2-40B4-BE49-F238E27FC236}">
                <a16:creationId xmlns:a16="http://schemas.microsoft.com/office/drawing/2014/main" id="{6F8BA8F7-188B-0021-E956-7C935D28537B}"/>
              </a:ext>
            </a:extLst>
          </p:cNvPr>
          <p:cNvGrpSpPr/>
          <p:nvPr/>
        </p:nvGrpSpPr>
        <p:grpSpPr>
          <a:xfrm>
            <a:off x="9121743" y="4907319"/>
            <a:ext cx="350370" cy="123517"/>
            <a:chOff x="9121743" y="4907319"/>
            <a:chExt cx="350370" cy="123517"/>
          </a:xfrm>
        </p:grpSpPr>
        <p:sp>
          <p:nvSpPr>
            <p:cNvPr id="1831" name="object 1831">
              <a:extLst>
                <a:ext uri="{FF2B5EF4-FFF2-40B4-BE49-F238E27FC236}">
                  <a16:creationId xmlns:a16="http://schemas.microsoft.com/office/drawing/2014/main" id="{BC723507-D040-4152-EAEA-183DE78362EB}"/>
                </a:ext>
              </a:extLst>
            </p:cNvPr>
            <p:cNvSpPr/>
            <p:nvPr/>
          </p:nvSpPr>
          <p:spPr>
            <a:xfrm>
              <a:off x="9401988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2" name="object 1832">
              <a:extLst>
                <a:ext uri="{FF2B5EF4-FFF2-40B4-BE49-F238E27FC236}">
                  <a16:creationId xmlns:a16="http://schemas.microsoft.com/office/drawing/2014/main" id="{CB750EE2-F69B-2320-5F5D-71FCD60F030C}"/>
                </a:ext>
              </a:extLst>
            </p:cNvPr>
            <p:cNvSpPr/>
            <p:nvPr/>
          </p:nvSpPr>
          <p:spPr>
            <a:xfrm>
              <a:off x="9437019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3" name="object 1833">
              <a:extLst>
                <a:ext uri="{FF2B5EF4-FFF2-40B4-BE49-F238E27FC236}">
                  <a16:creationId xmlns:a16="http://schemas.microsoft.com/office/drawing/2014/main" id="{5830BD5C-2B94-8EE3-6BF4-E40A0DC5AAB1}"/>
                </a:ext>
              </a:extLst>
            </p:cNvPr>
            <p:cNvSpPr/>
            <p:nvPr/>
          </p:nvSpPr>
          <p:spPr>
            <a:xfrm>
              <a:off x="9331945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4" name="object 1834">
              <a:extLst>
                <a:ext uri="{FF2B5EF4-FFF2-40B4-BE49-F238E27FC236}">
                  <a16:creationId xmlns:a16="http://schemas.microsoft.com/office/drawing/2014/main" id="{24681FC5-BBA8-B51D-E857-E12240F8885A}"/>
                </a:ext>
              </a:extLst>
            </p:cNvPr>
            <p:cNvSpPr/>
            <p:nvPr/>
          </p:nvSpPr>
          <p:spPr>
            <a:xfrm>
              <a:off x="9226881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5" name="object 1835">
              <a:extLst>
                <a:ext uri="{FF2B5EF4-FFF2-40B4-BE49-F238E27FC236}">
                  <a16:creationId xmlns:a16="http://schemas.microsoft.com/office/drawing/2014/main" id="{05735834-BF48-C8D2-4C90-400840231933}"/>
                </a:ext>
              </a:extLst>
            </p:cNvPr>
            <p:cNvSpPr/>
            <p:nvPr/>
          </p:nvSpPr>
          <p:spPr>
            <a:xfrm>
              <a:off x="9261975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6" name="object 1836">
              <a:extLst>
                <a:ext uri="{FF2B5EF4-FFF2-40B4-BE49-F238E27FC236}">
                  <a16:creationId xmlns:a16="http://schemas.microsoft.com/office/drawing/2014/main" id="{8E6DB908-F2B9-5D6E-EBAF-7B512502D321}"/>
                </a:ext>
              </a:extLst>
            </p:cNvPr>
            <p:cNvSpPr/>
            <p:nvPr/>
          </p:nvSpPr>
          <p:spPr>
            <a:xfrm>
              <a:off x="9156838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7" name="object 1837">
              <a:extLst>
                <a:ext uri="{FF2B5EF4-FFF2-40B4-BE49-F238E27FC236}">
                  <a16:creationId xmlns:a16="http://schemas.microsoft.com/office/drawing/2014/main" id="{2F919CDA-B445-1A5D-7CF4-2C6F2146B0C4}"/>
                </a:ext>
              </a:extLst>
            </p:cNvPr>
            <p:cNvSpPr/>
            <p:nvPr/>
          </p:nvSpPr>
          <p:spPr>
            <a:xfrm>
              <a:off x="9366976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8" name="object 1838">
              <a:extLst>
                <a:ext uri="{FF2B5EF4-FFF2-40B4-BE49-F238E27FC236}">
                  <a16:creationId xmlns:a16="http://schemas.microsoft.com/office/drawing/2014/main" id="{AF0DC4EF-61BD-5951-6B6E-2931A61B4693}"/>
                </a:ext>
              </a:extLst>
            </p:cNvPr>
            <p:cNvSpPr/>
            <p:nvPr/>
          </p:nvSpPr>
          <p:spPr>
            <a:xfrm>
              <a:off x="9191859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9" name="object 1839">
              <a:extLst>
                <a:ext uri="{FF2B5EF4-FFF2-40B4-BE49-F238E27FC236}">
                  <a16:creationId xmlns:a16="http://schemas.microsoft.com/office/drawing/2014/main" id="{528D18E9-C8DC-E5A4-F857-56E8730AE2D1}"/>
                </a:ext>
              </a:extLst>
            </p:cNvPr>
            <p:cNvSpPr/>
            <p:nvPr/>
          </p:nvSpPr>
          <p:spPr>
            <a:xfrm>
              <a:off x="9472041" y="49073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0" name="object 1840">
              <a:extLst>
                <a:ext uri="{FF2B5EF4-FFF2-40B4-BE49-F238E27FC236}">
                  <a16:creationId xmlns:a16="http://schemas.microsoft.com/office/drawing/2014/main" id="{1BF5E2C3-2A43-5FAC-D061-B052B34E9143}"/>
                </a:ext>
              </a:extLst>
            </p:cNvPr>
            <p:cNvSpPr/>
            <p:nvPr/>
          </p:nvSpPr>
          <p:spPr>
            <a:xfrm>
              <a:off x="9297070" y="49073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1" name="object 1841">
              <a:extLst>
                <a:ext uri="{FF2B5EF4-FFF2-40B4-BE49-F238E27FC236}">
                  <a16:creationId xmlns:a16="http://schemas.microsoft.com/office/drawing/2014/main" id="{8545381B-000F-A8C1-525B-063194D8D96B}"/>
                </a:ext>
              </a:extLst>
            </p:cNvPr>
            <p:cNvSpPr/>
            <p:nvPr/>
          </p:nvSpPr>
          <p:spPr>
            <a:xfrm>
              <a:off x="9122090" y="49073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2" name="object 1842">
              <a:extLst>
                <a:ext uri="{FF2B5EF4-FFF2-40B4-BE49-F238E27FC236}">
                  <a16:creationId xmlns:a16="http://schemas.microsoft.com/office/drawing/2014/main" id="{0F9A78F5-EE51-080D-6051-48B4499F69D8}"/>
                </a:ext>
              </a:extLst>
            </p:cNvPr>
            <p:cNvSpPr/>
            <p:nvPr/>
          </p:nvSpPr>
          <p:spPr>
            <a:xfrm>
              <a:off x="9122090" y="493283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3" name="object 1843">
              <a:extLst>
                <a:ext uri="{FF2B5EF4-FFF2-40B4-BE49-F238E27FC236}">
                  <a16:creationId xmlns:a16="http://schemas.microsoft.com/office/drawing/2014/main" id="{832E0621-820D-C810-6448-907E159EB02F}"/>
                </a:ext>
              </a:extLst>
            </p:cNvPr>
            <p:cNvSpPr/>
            <p:nvPr/>
          </p:nvSpPr>
          <p:spPr>
            <a:xfrm>
              <a:off x="9122228" y="4907319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23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4" name="object 1844">
              <a:extLst>
                <a:ext uri="{FF2B5EF4-FFF2-40B4-BE49-F238E27FC236}">
                  <a16:creationId xmlns:a16="http://schemas.microsoft.com/office/drawing/2014/main" id="{C1E800DF-357B-3199-FF5B-37756A7AA8C9}"/>
                </a:ext>
              </a:extLst>
            </p:cNvPr>
            <p:cNvSpPr/>
            <p:nvPr/>
          </p:nvSpPr>
          <p:spPr>
            <a:xfrm>
              <a:off x="9122228" y="4979621"/>
              <a:ext cx="1417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3680"/>
                <a:gd name="f4" fmla="val 84454"/>
                <a:gd name="f5" fmla="val 233291"/>
                <a:gd name="f6" fmla="val 84133"/>
                <a:gd name="f7" fmla="*/ f0 1 233680"/>
                <a:gd name="f8" fmla="*/ f1 1 84454"/>
                <a:gd name="f9" fmla="+- f4 0 f2"/>
                <a:gd name="f10" fmla="+- f3 0 f2"/>
                <a:gd name="f11" fmla="*/ f10 1 23368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368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5" name="object 1845">
              <a:extLst>
                <a:ext uri="{FF2B5EF4-FFF2-40B4-BE49-F238E27FC236}">
                  <a16:creationId xmlns:a16="http://schemas.microsoft.com/office/drawing/2014/main" id="{7DAD1CF3-E57A-FDF8-CBD2-1AC9DA708228}"/>
                </a:ext>
              </a:extLst>
            </p:cNvPr>
            <p:cNvSpPr/>
            <p:nvPr/>
          </p:nvSpPr>
          <p:spPr>
            <a:xfrm>
              <a:off x="9401650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6" name="object 1846">
              <a:extLst>
                <a:ext uri="{FF2B5EF4-FFF2-40B4-BE49-F238E27FC236}">
                  <a16:creationId xmlns:a16="http://schemas.microsoft.com/office/drawing/2014/main" id="{E2C49408-3C23-08CA-0311-678A6D6BEC8F}"/>
                </a:ext>
              </a:extLst>
            </p:cNvPr>
            <p:cNvSpPr/>
            <p:nvPr/>
          </p:nvSpPr>
          <p:spPr>
            <a:xfrm>
              <a:off x="9436672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7" name="object 1847">
              <a:extLst>
                <a:ext uri="{FF2B5EF4-FFF2-40B4-BE49-F238E27FC236}">
                  <a16:creationId xmlns:a16="http://schemas.microsoft.com/office/drawing/2014/main" id="{2E87B383-666B-F2FA-DD66-FFDC813166F9}"/>
                </a:ext>
              </a:extLst>
            </p:cNvPr>
            <p:cNvSpPr/>
            <p:nvPr/>
          </p:nvSpPr>
          <p:spPr>
            <a:xfrm>
              <a:off x="9331607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8" name="object 1848">
              <a:extLst>
                <a:ext uri="{FF2B5EF4-FFF2-40B4-BE49-F238E27FC236}">
                  <a16:creationId xmlns:a16="http://schemas.microsoft.com/office/drawing/2014/main" id="{65E458E0-57F8-1A41-E1F9-89F310740E5E}"/>
                </a:ext>
              </a:extLst>
            </p:cNvPr>
            <p:cNvSpPr/>
            <p:nvPr/>
          </p:nvSpPr>
          <p:spPr>
            <a:xfrm>
              <a:off x="9226533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9" name="object 1849">
              <a:extLst>
                <a:ext uri="{FF2B5EF4-FFF2-40B4-BE49-F238E27FC236}">
                  <a16:creationId xmlns:a16="http://schemas.microsoft.com/office/drawing/2014/main" id="{CEF315B6-B51C-B885-A9DD-9DE95E5F6C6F}"/>
                </a:ext>
              </a:extLst>
            </p:cNvPr>
            <p:cNvSpPr/>
            <p:nvPr/>
          </p:nvSpPr>
          <p:spPr>
            <a:xfrm>
              <a:off x="9261628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0" name="object 1850">
              <a:extLst>
                <a:ext uri="{FF2B5EF4-FFF2-40B4-BE49-F238E27FC236}">
                  <a16:creationId xmlns:a16="http://schemas.microsoft.com/office/drawing/2014/main" id="{3D883717-273A-DC45-F7CD-C38399D363F0}"/>
                </a:ext>
              </a:extLst>
            </p:cNvPr>
            <p:cNvSpPr/>
            <p:nvPr/>
          </p:nvSpPr>
          <p:spPr>
            <a:xfrm>
              <a:off x="9156490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1" name="object 1851">
              <a:extLst>
                <a:ext uri="{FF2B5EF4-FFF2-40B4-BE49-F238E27FC236}">
                  <a16:creationId xmlns:a16="http://schemas.microsoft.com/office/drawing/2014/main" id="{05D8E148-5BC9-EFC1-0EAC-53BD40EE6570}"/>
                </a:ext>
              </a:extLst>
            </p:cNvPr>
            <p:cNvSpPr/>
            <p:nvPr/>
          </p:nvSpPr>
          <p:spPr>
            <a:xfrm>
              <a:off x="9366628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2" name="object 1852">
              <a:extLst>
                <a:ext uri="{FF2B5EF4-FFF2-40B4-BE49-F238E27FC236}">
                  <a16:creationId xmlns:a16="http://schemas.microsoft.com/office/drawing/2014/main" id="{E8686953-C033-37D2-48BB-39C714F3C3C9}"/>
                </a:ext>
              </a:extLst>
            </p:cNvPr>
            <p:cNvSpPr/>
            <p:nvPr/>
          </p:nvSpPr>
          <p:spPr>
            <a:xfrm>
              <a:off x="9191512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3" name="object 1853">
              <a:extLst>
                <a:ext uri="{FF2B5EF4-FFF2-40B4-BE49-F238E27FC236}">
                  <a16:creationId xmlns:a16="http://schemas.microsoft.com/office/drawing/2014/main" id="{C1B820A2-1A4A-945D-BFD6-357A31806F9C}"/>
                </a:ext>
              </a:extLst>
            </p:cNvPr>
            <p:cNvSpPr/>
            <p:nvPr/>
          </p:nvSpPr>
          <p:spPr>
            <a:xfrm>
              <a:off x="947169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4" name="object 1854">
              <a:extLst>
                <a:ext uri="{FF2B5EF4-FFF2-40B4-BE49-F238E27FC236}">
                  <a16:creationId xmlns:a16="http://schemas.microsoft.com/office/drawing/2014/main" id="{6617D3ED-53E5-6CF7-A3E1-3164DE6850A1}"/>
                </a:ext>
              </a:extLst>
            </p:cNvPr>
            <p:cNvSpPr/>
            <p:nvPr/>
          </p:nvSpPr>
          <p:spPr>
            <a:xfrm>
              <a:off x="929672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5" name="object 1855">
              <a:extLst>
                <a:ext uri="{FF2B5EF4-FFF2-40B4-BE49-F238E27FC236}">
                  <a16:creationId xmlns:a16="http://schemas.microsoft.com/office/drawing/2014/main" id="{EABD6376-9E48-189C-8F84-B64174EEC387}"/>
                </a:ext>
              </a:extLst>
            </p:cNvPr>
            <p:cNvSpPr/>
            <p:nvPr/>
          </p:nvSpPr>
          <p:spPr>
            <a:xfrm>
              <a:off x="912174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6" name="object 1856">
              <a:extLst>
                <a:ext uri="{FF2B5EF4-FFF2-40B4-BE49-F238E27FC236}">
                  <a16:creationId xmlns:a16="http://schemas.microsoft.com/office/drawing/2014/main" id="{663A67F0-261B-8DAE-1B9B-829D1C088F8F}"/>
                </a:ext>
              </a:extLst>
            </p:cNvPr>
            <p:cNvSpPr/>
            <p:nvPr/>
          </p:nvSpPr>
          <p:spPr>
            <a:xfrm>
              <a:off x="929672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7" name="object 1857">
              <a:extLst>
                <a:ext uri="{FF2B5EF4-FFF2-40B4-BE49-F238E27FC236}">
                  <a16:creationId xmlns:a16="http://schemas.microsoft.com/office/drawing/2014/main" id="{F38C2BE0-CD31-2BC1-E464-560DB64FAB35}"/>
                </a:ext>
              </a:extLst>
            </p:cNvPr>
            <p:cNvSpPr/>
            <p:nvPr/>
          </p:nvSpPr>
          <p:spPr>
            <a:xfrm>
              <a:off x="9121743" y="500512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58" name="object 1858">
            <a:extLst>
              <a:ext uri="{FF2B5EF4-FFF2-40B4-BE49-F238E27FC236}">
                <a16:creationId xmlns:a16="http://schemas.microsoft.com/office/drawing/2014/main" id="{31E7432E-762F-D022-32EF-64C67173CB24}"/>
              </a:ext>
            </a:extLst>
          </p:cNvPr>
          <p:cNvGrpSpPr/>
          <p:nvPr/>
        </p:nvGrpSpPr>
        <p:grpSpPr>
          <a:xfrm>
            <a:off x="9121743" y="5670185"/>
            <a:ext cx="350370" cy="123507"/>
            <a:chOff x="9121743" y="5670185"/>
            <a:chExt cx="350370" cy="123507"/>
          </a:xfrm>
        </p:grpSpPr>
        <p:sp>
          <p:nvSpPr>
            <p:cNvPr id="1859" name="object 1859">
              <a:extLst>
                <a:ext uri="{FF2B5EF4-FFF2-40B4-BE49-F238E27FC236}">
                  <a16:creationId xmlns:a16="http://schemas.microsoft.com/office/drawing/2014/main" id="{3CD3D6FA-5B75-C447-52D0-ED0EFE52A4D9}"/>
                </a:ext>
              </a:extLst>
            </p:cNvPr>
            <p:cNvSpPr/>
            <p:nvPr/>
          </p:nvSpPr>
          <p:spPr>
            <a:xfrm>
              <a:off x="9401988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0" name="object 1860">
              <a:extLst>
                <a:ext uri="{FF2B5EF4-FFF2-40B4-BE49-F238E27FC236}">
                  <a16:creationId xmlns:a16="http://schemas.microsoft.com/office/drawing/2014/main" id="{A5B46E25-A736-D5E7-606A-2C6E3BAE4DBF}"/>
                </a:ext>
              </a:extLst>
            </p:cNvPr>
            <p:cNvSpPr/>
            <p:nvPr/>
          </p:nvSpPr>
          <p:spPr>
            <a:xfrm>
              <a:off x="9437019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1" name="object 1861">
              <a:extLst>
                <a:ext uri="{FF2B5EF4-FFF2-40B4-BE49-F238E27FC236}">
                  <a16:creationId xmlns:a16="http://schemas.microsoft.com/office/drawing/2014/main" id="{EDB3DFFC-F391-4712-7B50-68DDD0293CB5}"/>
                </a:ext>
              </a:extLst>
            </p:cNvPr>
            <p:cNvSpPr/>
            <p:nvPr/>
          </p:nvSpPr>
          <p:spPr>
            <a:xfrm>
              <a:off x="9331945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2" name="object 1862">
              <a:extLst>
                <a:ext uri="{FF2B5EF4-FFF2-40B4-BE49-F238E27FC236}">
                  <a16:creationId xmlns:a16="http://schemas.microsoft.com/office/drawing/2014/main" id="{04A1153A-0952-F6D0-A7AE-BD2C33673BD9}"/>
                </a:ext>
              </a:extLst>
            </p:cNvPr>
            <p:cNvSpPr/>
            <p:nvPr/>
          </p:nvSpPr>
          <p:spPr>
            <a:xfrm>
              <a:off x="9226881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3" name="object 1863">
              <a:extLst>
                <a:ext uri="{FF2B5EF4-FFF2-40B4-BE49-F238E27FC236}">
                  <a16:creationId xmlns:a16="http://schemas.microsoft.com/office/drawing/2014/main" id="{1522FCA8-DF27-A144-77F8-DFFF2B0AC996}"/>
                </a:ext>
              </a:extLst>
            </p:cNvPr>
            <p:cNvSpPr/>
            <p:nvPr/>
          </p:nvSpPr>
          <p:spPr>
            <a:xfrm>
              <a:off x="9261975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4" name="object 1864">
              <a:extLst>
                <a:ext uri="{FF2B5EF4-FFF2-40B4-BE49-F238E27FC236}">
                  <a16:creationId xmlns:a16="http://schemas.microsoft.com/office/drawing/2014/main" id="{882FD846-636C-33FB-6CCA-28A264D9780F}"/>
                </a:ext>
              </a:extLst>
            </p:cNvPr>
            <p:cNvSpPr/>
            <p:nvPr/>
          </p:nvSpPr>
          <p:spPr>
            <a:xfrm>
              <a:off x="9156838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5" name="object 1865">
              <a:extLst>
                <a:ext uri="{FF2B5EF4-FFF2-40B4-BE49-F238E27FC236}">
                  <a16:creationId xmlns:a16="http://schemas.microsoft.com/office/drawing/2014/main" id="{871C349C-4BC5-B3F9-0FF3-0FC8A0270709}"/>
                </a:ext>
              </a:extLst>
            </p:cNvPr>
            <p:cNvSpPr/>
            <p:nvPr/>
          </p:nvSpPr>
          <p:spPr>
            <a:xfrm>
              <a:off x="9366976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6" name="object 1866">
              <a:extLst>
                <a:ext uri="{FF2B5EF4-FFF2-40B4-BE49-F238E27FC236}">
                  <a16:creationId xmlns:a16="http://schemas.microsoft.com/office/drawing/2014/main" id="{19FFAC68-693B-E12A-010E-CBD6881FA7D0}"/>
                </a:ext>
              </a:extLst>
            </p:cNvPr>
            <p:cNvSpPr/>
            <p:nvPr/>
          </p:nvSpPr>
          <p:spPr>
            <a:xfrm>
              <a:off x="9191859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7" name="object 1867">
              <a:extLst>
                <a:ext uri="{FF2B5EF4-FFF2-40B4-BE49-F238E27FC236}">
                  <a16:creationId xmlns:a16="http://schemas.microsoft.com/office/drawing/2014/main" id="{6772AA38-CAFE-35FE-59D2-B2A45F229991}"/>
                </a:ext>
              </a:extLst>
            </p:cNvPr>
            <p:cNvSpPr/>
            <p:nvPr/>
          </p:nvSpPr>
          <p:spPr>
            <a:xfrm>
              <a:off x="9472041" y="56701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8" name="object 1868">
              <a:extLst>
                <a:ext uri="{FF2B5EF4-FFF2-40B4-BE49-F238E27FC236}">
                  <a16:creationId xmlns:a16="http://schemas.microsoft.com/office/drawing/2014/main" id="{08312E6E-0663-39BA-A7B4-4CB8F2EB082C}"/>
                </a:ext>
              </a:extLst>
            </p:cNvPr>
            <p:cNvSpPr/>
            <p:nvPr/>
          </p:nvSpPr>
          <p:spPr>
            <a:xfrm>
              <a:off x="9297070" y="56701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9" name="object 1869">
              <a:extLst>
                <a:ext uri="{FF2B5EF4-FFF2-40B4-BE49-F238E27FC236}">
                  <a16:creationId xmlns:a16="http://schemas.microsoft.com/office/drawing/2014/main" id="{1F9EBAEE-EAD9-93DB-BBDB-256DF782C865}"/>
                </a:ext>
              </a:extLst>
            </p:cNvPr>
            <p:cNvSpPr/>
            <p:nvPr/>
          </p:nvSpPr>
          <p:spPr>
            <a:xfrm>
              <a:off x="9122090" y="56701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0" name="object 1870">
              <a:extLst>
                <a:ext uri="{FF2B5EF4-FFF2-40B4-BE49-F238E27FC236}">
                  <a16:creationId xmlns:a16="http://schemas.microsoft.com/office/drawing/2014/main" id="{64B600A8-6C7F-ED26-821F-7F57F471A2B7}"/>
                </a:ext>
              </a:extLst>
            </p:cNvPr>
            <p:cNvSpPr/>
            <p:nvPr/>
          </p:nvSpPr>
          <p:spPr>
            <a:xfrm>
              <a:off x="9122090" y="569569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1" name="object 1871">
              <a:extLst>
                <a:ext uri="{FF2B5EF4-FFF2-40B4-BE49-F238E27FC236}">
                  <a16:creationId xmlns:a16="http://schemas.microsoft.com/office/drawing/2014/main" id="{DCF563AB-F63F-499F-38DA-4C47A4A6834B}"/>
                </a:ext>
              </a:extLst>
            </p:cNvPr>
            <p:cNvSpPr/>
            <p:nvPr/>
          </p:nvSpPr>
          <p:spPr>
            <a:xfrm>
              <a:off x="9122228" y="5670194"/>
              <a:ext cx="3119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1434"/>
                <a:gd name="f4" fmla="val 84454"/>
                <a:gd name="f5" fmla="val 50836"/>
                <a:gd name="f6" fmla="val 84123"/>
                <a:gd name="f7" fmla="*/ f0 1 51434"/>
                <a:gd name="f8" fmla="*/ f1 1 84454"/>
                <a:gd name="f9" fmla="+- f4 0 f2"/>
                <a:gd name="f10" fmla="+- f3 0 f2"/>
                <a:gd name="f11" fmla="*/ f10 1 514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14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2" name="object 1872">
              <a:extLst>
                <a:ext uri="{FF2B5EF4-FFF2-40B4-BE49-F238E27FC236}">
                  <a16:creationId xmlns:a16="http://schemas.microsoft.com/office/drawing/2014/main" id="{0E577920-16BF-6D3E-6E65-AB9463913C77}"/>
                </a:ext>
              </a:extLst>
            </p:cNvPr>
            <p:cNvSpPr/>
            <p:nvPr/>
          </p:nvSpPr>
          <p:spPr>
            <a:xfrm>
              <a:off x="9122228" y="5742477"/>
              <a:ext cx="277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719"/>
                <a:gd name="f4" fmla="val 84454"/>
                <a:gd name="f5" fmla="val 45286"/>
                <a:gd name="f6" fmla="val 84123"/>
                <a:gd name="f7" fmla="*/ f0 1 45719"/>
                <a:gd name="f8" fmla="*/ f1 1 84454"/>
                <a:gd name="f9" fmla="+- f4 0 f2"/>
                <a:gd name="f10" fmla="+- f3 0 f2"/>
                <a:gd name="f11" fmla="*/ f10 1 457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7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3" name="object 1873">
              <a:extLst>
                <a:ext uri="{FF2B5EF4-FFF2-40B4-BE49-F238E27FC236}">
                  <a16:creationId xmlns:a16="http://schemas.microsoft.com/office/drawing/2014/main" id="{47F78C30-4183-C9B8-5088-1FAAD08E75B9}"/>
                </a:ext>
              </a:extLst>
            </p:cNvPr>
            <p:cNvSpPr/>
            <p:nvPr/>
          </p:nvSpPr>
          <p:spPr>
            <a:xfrm>
              <a:off x="9401650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4" name="object 1874">
              <a:extLst>
                <a:ext uri="{FF2B5EF4-FFF2-40B4-BE49-F238E27FC236}">
                  <a16:creationId xmlns:a16="http://schemas.microsoft.com/office/drawing/2014/main" id="{2CBB8C57-6633-35F7-E9BE-CC1116A8037C}"/>
                </a:ext>
              </a:extLst>
            </p:cNvPr>
            <p:cNvSpPr/>
            <p:nvPr/>
          </p:nvSpPr>
          <p:spPr>
            <a:xfrm>
              <a:off x="9436672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5" name="object 1875">
              <a:extLst>
                <a:ext uri="{FF2B5EF4-FFF2-40B4-BE49-F238E27FC236}">
                  <a16:creationId xmlns:a16="http://schemas.microsoft.com/office/drawing/2014/main" id="{D4DDE0F6-9B02-1F61-F768-EA50EB583670}"/>
                </a:ext>
              </a:extLst>
            </p:cNvPr>
            <p:cNvSpPr/>
            <p:nvPr/>
          </p:nvSpPr>
          <p:spPr>
            <a:xfrm>
              <a:off x="9331607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6" name="object 1876">
              <a:extLst>
                <a:ext uri="{FF2B5EF4-FFF2-40B4-BE49-F238E27FC236}">
                  <a16:creationId xmlns:a16="http://schemas.microsoft.com/office/drawing/2014/main" id="{9CD7E81E-8203-5418-8A11-33744AAE88AA}"/>
                </a:ext>
              </a:extLst>
            </p:cNvPr>
            <p:cNvSpPr/>
            <p:nvPr/>
          </p:nvSpPr>
          <p:spPr>
            <a:xfrm>
              <a:off x="9226533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7" name="object 1877">
              <a:extLst>
                <a:ext uri="{FF2B5EF4-FFF2-40B4-BE49-F238E27FC236}">
                  <a16:creationId xmlns:a16="http://schemas.microsoft.com/office/drawing/2014/main" id="{DE4CB90E-226D-D1CA-0C84-28063A9CA647}"/>
                </a:ext>
              </a:extLst>
            </p:cNvPr>
            <p:cNvSpPr/>
            <p:nvPr/>
          </p:nvSpPr>
          <p:spPr>
            <a:xfrm>
              <a:off x="9261628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8" name="object 1878">
              <a:extLst>
                <a:ext uri="{FF2B5EF4-FFF2-40B4-BE49-F238E27FC236}">
                  <a16:creationId xmlns:a16="http://schemas.microsoft.com/office/drawing/2014/main" id="{95179D6F-07A6-BE83-42BF-5AAB55880A60}"/>
                </a:ext>
              </a:extLst>
            </p:cNvPr>
            <p:cNvSpPr/>
            <p:nvPr/>
          </p:nvSpPr>
          <p:spPr>
            <a:xfrm>
              <a:off x="9156490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9" name="object 1879">
              <a:extLst>
                <a:ext uri="{FF2B5EF4-FFF2-40B4-BE49-F238E27FC236}">
                  <a16:creationId xmlns:a16="http://schemas.microsoft.com/office/drawing/2014/main" id="{9FA1FAC1-8B5B-58FC-F0E5-B5B185CFFF5B}"/>
                </a:ext>
              </a:extLst>
            </p:cNvPr>
            <p:cNvSpPr/>
            <p:nvPr/>
          </p:nvSpPr>
          <p:spPr>
            <a:xfrm>
              <a:off x="9366628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0" name="object 1880">
              <a:extLst>
                <a:ext uri="{FF2B5EF4-FFF2-40B4-BE49-F238E27FC236}">
                  <a16:creationId xmlns:a16="http://schemas.microsoft.com/office/drawing/2014/main" id="{EB3E273C-204A-DF40-9DAE-B8C28F17219B}"/>
                </a:ext>
              </a:extLst>
            </p:cNvPr>
            <p:cNvSpPr/>
            <p:nvPr/>
          </p:nvSpPr>
          <p:spPr>
            <a:xfrm>
              <a:off x="9191512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1" name="object 1881">
              <a:extLst>
                <a:ext uri="{FF2B5EF4-FFF2-40B4-BE49-F238E27FC236}">
                  <a16:creationId xmlns:a16="http://schemas.microsoft.com/office/drawing/2014/main" id="{80D1DD93-6911-0183-50BC-3C28FDF60CD5}"/>
                </a:ext>
              </a:extLst>
            </p:cNvPr>
            <p:cNvSpPr/>
            <p:nvPr/>
          </p:nvSpPr>
          <p:spPr>
            <a:xfrm>
              <a:off x="947169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2" name="object 1882">
              <a:extLst>
                <a:ext uri="{FF2B5EF4-FFF2-40B4-BE49-F238E27FC236}">
                  <a16:creationId xmlns:a16="http://schemas.microsoft.com/office/drawing/2014/main" id="{31D23077-5C26-4DCA-FF9D-E528A7D8588C}"/>
                </a:ext>
              </a:extLst>
            </p:cNvPr>
            <p:cNvSpPr/>
            <p:nvPr/>
          </p:nvSpPr>
          <p:spPr>
            <a:xfrm>
              <a:off x="929672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3" name="object 1883">
              <a:extLst>
                <a:ext uri="{FF2B5EF4-FFF2-40B4-BE49-F238E27FC236}">
                  <a16:creationId xmlns:a16="http://schemas.microsoft.com/office/drawing/2014/main" id="{470C0E09-837D-1395-ECEB-29AFF4B6BB1E}"/>
                </a:ext>
              </a:extLst>
            </p:cNvPr>
            <p:cNvSpPr/>
            <p:nvPr/>
          </p:nvSpPr>
          <p:spPr>
            <a:xfrm>
              <a:off x="912174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4" name="object 1884">
              <a:extLst>
                <a:ext uri="{FF2B5EF4-FFF2-40B4-BE49-F238E27FC236}">
                  <a16:creationId xmlns:a16="http://schemas.microsoft.com/office/drawing/2014/main" id="{CD86B7FC-0D7F-F208-972E-4D0D4D7D821E}"/>
                </a:ext>
              </a:extLst>
            </p:cNvPr>
            <p:cNvSpPr/>
            <p:nvPr/>
          </p:nvSpPr>
          <p:spPr>
            <a:xfrm>
              <a:off x="929672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5" name="object 1885">
              <a:extLst>
                <a:ext uri="{FF2B5EF4-FFF2-40B4-BE49-F238E27FC236}">
                  <a16:creationId xmlns:a16="http://schemas.microsoft.com/office/drawing/2014/main" id="{E5138CF2-033C-1CE6-81F6-E5A69F777C48}"/>
                </a:ext>
              </a:extLst>
            </p:cNvPr>
            <p:cNvSpPr/>
            <p:nvPr/>
          </p:nvSpPr>
          <p:spPr>
            <a:xfrm>
              <a:off x="9121743" y="576798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86" name="object 1886">
            <a:extLst>
              <a:ext uri="{FF2B5EF4-FFF2-40B4-BE49-F238E27FC236}">
                <a16:creationId xmlns:a16="http://schemas.microsoft.com/office/drawing/2014/main" id="{6AC9D711-081A-DA38-1E73-91692301E1C5}"/>
              </a:ext>
            </a:extLst>
          </p:cNvPr>
          <p:cNvGrpSpPr/>
          <p:nvPr/>
        </p:nvGrpSpPr>
        <p:grpSpPr>
          <a:xfrm>
            <a:off x="9121743" y="6433270"/>
            <a:ext cx="350370" cy="123516"/>
            <a:chOff x="9121743" y="6433270"/>
            <a:chExt cx="350370" cy="123516"/>
          </a:xfrm>
        </p:grpSpPr>
        <p:sp>
          <p:nvSpPr>
            <p:cNvPr id="1887" name="object 1887">
              <a:extLst>
                <a:ext uri="{FF2B5EF4-FFF2-40B4-BE49-F238E27FC236}">
                  <a16:creationId xmlns:a16="http://schemas.microsoft.com/office/drawing/2014/main" id="{CEB14689-676F-8C2D-7CB8-12AF88F8542F}"/>
                </a:ext>
              </a:extLst>
            </p:cNvPr>
            <p:cNvSpPr/>
            <p:nvPr/>
          </p:nvSpPr>
          <p:spPr>
            <a:xfrm>
              <a:off x="9401988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8" name="object 1888">
              <a:extLst>
                <a:ext uri="{FF2B5EF4-FFF2-40B4-BE49-F238E27FC236}">
                  <a16:creationId xmlns:a16="http://schemas.microsoft.com/office/drawing/2014/main" id="{E538B6F1-7C5F-02E3-45EF-08F4E241B3D6}"/>
                </a:ext>
              </a:extLst>
            </p:cNvPr>
            <p:cNvSpPr/>
            <p:nvPr/>
          </p:nvSpPr>
          <p:spPr>
            <a:xfrm>
              <a:off x="9437019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9" name="object 1889">
              <a:extLst>
                <a:ext uri="{FF2B5EF4-FFF2-40B4-BE49-F238E27FC236}">
                  <a16:creationId xmlns:a16="http://schemas.microsoft.com/office/drawing/2014/main" id="{825D3B08-9D3E-9CD4-DF45-C432D74B85C7}"/>
                </a:ext>
              </a:extLst>
            </p:cNvPr>
            <p:cNvSpPr/>
            <p:nvPr/>
          </p:nvSpPr>
          <p:spPr>
            <a:xfrm>
              <a:off x="9331945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0" name="object 1890">
              <a:extLst>
                <a:ext uri="{FF2B5EF4-FFF2-40B4-BE49-F238E27FC236}">
                  <a16:creationId xmlns:a16="http://schemas.microsoft.com/office/drawing/2014/main" id="{063EAB2C-6E82-5520-3532-8BB077AB3924}"/>
                </a:ext>
              </a:extLst>
            </p:cNvPr>
            <p:cNvSpPr/>
            <p:nvPr/>
          </p:nvSpPr>
          <p:spPr>
            <a:xfrm>
              <a:off x="9226881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1" name="object 1891">
              <a:extLst>
                <a:ext uri="{FF2B5EF4-FFF2-40B4-BE49-F238E27FC236}">
                  <a16:creationId xmlns:a16="http://schemas.microsoft.com/office/drawing/2014/main" id="{FC8B7A6E-CBBE-3268-3421-C7E19B190285}"/>
                </a:ext>
              </a:extLst>
            </p:cNvPr>
            <p:cNvSpPr/>
            <p:nvPr/>
          </p:nvSpPr>
          <p:spPr>
            <a:xfrm>
              <a:off x="9261975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2" name="object 1892">
              <a:extLst>
                <a:ext uri="{FF2B5EF4-FFF2-40B4-BE49-F238E27FC236}">
                  <a16:creationId xmlns:a16="http://schemas.microsoft.com/office/drawing/2014/main" id="{BEAEDCEA-E8B2-EE59-574F-3AD497A69676}"/>
                </a:ext>
              </a:extLst>
            </p:cNvPr>
            <p:cNvSpPr/>
            <p:nvPr/>
          </p:nvSpPr>
          <p:spPr>
            <a:xfrm>
              <a:off x="9156838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3" name="object 1893">
              <a:extLst>
                <a:ext uri="{FF2B5EF4-FFF2-40B4-BE49-F238E27FC236}">
                  <a16:creationId xmlns:a16="http://schemas.microsoft.com/office/drawing/2014/main" id="{F0BF1DB1-DA27-21A6-1938-60C5502A6AC3}"/>
                </a:ext>
              </a:extLst>
            </p:cNvPr>
            <p:cNvSpPr/>
            <p:nvPr/>
          </p:nvSpPr>
          <p:spPr>
            <a:xfrm>
              <a:off x="9366976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4" name="object 1894">
              <a:extLst>
                <a:ext uri="{FF2B5EF4-FFF2-40B4-BE49-F238E27FC236}">
                  <a16:creationId xmlns:a16="http://schemas.microsoft.com/office/drawing/2014/main" id="{6333E2D2-7444-8396-BA0E-78B3B4B310E8}"/>
                </a:ext>
              </a:extLst>
            </p:cNvPr>
            <p:cNvSpPr/>
            <p:nvPr/>
          </p:nvSpPr>
          <p:spPr>
            <a:xfrm>
              <a:off x="9191859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5" name="object 1895">
              <a:extLst>
                <a:ext uri="{FF2B5EF4-FFF2-40B4-BE49-F238E27FC236}">
                  <a16:creationId xmlns:a16="http://schemas.microsoft.com/office/drawing/2014/main" id="{EA8F0699-8F73-D785-A1D0-DB010842728F}"/>
                </a:ext>
              </a:extLst>
            </p:cNvPr>
            <p:cNvSpPr/>
            <p:nvPr/>
          </p:nvSpPr>
          <p:spPr>
            <a:xfrm>
              <a:off x="9472041" y="64332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6" name="object 1896">
              <a:extLst>
                <a:ext uri="{FF2B5EF4-FFF2-40B4-BE49-F238E27FC236}">
                  <a16:creationId xmlns:a16="http://schemas.microsoft.com/office/drawing/2014/main" id="{668840AB-6247-979D-E405-D10EB3338F22}"/>
                </a:ext>
              </a:extLst>
            </p:cNvPr>
            <p:cNvSpPr/>
            <p:nvPr/>
          </p:nvSpPr>
          <p:spPr>
            <a:xfrm>
              <a:off x="9297070" y="64332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7" name="object 1897">
              <a:extLst>
                <a:ext uri="{FF2B5EF4-FFF2-40B4-BE49-F238E27FC236}">
                  <a16:creationId xmlns:a16="http://schemas.microsoft.com/office/drawing/2014/main" id="{3EA3C5BF-24AA-9C2B-8393-7B68B29E3DCB}"/>
                </a:ext>
              </a:extLst>
            </p:cNvPr>
            <p:cNvSpPr/>
            <p:nvPr/>
          </p:nvSpPr>
          <p:spPr>
            <a:xfrm>
              <a:off x="9122090" y="64332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8" name="object 1898">
              <a:extLst>
                <a:ext uri="{FF2B5EF4-FFF2-40B4-BE49-F238E27FC236}">
                  <a16:creationId xmlns:a16="http://schemas.microsoft.com/office/drawing/2014/main" id="{9FA963EC-3CD7-409A-5068-8A7FDB08AD35}"/>
                </a:ext>
              </a:extLst>
            </p:cNvPr>
            <p:cNvSpPr/>
            <p:nvPr/>
          </p:nvSpPr>
          <p:spPr>
            <a:xfrm>
              <a:off x="9122090" y="64587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9" name="object 1899">
              <a:extLst>
                <a:ext uri="{FF2B5EF4-FFF2-40B4-BE49-F238E27FC236}">
                  <a16:creationId xmlns:a16="http://schemas.microsoft.com/office/drawing/2014/main" id="{1001F8AD-68D7-ED12-C49A-1F5A7D6EBD1E}"/>
                </a:ext>
              </a:extLst>
            </p:cNvPr>
            <p:cNvSpPr/>
            <p:nvPr/>
          </p:nvSpPr>
          <p:spPr>
            <a:xfrm>
              <a:off x="9122228" y="6433270"/>
              <a:ext cx="5544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91440"/>
                <a:gd name="f4" fmla="val 84454"/>
                <a:gd name="f5" fmla="val 90929"/>
                <a:gd name="f6" fmla="val 84123"/>
                <a:gd name="f7" fmla="*/ f0 1 91440"/>
                <a:gd name="f8" fmla="*/ f1 1 84454"/>
                <a:gd name="f9" fmla="+- f4 0 f2"/>
                <a:gd name="f10" fmla="+- f3 0 f2"/>
                <a:gd name="f11" fmla="*/ f10 1 9144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9144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0" name="object 1900">
              <a:extLst>
                <a:ext uri="{FF2B5EF4-FFF2-40B4-BE49-F238E27FC236}">
                  <a16:creationId xmlns:a16="http://schemas.microsoft.com/office/drawing/2014/main" id="{396D82B9-3839-6AF5-8759-88A4CFEA2017}"/>
                </a:ext>
              </a:extLst>
            </p:cNvPr>
            <p:cNvSpPr/>
            <p:nvPr/>
          </p:nvSpPr>
          <p:spPr>
            <a:xfrm>
              <a:off x="9122228" y="6505571"/>
              <a:ext cx="277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719"/>
                <a:gd name="f4" fmla="val 84454"/>
                <a:gd name="f5" fmla="val 45286"/>
                <a:gd name="f6" fmla="val 84123"/>
                <a:gd name="f7" fmla="*/ f0 1 45719"/>
                <a:gd name="f8" fmla="*/ f1 1 84454"/>
                <a:gd name="f9" fmla="+- f4 0 f2"/>
                <a:gd name="f10" fmla="+- f3 0 f2"/>
                <a:gd name="f11" fmla="*/ f10 1 457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7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1" name="object 1901">
              <a:extLst>
                <a:ext uri="{FF2B5EF4-FFF2-40B4-BE49-F238E27FC236}">
                  <a16:creationId xmlns:a16="http://schemas.microsoft.com/office/drawing/2014/main" id="{FDF80CBE-0FE9-2A6A-09EC-046F0944DA86}"/>
                </a:ext>
              </a:extLst>
            </p:cNvPr>
            <p:cNvSpPr/>
            <p:nvPr/>
          </p:nvSpPr>
          <p:spPr>
            <a:xfrm>
              <a:off x="9401650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2" name="object 1902">
              <a:extLst>
                <a:ext uri="{FF2B5EF4-FFF2-40B4-BE49-F238E27FC236}">
                  <a16:creationId xmlns:a16="http://schemas.microsoft.com/office/drawing/2014/main" id="{9BD8CC67-3B94-7A31-B88C-A3A6E63D1333}"/>
                </a:ext>
              </a:extLst>
            </p:cNvPr>
            <p:cNvSpPr/>
            <p:nvPr/>
          </p:nvSpPr>
          <p:spPr>
            <a:xfrm>
              <a:off x="9436672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3" name="object 1903">
              <a:extLst>
                <a:ext uri="{FF2B5EF4-FFF2-40B4-BE49-F238E27FC236}">
                  <a16:creationId xmlns:a16="http://schemas.microsoft.com/office/drawing/2014/main" id="{72F9B8F4-D00F-BADB-5B1F-7EA456FBC3CC}"/>
                </a:ext>
              </a:extLst>
            </p:cNvPr>
            <p:cNvSpPr/>
            <p:nvPr/>
          </p:nvSpPr>
          <p:spPr>
            <a:xfrm>
              <a:off x="9331607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4" name="object 1904">
              <a:extLst>
                <a:ext uri="{FF2B5EF4-FFF2-40B4-BE49-F238E27FC236}">
                  <a16:creationId xmlns:a16="http://schemas.microsoft.com/office/drawing/2014/main" id="{D29116E3-9B65-86E7-FD87-FCEE53271C20}"/>
                </a:ext>
              </a:extLst>
            </p:cNvPr>
            <p:cNvSpPr/>
            <p:nvPr/>
          </p:nvSpPr>
          <p:spPr>
            <a:xfrm>
              <a:off x="9226533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5" name="object 1905">
              <a:extLst>
                <a:ext uri="{FF2B5EF4-FFF2-40B4-BE49-F238E27FC236}">
                  <a16:creationId xmlns:a16="http://schemas.microsoft.com/office/drawing/2014/main" id="{B6EE8A2D-94A5-15A0-2072-3F635397E7DF}"/>
                </a:ext>
              </a:extLst>
            </p:cNvPr>
            <p:cNvSpPr/>
            <p:nvPr/>
          </p:nvSpPr>
          <p:spPr>
            <a:xfrm>
              <a:off x="9261628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6" name="object 1906">
              <a:extLst>
                <a:ext uri="{FF2B5EF4-FFF2-40B4-BE49-F238E27FC236}">
                  <a16:creationId xmlns:a16="http://schemas.microsoft.com/office/drawing/2014/main" id="{CB446700-5B13-52E2-815B-819B27628C88}"/>
                </a:ext>
              </a:extLst>
            </p:cNvPr>
            <p:cNvSpPr/>
            <p:nvPr/>
          </p:nvSpPr>
          <p:spPr>
            <a:xfrm>
              <a:off x="9156490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7" name="object 1907">
              <a:extLst>
                <a:ext uri="{FF2B5EF4-FFF2-40B4-BE49-F238E27FC236}">
                  <a16:creationId xmlns:a16="http://schemas.microsoft.com/office/drawing/2014/main" id="{E2467158-EBA4-6FAF-8182-BBF798E8AF43}"/>
                </a:ext>
              </a:extLst>
            </p:cNvPr>
            <p:cNvSpPr/>
            <p:nvPr/>
          </p:nvSpPr>
          <p:spPr>
            <a:xfrm>
              <a:off x="9366628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8" name="object 1908">
              <a:extLst>
                <a:ext uri="{FF2B5EF4-FFF2-40B4-BE49-F238E27FC236}">
                  <a16:creationId xmlns:a16="http://schemas.microsoft.com/office/drawing/2014/main" id="{C0699C99-4D1E-D2D5-BEF1-A9E2FDD09119}"/>
                </a:ext>
              </a:extLst>
            </p:cNvPr>
            <p:cNvSpPr/>
            <p:nvPr/>
          </p:nvSpPr>
          <p:spPr>
            <a:xfrm>
              <a:off x="9191512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9" name="object 1909">
              <a:extLst>
                <a:ext uri="{FF2B5EF4-FFF2-40B4-BE49-F238E27FC236}">
                  <a16:creationId xmlns:a16="http://schemas.microsoft.com/office/drawing/2014/main" id="{8A7A64BA-C8F9-D895-DBF4-B55F3477B1E9}"/>
                </a:ext>
              </a:extLst>
            </p:cNvPr>
            <p:cNvSpPr/>
            <p:nvPr/>
          </p:nvSpPr>
          <p:spPr>
            <a:xfrm>
              <a:off x="947169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0" name="object 1910">
              <a:extLst>
                <a:ext uri="{FF2B5EF4-FFF2-40B4-BE49-F238E27FC236}">
                  <a16:creationId xmlns:a16="http://schemas.microsoft.com/office/drawing/2014/main" id="{992E9CBA-ABF8-64CE-BCBA-24405D659CDC}"/>
                </a:ext>
              </a:extLst>
            </p:cNvPr>
            <p:cNvSpPr/>
            <p:nvPr/>
          </p:nvSpPr>
          <p:spPr>
            <a:xfrm>
              <a:off x="929672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1" name="object 1911">
              <a:extLst>
                <a:ext uri="{FF2B5EF4-FFF2-40B4-BE49-F238E27FC236}">
                  <a16:creationId xmlns:a16="http://schemas.microsoft.com/office/drawing/2014/main" id="{F9370148-83B8-01C5-455F-EAB18F758DD7}"/>
                </a:ext>
              </a:extLst>
            </p:cNvPr>
            <p:cNvSpPr/>
            <p:nvPr/>
          </p:nvSpPr>
          <p:spPr>
            <a:xfrm>
              <a:off x="912174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2" name="object 1912">
              <a:extLst>
                <a:ext uri="{FF2B5EF4-FFF2-40B4-BE49-F238E27FC236}">
                  <a16:creationId xmlns:a16="http://schemas.microsoft.com/office/drawing/2014/main" id="{037AA78D-CCEF-97B5-2844-EE5E5D907725}"/>
                </a:ext>
              </a:extLst>
            </p:cNvPr>
            <p:cNvSpPr/>
            <p:nvPr/>
          </p:nvSpPr>
          <p:spPr>
            <a:xfrm>
              <a:off x="929672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3" name="object 1913">
              <a:extLst>
                <a:ext uri="{FF2B5EF4-FFF2-40B4-BE49-F238E27FC236}">
                  <a16:creationId xmlns:a16="http://schemas.microsoft.com/office/drawing/2014/main" id="{8D651B5C-D085-2127-AB06-D028F0CA263C}"/>
                </a:ext>
              </a:extLst>
            </p:cNvPr>
            <p:cNvSpPr/>
            <p:nvPr/>
          </p:nvSpPr>
          <p:spPr>
            <a:xfrm>
              <a:off x="9121743" y="65310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914" name="object 1914">
            <a:extLst>
              <a:ext uri="{FF2B5EF4-FFF2-40B4-BE49-F238E27FC236}">
                <a16:creationId xmlns:a16="http://schemas.microsoft.com/office/drawing/2014/main" id="{3051F3EB-C996-5CA8-6C96-9AD8FFC544E4}"/>
              </a:ext>
            </a:extLst>
          </p:cNvPr>
          <p:cNvGrpSpPr/>
          <p:nvPr/>
        </p:nvGrpSpPr>
        <p:grpSpPr>
          <a:xfrm>
            <a:off x="9943048" y="2613309"/>
            <a:ext cx="350370" cy="123517"/>
            <a:chOff x="9943048" y="2613309"/>
            <a:chExt cx="350370" cy="123517"/>
          </a:xfrm>
        </p:grpSpPr>
        <p:sp>
          <p:nvSpPr>
            <p:cNvPr id="1915" name="object 1915">
              <a:extLst>
                <a:ext uri="{FF2B5EF4-FFF2-40B4-BE49-F238E27FC236}">
                  <a16:creationId xmlns:a16="http://schemas.microsoft.com/office/drawing/2014/main" id="{D22779ED-7932-A82C-C58E-292EA1669EF2}"/>
                </a:ext>
              </a:extLst>
            </p:cNvPr>
            <p:cNvSpPr/>
            <p:nvPr/>
          </p:nvSpPr>
          <p:spPr>
            <a:xfrm>
              <a:off x="1022329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6" name="object 1916">
              <a:extLst>
                <a:ext uri="{FF2B5EF4-FFF2-40B4-BE49-F238E27FC236}">
                  <a16:creationId xmlns:a16="http://schemas.microsoft.com/office/drawing/2014/main" id="{D43F200D-97F9-3A92-DC08-2FCC0E3D0DF3}"/>
                </a:ext>
              </a:extLst>
            </p:cNvPr>
            <p:cNvSpPr/>
            <p:nvPr/>
          </p:nvSpPr>
          <p:spPr>
            <a:xfrm>
              <a:off x="1025831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7" name="object 1917">
              <a:extLst>
                <a:ext uri="{FF2B5EF4-FFF2-40B4-BE49-F238E27FC236}">
                  <a16:creationId xmlns:a16="http://schemas.microsoft.com/office/drawing/2014/main" id="{22F52A21-4707-CF0A-C084-74B95BD27F92}"/>
                </a:ext>
              </a:extLst>
            </p:cNvPr>
            <p:cNvSpPr/>
            <p:nvPr/>
          </p:nvSpPr>
          <p:spPr>
            <a:xfrm>
              <a:off x="1015324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8" name="object 1918">
              <a:extLst>
                <a:ext uri="{FF2B5EF4-FFF2-40B4-BE49-F238E27FC236}">
                  <a16:creationId xmlns:a16="http://schemas.microsoft.com/office/drawing/2014/main" id="{F3DC0E02-9383-2CD6-D545-5ACFF6E4FFE7}"/>
                </a:ext>
              </a:extLst>
            </p:cNvPr>
            <p:cNvSpPr/>
            <p:nvPr/>
          </p:nvSpPr>
          <p:spPr>
            <a:xfrm>
              <a:off x="1004817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9" name="object 1919">
              <a:extLst>
                <a:ext uri="{FF2B5EF4-FFF2-40B4-BE49-F238E27FC236}">
                  <a16:creationId xmlns:a16="http://schemas.microsoft.com/office/drawing/2014/main" id="{C2AD3DCF-E1C9-FD76-3E41-4F1DED0274BD}"/>
                </a:ext>
              </a:extLst>
            </p:cNvPr>
            <p:cNvSpPr/>
            <p:nvPr/>
          </p:nvSpPr>
          <p:spPr>
            <a:xfrm>
              <a:off x="1008327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0" name="object 1920">
              <a:extLst>
                <a:ext uri="{FF2B5EF4-FFF2-40B4-BE49-F238E27FC236}">
                  <a16:creationId xmlns:a16="http://schemas.microsoft.com/office/drawing/2014/main" id="{6DD3C17E-EEC7-986E-5D96-AB82697013E9}"/>
                </a:ext>
              </a:extLst>
            </p:cNvPr>
            <p:cNvSpPr/>
            <p:nvPr/>
          </p:nvSpPr>
          <p:spPr>
            <a:xfrm>
              <a:off x="997813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1" name="object 1921">
              <a:extLst>
                <a:ext uri="{FF2B5EF4-FFF2-40B4-BE49-F238E27FC236}">
                  <a16:creationId xmlns:a16="http://schemas.microsoft.com/office/drawing/2014/main" id="{67D8C1EB-9DD8-7807-5187-66501E013507}"/>
                </a:ext>
              </a:extLst>
            </p:cNvPr>
            <p:cNvSpPr/>
            <p:nvPr/>
          </p:nvSpPr>
          <p:spPr>
            <a:xfrm>
              <a:off x="1018826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2" name="object 1922">
              <a:extLst>
                <a:ext uri="{FF2B5EF4-FFF2-40B4-BE49-F238E27FC236}">
                  <a16:creationId xmlns:a16="http://schemas.microsoft.com/office/drawing/2014/main" id="{51C23264-24D5-16EC-D43F-4BF180CEE674}"/>
                </a:ext>
              </a:extLst>
            </p:cNvPr>
            <p:cNvSpPr/>
            <p:nvPr/>
          </p:nvSpPr>
          <p:spPr>
            <a:xfrm>
              <a:off x="1001315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3" name="object 1923">
              <a:extLst>
                <a:ext uri="{FF2B5EF4-FFF2-40B4-BE49-F238E27FC236}">
                  <a16:creationId xmlns:a16="http://schemas.microsoft.com/office/drawing/2014/main" id="{9992C3FA-C196-E900-8C5B-9E3C1EA966DE}"/>
                </a:ext>
              </a:extLst>
            </p:cNvPr>
            <p:cNvSpPr/>
            <p:nvPr/>
          </p:nvSpPr>
          <p:spPr>
            <a:xfrm>
              <a:off x="10293336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4" name="object 1924">
              <a:extLst>
                <a:ext uri="{FF2B5EF4-FFF2-40B4-BE49-F238E27FC236}">
                  <a16:creationId xmlns:a16="http://schemas.microsoft.com/office/drawing/2014/main" id="{3E9F89CF-44A7-BEB3-D772-75F8B4365496}"/>
                </a:ext>
              </a:extLst>
            </p:cNvPr>
            <p:cNvSpPr/>
            <p:nvPr/>
          </p:nvSpPr>
          <p:spPr>
            <a:xfrm>
              <a:off x="10118366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5" name="object 1925">
              <a:extLst>
                <a:ext uri="{FF2B5EF4-FFF2-40B4-BE49-F238E27FC236}">
                  <a16:creationId xmlns:a16="http://schemas.microsoft.com/office/drawing/2014/main" id="{866DA67C-012E-56B1-6F0A-0F3F83CAE1DF}"/>
                </a:ext>
              </a:extLst>
            </p:cNvPr>
            <p:cNvSpPr/>
            <p:nvPr/>
          </p:nvSpPr>
          <p:spPr>
            <a:xfrm>
              <a:off x="9943386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6" name="object 1926">
              <a:extLst>
                <a:ext uri="{FF2B5EF4-FFF2-40B4-BE49-F238E27FC236}">
                  <a16:creationId xmlns:a16="http://schemas.microsoft.com/office/drawing/2014/main" id="{AD73B738-C03E-1834-0288-CC26C196A5C7}"/>
                </a:ext>
              </a:extLst>
            </p:cNvPr>
            <p:cNvSpPr/>
            <p:nvPr/>
          </p:nvSpPr>
          <p:spPr>
            <a:xfrm>
              <a:off x="9943395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7" name="object 1927">
              <a:extLst>
                <a:ext uri="{FF2B5EF4-FFF2-40B4-BE49-F238E27FC236}">
                  <a16:creationId xmlns:a16="http://schemas.microsoft.com/office/drawing/2014/main" id="{BBD962DD-91D3-7B7B-B2F4-6DCE0BDEF0E1}"/>
                </a:ext>
              </a:extLst>
            </p:cNvPr>
            <p:cNvSpPr/>
            <p:nvPr/>
          </p:nvSpPr>
          <p:spPr>
            <a:xfrm>
              <a:off x="9943514" y="2613318"/>
              <a:ext cx="11474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9230"/>
                <a:gd name="f4" fmla="val 84454"/>
                <a:gd name="f5" fmla="val 189104"/>
                <a:gd name="f6" fmla="val 84102"/>
                <a:gd name="f7" fmla="*/ f0 1 189230"/>
                <a:gd name="f8" fmla="*/ f1 1 84454"/>
                <a:gd name="f9" fmla="+- f4 0 f2"/>
                <a:gd name="f10" fmla="+- f3 0 f2"/>
                <a:gd name="f11" fmla="*/ f10 1 1892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92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8" name="object 1928">
              <a:extLst>
                <a:ext uri="{FF2B5EF4-FFF2-40B4-BE49-F238E27FC236}">
                  <a16:creationId xmlns:a16="http://schemas.microsoft.com/office/drawing/2014/main" id="{BD4458A8-7EC1-42F3-E870-26FDECCBCD41}"/>
                </a:ext>
              </a:extLst>
            </p:cNvPr>
            <p:cNvSpPr/>
            <p:nvPr/>
          </p:nvSpPr>
          <p:spPr>
            <a:xfrm>
              <a:off x="10292989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9" name="object 1929">
              <a:extLst>
                <a:ext uri="{FF2B5EF4-FFF2-40B4-BE49-F238E27FC236}">
                  <a16:creationId xmlns:a16="http://schemas.microsoft.com/office/drawing/2014/main" id="{F9948E2E-F6F9-1112-5F4D-44AF0507A78F}"/>
                </a:ext>
              </a:extLst>
            </p:cNvPr>
            <p:cNvSpPr/>
            <p:nvPr/>
          </p:nvSpPr>
          <p:spPr>
            <a:xfrm>
              <a:off x="10118018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0" name="object 1930">
              <a:extLst>
                <a:ext uri="{FF2B5EF4-FFF2-40B4-BE49-F238E27FC236}">
                  <a16:creationId xmlns:a16="http://schemas.microsoft.com/office/drawing/2014/main" id="{223C055B-4C6B-7475-3433-BB68572D4C1B}"/>
                </a:ext>
              </a:extLst>
            </p:cNvPr>
            <p:cNvSpPr/>
            <p:nvPr/>
          </p:nvSpPr>
          <p:spPr>
            <a:xfrm>
              <a:off x="9943048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1" name="object 1931">
              <a:extLst>
                <a:ext uri="{FF2B5EF4-FFF2-40B4-BE49-F238E27FC236}">
                  <a16:creationId xmlns:a16="http://schemas.microsoft.com/office/drawing/2014/main" id="{951CDD15-46CB-9377-A117-7A6B9BFB7663}"/>
                </a:ext>
              </a:extLst>
            </p:cNvPr>
            <p:cNvSpPr/>
            <p:nvPr/>
          </p:nvSpPr>
          <p:spPr>
            <a:xfrm>
              <a:off x="10118018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2" name="object 1932">
              <a:extLst>
                <a:ext uri="{FF2B5EF4-FFF2-40B4-BE49-F238E27FC236}">
                  <a16:creationId xmlns:a16="http://schemas.microsoft.com/office/drawing/2014/main" id="{021A9AE3-CA9C-EAD4-6F20-95B49609C72C}"/>
                </a:ext>
              </a:extLst>
            </p:cNvPr>
            <p:cNvSpPr/>
            <p:nvPr/>
          </p:nvSpPr>
          <p:spPr>
            <a:xfrm>
              <a:off x="1022294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3" name="object 1933">
              <a:extLst>
                <a:ext uri="{FF2B5EF4-FFF2-40B4-BE49-F238E27FC236}">
                  <a16:creationId xmlns:a16="http://schemas.microsoft.com/office/drawing/2014/main" id="{32DF32EF-0A98-20CA-4EF3-F63B1DD8DE61}"/>
                </a:ext>
              </a:extLst>
            </p:cNvPr>
            <p:cNvSpPr/>
            <p:nvPr/>
          </p:nvSpPr>
          <p:spPr>
            <a:xfrm>
              <a:off x="10257967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4" name="object 1934">
              <a:extLst>
                <a:ext uri="{FF2B5EF4-FFF2-40B4-BE49-F238E27FC236}">
                  <a16:creationId xmlns:a16="http://schemas.microsoft.com/office/drawing/2014/main" id="{8677039C-416C-F1D3-AE1A-026E6AF8BD68}"/>
                </a:ext>
              </a:extLst>
            </p:cNvPr>
            <p:cNvSpPr/>
            <p:nvPr/>
          </p:nvSpPr>
          <p:spPr>
            <a:xfrm>
              <a:off x="1015290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5" name="object 1935">
              <a:extLst>
                <a:ext uri="{FF2B5EF4-FFF2-40B4-BE49-F238E27FC236}">
                  <a16:creationId xmlns:a16="http://schemas.microsoft.com/office/drawing/2014/main" id="{E8BFA91C-7860-5F24-8C21-C432902DE0F1}"/>
                </a:ext>
              </a:extLst>
            </p:cNvPr>
            <p:cNvSpPr/>
            <p:nvPr/>
          </p:nvSpPr>
          <p:spPr>
            <a:xfrm>
              <a:off x="10047829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6" name="object 1936">
              <a:extLst>
                <a:ext uri="{FF2B5EF4-FFF2-40B4-BE49-F238E27FC236}">
                  <a16:creationId xmlns:a16="http://schemas.microsoft.com/office/drawing/2014/main" id="{9D85F528-4599-ABA2-4CAB-D2B5D10A4529}"/>
                </a:ext>
              </a:extLst>
            </p:cNvPr>
            <p:cNvSpPr/>
            <p:nvPr/>
          </p:nvSpPr>
          <p:spPr>
            <a:xfrm>
              <a:off x="1008292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7" name="object 1937">
              <a:extLst>
                <a:ext uri="{FF2B5EF4-FFF2-40B4-BE49-F238E27FC236}">
                  <a16:creationId xmlns:a16="http://schemas.microsoft.com/office/drawing/2014/main" id="{434622CB-1A99-5E87-41DD-1E585634A940}"/>
                </a:ext>
              </a:extLst>
            </p:cNvPr>
            <p:cNvSpPr/>
            <p:nvPr/>
          </p:nvSpPr>
          <p:spPr>
            <a:xfrm>
              <a:off x="997778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8" name="object 1938">
              <a:extLst>
                <a:ext uri="{FF2B5EF4-FFF2-40B4-BE49-F238E27FC236}">
                  <a16:creationId xmlns:a16="http://schemas.microsoft.com/office/drawing/2014/main" id="{2754E539-6026-5B40-2EAD-BD4D0BCA69E6}"/>
                </a:ext>
              </a:extLst>
            </p:cNvPr>
            <p:cNvSpPr/>
            <p:nvPr/>
          </p:nvSpPr>
          <p:spPr>
            <a:xfrm>
              <a:off x="1018792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9" name="object 1939">
              <a:extLst>
                <a:ext uri="{FF2B5EF4-FFF2-40B4-BE49-F238E27FC236}">
                  <a16:creationId xmlns:a16="http://schemas.microsoft.com/office/drawing/2014/main" id="{8E7CC975-1371-CDDE-3148-5D5755E7027C}"/>
                </a:ext>
              </a:extLst>
            </p:cNvPr>
            <p:cNvSpPr/>
            <p:nvPr/>
          </p:nvSpPr>
          <p:spPr>
            <a:xfrm>
              <a:off x="1001280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0" name="object 1940">
              <a:extLst>
                <a:ext uri="{FF2B5EF4-FFF2-40B4-BE49-F238E27FC236}">
                  <a16:creationId xmlns:a16="http://schemas.microsoft.com/office/drawing/2014/main" id="{84C2AF91-B522-3B4C-AC7E-DE472666497D}"/>
                </a:ext>
              </a:extLst>
            </p:cNvPr>
            <p:cNvSpPr/>
            <p:nvPr/>
          </p:nvSpPr>
          <p:spPr>
            <a:xfrm>
              <a:off x="9943048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941" name="object 1941">
            <a:extLst>
              <a:ext uri="{FF2B5EF4-FFF2-40B4-BE49-F238E27FC236}">
                <a16:creationId xmlns:a16="http://schemas.microsoft.com/office/drawing/2014/main" id="{9DAECFBE-F61D-9E07-F2C3-EC3D5C25CFF0}"/>
              </a:ext>
            </a:extLst>
          </p:cNvPr>
          <p:cNvGrpSpPr/>
          <p:nvPr/>
        </p:nvGrpSpPr>
        <p:grpSpPr>
          <a:xfrm>
            <a:off x="9943048" y="4145340"/>
            <a:ext cx="350370" cy="123517"/>
            <a:chOff x="9943048" y="4145340"/>
            <a:chExt cx="350370" cy="123517"/>
          </a:xfrm>
        </p:grpSpPr>
        <p:sp>
          <p:nvSpPr>
            <p:cNvPr id="1942" name="object 1942">
              <a:extLst>
                <a:ext uri="{FF2B5EF4-FFF2-40B4-BE49-F238E27FC236}">
                  <a16:creationId xmlns:a16="http://schemas.microsoft.com/office/drawing/2014/main" id="{98684757-9374-481B-9A25-9B40F05C9A57}"/>
                </a:ext>
              </a:extLst>
            </p:cNvPr>
            <p:cNvSpPr/>
            <p:nvPr/>
          </p:nvSpPr>
          <p:spPr>
            <a:xfrm>
              <a:off x="10223293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3" name="object 1943">
              <a:extLst>
                <a:ext uri="{FF2B5EF4-FFF2-40B4-BE49-F238E27FC236}">
                  <a16:creationId xmlns:a16="http://schemas.microsoft.com/office/drawing/2014/main" id="{95053044-AEFD-5103-C8D1-3D7041490163}"/>
                </a:ext>
              </a:extLst>
            </p:cNvPr>
            <p:cNvSpPr/>
            <p:nvPr/>
          </p:nvSpPr>
          <p:spPr>
            <a:xfrm>
              <a:off x="1025831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4" name="object 1944">
              <a:extLst>
                <a:ext uri="{FF2B5EF4-FFF2-40B4-BE49-F238E27FC236}">
                  <a16:creationId xmlns:a16="http://schemas.microsoft.com/office/drawing/2014/main" id="{F9B359A7-F2A4-0872-DA7C-7B8E2BE441D8}"/>
                </a:ext>
              </a:extLst>
            </p:cNvPr>
            <p:cNvSpPr/>
            <p:nvPr/>
          </p:nvSpPr>
          <p:spPr>
            <a:xfrm>
              <a:off x="10153241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5" name="object 1945">
              <a:extLst>
                <a:ext uri="{FF2B5EF4-FFF2-40B4-BE49-F238E27FC236}">
                  <a16:creationId xmlns:a16="http://schemas.microsoft.com/office/drawing/2014/main" id="{81CA68B3-D36E-D7BA-9516-00F71D93C0F8}"/>
                </a:ext>
              </a:extLst>
            </p:cNvPr>
            <p:cNvSpPr/>
            <p:nvPr/>
          </p:nvSpPr>
          <p:spPr>
            <a:xfrm>
              <a:off x="10048177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6" name="object 1946">
              <a:extLst>
                <a:ext uri="{FF2B5EF4-FFF2-40B4-BE49-F238E27FC236}">
                  <a16:creationId xmlns:a16="http://schemas.microsoft.com/office/drawing/2014/main" id="{65070856-2A20-75A0-7903-BC68ABF5D020}"/>
                </a:ext>
              </a:extLst>
            </p:cNvPr>
            <p:cNvSpPr/>
            <p:nvPr/>
          </p:nvSpPr>
          <p:spPr>
            <a:xfrm>
              <a:off x="10083271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7" name="object 1947">
              <a:extLst>
                <a:ext uri="{FF2B5EF4-FFF2-40B4-BE49-F238E27FC236}">
                  <a16:creationId xmlns:a16="http://schemas.microsoft.com/office/drawing/2014/main" id="{F6ECCCFC-DB89-2D90-0638-3AE0DB1C9A2F}"/>
                </a:ext>
              </a:extLst>
            </p:cNvPr>
            <p:cNvSpPr/>
            <p:nvPr/>
          </p:nvSpPr>
          <p:spPr>
            <a:xfrm>
              <a:off x="9978133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8" name="object 1948">
              <a:extLst>
                <a:ext uri="{FF2B5EF4-FFF2-40B4-BE49-F238E27FC236}">
                  <a16:creationId xmlns:a16="http://schemas.microsoft.com/office/drawing/2014/main" id="{9F70F95D-C85A-841D-EF47-1BA79E9BC4D2}"/>
                </a:ext>
              </a:extLst>
            </p:cNvPr>
            <p:cNvSpPr/>
            <p:nvPr/>
          </p:nvSpPr>
          <p:spPr>
            <a:xfrm>
              <a:off x="10188263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9" name="object 1949">
              <a:extLst>
                <a:ext uri="{FF2B5EF4-FFF2-40B4-BE49-F238E27FC236}">
                  <a16:creationId xmlns:a16="http://schemas.microsoft.com/office/drawing/2014/main" id="{57172BF9-58EF-CA06-65EA-24C669774D95}"/>
                </a:ext>
              </a:extLst>
            </p:cNvPr>
            <p:cNvSpPr/>
            <p:nvPr/>
          </p:nvSpPr>
          <p:spPr>
            <a:xfrm>
              <a:off x="1001315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0" name="object 1950">
              <a:extLst>
                <a:ext uri="{FF2B5EF4-FFF2-40B4-BE49-F238E27FC236}">
                  <a16:creationId xmlns:a16="http://schemas.microsoft.com/office/drawing/2014/main" id="{73036C3A-B9CD-5E8F-5AFE-9AB21FFD2EA5}"/>
                </a:ext>
              </a:extLst>
            </p:cNvPr>
            <p:cNvSpPr/>
            <p:nvPr/>
          </p:nvSpPr>
          <p:spPr>
            <a:xfrm>
              <a:off x="10293336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1" name="object 1951">
              <a:extLst>
                <a:ext uri="{FF2B5EF4-FFF2-40B4-BE49-F238E27FC236}">
                  <a16:creationId xmlns:a16="http://schemas.microsoft.com/office/drawing/2014/main" id="{95452614-E68F-06AE-6D6D-151EFED6995B}"/>
                </a:ext>
              </a:extLst>
            </p:cNvPr>
            <p:cNvSpPr/>
            <p:nvPr/>
          </p:nvSpPr>
          <p:spPr>
            <a:xfrm>
              <a:off x="10118366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2" name="object 1952">
              <a:extLst>
                <a:ext uri="{FF2B5EF4-FFF2-40B4-BE49-F238E27FC236}">
                  <a16:creationId xmlns:a16="http://schemas.microsoft.com/office/drawing/2014/main" id="{E067753B-E619-CEAC-1E87-CF3F22373E08}"/>
                </a:ext>
              </a:extLst>
            </p:cNvPr>
            <p:cNvSpPr/>
            <p:nvPr/>
          </p:nvSpPr>
          <p:spPr>
            <a:xfrm>
              <a:off x="9943386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3" name="object 1953">
              <a:extLst>
                <a:ext uri="{FF2B5EF4-FFF2-40B4-BE49-F238E27FC236}">
                  <a16:creationId xmlns:a16="http://schemas.microsoft.com/office/drawing/2014/main" id="{3361B885-0586-225E-48CA-2807AA6D82B0}"/>
                </a:ext>
              </a:extLst>
            </p:cNvPr>
            <p:cNvSpPr/>
            <p:nvPr/>
          </p:nvSpPr>
          <p:spPr>
            <a:xfrm>
              <a:off x="9943395" y="417084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4" name="object 1954">
              <a:extLst>
                <a:ext uri="{FF2B5EF4-FFF2-40B4-BE49-F238E27FC236}">
                  <a16:creationId xmlns:a16="http://schemas.microsoft.com/office/drawing/2014/main" id="{48B3086B-CCD1-A2DE-CA43-B2C3D3920B1A}"/>
                </a:ext>
              </a:extLst>
            </p:cNvPr>
            <p:cNvSpPr/>
            <p:nvPr/>
          </p:nvSpPr>
          <p:spPr>
            <a:xfrm>
              <a:off x="9943514" y="4145340"/>
              <a:ext cx="19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75"/>
                <a:gd name="f4" fmla="val 84454"/>
                <a:gd name="f5" fmla="val 2973"/>
                <a:gd name="f6" fmla="val 84123"/>
                <a:gd name="f7" fmla="*/ f0 1 3175"/>
                <a:gd name="f8" fmla="*/ f1 1 84454"/>
                <a:gd name="f9" fmla="+- f4 0 f2"/>
                <a:gd name="f10" fmla="+- f3 0 f2"/>
                <a:gd name="f11" fmla="*/ f10 1 31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5" name="object 1955">
              <a:extLst>
                <a:ext uri="{FF2B5EF4-FFF2-40B4-BE49-F238E27FC236}">
                  <a16:creationId xmlns:a16="http://schemas.microsoft.com/office/drawing/2014/main" id="{2F47E012-536D-31F1-BB10-05F2662D964D}"/>
                </a:ext>
              </a:extLst>
            </p:cNvPr>
            <p:cNvSpPr/>
            <p:nvPr/>
          </p:nvSpPr>
          <p:spPr>
            <a:xfrm>
              <a:off x="10292989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6" name="object 1956">
              <a:extLst>
                <a:ext uri="{FF2B5EF4-FFF2-40B4-BE49-F238E27FC236}">
                  <a16:creationId xmlns:a16="http://schemas.microsoft.com/office/drawing/2014/main" id="{1F127BB8-8BA0-2F49-0474-43BF280C9917}"/>
                </a:ext>
              </a:extLst>
            </p:cNvPr>
            <p:cNvSpPr/>
            <p:nvPr/>
          </p:nvSpPr>
          <p:spPr>
            <a:xfrm>
              <a:off x="10118018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7" name="object 1957">
              <a:extLst>
                <a:ext uri="{FF2B5EF4-FFF2-40B4-BE49-F238E27FC236}">
                  <a16:creationId xmlns:a16="http://schemas.microsoft.com/office/drawing/2014/main" id="{9FF87043-D31D-07ED-1D58-5E99DA3E1E77}"/>
                </a:ext>
              </a:extLst>
            </p:cNvPr>
            <p:cNvSpPr/>
            <p:nvPr/>
          </p:nvSpPr>
          <p:spPr>
            <a:xfrm>
              <a:off x="9943048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8" name="object 1958">
              <a:extLst>
                <a:ext uri="{FF2B5EF4-FFF2-40B4-BE49-F238E27FC236}">
                  <a16:creationId xmlns:a16="http://schemas.microsoft.com/office/drawing/2014/main" id="{D3A2D7CF-D4C8-438B-0605-A54ACE60CC58}"/>
                </a:ext>
              </a:extLst>
            </p:cNvPr>
            <p:cNvSpPr/>
            <p:nvPr/>
          </p:nvSpPr>
          <p:spPr>
            <a:xfrm>
              <a:off x="10118018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9" name="object 1959">
              <a:extLst>
                <a:ext uri="{FF2B5EF4-FFF2-40B4-BE49-F238E27FC236}">
                  <a16:creationId xmlns:a16="http://schemas.microsoft.com/office/drawing/2014/main" id="{A4A8D801-6760-F17B-7D3A-9EF4D8AEBCF5}"/>
                </a:ext>
              </a:extLst>
            </p:cNvPr>
            <p:cNvSpPr/>
            <p:nvPr/>
          </p:nvSpPr>
          <p:spPr>
            <a:xfrm>
              <a:off x="10222946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0" name="object 1960">
              <a:extLst>
                <a:ext uri="{FF2B5EF4-FFF2-40B4-BE49-F238E27FC236}">
                  <a16:creationId xmlns:a16="http://schemas.microsoft.com/office/drawing/2014/main" id="{A2B9188E-BCAA-3DA1-91B2-25E3D9779C12}"/>
                </a:ext>
              </a:extLst>
            </p:cNvPr>
            <p:cNvSpPr/>
            <p:nvPr/>
          </p:nvSpPr>
          <p:spPr>
            <a:xfrm>
              <a:off x="10257967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1" name="object 1961">
              <a:extLst>
                <a:ext uri="{FF2B5EF4-FFF2-40B4-BE49-F238E27FC236}">
                  <a16:creationId xmlns:a16="http://schemas.microsoft.com/office/drawing/2014/main" id="{8ADA6B0C-0E18-D352-C590-05C7D830F07C}"/>
                </a:ext>
              </a:extLst>
            </p:cNvPr>
            <p:cNvSpPr/>
            <p:nvPr/>
          </p:nvSpPr>
          <p:spPr>
            <a:xfrm>
              <a:off x="10152903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2" name="object 1962">
              <a:extLst>
                <a:ext uri="{FF2B5EF4-FFF2-40B4-BE49-F238E27FC236}">
                  <a16:creationId xmlns:a16="http://schemas.microsoft.com/office/drawing/2014/main" id="{D6BBC064-5CD9-F26D-A865-2FCC95F625FD}"/>
                </a:ext>
              </a:extLst>
            </p:cNvPr>
            <p:cNvSpPr/>
            <p:nvPr/>
          </p:nvSpPr>
          <p:spPr>
            <a:xfrm>
              <a:off x="10047829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3" name="object 1963">
              <a:extLst>
                <a:ext uri="{FF2B5EF4-FFF2-40B4-BE49-F238E27FC236}">
                  <a16:creationId xmlns:a16="http://schemas.microsoft.com/office/drawing/2014/main" id="{2BB0A01D-6911-4CF5-0EEB-543BB18E1719}"/>
                </a:ext>
              </a:extLst>
            </p:cNvPr>
            <p:cNvSpPr/>
            <p:nvPr/>
          </p:nvSpPr>
          <p:spPr>
            <a:xfrm>
              <a:off x="10082924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4" name="object 1964">
              <a:extLst>
                <a:ext uri="{FF2B5EF4-FFF2-40B4-BE49-F238E27FC236}">
                  <a16:creationId xmlns:a16="http://schemas.microsoft.com/office/drawing/2014/main" id="{BCE49E1A-B9D4-537E-508F-3C4B42A6B66B}"/>
                </a:ext>
              </a:extLst>
            </p:cNvPr>
            <p:cNvSpPr/>
            <p:nvPr/>
          </p:nvSpPr>
          <p:spPr>
            <a:xfrm>
              <a:off x="9977786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5" name="object 1965">
              <a:extLst>
                <a:ext uri="{FF2B5EF4-FFF2-40B4-BE49-F238E27FC236}">
                  <a16:creationId xmlns:a16="http://schemas.microsoft.com/office/drawing/2014/main" id="{D1A32152-60B6-A81F-A418-CC3F1013BB50}"/>
                </a:ext>
              </a:extLst>
            </p:cNvPr>
            <p:cNvSpPr/>
            <p:nvPr/>
          </p:nvSpPr>
          <p:spPr>
            <a:xfrm>
              <a:off x="10187924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6" name="object 1966">
              <a:extLst>
                <a:ext uri="{FF2B5EF4-FFF2-40B4-BE49-F238E27FC236}">
                  <a16:creationId xmlns:a16="http://schemas.microsoft.com/office/drawing/2014/main" id="{9C180117-9C7D-30FA-14DB-895148E05884}"/>
                </a:ext>
              </a:extLst>
            </p:cNvPr>
            <p:cNvSpPr/>
            <p:nvPr/>
          </p:nvSpPr>
          <p:spPr>
            <a:xfrm>
              <a:off x="10012808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7" name="object 1967">
              <a:extLst>
                <a:ext uri="{FF2B5EF4-FFF2-40B4-BE49-F238E27FC236}">
                  <a16:creationId xmlns:a16="http://schemas.microsoft.com/office/drawing/2014/main" id="{C888E375-74EB-7479-B3B1-EFA4ADA397FC}"/>
                </a:ext>
              </a:extLst>
            </p:cNvPr>
            <p:cNvSpPr/>
            <p:nvPr/>
          </p:nvSpPr>
          <p:spPr>
            <a:xfrm>
              <a:off x="9943048" y="424314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8" name="object 1968">
              <a:extLst>
                <a:ext uri="{FF2B5EF4-FFF2-40B4-BE49-F238E27FC236}">
                  <a16:creationId xmlns:a16="http://schemas.microsoft.com/office/drawing/2014/main" id="{7633BEEB-0009-D969-78E0-AAB9C6C4AD63}"/>
                </a:ext>
              </a:extLst>
            </p:cNvPr>
            <p:cNvSpPr/>
            <p:nvPr/>
          </p:nvSpPr>
          <p:spPr>
            <a:xfrm>
              <a:off x="9943514" y="4217642"/>
              <a:ext cx="2734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084"/>
                <a:gd name="f4" fmla="val 84454"/>
                <a:gd name="f5" fmla="val 45024"/>
                <a:gd name="f6" fmla="val 84123"/>
                <a:gd name="f7" fmla="*/ f0 1 45084"/>
                <a:gd name="f8" fmla="*/ f1 1 84454"/>
                <a:gd name="f9" fmla="+- f4 0 f2"/>
                <a:gd name="f10" fmla="+- f3 0 f2"/>
                <a:gd name="f11" fmla="*/ f10 1 4508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08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969" name="object 1969">
            <a:extLst>
              <a:ext uri="{FF2B5EF4-FFF2-40B4-BE49-F238E27FC236}">
                <a16:creationId xmlns:a16="http://schemas.microsoft.com/office/drawing/2014/main" id="{312E267E-5BB1-C69E-6068-C2553405F89D}"/>
              </a:ext>
            </a:extLst>
          </p:cNvPr>
          <p:cNvGrpSpPr/>
          <p:nvPr/>
        </p:nvGrpSpPr>
        <p:grpSpPr>
          <a:xfrm>
            <a:off x="9943048" y="4906542"/>
            <a:ext cx="350370" cy="123516"/>
            <a:chOff x="9943048" y="4906542"/>
            <a:chExt cx="350370" cy="123516"/>
          </a:xfrm>
        </p:grpSpPr>
        <p:sp>
          <p:nvSpPr>
            <p:cNvPr id="1970" name="object 1970">
              <a:extLst>
                <a:ext uri="{FF2B5EF4-FFF2-40B4-BE49-F238E27FC236}">
                  <a16:creationId xmlns:a16="http://schemas.microsoft.com/office/drawing/2014/main" id="{428D56B5-8325-DE18-BB5B-3EC8839F234A}"/>
                </a:ext>
              </a:extLst>
            </p:cNvPr>
            <p:cNvSpPr/>
            <p:nvPr/>
          </p:nvSpPr>
          <p:spPr>
            <a:xfrm>
              <a:off x="10223293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1" name="object 1971">
              <a:extLst>
                <a:ext uri="{FF2B5EF4-FFF2-40B4-BE49-F238E27FC236}">
                  <a16:creationId xmlns:a16="http://schemas.microsoft.com/office/drawing/2014/main" id="{2E7BA2DB-0511-5DAB-01D1-10F330BECC59}"/>
                </a:ext>
              </a:extLst>
            </p:cNvPr>
            <p:cNvSpPr/>
            <p:nvPr/>
          </p:nvSpPr>
          <p:spPr>
            <a:xfrm>
              <a:off x="10258315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2" name="object 1972">
              <a:extLst>
                <a:ext uri="{FF2B5EF4-FFF2-40B4-BE49-F238E27FC236}">
                  <a16:creationId xmlns:a16="http://schemas.microsoft.com/office/drawing/2014/main" id="{924BEB85-64D6-3BB5-1596-7EB04906B29E}"/>
                </a:ext>
              </a:extLst>
            </p:cNvPr>
            <p:cNvSpPr/>
            <p:nvPr/>
          </p:nvSpPr>
          <p:spPr>
            <a:xfrm>
              <a:off x="10153241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3" name="object 1973">
              <a:extLst>
                <a:ext uri="{FF2B5EF4-FFF2-40B4-BE49-F238E27FC236}">
                  <a16:creationId xmlns:a16="http://schemas.microsoft.com/office/drawing/2014/main" id="{64F0180A-B61F-4032-18DE-E0805B4E5B1B}"/>
                </a:ext>
              </a:extLst>
            </p:cNvPr>
            <p:cNvSpPr/>
            <p:nvPr/>
          </p:nvSpPr>
          <p:spPr>
            <a:xfrm>
              <a:off x="10048177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4" name="object 1974">
              <a:extLst>
                <a:ext uri="{FF2B5EF4-FFF2-40B4-BE49-F238E27FC236}">
                  <a16:creationId xmlns:a16="http://schemas.microsoft.com/office/drawing/2014/main" id="{C8125B03-BD47-8B87-FA0C-EC64C2FE001B}"/>
                </a:ext>
              </a:extLst>
            </p:cNvPr>
            <p:cNvSpPr/>
            <p:nvPr/>
          </p:nvSpPr>
          <p:spPr>
            <a:xfrm>
              <a:off x="10083271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5" name="object 1975">
              <a:extLst>
                <a:ext uri="{FF2B5EF4-FFF2-40B4-BE49-F238E27FC236}">
                  <a16:creationId xmlns:a16="http://schemas.microsoft.com/office/drawing/2014/main" id="{5FD956D8-8F18-C511-AC03-CB2DDC7B12AF}"/>
                </a:ext>
              </a:extLst>
            </p:cNvPr>
            <p:cNvSpPr/>
            <p:nvPr/>
          </p:nvSpPr>
          <p:spPr>
            <a:xfrm>
              <a:off x="9978133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6" name="object 1976">
              <a:extLst>
                <a:ext uri="{FF2B5EF4-FFF2-40B4-BE49-F238E27FC236}">
                  <a16:creationId xmlns:a16="http://schemas.microsoft.com/office/drawing/2014/main" id="{9B16C7A8-C919-27DF-411A-03F2472A7FE3}"/>
                </a:ext>
              </a:extLst>
            </p:cNvPr>
            <p:cNvSpPr/>
            <p:nvPr/>
          </p:nvSpPr>
          <p:spPr>
            <a:xfrm>
              <a:off x="10188263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7" name="object 1977">
              <a:extLst>
                <a:ext uri="{FF2B5EF4-FFF2-40B4-BE49-F238E27FC236}">
                  <a16:creationId xmlns:a16="http://schemas.microsoft.com/office/drawing/2014/main" id="{80C91F35-5DDF-F3D7-C1EE-ABB430E44618}"/>
                </a:ext>
              </a:extLst>
            </p:cNvPr>
            <p:cNvSpPr/>
            <p:nvPr/>
          </p:nvSpPr>
          <p:spPr>
            <a:xfrm>
              <a:off x="10013155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8" name="object 1978">
              <a:extLst>
                <a:ext uri="{FF2B5EF4-FFF2-40B4-BE49-F238E27FC236}">
                  <a16:creationId xmlns:a16="http://schemas.microsoft.com/office/drawing/2014/main" id="{F3493CA7-8328-E2F9-65DA-DA57A9D61D11}"/>
                </a:ext>
              </a:extLst>
            </p:cNvPr>
            <p:cNvSpPr/>
            <p:nvPr/>
          </p:nvSpPr>
          <p:spPr>
            <a:xfrm>
              <a:off x="10293336" y="490654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9" name="object 1979">
              <a:extLst>
                <a:ext uri="{FF2B5EF4-FFF2-40B4-BE49-F238E27FC236}">
                  <a16:creationId xmlns:a16="http://schemas.microsoft.com/office/drawing/2014/main" id="{84729670-1BD9-4A8A-FEE9-C8E404065AA9}"/>
                </a:ext>
              </a:extLst>
            </p:cNvPr>
            <p:cNvSpPr/>
            <p:nvPr/>
          </p:nvSpPr>
          <p:spPr>
            <a:xfrm>
              <a:off x="10118366" y="490654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0" name="object 1980">
              <a:extLst>
                <a:ext uri="{FF2B5EF4-FFF2-40B4-BE49-F238E27FC236}">
                  <a16:creationId xmlns:a16="http://schemas.microsoft.com/office/drawing/2014/main" id="{0411AEF1-8A14-E543-4229-4F1D1B007972}"/>
                </a:ext>
              </a:extLst>
            </p:cNvPr>
            <p:cNvSpPr/>
            <p:nvPr/>
          </p:nvSpPr>
          <p:spPr>
            <a:xfrm>
              <a:off x="9943386" y="490654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1" name="object 1981">
              <a:extLst>
                <a:ext uri="{FF2B5EF4-FFF2-40B4-BE49-F238E27FC236}">
                  <a16:creationId xmlns:a16="http://schemas.microsoft.com/office/drawing/2014/main" id="{B018D97B-1F1F-AE5E-C3DA-7F2B0A8FCA15}"/>
                </a:ext>
              </a:extLst>
            </p:cNvPr>
            <p:cNvSpPr/>
            <p:nvPr/>
          </p:nvSpPr>
          <p:spPr>
            <a:xfrm>
              <a:off x="9943395" y="493205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2" name="object 1982">
              <a:extLst>
                <a:ext uri="{FF2B5EF4-FFF2-40B4-BE49-F238E27FC236}">
                  <a16:creationId xmlns:a16="http://schemas.microsoft.com/office/drawing/2014/main" id="{50E22E7A-AC90-40B5-EE73-CF1F83458B08}"/>
                </a:ext>
              </a:extLst>
            </p:cNvPr>
            <p:cNvSpPr/>
            <p:nvPr/>
          </p:nvSpPr>
          <p:spPr>
            <a:xfrm>
              <a:off x="9943514" y="4906551"/>
              <a:ext cx="3773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2230"/>
                <a:gd name="f4" fmla="val 84454"/>
                <a:gd name="f5" fmla="val 62197"/>
                <a:gd name="f6" fmla="val 84123"/>
                <a:gd name="f7" fmla="*/ f0 1 62230"/>
                <a:gd name="f8" fmla="*/ f1 1 84454"/>
                <a:gd name="f9" fmla="+- f4 0 f2"/>
                <a:gd name="f10" fmla="+- f3 0 f2"/>
                <a:gd name="f11" fmla="*/ f10 1 622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22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3" name="object 1983">
              <a:extLst>
                <a:ext uri="{FF2B5EF4-FFF2-40B4-BE49-F238E27FC236}">
                  <a16:creationId xmlns:a16="http://schemas.microsoft.com/office/drawing/2014/main" id="{6874F22F-0F19-A267-D013-F909366BAF55}"/>
                </a:ext>
              </a:extLst>
            </p:cNvPr>
            <p:cNvSpPr/>
            <p:nvPr/>
          </p:nvSpPr>
          <p:spPr>
            <a:xfrm>
              <a:off x="9943514" y="4978834"/>
              <a:ext cx="6199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2234"/>
                <a:gd name="f4" fmla="val 84454"/>
                <a:gd name="f5" fmla="val 101766"/>
                <a:gd name="f6" fmla="val 84123"/>
                <a:gd name="f7" fmla="*/ f0 1 102234"/>
                <a:gd name="f8" fmla="*/ f1 1 84454"/>
                <a:gd name="f9" fmla="+- f4 0 f2"/>
                <a:gd name="f10" fmla="+- f3 0 f2"/>
                <a:gd name="f11" fmla="*/ f10 1 1022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22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4" name="object 1984">
              <a:extLst>
                <a:ext uri="{FF2B5EF4-FFF2-40B4-BE49-F238E27FC236}">
                  <a16:creationId xmlns:a16="http://schemas.microsoft.com/office/drawing/2014/main" id="{89B98AEA-3E26-FF4B-274C-1708166DF8B9}"/>
                </a:ext>
              </a:extLst>
            </p:cNvPr>
            <p:cNvSpPr/>
            <p:nvPr/>
          </p:nvSpPr>
          <p:spPr>
            <a:xfrm>
              <a:off x="10222946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5" name="object 1985">
              <a:extLst>
                <a:ext uri="{FF2B5EF4-FFF2-40B4-BE49-F238E27FC236}">
                  <a16:creationId xmlns:a16="http://schemas.microsoft.com/office/drawing/2014/main" id="{4F8ABE0A-2437-E8E8-9CEE-AF7AB5D94129}"/>
                </a:ext>
              </a:extLst>
            </p:cNvPr>
            <p:cNvSpPr/>
            <p:nvPr/>
          </p:nvSpPr>
          <p:spPr>
            <a:xfrm>
              <a:off x="10257967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6" name="object 1986">
              <a:extLst>
                <a:ext uri="{FF2B5EF4-FFF2-40B4-BE49-F238E27FC236}">
                  <a16:creationId xmlns:a16="http://schemas.microsoft.com/office/drawing/2014/main" id="{C0F03132-6A8B-6695-9608-B4A4130EF332}"/>
                </a:ext>
              </a:extLst>
            </p:cNvPr>
            <p:cNvSpPr/>
            <p:nvPr/>
          </p:nvSpPr>
          <p:spPr>
            <a:xfrm>
              <a:off x="10152903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7" name="object 1987">
              <a:extLst>
                <a:ext uri="{FF2B5EF4-FFF2-40B4-BE49-F238E27FC236}">
                  <a16:creationId xmlns:a16="http://schemas.microsoft.com/office/drawing/2014/main" id="{0C510BA9-6C36-B407-1807-42C221077F33}"/>
                </a:ext>
              </a:extLst>
            </p:cNvPr>
            <p:cNvSpPr/>
            <p:nvPr/>
          </p:nvSpPr>
          <p:spPr>
            <a:xfrm>
              <a:off x="10047829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8" name="object 1988">
              <a:extLst>
                <a:ext uri="{FF2B5EF4-FFF2-40B4-BE49-F238E27FC236}">
                  <a16:creationId xmlns:a16="http://schemas.microsoft.com/office/drawing/2014/main" id="{14405454-96FA-E034-60E4-DF29B0E1BB6D}"/>
                </a:ext>
              </a:extLst>
            </p:cNvPr>
            <p:cNvSpPr/>
            <p:nvPr/>
          </p:nvSpPr>
          <p:spPr>
            <a:xfrm>
              <a:off x="10082924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9" name="object 1989">
              <a:extLst>
                <a:ext uri="{FF2B5EF4-FFF2-40B4-BE49-F238E27FC236}">
                  <a16:creationId xmlns:a16="http://schemas.microsoft.com/office/drawing/2014/main" id="{972C00AD-D74C-B78C-431E-A7EE55C13269}"/>
                </a:ext>
              </a:extLst>
            </p:cNvPr>
            <p:cNvSpPr/>
            <p:nvPr/>
          </p:nvSpPr>
          <p:spPr>
            <a:xfrm>
              <a:off x="9977786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0" name="object 1990">
              <a:extLst>
                <a:ext uri="{FF2B5EF4-FFF2-40B4-BE49-F238E27FC236}">
                  <a16:creationId xmlns:a16="http://schemas.microsoft.com/office/drawing/2014/main" id="{3F986982-C422-3A75-902B-205F7C3AFA13}"/>
                </a:ext>
              </a:extLst>
            </p:cNvPr>
            <p:cNvSpPr/>
            <p:nvPr/>
          </p:nvSpPr>
          <p:spPr>
            <a:xfrm>
              <a:off x="10187924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1" name="object 1991">
              <a:extLst>
                <a:ext uri="{FF2B5EF4-FFF2-40B4-BE49-F238E27FC236}">
                  <a16:creationId xmlns:a16="http://schemas.microsoft.com/office/drawing/2014/main" id="{C7191203-78D1-4958-4BB8-A3ADBBFC3EA5}"/>
                </a:ext>
              </a:extLst>
            </p:cNvPr>
            <p:cNvSpPr/>
            <p:nvPr/>
          </p:nvSpPr>
          <p:spPr>
            <a:xfrm>
              <a:off x="10012808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2" name="object 1992">
              <a:extLst>
                <a:ext uri="{FF2B5EF4-FFF2-40B4-BE49-F238E27FC236}">
                  <a16:creationId xmlns:a16="http://schemas.microsoft.com/office/drawing/2014/main" id="{9197E855-1CD6-8E45-4E05-EB82431FD39D}"/>
                </a:ext>
              </a:extLst>
            </p:cNvPr>
            <p:cNvSpPr/>
            <p:nvPr/>
          </p:nvSpPr>
          <p:spPr>
            <a:xfrm>
              <a:off x="10292989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3" name="object 1993">
              <a:extLst>
                <a:ext uri="{FF2B5EF4-FFF2-40B4-BE49-F238E27FC236}">
                  <a16:creationId xmlns:a16="http://schemas.microsoft.com/office/drawing/2014/main" id="{BB0C81BC-67D2-F490-0B87-7A6ABF2815D7}"/>
                </a:ext>
              </a:extLst>
            </p:cNvPr>
            <p:cNvSpPr/>
            <p:nvPr/>
          </p:nvSpPr>
          <p:spPr>
            <a:xfrm>
              <a:off x="10118018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4" name="object 1994">
              <a:extLst>
                <a:ext uri="{FF2B5EF4-FFF2-40B4-BE49-F238E27FC236}">
                  <a16:creationId xmlns:a16="http://schemas.microsoft.com/office/drawing/2014/main" id="{0D8C55A8-74D4-D0D1-4ADC-CDF36C9B86AC}"/>
                </a:ext>
              </a:extLst>
            </p:cNvPr>
            <p:cNvSpPr/>
            <p:nvPr/>
          </p:nvSpPr>
          <p:spPr>
            <a:xfrm>
              <a:off x="9943048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5" name="object 1995">
              <a:extLst>
                <a:ext uri="{FF2B5EF4-FFF2-40B4-BE49-F238E27FC236}">
                  <a16:creationId xmlns:a16="http://schemas.microsoft.com/office/drawing/2014/main" id="{7B05BD35-994B-6171-7800-45C48CD04833}"/>
                </a:ext>
              </a:extLst>
            </p:cNvPr>
            <p:cNvSpPr/>
            <p:nvPr/>
          </p:nvSpPr>
          <p:spPr>
            <a:xfrm>
              <a:off x="10118018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6" name="object 1996">
              <a:extLst>
                <a:ext uri="{FF2B5EF4-FFF2-40B4-BE49-F238E27FC236}">
                  <a16:creationId xmlns:a16="http://schemas.microsoft.com/office/drawing/2014/main" id="{64E98E2B-B64B-2B10-348C-DDF9113242D9}"/>
                </a:ext>
              </a:extLst>
            </p:cNvPr>
            <p:cNvSpPr/>
            <p:nvPr/>
          </p:nvSpPr>
          <p:spPr>
            <a:xfrm>
              <a:off x="9943048" y="500434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997" name="object 1997">
            <a:extLst>
              <a:ext uri="{FF2B5EF4-FFF2-40B4-BE49-F238E27FC236}">
                <a16:creationId xmlns:a16="http://schemas.microsoft.com/office/drawing/2014/main" id="{720E2BE3-E974-47F0-47B1-122637F1BC12}"/>
              </a:ext>
            </a:extLst>
          </p:cNvPr>
          <p:cNvGrpSpPr/>
          <p:nvPr/>
        </p:nvGrpSpPr>
        <p:grpSpPr>
          <a:xfrm>
            <a:off x="2545497" y="2866918"/>
            <a:ext cx="350023" cy="350023"/>
            <a:chOff x="2545497" y="2866918"/>
            <a:chExt cx="350023" cy="350023"/>
          </a:xfrm>
        </p:grpSpPr>
        <p:pic>
          <p:nvPicPr>
            <p:cNvPr id="1998" name="object 1998">
              <a:extLst>
                <a:ext uri="{FF2B5EF4-FFF2-40B4-BE49-F238E27FC236}">
                  <a16:creationId xmlns:a16="http://schemas.microsoft.com/office/drawing/2014/main" id="{8F27C474-FA9B-9E13-CAF2-84F2C6E47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2"/>
            <a:stretch>
              <a:fillRect/>
            </a:stretch>
          </p:blipFill>
          <p:spPr>
            <a:xfrm>
              <a:off x="2545497" y="2866918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999" name="object 1999">
              <a:extLst>
                <a:ext uri="{FF2B5EF4-FFF2-40B4-BE49-F238E27FC236}">
                  <a16:creationId xmlns:a16="http://schemas.microsoft.com/office/drawing/2014/main" id="{CFF4B6C4-0BFD-BCCB-3084-AE6BB43FC8F9}"/>
                </a:ext>
              </a:extLst>
            </p:cNvPr>
            <p:cNvSpPr/>
            <p:nvPr/>
          </p:nvSpPr>
          <p:spPr>
            <a:xfrm>
              <a:off x="2545497" y="286691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000" name="object 2000">
            <a:extLst>
              <a:ext uri="{FF2B5EF4-FFF2-40B4-BE49-F238E27FC236}">
                <a16:creationId xmlns:a16="http://schemas.microsoft.com/office/drawing/2014/main" id="{14F5CAA4-95BF-5E4B-FFDA-E81E8D71609C}"/>
              </a:ext>
            </a:extLst>
          </p:cNvPr>
          <p:cNvGrpSpPr/>
          <p:nvPr/>
        </p:nvGrpSpPr>
        <p:grpSpPr>
          <a:xfrm>
            <a:off x="2545241" y="565547"/>
            <a:ext cx="350983" cy="350032"/>
            <a:chOff x="2545241" y="565547"/>
            <a:chExt cx="350983" cy="350032"/>
          </a:xfrm>
        </p:grpSpPr>
        <p:pic>
          <p:nvPicPr>
            <p:cNvPr id="2001" name="object 2001">
              <a:extLst>
                <a:ext uri="{FF2B5EF4-FFF2-40B4-BE49-F238E27FC236}">
                  <a16:creationId xmlns:a16="http://schemas.microsoft.com/office/drawing/2014/main" id="{44C7D8E5-7A67-89D7-C6FB-75DBB566CB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3"/>
            <a:stretch>
              <a:fillRect/>
            </a:stretch>
          </p:blipFill>
          <p:spPr>
            <a:xfrm>
              <a:off x="2546192" y="565547"/>
              <a:ext cx="348989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002" name="object 2002">
              <a:extLst>
                <a:ext uri="{FF2B5EF4-FFF2-40B4-BE49-F238E27FC236}">
                  <a16:creationId xmlns:a16="http://schemas.microsoft.com/office/drawing/2014/main" id="{1F89A99C-7217-9D6A-2BBB-0BCB711BA3B5}"/>
                </a:ext>
              </a:extLst>
            </p:cNvPr>
            <p:cNvSpPr/>
            <p:nvPr/>
          </p:nvSpPr>
          <p:spPr>
            <a:xfrm>
              <a:off x="2545241" y="56555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3" name="object 2003">
              <a:extLst>
                <a:ext uri="{FF2B5EF4-FFF2-40B4-BE49-F238E27FC236}">
                  <a16:creationId xmlns:a16="http://schemas.microsoft.com/office/drawing/2014/main" id="{B79FE2FF-ED5C-AD87-9A13-1CD6FC42129E}"/>
                </a:ext>
              </a:extLst>
            </p:cNvPr>
            <p:cNvSpPr/>
            <p:nvPr/>
          </p:nvSpPr>
          <p:spPr>
            <a:xfrm>
              <a:off x="2546201" y="56555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2004" name="object 2004">
            <a:extLst>
              <a:ext uri="{FF2B5EF4-FFF2-40B4-BE49-F238E27FC236}">
                <a16:creationId xmlns:a16="http://schemas.microsoft.com/office/drawing/2014/main" id="{180E2760-B3A3-4006-AB07-46E295461846}"/>
              </a:ext>
            </a:extLst>
          </p:cNvPr>
          <p:cNvSpPr txBox="1"/>
          <p:nvPr/>
        </p:nvSpPr>
        <p:spPr>
          <a:xfrm>
            <a:off x="2541986" y="948424"/>
            <a:ext cx="44629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rip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oundati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eca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nd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5" name="object 2064">
            <a:extLst>
              <a:ext uri="{FF2B5EF4-FFF2-40B4-BE49-F238E27FC236}">
                <a16:creationId xmlns:a16="http://schemas.microsoft.com/office/drawing/2014/main" id="{8F2D26B5-DD3A-7EAD-39F9-C60B549EC109}"/>
              </a:ext>
            </a:extLst>
          </p:cNvPr>
          <p:cNvSpPr txBox="1"/>
          <p:nvPr/>
        </p:nvSpPr>
        <p:spPr>
          <a:xfrm>
            <a:off x="4181139" y="6303297"/>
            <a:ext cx="329997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edAi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6" name="object 2065">
            <a:extLst>
              <a:ext uri="{FF2B5EF4-FFF2-40B4-BE49-F238E27FC236}">
                <a16:creationId xmlns:a16="http://schemas.microsoft.com/office/drawing/2014/main" id="{583BCF95-FCFD-D8EB-DF2E-C32AA5D0A49F}"/>
              </a:ext>
            </a:extLst>
          </p:cNvPr>
          <p:cNvSpPr txBox="1"/>
          <p:nvPr/>
        </p:nvSpPr>
        <p:spPr>
          <a:xfrm>
            <a:off x="4999454" y="6303297"/>
            <a:ext cx="139775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7" name="object 2066">
            <a:extLst>
              <a:ext uri="{FF2B5EF4-FFF2-40B4-BE49-F238E27FC236}">
                <a16:creationId xmlns:a16="http://schemas.microsoft.com/office/drawing/2014/main" id="{40886086-6846-2CD3-866D-D4386868D4C5}"/>
              </a:ext>
            </a:extLst>
          </p:cNvPr>
          <p:cNvSpPr txBox="1"/>
          <p:nvPr/>
        </p:nvSpPr>
        <p:spPr>
          <a:xfrm>
            <a:off x="8285369" y="6303297"/>
            <a:ext cx="352336" cy="1093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500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ain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8" name="object 2067">
            <a:extLst>
              <a:ext uri="{FF2B5EF4-FFF2-40B4-BE49-F238E27FC236}">
                <a16:creationId xmlns:a16="http://schemas.microsoft.com/office/drawing/2014/main" id="{C5C7ACD5-3D26-B4D7-4E55-FD1EA00BA178}"/>
              </a:ext>
            </a:extLst>
          </p:cNvPr>
          <p:cNvSpPr txBox="1"/>
          <p:nvPr/>
        </p:nvSpPr>
        <p:spPr>
          <a:xfrm>
            <a:off x="9116211" y="6306324"/>
            <a:ext cx="335392" cy="1093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500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odular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kylight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9" name="object 2068">
            <a:extLst>
              <a:ext uri="{FF2B5EF4-FFF2-40B4-BE49-F238E27FC236}">
                <a16:creationId xmlns:a16="http://schemas.microsoft.com/office/drawing/2014/main" id="{E6CE0A32-3917-2AA7-F92A-C9C92A33074E}"/>
              </a:ext>
            </a:extLst>
          </p:cNvPr>
          <p:cNvSpPr txBox="1"/>
          <p:nvPr/>
        </p:nvSpPr>
        <p:spPr>
          <a:xfrm>
            <a:off x="5827315" y="6310228"/>
            <a:ext cx="294958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lock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ri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10" name="object 2069">
            <a:extLst>
              <a:ext uri="{FF2B5EF4-FFF2-40B4-BE49-F238E27FC236}">
                <a16:creationId xmlns:a16="http://schemas.microsoft.com/office/drawing/2014/main" id="{91B1612C-78AD-8C92-2010-7A8D13DA2B0C}"/>
              </a:ext>
            </a:extLst>
          </p:cNvPr>
          <p:cNvSpPr txBox="1"/>
          <p:nvPr/>
        </p:nvSpPr>
        <p:spPr>
          <a:xfrm>
            <a:off x="4096201" y="6418191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11" name="object 2070">
            <a:extLst>
              <a:ext uri="{FF2B5EF4-FFF2-40B4-BE49-F238E27FC236}">
                <a16:creationId xmlns:a16="http://schemas.microsoft.com/office/drawing/2014/main" id="{484E5AA1-A5D2-C0A7-BBB5-7828BDFDAB51}"/>
              </a:ext>
            </a:extLst>
          </p:cNvPr>
          <p:cNvSpPr txBox="1"/>
          <p:nvPr/>
        </p:nvSpPr>
        <p:spPr>
          <a:xfrm>
            <a:off x="4898248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12" name="object 2071">
            <a:extLst>
              <a:ext uri="{FF2B5EF4-FFF2-40B4-BE49-F238E27FC236}">
                <a16:creationId xmlns:a16="http://schemas.microsoft.com/office/drawing/2014/main" id="{0929FD3B-3EC3-37A8-3122-B280642661D7}"/>
              </a:ext>
            </a:extLst>
          </p:cNvPr>
          <p:cNvSpPr txBox="1"/>
          <p:nvPr/>
        </p:nvSpPr>
        <p:spPr>
          <a:xfrm>
            <a:off x="5721547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13" name="object 2072">
            <a:extLst>
              <a:ext uri="{FF2B5EF4-FFF2-40B4-BE49-F238E27FC236}">
                <a16:creationId xmlns:a16="http://schemas.microsoft.com/office/drawing/2014/main" id="{1CDE97DD-541A-172A-9943-6BA26035347A}"/>
              </a:ext>
            </a:extLst>
          </p:cNvPr>
          <p:cNvSpPr txBox="1"/>
          <p:nvPr/>
        </p:nvSpPr>
        <p:spPr>
          <a:xfrm>
            <a:off x="8196827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14" name="object 2073">
            <a:extLst>
              <a:ext uri="{FF2B5EF4-FFF2-40B4-BE49-F238E27FC236}">
                <a16:creationId xmlns:a16="http://schemas.microsoft.com/office/drawing/2014/main" id="{20B12990-D18D-DE2E-E894-66D682554E76}"/>
              </a:ext>
            </a:extLst>
          </p:cNvPr>
          <p:cNvSpPr txBox="1"/>
          <p:nvPr/>
        </p:nvSpPr>
        <p:spPr>
          <a:xfrm>
            <a:off x="9026133" y="6424821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15" name="object 2074">
            <a:extLst>
              <a:ext uri="{FF2B5EF4-FFF2-40B4-BE49-F238E27FC236}">
                <a16:creationId xmlns:a16="http://schemas.microsoft.com/office/drawing/2014/main" id="{7371C13C-3FC1-BF7C-8828-CF28BB22696F}"/>
              </a:ext>
            </a:extLst>
          </p:cNvPr>
          <p:cNvSpPr txBox="1"/>
          <p:nvPr/>
        </p:nvSpPr>
        <p:spPr>
          <a:xfrm>
            <a:off x="11755745" y="6504593"/>
            <a:ext cx="365408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78D40021-59C5-4376-B28A-1F8DBA8816B5}" type="slidenum">
              <a:rPr sz="1400">
                <a:solidFill>
                  <a:schemeClr val="bg1">
                    <a:lumMod val="65000"/>
                  </a:schemeClr>
                </a:solidFill>
              </a:rPr>
              <a:t>18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  <p:sp>
        <p:nvSpPr>
          <p:cNvPr id="2016" name="object 2005">
            <a:extLst>
              <a:ext uri="{FF2B5EF4-FFF2-40B4-BE49-F238E27FC236}">
                <a16:creationId xmlns:a16="http://schemas.microsoft.com/office/drawing/2014/main" id="{F605664D-8AD9-6E0A-39AA-048AB30E82DD}"/>
              </a:ext>
            </a:extLst>
          </p:cNvPr>
          <p:cNvSpPr txBox="1"/>
          <p:nvPr/>
        </p:nvSpPr>
        <p:spPr>
          <a:xfrm>
            <a:off x="2540120" y="1706599"/>
            <a:ext cx="4832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rip foundati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eca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utureCe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17" name="object 2006">
            <a:extLst>
              <a:ext uri="{FF2B5EF4-FFF2-40B4-BE49-F238E27FC236}">
                <a16:creationId xmlns:a16="http://schemas.microsoft.com/office/drawing/2014/main" id="{079261DD-80FF-4CEF-3C40-77C8DF5F45BA}"/>
              </a:ext>
            </a:extLst>
          </p:cNvPr>
          <p:cNvSpPr txBox="1"/>
          <p:nvPr/>
        </p:nvSpPr>
        <p:spPr>
          <a:xfrm>
            <a:off x="2540120" y="2469840"/>
            <a:ext cx="222180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crew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18" name="object 2007">
            <a:extLst>
              <a:ext uri="{FF2B5EF4-FFF2-40B4-BE49-F238E27FC236}">
                <a16:creationId xmlns:a16="http://schemas.microsoft.com/office/drawing/2014/main" id="{7993C449-1EFB-D002-45E4-DCFDA6FC751B}"/>
              </a:ext>
            </a:extLst>
          </p:cNvPr>
          <p:cNvSpPr txBox="1"/>
          <p:nvPr/>
        </p:nvSpPr>
        <p:spPr>
          <a:xfrm>
            <a:off x="3359898" y="948781"/>
            <a:ext cx="40277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,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ais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19" name="object 2008">
            <a:extLst>
              <a:ext uri="{FF2B5EF4-FFF2-40B4-BE49-F238E27FC236}">
                <a16:creationId xmlns:a16="http://schemas.microsoft.com/office/drawing/2014/main" id="{3D1A9F97-CE4B-262C-1ABC-A0FAC88CE3B8}"/>
              </a:ext>
            </a:extLst>
          </p:cNvPr>
          <p:cNvSpPr txBox="1"/>
          <p:nvPr/>
        </p:nvSpPr>
        <p:spPr>
          <a:xfrm>
            <a:off x="4186964" y="948516"/>
            <a:ext cx="33231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0" name="object 2009">
            <a:extLst>
              <a:ext uri="{FF2B5EF4-FFF2-40B4-BE49-F238E27FC236}">
                <a16:creationId xmlns:a16="http://schemas.microsoft.com/office/drawing/2014/main" id="{1B2C372A-DA10-580A-5D63-58A07E35C60F}"/>
              </a:ext>
            </a:extLst>
          </p:cNvPr>
          <p:cNvSpPr txBox="1"/>
          <p:nvPr/>
        </p:nvSpPr>
        <p:spPr>
          <a:xfrm>
            <a:off x="3359761" y="1708739"/>
            <a:ext cx="33809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1" name="object 2010">
            <a:extLst>
              <a:ext uri="{FF2B5EF4-FFF2-40B4-BE49-F238E27FC236}">
                <a16:creationId xmlns:a16="http://schemas.microsoft.com/office/drawing/2014/main" id="{159E7654-A071-5AE2-4310-6BB4EBA931FD}"/>
              </a:ext>
            </a:extLst>
          </p:cNvPr>
          <p:cNvSpPr txBox="1"/>
          <p:nvPr/>
        </p:nvSpPr>
        <p:spPr>
          <a:xfrm>
            <a:off x="4186964" y="1708958"/>
            <a:ext cx="42395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2" name="object 2011">
            <a:extLst>
              <a:ext uri="{FF2B5EF4-FFF2-40B4-BE49-F238E27FC236}">
                <a16:creationId xmlns:a16="http://schemas.microsoft.com/office/drawing/2014/main" id="{C612EB59-86AD-069C-99D5-2BC596428C02}"/>
              </a:ext>
            </a:extLst>
          </p:cNvPr>
          <p:cNvSpPr txBox="1"/>
          <p:nvPr/>
        </p:nvSpPr>
        <p:spPr>
          <a:xfrm>
            <a:off x="3359761" y="2464957"/>
            <a:ext cx="419718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errain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t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3" name="object 2012">
            <a:extLst>
              <a:ext uri="{FF2B5EF4-FFF2-40B4-BE49-F238E27FC236}">
                <a16:creationId xmlns:a16="http://schemas.microsoft.com/office/drawing/2014/main" id="{3193ABEB-AF30-102A-5660-F624C25029E1}"/>
              </a:ext>
            </a:extLst>
          </p:cNvPr>
          <p:cNvSpPr txBox="1"/>
          <p:nvPr/>
        </p:nvSpPr>
        <p:spPr>
          <a:xfrm>
            <a:off x="3359761" y="3242992"/>
            <a:ext cx="399309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4" name="object 2013">
            <a:extLst>
              <a:ext uri="{FF2B5EF4-FFF2-40B4-BE49-F238E27FC236}">
                <a16:creationId xmlns:a16="http://schemas.microsoft.com/office/drawing/2014/main" id="{136F6F76-B85F-A3B7-EA0C-B63E7A6F73F3}"/>
              </a:ext>
            </a:extLst>
          </p:cNvPr>
          <p:cNvSpPr txBox="1"/>
          <p:nvPr/>
        </p:nvSpPr>
        <p:spPr>
          <a:xfrm>
            <a:off x="4184248" y="2470023"/>
            <a:ext cx="54679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-beam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nd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4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5" name="object 2014">
            <a:extLst>
              <a:ext uri="{FF2B5EF4-FFF2-40B4-BE49-F238E27FC236}">
                <a16:creationId xmlns:a16="http://schemas.microsoft.com/office/drawing/2014/main" id="{7738AEB3-F363-23BD-D02C-E812B40EB7C3}"/>
              </a:ext>
            </a:extLst>
          </p:cNvPr>
          <p:cNvSpPr txBox="1"/>
          <p:nvPr/>
        </p:nvSpPr>
        <p:spPr>
          <a:xfrm>
            <a:off x="5828211" y="948205"/>
            <a:ext cx="44205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6" name="object 2015">
            <a:extLst>
              <a:ext uri="{FF2B5EF4-FFF2-40B4-BE49-F238E27FC236}">
                <a16:creationId xmlns:a16="http://schemas.microsoft.com/office/drawing/2014/main" id="{CA4B0035-3BFA-AF4B-7651-F3C30C834640}"/>
              </a:ext>
            </a:extLst>
          </p:cNvPr>
          <p:cNvSpPr txBox="1"/>
          <p:nvPr/>
        </p:nvSpPr>
        <p:spPr>
          <a:xfrm>
            <a:off x="5828211" y="1707532"/>
            <a:ext cx="45014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 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7" name="object 2016">
            <a:extLst>
              <a:ext uri="{FF2B5EF4-FFF2-40B4-BE49-F238E27FC236}">
                <a16:creationId xmlns:a16="http://schemas.microsoft.com/office/drawing/2014/main" id="{3E09934E-430F-AC6E-4360-ADBB4C5408D2}"/>
              </a:ext>
            </a:extLst>
          </p:cNvPr>
          <p:cNvSpPr txBox="1"/>
          <p:nvPr/>
        </p:nvSpPr>
        <p:spPr>
          <a:xfrm>
            <a:off x="5822469" y="2472025"/>
            <a:ext cx="510207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SB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8" name="object 2017">
            <a:extLst>
              <a:ext uri="{FF2B5EF4-FFF2-40B4-BE49-F238E27FC236}">
                <a16:creationId xmlns:a16="http://schemas.microsoft.com/office/drawing/2014/main" id="{14A0F692-2660-0A8D-30A0-53C91E88076B}"/>
              </a:ext>
            </a:extLst>
          </p:cNvPr>
          <p:cNvSpPr txBox="1"/>
          <p:nvPr/>
        </p:nvSpPr>
        <p:spPr>
          <a:xfrm>
            <a:off x="5832070" y="4008903"/>
            <a:ext cx="22564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3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,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60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m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9" name="object 2018">
            <a:extLst>
              <a:ext uri="{FF2B5EF4-FFF2-40B4-BE49-F238E27FC236}">
                <a16:creationId xmlns:a16="http://schemas.microsoft.com/office/drawing/2014/main" id="{882C6DD3-CDE8-8D47-A6C4-B466AC893292}"/>
              </a:ext>
            </a:extLst>
          </p:cNvPr>
          <p:cNvSpPr txBox="1"/>
          <p:nvPr/>
        </p:nvSpPr>
        <p:spPr>
          <a:xfrm>
            <a:off x="5830964" y="3238375"/>
            <a:ext cx="45014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1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 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0" name="object 2019">
            <a:extLst>
              <a:ext uri="{FF2B5EF4-FFF2-40B4-BE49-F238E27FC236}">
                <a16:creationId xmlns:a16="http://schemas.microsoft.com/office/drawing/2014/main" id="{FD54A86E-9DFA-B9BC-BC6B-8D85844F7EE7}"/>
              </a:ext>
            </a:extLst>
          </p:cNvPr>
          <p:cNvSpPr txBox="1"/>
          <p:nvPr/>
        </p:nvSpPr>
        <p:spPr>
          <a:xfrm>
            <a:off x="6644204" y="948205"/>
            <a:ext cx="33770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isible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am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1" name="object 2020">
            <a:extLst>
              <a:ext uri="{FF2B5EF4-FFF2-40B4-BE49-F238E27FC236}">
                <a16:creationId xmlns:a16="http://schemas.microsoft.com/office/drawing/2014/main" id="{903E5C14-E4D1-329E-299E-02DA9D77C8A0}"/>
              </a:ext>
            </a:extLst>
          </p:cNvPr>
          <p:cNvSpPr txBox="1"/>
          <p:nvPr/>
        </p:nvSpPr>
        <p:spPr>
          <a:xfrm>
            <a:off x="6644204" y="1707532"/>
            <a:ext cx="40470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isible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ula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am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2" name="object 2021">
            <a:extLst>
              <a:ext uri="{FF2B5EF4-FFF2-40B4-BE49-F238E27FC236}">
                <a16:creationId xmlns:a16="http://schemas.microsoft.com/office/drawing/2014/main" id="{C458D73F-AE0B-C96A-9080-A5FF04C45093}"/>
              </a:ext>
            </a:extLst>
          </p:cNvPr>
          <p:cNvSpPr txBox="1"/>
          <p:nvPr/>
        </p:nvSpPr>
        <p:spPr>
          <a:xfrm>
            <a:off x="6638470" y="2472025"/>
            <a:ext cx="33770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ili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3" name="object 2022">
            <a:extLst>
              <a:ext uri="{FF2B5EF4-FFF2-40B4-BE49-F238E27FC236}">
                <a16:creationId xmlns:a16="http://schemas.microsoft.com/office/drawing/2014/main" id="{6B840D63-A053-EB2C-7C35-61E815C837E5}"/>
              </a:ext>
            </a:extLst>
          </p:cNvPr>
          <p:cNvSpPr txBox="1"/>
          <p:nvPr/>
        </p:nvSpPr>
        <p:spPr>
          <a:xfrm>
            <a:off x="6646965" y="3238375"/>
            <a:ext cx="177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4" name="object 2023">
            <a:extLst>
              <a:ext uri="{FF2B5EF4-FFF2-40B4-BE49-F238E27FC236}">
                <a16:creationId xmlns:a16="http://schemas.microsoft.com/office/drawing/2014/main" id="{53183502-6E0D-25FE-F003-10FCBC90E3CF}"/>
              </a:ext>
            </a:extLst>
          </p:cNvPr>
          <p:cNvSpPr txBox="1"/>
          <p:nvPr/>
        </p:nvSpPr>
        <p:spPr>
          <a:xfrm>
            <a:off x="5823539" y="4771878"/>
            <a:ext cx="442057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 frame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5" name="object 2024">
            <a:extLst>
              <a:ext uri="{FF2B5EF4-FFF2-40B4-BE49-F238E27FC236}">
                <a16:creationId xmlns:a16="http://schemas.microsoft.com/office/drawing/2014/main" id="{CDE40561-1B66-B151-A979-68F82FF3751E}"/>
              </a:ext>
            </a:extLst>
          </p:cNvPr>
          <p:cNvSpPr txBox="1"/>
          <p:nvPr/>
        </p:nvSpPr>
        <p:spPr>
          <a:xfrm>
            <a:off x="8291056" y="948205"/>
            <a:ext cx="30188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sphalt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</a:t>
            </a:r>
            <a:r>
              <a:rPr lang="en-US" sz="334" b="0" i="0" u="none" strike="noStrike" kern="1200" cap="none" spc="6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6" name="object 2025">
            <a:extLst>
              <a:ext uri="{FF2B5EF4-FFF2-40B4-BE49-F238E27FC236}">
                <a16:creationId xmlns:a16="http://schemas.microsoft.com/office/drawing/2014/main" id="{F20063B3-0340-BEBF-F2CA-EFA6C3DFACFA}"/>
              </a:ext>
            </a:extLst>
          </p:cNvPr>
          <p:cNvSpPr txBox="1"/>
          <p:nvPr/>
        </p:nvSpPr>
        <p:spPr>
          <a:xfrm>
            <a:off x="8291056" y="1707532"/>
            <a:ext cx="33115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plates,</a:t>
            </a:r>
            <a:r>
              <a:rPr lang="en-US" sz="334" b="0" i="0" u="none" strike="noStrike" kern="1200" cap="none" spc="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inu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7" name="object 2026">
            <a:extLst>
              <a:ext uri="{FF2B5EF4-FFF2-40B4-BE49-F238E27FC236}">
                <a16:creationId xmlns:a16="http://schemas.microsoft.com/office/drawing/2014/main" id="{712CF4F1-E025-1718-7A1E-167E6EAA7795}"/>
              </a:ext>
            </a:extLst>
          </p:cNvPr>
          <p:cNvSpPr txBox="1"/>
          <p:nvPr/>
        </p:nvSpPr>
        <p:spPr>
          <a:xfrm>
            <a:off x="8285323" y="2472025"/>
            <a:ext cx="186373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f t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8" name="object 2027">
            <a:extLst>
              <a:ext uri="{FF2B5EF4-FFF2-40B4-BE49-F238E27FC236}">
                <a16:creationId xmlns:a16="http://schemas.microsoft.com/office/drawing/2014/main" id="{6A7EEB8C-B98F-0C38-90C9-C3B786F6A396}"/>
              </a:ext>
            </a:extLst>
          </p:cNvPr>
          <p:cNvSpPr txBox="1"/>
          <p:nvPr/>
        </p:nvSpPr>
        <p:spPr>
          <a:xfrm>
            <a:off x="8294915" y="4008903"/>
            <a:ext cx="45668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sphalt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</a:t>
            </a:r>
            <a:r>
              <a:rPr lang="en-US" sz="334" b="0" i="0" u="none" strike="noStrike" kern="1200" cap="none" spc="5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9" name="object 2028">
            <a:extLst>
              <a:ext uri="{FF2B5EF4-FFF2-40B4-BE49-F238E27FC236}">
                <a16:creationId xmlns:a16="http://schemas.microsoft.com/office/drawing/2014/main" id="{276DDD29-11C6-81D3-5172-DB6C6C79A275}"/>
              </a:ext>
            </a:extLst>
          </p:cNvPr>
          <p:cNvSpPr txBox="1"/>
          <p:nvPr/>
        </p:nvSpPr>
        <p:spPr>
          <a:xfrm>
            <a:off x="8293809" y="3238375"/>
            <a:ext cx="105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0" name="object 2029">
            <a:extLst>
              <a:ext uri="{FF2B5EF4-FFF2-40B4-BE49-F238E27FC236}">
                <a16:creationId xmlns:a16="http://schemas.microsoft.com/office/drawing/2014/main" id="{2296E6AE-D95D-13F5-EFF7-049B403DB3DC}"/>
              </a:ext>
            </a:extLst>
          </p:cNvPr>
          <p:cNvSpPr txBox="1"/>
          <p:nvPr/>
        </p:nvSpPr>
        <p:spPr>
          <a:xfrm>
            <a:off x="8286429" y="4771878"/>
            <a:ext cx="35233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1" name="object 2030">
            <a:extLst>
              <a:ext uri="{FF2B5EF4-FFF2-40B4-BE49-F238E27FC236}">
                <a16:creationId xmlns:a16="http://schemas.microsoft.com/office/drawing/2014/main" id="{EBD04FFA-7F24-CBAD-6B7A-E677E7C4D0EE}"/>
              </a:ext>
            </a:extLst>
          </p:cNvPr>
          <p:cNvSpPr txBox="1"/>
          <p:nvPr/>
        </p:nvSpPr>
        <p:spPr>
          <a:xfrm>
            <a:off x="5827315" y="5543614"/>
            <a:ext cx="33307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erated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2" name="object 2031">
            <a:extLst>
              <a:ext uri="{FF2B5EF4-FFF2-40B4-BE49-F238E27FC236}">
                <a16:creationId xmlns:a16="http://schemas.microsoft.com/office/drawing/2014/main" id="{AA6B86C9-2D13-C196-CBBA-D1734913E137}"/>
              </a:ext>
            </a:extLst>
          </p:cNvPr>
          <p:cNvSpPr txBox="1"/>
          <p:nvPr/>
        </p:nvSpPr>
        <p:spPr>
          <a:xfrm>
            <a:off x="7474653" y="950518"/>
            <a:ext cx="562575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3" name="object 2032">
            <a:extLst>
              <a:ext uri="{FF2B5EF4-FFF2-40B4-BE49-F238E27FC236}">
                <a16:creationId xmlns:a16="http://schemas.microsoft.com/office/drawing/2014/main" id="{DA368389-448E-C1C3-A042-6372945DF7D5}"/>
              </a:ext>
            </a:extLst>
          </p:cNvPr>
          <p:cNvSpPr txBox="1"/>
          <p:nvPr/>
        </p:nvSpPr>
        <p:spPr>
          <a:xfrm>
            <a:off x="9115854" y="951140"/>
            <a:ext cx="527535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/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4" name="object 2033">
            <a:extLst>
              <a:ext uri="{FF2B5EF4-FFF2-40B4-BE49-F238E27FC236}">
                <a16:creationId xmlns:a16="http://schemas.microsoft.com/office/drawing/2014/main" id="{4F476968-E6BD-F9C8-AD23-9DD350EF8F92}"/>
              </a:ext>
            </a:extLst>
          </p:cNvPr>
          <p:cNvSpPr txBox="1"/>
          <p:nvPr/>
        </p:nvSpPr>
        <p:spPr>
          <a:xfrm>
            <a:off x="9116165" y="4012149"/>
            <a:ext cx="53716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GL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5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5" name="object 2034">
            <a:extLst>
              <a:ext uri="{FF2B5EF4-FFF2-40B4-BE49-F238E27FC236}">
                <a16:creationId xmlns:a16="http://schemas.microsoft.com/office/drawing/2014/main" id="{284E04BE-C4AB-A1B0-E6E7-8F2DEA3B6C24}"/>
              </a:ext>
            </a:extLst>
          </p:cNvPr>
          <p:cNvSpPr txBox="1"/>
          <p:nvPr/>
        </p:nvSpPr>
        <p:spPr>
          <a:xfrm>
            <a:off x="9934078" y="951222"/>
            <a:ext cx="17751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hin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il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6" name="object 2035">
            <a:extLst>
              <a:ext uri="{FF2B5EF4-FFF2-40B4-BE49-F238E27FC236}">
                <a16:creationId xmlns:a16="http://schemas.microsoft.com/office/drawing/2014/main" id="{A47FBA24-F24D-7E6A-418F-523F3C93860C}"/>
              </a:ext>
            </a:extLst>
          </p:cNvPr>
          <p:cNvSpPr txBox="1"/>
          <p:nvPr/>
        </p:nvSpPr>
        <p:spPr>
          <a:xfrm>
            <a:off x="9937232" y="4022994"/>
            <a:ext cx="359651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atural</a:t>
            </a:r>
            <a:r>
              <a:rPr lang="en-US" sz="334" b="0" i="0" u="none" strike="noStrike" kern="1200" cap="none" spc="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7" name="object 2036">
            <a:extLst>
              <a:ext uri="{FF2B5EF4-FFF2-40B4-BE49-F238E27FC236}">
                <a16:creationId xmlns:a16="http://schemas.microsoft.com/office/drawing/2014/main" id="{1612202C-41D6-A5AE-68D3-7DA22FA64066}"/>
              </a:ext>
            </a:extLst>
          </p:cNvPr>
          <p:cNvSpPr txBox="1"/>
          <p:nvPr/>
        </p:nvSpPr>
        <p:spPr>
          <a:xfrm>
            <a:off x="7478786" y="1710110"/>
            <a:ext cx="3438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8" name="object 2037">
            <a:extLst>
              <a:ext uri="{FF2B5EF4-FFF2-40B4-BE49-F238E27FC236}">
                <a16:creationId xmlns:a16="http://schemas.microsoft.com/office/drawing/2014/main" id="{F55AF6A4-B83C-404D-12EF-424D6637E835}"/>
              </a:ext>
            </a:extLst>
          </p:cNvPr>
          <p:cNvSpPr txBox="1"/>
          <p:nvPr/>
        </p:nvSpPr>
        <p:spPr>
          <a:xfrm>
            <a:off x="7480834" y="2470955"/>
            <a:ext cx="38429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rred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structio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ed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ttic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9" name="object 2038">
            <a:extLst>
              <a:ext uri="{FF2B5EF4-FFF2-40B4-BE49-F238E27FC236}">
                <a16:creationId xmlns:a16="http://schemas.microsoft.com/office/drawing/2014/main" id="{829C04CC-B659-218F-B146-1B013BD0EE52}"/>
              </a:ext>
            </a:extLst>
          </p:cNvPr>
          <p:cNvSpPr txBox="1"/>
          <p:nvPr/>
        </p:nvSpPr>
        <p:spPr>
          <a:xfrm>
            <a:off x="9115854" y="1708071"/>
            <a:ext cx="44205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/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0" name="object 2039">
            <a:extLst>
              <a:ext uri="{FF2B5EF4-FFF2-40B4-BE49-F238E27FC236}">
                <a16:creationId xmlns:a16="http://schemas.microsoft.com/office/drawing/2014/main" id="{80CD84BC-5C20-384B-B117-70DD284DEF0F}"/>
              </a:ext>
            </a:extLst>
          </p:cNvPr>
          <p:cNvSpPr txBox="1"/>
          <p:nvPr/>
        </p:nvSpPr>
        <p:spPr>
          <a:xfrm>
            <a:off x="9116211" y="4769172"/>
            <a:ext cx="46438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GU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,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U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1" name="object 2040">
            <a:extLst>
              <a:ext uri="{FF2B5EF4-FFF2-40B4-BE49-F238E27FC236}">
                <a16:creationId xmlns:a16="http://schemas.microsoft.com/office/drawing/2014/main" id="{3D6DF4B5-ED73-F367-D5B5-4AB099F37F81}"/>
              </a:ext>
            </a:extLst>
          </p:cNvPr>
          <p:cNvSpPr txBox="1"/>
          <p:nvPr/>
        </p:nvSpPr>
        <p:spPr>
          <a:xfrm>
            <a:off x="9117006" y="2471668"/>
            <a:ext cx="3877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2" name="object 2041">
            <a:extLst>
              <a:ext uri="{FF2B5EF4-FFF2-40B4-BE49-F238E27FC236}">
                <a16:creationId xmlns:a16="http://schemas.microsoft.com/office/drawing/2014/main" id="{9C4083AA-A510-5A33-AF18-36C61E37C093}"/>
              </a:ext>
            </a:extLst>
          </p:cNvPr>
          <p:cNvSpPr txBox="1"/>
          <p:nvPr/>
        </p:nvSpPr>
        <p:spPr>
          <a:xfrm>
            <a:off x="9116211" y="5532897"/>
            <a:ext cx="33539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odular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kylight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3" name="object 2042">
            <a:extLst>
              <a:ext uri="{FF2B5EF4-FFF2-40B4-BE49-F238E27FC236}">
                <a16:creationId xmlns:a16="http://schemas.microsoft.com/office/drawing/2014/main" id="{1C3D3783-5261-42F5-B5CB-4CA164035AD2}"/>
              </a:ext>
            </a:extLst>
          </p:cNvPr>
          <p:cNvSpPr txBox="1"/>
          <p:nvPr/>
        </p:nvSpPr>
        <p:spPr>
          <a:xfrm>
            <a:off x="9934123" y="1708867"/>
            <a:ext cx="35310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fficien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solar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o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First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ola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4" name="object 2043">
            <a:extLst>
              <a:ext uri="{FF2B5EF4-FFF2-40B4-BE49-F238E27FC236}">
                <a16:creationId xmlns:a16="http://schemas.microsoft.com/office/drawing/2014/main" id="{D092A8CE-4CDD-720D-52E9-9567FCC4E06F}"/>
              </a:ext>
            </a:extLst>
          </p:cNvPr>
          <p:cNvSpPr txBox="1"/>
          <p:nvPr/>
        </p:nvSpPr>
        <p:spPr>
          <a:xfrm>
            <a:off x="9937278" y="4782814"/>
            <a:ext cx="43474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echanical</a:t>
            </a:r>
            <a:r>
              <a:rPr lang="en-US" sz="334" b="0" i="0" u="none" strike="noStrike" kern="1200" cap="none" spc="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5" name="object 2044">
            <a:extLst>
              <a:ext uri="{FF2B5EF4-FFF2-40B4-BE49-F238E27FC236}">
                <a16:creationId xmlns:a16="http://schemas.microsoft.com/office/drawing/2014/main" id="{5D8AF435-29C6-B387-F051-B93C2ECDFAA7}"/>
              </a:ext>
            </a:extLst>
          </p:cNvPr>
          <p:cNvSpPr txBox="1"/>
          <p:nvPr/>
        </p:nvSpPr>
        <p:spPr>
          <a:xfrm>
            <a:off x="9934123" y="2470772"/>
            <a:ext cx="393923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ighly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fficient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olar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s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om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unpow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6" name="object 2045">
            <a:extLst>
              <a:ext uri="{FF2B5EF4-FFF2-40B4-BE49-F238E27FC236}">
                <a16:creationId xmlns:a16="http://schemas.microsoft.com/office/drawing/2014/main" id="{37F36C14-E3CD-E6E6-12DD-CAD44D65164A}"/>
              </a:ext>
            </a:extLst>
          </p:cNvPr>
          <p:cNvSpPr txBox="1"/>
          <p:nvPr/>
        </p:nvSpPr>
        <p:spPr>
          <a:xfrm>
            <a:off x="9117811" y="3243221"/>
            <a:ext cx="351175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VC</a:t>
            </a:r>
            <a:r>
              <a:rPr lang="en-US" sz="334" b="0" i="0" u="none" strike="noStrike" kern="1200" cap="none" spc="-3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7" name="object 2046">
            <a:extLst>
              <a:ext uri="{FF2B5EF4-FFF2-40B4-BE49-F238E27FC236}">
                <a16:creationId xmlns:a16="http://schemas.microsoft.com/office/drawing/2014/main" id="{36D4F7B9-9342-AA9A-FCBC-BECC4A70E21F}"/>
              </a:ext>
            </a:extLst>
          </p:cNvPr>
          <p:cNvSpPr txBox="1"/>
          <p:nvPr/>
        </p:nvSpPr>
        <p:spPr>
          <a:xfrm>
            <a:off x="3359807" y="4003170"/>
            <a:ext cx="50597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utureCem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8" name="object 2047">
            <a:extLst>
              <a:ext uri="{FF2B5EF4-FFF2-40B4-BE49-F238E27FC236}">
                <a16:creationId xmlns:a16="http://schemas.microsoft.com/office/drawing/2014/main" id="{93A3E0BE-5BCA-718B-EBF0-2F496FD6D362}"/>
              </a:ext>
            </a:extLst>
          </p:cNvPr>
          <p:cNvSpPr txBox="1"/>
          <p:nvPr/>
        </p:nvSpPr>
        <p:spPr>
          <a:xfrm>
            <a:off x="3359807" y="4769921"/>
            <a:ext cx="601089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deck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Future-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errai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bat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59" name="object 2048">
            <a:extLst>
              <a:ext uri="{FF2B5EF4-FFF2-40B4-BE49-F238E27FC236}">
                <a16:creationId xmlns:a16="http://schemas.microsoft.com/office/drawing/2014/main" id="{FC531A43-FA9D-0C1A-BB8B-516C1EA60183}"/>
              </a:ext>
            </a:extLst>
          </p:cNvPr>
          <p:cNvSpPr txBox="1"/>
          <p:nvPr/>
        </p:nvSpPr>
        <p:spPr>
          <a:xfrm>
            <a:off x="4181139" y="3243614"/>
            <a:ext cx="33231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mpcre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0" name="object 2049">
            <a:extLst>
              <a:ext uri="{FF2B5EF4-FFF2-40B4-BE49-F238E27FC236}">
                <a16:creationId xmlns:a16="http://schemas.microsoft.com/office/drawing/2014/main" id="{1D57EF7E-E9F7-2300-143B-933043CA31D0}"/>
              </a:ext>
            </a:extLst>
          </p:cNvPr>
          <p:cNvSpPr txBox="1"/>
          <p:nvPr/>
        </p:nvSpPr>
        <p:spPr>
          <a:xfrm>
            <a:off x="4181139" y="4003746"/>
            <a:ext cx="3438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1" name="object 2050">
            <a:extLst>
              <a:ext uri="{FF2B5EF4-FFF2-40B4-BE49-F238E27FC236}">
                <a16:creationId xmlns:a16="http://schemas.microsoft.com/office/drawing/2014/main" id="{64EC40A8-2ED6-2CD9-C145-74172AA0AB93}"/>
              </a:ext>
            </a:extLst>
          </p:cNvPr>
          <p:cNvSpPr txBox="1"/>
          <p:nvPr/>
        </p:nvSpPr>
        <p:spPr>
          <a:xfrm>
            <a:off x="4181139" y="4770507"/>
            <a:ext cx="483260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ck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all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2" name="object 2051">
            <a:extLst>
              <a:ext uri="{FF2B5EF4-FFF2-40B4-BE49-F238E27FC236}">
                <a16:creationId xmlns:a16="http://schemas.microsoft.com/office/drawing/2014/main" id="{C627708B-BC90-720B-A0B7-70FE57045F35}"/>
              </a:ext>
            </a:extLst>
          </p:cNvPr>
          <p:cNvSpPr txBox="1"/>
          <p:nvPr/>
        </p:nvSpPr>
        <p:spPr>
          <a:xfrm>
            <a:off x="4181139" y="5538237"/>
            <a:ext cx="294958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lock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ri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3" name="object 2052">
            <a:extLst>
              <a:ext uri="{FF2B5EF4-FFF2-40B4-BE49-F238E27FC236}">
                <a16:creationId xmlns:a16="http://schemas.microsoft.com/office/drawing/2014/main" id="{96F65C19-667B-E4EA-CB48-9C82AF82AE49}"/>
              </a:ext>
            </a:extLst>
          </p:cNvPr>
          <p:cNvSpPr txBox="1"/>
          <p:nvPr/>
        </p:nvSpPr>
        <p:spPr>
          <a:xfrm>
            <a:off x="5005315" y="948607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4" name="object 2053">
            <a:extLst>
              <a:ext uri="{FF2B5EF4-FFF2-40B4-BE49-F238E27FC236}">
                <a16:creationId xmlns:a16="http://schemas.microsoft.com/office/drawing/2014/main" id="{CE1D77F0-889D-4B4C-6177-FE15B9395434}"/>
              </a:ext>
            </a:extLst>
          </p:cNvPr>
          <p:cNvSpPr txBox="1"/>
          <p:nvPr/>
        </p:nvSpPr>
        <p:spPr>
          <a:xfrm>
            <a:off x="5005315" y="1709050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5" name="object 2054">
            <a:extLst>
              <a:ext uri="{FF2B5EF4-FFF2-40B4-BE49-F238E27FC236}">
                <a16:creationId xmlns:a16="http://schemas.microsoft.com/office/drawing/2014/main" id="{98ACF93B-3452-FC28-2558-D67EFDC1E57F}"/>
              </a:ext>
            </a:extLst>
          </p:cNvPr>
          <p:cNvSpPr txBox="1"/>
          <p:nvPr/>
        </p:nvSpPr>
        <p:spPr>
          <a:xfrm>
            <a:off x="5002654" y="2470114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ain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6" name="object 2055">
            <a:extLst>
              <a:ext uri="{FF2B5EF4-FFF2-40B4-BE49-F238E27FC236}">
                <a16:creationId xmlns:a16="http://schemas.microsoft.com/office/drawing/2014/main" id="{98D4C2D8-9833-AB0B-867A-124524C10D9A}"/>
              </a:ext>
            </a:extLst>
          </p:cNvPr>
          <p:cNvSpPr txBox="1"/>
          <p:nvPr/>
        </p:nvSpPr>
        <p:spPr>
          <a:xfrm>
            <a:off x="4999454" y="3243614"/>
            <a:ext cx="354640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l-NL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inus</a:t>
            </a:r>
            <a:r>
              <a:rPr lang="nl-NL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te,</a:t>
            </a:r>
            <a:r>
              <a:rPr lang="nl-NL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</a:t>
            </a:r>
            <a:endParaRPr lang="nl-NL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l-NL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nl-NL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zinc</a:t>
            </a:r>
            <a:r>
              <a:rPr lang="nl-NL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agnesium</a:t>
            </a:r>
            <a:endParaRPr lang="nl-NL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7" name="object 2056">
            <a:extLst>
              <a:ext uri="{FF2B5EF4-FFF2-40B4-BE49-F238E27FC236}">
                <a16:creationId xmlns:a16="http://schemas.microsoft.com/office/drawing/2014/main" id="{773FA1D0-E06E-6846-5D7B-EC945D6B9BDD}"/>
              </a:ext>
            </a:extLst>
          </p:cNvPr>
          <p:cNvSpPr txBox="1"/>
          <p:nvPr/>
        </p:nvSpPr>
        <p:spPr>
          <a:xfrm>
            <a:off x="4999454" y="4003746"/>
            <a:ext cx="230273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acad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8" name="object 2057">
            <a:extLst>
              <a:ext uri="{FF2B5EF4-FFF2-40B4-BE49-F238E27FC236}">
                <a16:creationId xmlns:a16="http://schemas.microsoft.com/office/drawing/2014/main" id="{E067356A-99E5-16E3-89DF-1CFE08B03F1C}"/>
              </a:ext>
            </a:extLst>
          </p:cNvPr>
          <p:cNvSpPr txBox="1"/>
          <p:nvPr/>
        </p:nvSpPr>
        <p:spPr>
          <a:xfrm>
            <a:off x="4999454" y="4770507"/>
            <a:ext cx="105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69" name="object 2058">
            <a:extLst>
              <a:ext uri="{FF2B5EF4-FFF2-40B4-BE49-F238E27FC236}">
                <a16:creationId xmlns:a16="http://schemas.microsoft.com/office/drawing/2014/main" id="{7ABF40F2-3090-8B93-5066-431BE8A0C741}"/>
              </a:ext>
            </a:extLst>
          </p:cNvPr>
          <p:cNvSpPr txBox="1"/>
          <p:nvPr/>
        </p:nvSpPr>
        <p:spPr>
          <a:xfrm>
            <a:off x="4999454" y="5538237"/>
            <a:ext cx="25838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iber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cement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70" name="object 2059">
            <a:extLst>
              <a:ext uri="{FF2B5EF4-FFF2-40B4-BE49-F238E27FC236}">
                <a16:creationId xmlns:a16="http://schemas.microsoft.com/office/drawing/2014/main" id="{F944A194-B425-A92B-1C66-35C520335CBB}"/>
              </a:ext>
            </a:extLst>
          </p:cNvPr>
          <p:cNvSpPr txBox="1"/>
          <p:nvPr/>
        </p:nvSpPr>
        <p:spPr>
          <a:xfrm>
            <a:off x="8285369" y="5538237"/>
            <a:ext cx="35233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71" name="object 2061">
            <a:extLst>
              <a:ext uri="{FF2B5EF4-FFF2-40B4-BE49-F238E27FC236}">
                <a16:creationId xmlns:a16="http://schemas.microsoft.com/office/drawing/2014/main" id="{CCFD1901-EEC2-B52A-135D-A6B0179A131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9385" y="796542"/>
            <a:ext cx="1668891" cy="619092"/>
          </a:xfrm>
        </p:spPr>
        <p:txBody>
          <a:bodyPr wrap="square" tIns="7315">
            <a:spAutoFit/>
          </a:bodyPr>
          <a:lstStyle/>
          <a:p>
            <a:pPr marL="7699" marR="3081" lvl="0">
              <a:lnSpc>
                <a:spcPct val="100800"/>
              </a:lnSpc>
              <a:spcBef>
                <a:spcPts val="60"/>
              </a:spcBef>
            </a:pPr>
            <a:r>
              <a:rPr lang="en-US" sz="2000" b="1" spc="-185" dirty="0">
                <a:solidFill>
                  <a:srgbClr val="000000"/>
                </a:solidFill>
                <a:latin typeface="VeluxForOffice"/>
              </a:rPr>
              <a:t>Simple</a:t>
            </a:r>
            <a:r>
              <a:rPr lang="en-US" sz="2000" b="1" spc="-49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273" dirty="0">
                <a:solidFill>
                  <a:srgbClr val="000000"/>
                </a:solidFill>
                <a:latin typeface="VeluxForOffice"/>
              </a:rPr>
              <a:t>LCA </a:t>
            </a:r>
            <a:r>
              <a:rPr lang="en-US" sz="2000" b="1" spc="-191" dirty="0">
                <a:solidFill>
                  <a:srgbClr val="000000"/>
                </a:solidFill>
                <a:latin typeface="VeluxForOffice"/>
              </a:rPr>
              <a:t>comparison</a:t>
            </a:r>
            <a:r>
              <a:rPr lang="en-US" sz="2000" b="1" spc="-61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185" dirty="0">
                <a:solidFill>
                  <a:srgbClr val="000000"/>
                </a:solidFill>
                <a:latin typeface="VeluxForOffice"/>
              </a:rPr>
              <a:t>tool</a:t>
            </a:r>
            <a:endParaRPr lang="en-US" sz="2000" b="1" dirty="0">
              <a:latin typeface="VeluxForOffice"/>
            </a:endParaRPr>
          </a:p>
        </p:txBody>
      </p:sp>
      <p:sp>
        <p:nvSpPr>
          <p:cNvPr id="2072" name="object 2062">
            <a:extLst>
              <a:ext uri="{FF2B5EF4-FFF2-40B4-BE49-F238E27FC236}">
                <a16:creationId xmlns:a16="http://schemas.microsoft.com/office/drawing/2014/main" id="{46E1BCC1-EA99-EA34-DC24-04ADFF2EB3EA}"/>
              </a:ext>
            </a:extLst>
          </p:cNvPr>
          <p:cNvSpPr txBox="1"/>
          <p:nvPr/>
        </p:nvSpPr>
        <p:spPr>
          <a:xfrm>
            <a:off x="589385" y="1640012"/>
            <a:ext cx="1765907" cy="157012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76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During 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 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investigation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and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development </a:t>
            </a:r>
            <a:r>
              <a:rPr lang="en-US" sz="105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of</a:t>
            </a:r>
            <a:r>
              <a:rPr lang="en-US" sz="1050" b="0" i="0" u="none" strike="noStrike" kern="1200" cap="none" spc="-39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3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8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project,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we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as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a</a:t>
            </a:r>
            <a:r>
              <a:rPr lang="en-US" sz="1050" b="0" i="0" u="none" strike="noStrike" kern="1200" cap="none" spc="-33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eam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2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have</a:t>
            </a:r>
            <a:r>
              <a:rPr lang="en-US" sz="1050" b="0" i="0" u="none" strike="noStrike" kern="1200" cap="none" spc="303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created</a:t>
            </a:r>
            <a:r>
              <a:rPr lang="en-US" sz="1050" b="0" i="0" u="none" strike="noStrike" kern="1200" cap="none" spc="-3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an</a:t>
            </a:r>
            <a:r>
              <a:rPr lang="en-US" sz="1050" b="0" i="0" u="none" strike="noStrike" kern="1200" cap="none" spc="-33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LCA</a:t>
            </a:r>
            <a:r>
              <a:rPr lang="en-US" sz="1050" b="0" i="0" u="none" strike="noStrike" kern="1200" cap="none" spc="-3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calculator</a:t>
            </a:r>
            <a:r>
              <a:rPr lang="en-US" sz="1050" b="0" i="0" u="none" strike="noStrike" kern="1200" cap="none" spc="-33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at</a:t>
            </a:r>
            <a:r>
              <a:rPr lang="en-US" sz="1050" b="0" i="0" u="none" strike="noStrike" kern="1200" cap="none" spc="-3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provides an</a:t>
            </a:r>
            <a:r>
              <a:rPr lang="en-US" sz="1050" b="0" i="0" u="none" strike="noStrike" kern="1200" cap="none" spc="-3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9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overview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of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solutions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and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ir 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environmental</a:t>
            </a:r>
            <a:r>
              <a:rPr lang="en-US" sz="1050" b="0" i="0" u="none" strike="noStrike" kern="1200" cap="none" spc="-33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impact.</a:t>
            </a:r>
            <a:r>
              <a:rPr lang="en-US" sz="1050" b="0" i="0" u="none" strike="noStrike" kern="1200" cap="none" spc="-33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calculator 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simulates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building</a:t>
            </a:r>
            <a:r>
              <a:rPr lang="en-US" sz="1050" b="0" i="0" u="none" strike="noStrike" kern="1200" cap="none" spc="-18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performance</a:t>
            </a:r>
            <a:r>
              <a:rPr lang="en-US" sz="1050" b="0" i="0" u="none" strike="noStrike" kern="1200" cap="none" spc="-18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based</a:t>
            </a:r>
            <a:r>
              <a:rPr lang="en-US" sz="1050" b="0" i="0" u="none" strike="noStrike" kern="1200" cap="none" spc="-18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on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material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choices.</a:t>
            </a:r>
            <a:endParaRPr lang="en-US" sz="1050" b="0" i="0" u="none" strike="noStrike" kern="1200" cap="none" spc="0" baseline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2073" name="object 2063">
            <a:extLst>
              <a:ext uri="{FF2B5EF4-FFF2-40B4-BE49-F238E27FC236}">
                <a16:creationId xmlns:a16="http://schemas.microsoft.com/office/drawing/2014/main" id="{C019310F-C9DB-1B34-558A-47900D6ED635}"/>
              </a:ext>
            </a:extLst>
          </p:cNvPr>
          <p:cNvSpPr txBox="1"/>
          <p:nvPr/>
        </p:nvSpPr>
        <p:spPr>
          <a:xfrm>
            <a:off x="9857981" y="3184992"/>
            <a:ext cx="525231" cy="11543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08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697" b="1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69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</p:txBody>
      </p:sp>
      <p:graphicFrame>
        <p:nvGraphicFramePr>
          <p:cNvPr id="2075" name="object 2034">
            <a:extLst>
              <a:ext uri="{FF2B5EF4-FFF2-40B4-BE49-F238E27FC236}">
                <a16:creationId xmlns:a16="http://schemas.microsoft.com/office/drawing/2014/main" id="{7EA05BCC-48A3-60A9-86F9-576E998E2D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654499"/>
              </p:ext>
            </p:extLst>
          </p:nvPr>
        </p:nvGraphicFramePr>
        <p:xfrm>
          <a:off x="2450454" y="212735"/>
          <a:ext cx="8173524" cy="289097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678868">
                  <a:extLst>
                    <a:ext uri="{9D8B030D-6E8A-4147-A177-3AD203B41FA5}">
                      <a16:colId xmlns:a16="http://schemas.microsoft.com/office/drawing/2014/main" val="1658490810"/>
                    </a:ext>
                  </a:extLst>
                </a:gridCol>
                <a:gridCol w="830586">
                  <a:extLst>
                    <a:ext uri="{9D8B030D-6E8A-4147-A177-3AD203B41FA5}">
                      <a16:colId xmlns:a16="http://schemas.microsoft.com/office/drawing/2014/main" val="1636543607"/>
                    </a:ext>
                  </a:extLst>
                </a:gridCol>
                <a:gridCol w="823270">
                  <a:extLst>
                    <a:ext uri="{9D8B030D-6E8A-4147-A177-3AD203B41FA5}">
                      <a16:colId xmlns:a16="http://schemas.microsoft.com/office/drawing/2014/main" val="3804370213"/>
                    </a:ext>
                  </a:extLst>
                </a:gridCol>
                <a:gridCol w="883337">
                  <a:extLst>
                    <a:ext uri="{9D8B030D-6E8A-4147-A177-3AD203B41FA5}">
                      <a16:colId xmlns:a16="http://schemas.microsoft.com/office/drawing/2014/main" val="3254896364"/>
                    </a:ext>
                  </a:extLst>
                </a:gridCol>
                <a:gridCol w="722769">
                  <a:extLst>
                    <a:ext uri="{9D8B030D-6E8A-4147-A177-3AD203B41FA5}">
                      <a16:colId xmlns:a16="http://schemas.microsoft.com/office/drawing/2014/main" val="2712751493"/>
                    </a:ext>
                  </a:extLst>
                </a:gridCol>
                <a:gridCol w="850611">
                  <a:extLst>
                    <a:ext uri="{9D8B030D-6E8A-4147-A177-3AD203B41FA5}">
                      <a16:colId xmlns:a16="http://schemas.microsoft.com/office/drawing/2014/main" val="3176306314"/>
                    </a:ext>
                  </a:extLst>
                </a:gridCol>
                <a:gridCol w="878336">
                  <a:extLst>
                    <a:ext uri="{9D8B030D-6E8A-4147-A177-3AD203B41FA5}">
                      <a16:colId xmlns:a16="http://schemas.microsoft.com/office/drawing/2014/main" val="228236071"/>
                    </a:ext>
                  </a:extLst>
                </a:gridCol>
                <a:gridCol w="772823">
                  <a:extLst>
                    <a:ext uri="{9D8B030D-6E8A-4147-A177-3AD203B41FA5}">
                      <a16:colId xmlns:a16="http://schemas.microsoft.com/office/drawing/2014/main" val="1040761969"/>
                    </a:ext>
                  </a:extLst>
                </a:gridCol>
                <a:gridCol w="805458">
                  <a:extLst>
                    <a:ext uri="{9D8B030D-6E8A-4147-A177-3AD203B41FA5}">
                      <a16:colId xmlns:a16="http://schemas.microsoft.com/office/drawing/2014/main" val="336707924"/>
                    </a:ext>
                  </a:extLst>
                </a:gridCol>
                <a:gridCol w="927466">
                  <a:extLst>
                    <a:ext uri="{9D8B030D-6E8A-4147-A177-3AD203B41FA5}">
                      <a16:colId xmlns:a16="http://schemas.microsoft.com/office/drawing/2014/main" val="383644572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31747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Founda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17800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40">
                          <a:latin typeface="Verdana"/>
                          <a:cs typeface="Verdana"/>
                        </a:rPr>
                        <a:t>Terrain</a:t>
                      </a:r>
                      <a:r>
                        <a:rPr lang="en-US" sz="700" b="1" spc="-4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deck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30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Exterior</a:t>
                      </a:r>
                      <a:r>
                        <a:rPr lang="en-US" sz="700" b="1" spc="-5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wall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82552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 dirty="0">
                          <a:latin typeface="Verdana"/>
                          <a:cs typeface="Verdana"/>
                        </a:rPr>
                        <a:t>Exterior</a:t>
                      </a:r>
                      <a:r>
                        <a:rPr lang="en-US" sz="700" b="1" spc="-55" dirty="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 dirty="0">
                          <a:latin typeface="Verdana"/>
                          <a:cs typeface="Verdana"/>
                        </a:rPr>
                        <a:t>wall</a:t>
                      </a:r>
                      <a:endParaRPr lang="en-US" sz="700" dirty="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9046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Interior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07338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Floor</a:t>
                      </a:r>
                      <a:r>
                        <a:rPr lang="en-US" sz="700" b="1" spc="-6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deck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1593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20">
                          <a:latin typeface="Verdana"/>
                          <a:cs typeface="Verdana"/>
                        </a:rPr>
                        <a:t>Roof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4766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20">
                          <a:latin typeface="Verdana"/>
                          <a:cs typeface="Verdana"/>
                        </a:rPr>
                        <a:t>Roof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6072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Window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99081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Solar</a:t>
                      </a:r>
                      <a:r>
                        <a:rPr lang="en-US" sz="700" b="1" spc="-7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10">
                          <a:latin typeface="Verdana"/>
                          <a:cs typeface="Verdana"/>
                        </a:rPr>
                        <a:t>cell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3396681"/>
                  </a:ext>
                </a:extLst>
              </a:tr>
              <a:tr h="110898"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271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onstruc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82552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ladding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9687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wall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2234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onstruc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4766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ladding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04418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4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>
            <a:extLst>
              <a:ext uri="{FF2B5EF4-FFF2-40B4-BE49-F238E27FC236}">
                <a16:creationId xmlns:a16="http://schemas.microsoft.com/office/drawing/2014/main" id="{CAA1EA51-FAD7-BF65-B4C2-58A8D6B9F830}"/>
              </a:ext>
            </a:extLst>
          </p:cNvPr>
          <p:cNvGrpSpPr/>
          <p:nvPr/>
        </p:nvGrpSpPr>
        <p:grpSpPr>
          <a:xfrm>
            <a:off x="10316260" y="1429838"/>
            <a:ext cx="454721" cy="158648"/>
            <a:chOff x="10316260" y="1429838"/>
            <a:chExt cx="454721" cy="158648"/>
          </a:xfrm>
        </p:grpSpPr>
        <p:sp>
          <p:nvSpPr>
            <p:cNvPr id="3" name="object 3">
              <a:extLst>
                <a:ext uri="{FF2B5EF4-FFF2-40B4-BE49-F238E27FC236}">
                  <a16:creationId xmlns:a16="http://schemas.microsoft.com/office/drawing/2014/main" id="{FC98CD9C-5B78-1369-19B8-FDEAE917F459}"/>
                </a:ext>
              </a:extLst>
            </p:cNvPr>
            <p:cNvSpPr/>
            <p:nvPr/>
          </p:nvSpPr>
          <p:spPr>
            <a:xfrm>
              <a:off x="10316260" y="1508979"/>
              <a:ext cx="341162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41167"/>
                <a:gd name="f5" fmla="val 340800"/>
                <a:gd name="f6" fmla="abs f0"/>
                <a:gd name="f7" fmla="abs f1"/>
                <a:gd name="f8" fmla="abs f2"/>
                <a:gd name="f9" fmla="*/ f0 1 341167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341167"/>
                <a:gd name="f16" fmla="*/ f10 1 0"/>
                <a:gd name="f17" fmla="*/ f12 1 341167"/>
                <a:gd name="f18" fmla="*/ f13 1 21600"/>
                <a:gd name="f19" fmla="*/ 21600 f13 1"/>
                <a:gd name="f20" fmla="*/ 0 1 f15"/>
                <a:gd name="f21" fmla="*/ 341167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341167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D5E5432A-A6B5-19B0-1021-A6416CFE3792}"/>
                </a:ext>
              </a:extLst>
            </p:cNvPr>
            <p:cNvSpPr/>
            <p:nvPr/>
          </p:nvSpPr>
          <p:spPr>
            <a:xfrm>
              <a:off x="10633895" y="1429838"/>
              <a:ext cx="137086" cy="158648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6059"/>
                <a:gd name="f4" fmla="val 261619"/>
                <a:gd name="f5" fmla="val 261028"/>
                <a:gd name="f6" fmla="val 226035"/>
                <a:gd name="f7" fmla="val 130530"/>
                <a:gd name="f8" fmla="*/ f0 1 226059"/>
                <a:gd name="f9" fmla="*/ f1 1 261619"/>
                <a:gd name="f10" fmla="+- f4 0 f2"/>
                <a:gd name="f11" fmla="+- f3 0 f2"/>
                <a:gd name="f12" fmla="*/ f11 1 226059"/>
                <a:gd name="f13" fmla="*/ f10 1 261619"/>
                <a:gd name="f14" fmla="*/ f2 1 f12"/>
                <a:gd name="f15" fmla="*/ f3 1 f12"/>
                <a:gd name="f16" fmla="*/ f2 1 f13"/>
                <a:gd name="f17" fmla="*/ f4 1 f13"/>
                <a:gd name="f18" fmla="*/ f14 f8 1"/>
                <a:gd name="f19" fmla="*/ f15 f8 1"/>
                <a:gd name="f20" fmla="*/ f17 f9 1"/>
                <a:gd name="f21" fmla="*/ f16 f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8" t="f21" r="f19" b="f20"/>
              <a:pathLst>
                <a:path w="226059" h="261619">
                  <a:moveTo>
                    <a:pt x="f2" y="f2"/>
                  </a:moveTo>
                  <a:lnTo>
                    <a:pt x="f2" y="f5"/>
                  </a:lnTo>
                  <a:lnTo>
                    <a:pt x="f6" y="f7"/>
                  </a:lnTo>
                  <a:lnTo>
                    <a:pt x="f2" y="f2"/>
                  </a:lnTo>
                  <a:close/>
                </a:path>
              </a:pathLst>
            </a:custGeom>
            <a:solidFill>
              <a:srgbClr val="E5304F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5" name="object 5">
            <a:extLst>
              <a:ext uri="{FF2B5EF4-FFF2-40B4-BE49-F238E27FC236}">
                <a16:creationId xmlns:a16="http://schemas.microsoft.com/office/drawing/2014/main" id="{C24CC497-EE75-6044-ADE0-2F3AAEBCD230}"/>
              </a:ext>
            </a:extLst>
          </p:cNvPr>
          <p:cNvSpPr/>
          <p:nvPr/>
        </p:nvSpPr>
        <p:spPr>
          <a:xfrm>
            <a:off x="2722571" y="55773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0A54706D-1E0B-302A-8AE3-CC12D8B0BC15}"/>
              </a:ext>
            </a:extLst>
          </p:cNvPr>
          <p:cNvSpPr/>
          <p:nvPr/>
        </p:nvSpPr>
        <p:spPr>
          <a:xfrm>
            <a:off x="3544717" y="55773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834258DC-0F8A-CC2E-D6F2-E30FD5FA3BE6}"/>
              </a:ext>
            </a:extLst>
          </p:cNvPr>
          <p:cNvSpPr/>
          <p:nvPr/>
        </p:nvSpPr>
        <p:spPr>
          <a:xfrm>
            <a:off x="5187254" y="573456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1A3F50AE-3769-8C1A-AB6E-542EAF156D53}"/>
              </a:ext>
            </a:extLst>
          </p:cNvPr>
          <p:cNvSpPr/>
          <p:nvPr/>
        </p:nvSpPr>
        <p:spPr>
          <a:xfrm>
            <a:off x="6008696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19DDD945-056E-7D5F-051A-382481560E2C}"/>
              </a:ext>
            </a:extLst>
          </p:cNvPr>
          <p:cNvSpPr/>
          <p:nvPr/>
        </p:nvSpPr>
        <p:spPr>
          <a:xfrm>
            <a:off x="6831198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69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4F2FB6EE-5850-548E-F7D3-C5C28D13F627}"/>
              </a:ext>
            </a:extLst>
          </p:cNvPr>
          <p:cNvSpPr/>
          <p:nvPr/>
        </p:nvSpPr>
        <p:spPr>
          <a:xfrm>
            <a:off x="7653098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69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7CEA4178-C8A4-34CD-EE0B-191887EAA4DD}"/>
              </a:ext>
            </a:extLst>
          </p:cNvPr>
          <p:cNvSpPr/>
          <p:nvPr/>
        </p:nvSpPr>
        <p:spPr>
          <a:xfrm>
            <a:off x="10118073" y="3773692"/>
            <a:ext cx="0" cy="249868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2498684"/>
              <a:gd name="f5" fmla="val 2498314"/>
              <a:gd name="f6" fmla="abs f0"/>
              <a:gd name="f7" fmla="abs f1"/>
              <a:gd name="f8" fmla="abs f2"/>
              <a:gd name="f9" fmla="*/ f1 1 2498684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2498684"/>
              <a:gd name="f17" fmla="*/ f12 1 21600"/>
              <a:gd name="f18" fmla="*/ f13 1 2498684"/>
              <a:gd name="f19" fmla="*/ 21600 f12 1"/>
              <a:gd name="f20" fmla="*/ 0 1 f15"/>
              <a:gd name="f21" fmla="*/ 1 1 f15"/>
              <a:gd name="f22" fmla="*/ 0 1 f16"/>
              <a:gd name="f23" fmla="*/ 2498684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2498684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DAD5E7AD-F616-2A3E-8083-51493E5C049F}"/>
              </a:ext>
            </a:extLst>
          </p:cNvPr>
          <p:cNvSpPr/>
          <p:nvPr/>
        </p:nvSpPr>
        <p:spPr>
          <a:xfrm>
            <a:off x="10118018" y="574828"/>
            <a:ext cx="0" cy="1755894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1755894"/>
              <a:gd name="f5" fmla="val 1755841"/>
              <a:gd name="f6" fmla="abs f0"/>
              <a:gd name="f7" fmla="abs f1"/>
              <a:gd name="f8" fmla="abs f2"/>
              <a:gd name="f9" fmla="*/ f1 1 1755894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1755894"/>
              <a:gd name="f17" fmla="*/ f12 1 21600"/>
              <a:gd name="f18" fmla="*/ f13 1 1755894"/>
              <a:gd name="f19" fmla="*/ 21600 f12 1"/>
              <a:gd name="f20" fmla="*/ 0 1 f15"/>
              <a:gd name="f21" fmla="*/ 1 1 f15"/>
              <a:gd name="f22" fmla="*/ 0 1 f16"/>
              <a:gd name="f23" fmla="*/ 1755894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1755894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CDE71F9F-97AE-7F13-863D-718AFD9BBE2C}"/>
              </a:ext>
            </a:extLst>
          </p:cNvPr>
          <p:cNvSpPr/>
          <p:nvPr/>
        </p:nvSpPr>
        <p:spPr>
          <a:xfrm>
            <a:off x="8474275" y="57482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C4CF6E5A-29D2-4AC7-FE6A-E28B5453F59D}"/>
              </a:ext>
            </a:extLst>
          </p:cNvPr>
          <p:cNvSpPr/>
          <p:nvPr/>
        </p:nvSpPr>
        <p:spPr>
          <a:xfrm>
            <a:off x="9296887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F4895CF1-1411-3E46-234B-C0E7A376472D}"/>
              </a:ext>
            </a:extLst>
          </p:cNvPr>
          <p:cNvSpPr/>
          <p:nvPr/>
        </p:nvSpPr>
        <p:spPr>
          <a:xfrm>
            <a:off x="4365135" y="55773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ADCED34B-3CE0-1176-8B96-7C19AF8B9F9D}"/>
              </a:ext>
            </a:extLst>
          </p:cNvPr>
          <p:cNvSpPr txBox="1"/>
          <p:nvPr/>
        </p:nvSpPr>
        <p:spPr>
          <a:xfrm>
            <a:off x="2450454" y="106778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id="{40C0AE15-E2FC-24AB-B104-81C9196F24DB}"/>
              </a:ext>
            </a:extLst>
          </p:cNvPr>
          <p:cNvSpPr txBox="1"/>
          <p:nvPr/>
        </p:nvSpPr>
        <p:spPr>
          <a:xfrm>
            <a:off x="2450454" y="182971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id="{DB6BFD8A-E8E2-FF96-622D-E1251F5B4211}"/>
              </a:ext>
            </a:extLst>
          </p:cNvPr>
          <p:cNvSpPr txBox="1"/>
          <p:nvPr/>
        </p:nvSpPr>
        <p:spPr>
          <a:xfrm>
            <a:off x="2450454" y="259586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04191252-9895-8D4B-57C5-64EE94F1A697}"/>
              </a:ext>
            </a:extLst>
          </p:cNvPr>
          <p:cNvSpPr txBox="1"/>
          <p:nvPr/>
        </p:nvSpPr>
        <p:spPr>
          <a:xfrm>
            <a:off x="2450454" y="336064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395B023A-C712-B39B-0EE0-BC195978F4CB}"/>
              </a:ext>
            </a:extLst>
          </p:cNvPr>
          <p:cNvSpPr txBox="1"/>
          <p:nvPr/>
        </p:nvSpPr>
        <p:spPr>
          <a:xfrm>
            <a:off x="3272957" y="106721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A3AB5463-A481-D2B4-7A6D-8E014776F4B0}"/>
              </a:ext>
            </a:extLst>
          </p:cNvPr>
          <p:cNvSpPr txBox="1"/>
          <p:nvPr/>
        </p:nvSpPr>
        <p:spPr>
          <a:xfrm>
            <a:off x="3272957" y="18291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7EEC65F8-1007-A6F5-E61B-6611B2D37962}"/>
              </a:ext>
            </a:extLst>
          </p:cNvPr>
          <p:cNvSpPr txBox="1"/>
          <p:nvPr/>
        </p:nvSpPr>
        <p:spPr>
          <a:xfrm>
            <a:off x="3272957" y="25952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C65A7836-430B-904F-9A4C-F2EE3A0B6625}"/>
              </a:ext>
            </a:extLst>
          </p:cNvPr>
          <p:cNvSpPr txBox="1"/>
          <p:nvPr/>
        </p:nvSpPr>
        <p:spPr>
          <a:xfrm>
            <a:off x="3272957" y="336008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CB77C3C2-B52C-C779-36BE-E51E629C2D27}"/>
              </a:ext>
            </a:extLst>
          </p:cNvPr>
          <p:cNvSpPr txBox="1"/>
          <p:nvPr/>
        </p:nvSpPr>
        <p:spPr>
          <a:xfrm>
            <a:off x="3272957" y="412812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" name="object 25">
            <a:extLst>
              <a:ext uri="{FF2B5EF4-FFF2-40B4-BE49-F238E27FC236}">
                <a16:creationId xmlns:a16="http://schemas.microsoft.com/office/drawing/2014/main" id="{C5128582-A7C7-C234-1A7B-06B90416BBCB}"/>
              </a:ext>
            </a:extLst>
          </p:cNvPr>
          <p:cNvSpPr txBox="1"/>
          <p:nvPr/>
        </p:nvSpPr>
        <p:spPr>
          <a:xfrm>
            <a:off x="3272957" y="488867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4DB1638B-22F1-347C-3657-F3BAF791AA46}"/>
              </a:ext>
            </a:extLst>
          </p:cNvPr>
          <p:cNvSpPr txBox="1"/>
          <p:nvPr/>
        </p:nvSpPr>
        <p:spPr>
          <a:xfrm>
            <a:off x="4096201" y="10677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A40E420D-1774-4C30-2C78-19FBC411BB26}"/>
              </a:ext>
            </a:extLst>
          </p:cNvPr>
          <p:cNvSpPr txBox="1"/>
          <p:nvPr/>
        </p:nvSpPr>
        <p:spPr>
          <a:xfrm>
            <a:off x="4096201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E2B7D887-5E26-1249-5EDA-96FCBE953524}"/>
              </a:ext>
            </a:extLst>
          </p:cNvPr>
          <p:cNvSpPr txBox="1"/>
          <p:nvPr/>
        </p:nvSpPr>
        <p:spPr>
          <a:xfrm>
            <a:off x="4096201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9" name="object 29">
            <a:extLst>
              <a:ext uri="{FF2B5EF4-FFF2-40B4-BE49-F238E27FC236}">
                <a16:creationId xmlns:a16="http://schemas.microsoft.com/office/drawing/2014/main" id="{D1366705-A0B8-805C-9236-6D50C47BD5B7}"/>
              </a:ext>
            </a:extLst>
          </p:cNvPr>
          <p:cNvSpPr txBox="1"/>
          <p:nvPr/>
        </p:nvSpPr>
        <p:spPr>
          <a:xfrm>
            <a:off x="4096201" y="336059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0" name="object 30">
            <a:extLst>
              <a:ext uri="{FF2B5EF4-FFF2-40B4-BE49-F238E27FC236}">
                <a16:creationId xmlns:a16="http://schemas.microsoft.com/office/drawing/2014/main" id="{8A5132B4-7F11-8514-B413-3652AE07EFBD}"/>
              </a:ext>
            </a:extLst>
          </p:cNvPr>
          <p:cNvSpPr txBox="1"/>
          <p:nvPr/>
        </p:nvSpPr>
        <p:spPr>
          <a:xfrm>
            <a:off x="4096201" y="412863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1" name="object 31">
            <a:extLst>
              <a:ext uri="{FF2B5EF4-FFF2-40B4-BE49-F238E27FC236}">
                <a16:creationId xmlns:a16="http://schemas.microsoft.com/office/drawing/2014/main" id="{D7D1CCFC-852A-7E82-889C-4F5F7F517D92}"/>
              </a:ext>
            </a:extLst>
          </p:cNvPr>
          <p:cNvSpPr txBox="1"/>
          <p:nvPr/>
        </p:nvSpPr>
        <p:spPr>
          <a:xfrm>
            <a:off x="4080317" y="4889196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4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2" name="object 32">
            <a:extLst>
              <a:ext uri="{FF2B5EF4-FFF2-40B4-BE49-F238E27FC236}">
                <a16:creationId xmlns:a16="http://schemas.microsoft.com/office/drawing/2014/main" id="{D3903487-C304-249F-B347-9A7FCF6A0F54}"/>
              </a:ext>
            </a:extLst>
          </p:cNvPr>
          <p:cNvSpPr txBox="1"/>
          <p:nvPr/>
        </p:nvSpPr>
        <p:spPr>
          <a:xfrm>
            <a:off x="4064087" y="5651403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2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3" name="object 33">
            <a:extLst>
              <a:ext uri="{FF2B5EF4-FFF2-40B4-BE49-F238E27FC236}">
                <a16:creationId xmlns:a16="http://schemas.microsoft.com/office/drawing/2014/main" id="{45098A27-6AF5-5465-250B-D40E445AB0D0}"/>
              </a:ext>
            </a:extLst>
          </p:cNvPr>
          <p:cNvSpPr txBox="1"/>
          <p:nvPr/>
        </p:nvSpPr>
        <p:spPr>
          <a:xfrm>
            <a:off x="4914479" y="1067726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4" name="object 34">
            <a:extLst>
              <a:ext uri="{FF2B5EF4-FFF2-40B4-BE49-F238E27FC236}">
                <a16:creationId xmlns:a16="http://schemas.microsoft.com/office/drawing/2014/main" id="{7E0C3D5E-7489-63E2-7D3B-DAB735EBB823}"/>
              </a:ext>
            </a:extLst>
          </p:cNvPr>
          <p:cNvSpPr txBox="1"/>
          <p:nvPr/>
        </p:nvSpPr>
        <p:spPr>
          <a:xfrm>
            <a:off x="4914479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5" name="object 35">
            <a:extLst>
              <a:ext uri="{FF2B5EF4-FFF2-40B4-BE49-F238E27FC236}">
                <a16:creationId xmlns:a16="http://schemas.microsoft.com/office/drawing/2014/main" id="{D37E62CF-4B54-D77F-B463-D1E8F402E7DE}"/>
              </a:ext>
            </a:extLst>
          </p:cNvPr>
          <p:cNvSpPr txBox="1"/>
          <p:nvPr/>
        </p:nvSpPr>
        <p:spPr>
          <a:xfrm>
            <a:off x="4914479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6" name="object 36">
            <a:extLst>
              <a:ext uri="{FF2B5EF4-FFF2-40B4-BE49-F238E27FC236}">
                <a16:creationId xmlns:a16="http://schemas.microsoft.com/office/drawing/2014/main" id="{587A5A70-2337-C031-8827-44260D8D361C}"/>
              </a:ext>
            </a:extLst>
          </p:cNvPr>
          <p:cNvSpPr txBox="1"/>
          <p:nvPr/>
        </p:nvSpPr>
        <p:spPr>
          <a:xfrm>
            <a:off x="4914479" y="336059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7" name="object 37">
            <a:extLst>
              <a:ext uri="{FF2B5EF4-FFF2-40B4-BE49-F238E27FC236}">
                <a16:creationId xmlns:a16="http://schemas.microsoft.com/office/drawing/2014/main" id="{B14B0100-A78C-09B5-410D-6D06BCA3B6D3}"/>
              </a:ext>
            </a:extLst>
          </p:cNvPr>
          <p:cNvSpPr txBox="1"/>
          <p:nvPr/>
        </p:nvSpPr>
        <p:spPr>
          <a:xfrm>
            <a:off x="4914479" y="412863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8" name="object 38">
            <a:extLst>
              <a:ext uri="{FF2B5EF4-FFF2-40B4-BE49-F238E27FC236}">
                <a16:creationId xmlns:a16="http://schemas.microsoft.com/office/drawing/2014/main" id="{AA766E7D-7960-2F95-7361-A81F244B6364}"/>
              </a:ext>
            </a:extLst>
          </p:cNvPr>
          <p:cNvSpPr txBox="1"/>
          <p:nvPr/>
        </p:nvSpPr>
        <p:spPr>
          <a:xfrm>
            <a:off x="4917679" y="488919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9" name="object 39">
            <a:extLst>
              <a:ext uri="{FF2B5EF4-FFF2-40B4-BE49-F238E27FC236}">
                <a16:creationId xmlns:a16="http://schemas.microsoft.com/office/drawing/2014/main" id="{3AF0EDFD-F598-1DB5-02E0-5B4C7269967A}"/>
              </a:ext>
            </a:extLst>
          </p:cNvPr>
          <p:cNvSpPr txBox="1"/>
          <p:nvPr/>
        </p:nvSpPr>
        <p:spPr>
          <a:xfrm>
            <a:off x="4898303" y="565140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0" name="object 40">
            <a:extLst>
              <a:ext uri="{FF2B5EF4-FFF2-40B4-BE49-F238E27FC236}">
                <a16:creationId xmlns:a16="http://schemas.microsoft.com/office/drawing/2014/main" id="{EA4220F3-B22C-E0E5-92B3-C1A8AD96F259}"/>
              </a:ext>
            </a:extLst>
          </p:cNvPr>
          <p:cNvSpPr txBox="1"/>
          <p:nvPr/>
        </p:nvSpPr>
        <p:spPr>
          <a:xfrm>
            <a:off x="5737832" y="10677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1" name="object 41">
            <a:extLst>
              <a:ext uri="{FF2B5EF4-FFF2-40B4-BE49-F238E27FC236}">
                <a16:creationId xmlns:a16="http://schemas.microsoft.com/office/drawing/2014/main" id="{1AE21A1D-59CD-D971-B9F8-DCF60D0911AD}"/>
              </a:ext>
            </a:extLst>
          </p:cNvPr>
          <p:cNvSpPr txBox="1"/>
          <p:nvPr/>
        </p:nvSpPr>
        <p:spPr>
          <a:xfrm>
            <a:off x="5737832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2" name="object 42">
            <a:extLst>
              <a:ext uri="{FF2B5EF4-FFF2-40B4-BE49-F238E27FC236}">
                <a16:creationId xmlns:a16="http://schemas.microsoft.com/office/drawing/2014/main" id="{EF236DEC-65D8-F209-F6E2-680D250718BC}"/>
              </a:ext>
            </a:extLst>
          </p:cNvPr>
          <p:cNvSpPr txBox="1"/>
          <p:nvPr/>
        </p:nvSpPr>
        <p:spPr>
          <a:xfrm>
            <a:off x="5737832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3" name="object 43">
            <a:extLst>
              <a:ext uri="{FF2B5EF4-FFF2-40B4-BE49-F238E27FC236}">
                <a16:creationId xmlns:a16="http://schemas.microsoft.com/office/drawing/2014/main" id="{BB41CBDB-C6F5-9B38-F185-E926437B82DB}"/>
              </a:ext>
            </a:extLst>
          </p:cNvPr>
          <p:cNvSpPr txBox="1"/>
          <p:nvPr/>
        </p:nvSpPr>
        <p:spPr>
          <a:xfrm>
            <a:off x="5737832" y="336059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4" name="object 44">
            <a:extLst>
              <a:ext uri="{FF2B5EF4-FFF2-40B4-BE49-F238E27FC236}">
                <a16:creationId xmlns:a16="http://schemas.microsoft.com/office/drawing/2014/main" id="{524EB201-9D79-6A49-311F-B804E61BC6C2}"/>
              </a:ext>
            </a:extLst>
          </p:cNvPr>
          <p:cNvSpPr txBox="1"/>
          <p:nvPr/>
        </p:nvSpPr>
        <p:spPr>
          <a:xfrm>
            <a:off x="6553879" y="10677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5" name="object 45">
            <a:extLst>
              <a:ext uri="{FF2B5EF4-FFF2-40B4-BE49-F238E27FC236}">
                <a16:creationId xmlns:a16="http://schemas.microsoft.com/office/drawing/2014/main" id="{83C1D378-D14A-8EED-70C7-C12F79633F57}"/>
              </a:ext>
            </a:extLst>
          </p:cNvPr>
          <p:cNvSpPr txBox="1"/>
          <p:nvPr/>
        </p:nvSpPr>
        <p:spPr>
          <a:xfrm>
            <a:off x="6553879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5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6" name="object 46">
            <a:extLst>
              <a:ext uri="{FF2B5EF4-FFF2-40B4-BE49-F238E27FC236}">
                <a16:creationId xmlns:a16="http://schemas.microsoft.com/office/drawing/2014/main" id="{6D9B0C7D-D547-B845-EC31-AC6648A89CA2}"/>
              </a:ext>
            </a:extLst>
          </p:cNvPr>
          <p:cNvSpPr txBox="1"/>
          <p:nvPr/>
        </p:nvSpPr>
        <p:spPr>
          <a:xfrm>
            <a:off x="6557080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7" name="object 47">
            <a:extLst>
              <a:ext uri="{FF2B5EF4-FFF2-40B4-BE49-F238E27FC236}">
                <a16:creationId xmlns:a16="http://schemas.microsoft.com/office/drawing/2014/main" id="{8699531E-DC87-D1BC-56F4-0AE26454DB4E}"/>
              </a:ext>
            </a:extLst>
          </p:cNvPr>
          <p:cNvSpPr txBox="1"/>
          <p:nvPr/>
        </p:nvSpPr>
        <p:spPr>
          <a:xfrm>
            <a:off x="7382957" y="106767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8" name="object 48">
            <a:extLst>
              <a:ext uri="{FF2B5EF4-FFF2-40B4-BE49-F238E27FC236}">
                <a16:creationId xmlns:a16="http://schemas.microsoft.com/office/drawing/2014/main" id="{0032E60A-DC97-C045-FA86-BB60737FE162}"/>
              </a:ext>
            </a:extLst>
          </p:cNvPr>
          <p:cNvSpPr txBox="1"/>
          <p:nvPr/>
        </p:nvSpPr>
        <p:spPr>
          <a:xfrm>
            <a:off x="7382957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9" name="object 49">
            <a:extLst>
              <a:ext uri="{FF2B5EF4-FFF2-40B4-BE49-F238E27FC236}">
                <a16:creationId xmlns:a16="http://schemas.microsoft.com/office/drawing/2014/main" id="{9BA3EB25-21FB-651E-2F06-8A9078DBD642}"/>
              </a:ext>
            </a:extLst>
          </p:cNvPr>
          <p:cNvSpPr txBox="1"/>
          <p:nvPr/>
        </p:nvSpPr>
        <p:spPr>
          <a:xfrm>
            <a:off x="7386157" y="259575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0" name="object 50">
            <a:extLst>
              <a:ext uri="{FF2B5EF4-FFF2-40B4-BE49-F238E27FC236}">
                <a16:creationId xmlns:a16="http://schemas.microsoft.com/office/drawing/2014/main" id="{69BA02E4-2E74-242A-498C-F5C5AD277B68}"/>
              </a:ext>
            </a:extLst>
          </p:cNvPr>
          <p:cNvSpPr txBox="1"/>
          <p:nvPr/>
        </p:nvSpPr>
        <p:spPr>
          <a:xfrm>
            <a:off x="6553879" y="33605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1" name="object 51">
            <a:extLst>
              <a:ext uri="{FF2B5EF4-FFF2-40B4-BE49-F238E27FC236}">
                <a16:creationId xmlns:a16="http://schemas.microsoft.com/office/drawing/2014/main" id="{C2D3A39F-5F5E-560E-02E7-3B3F339AF433}"/>
              </a:ext>
            </a:extLst>
          </p:cNvPr>
          <p:cNvSpPr txBox="1"/>
          <p:nvPr/>
        </p:nvSpPr>
        <p:spPr>
          <a:xfrm>
            <a:off x="5734696" y="4128580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2" name="object 52">
            <a:extLst>
              <a:ext uri="{FF2B5EF4-FFF2-40B4-BE49-F238E27FC236}">
                <a16:creationId xmlns:a16="http://schemas.microsoft.com/office/drawing/2014/main" id="{82C08E07-FFFE-962F-9C38-4D6B4E89CCC7}"/>
              </a:ext>
            </a:extLst>
          </p:cNvPr>
          <p:cNvSpPr txBox="1"/>
          <p:nvPr/>
        </p:nvSpPr>
        <p:spPr>
          <a:xfrm>
            <a:off x="5731495" y="488913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3" name="object 53">
            <a:extLst>
              <a:ext uri="{FF2B5EF4-FFF2-40B4-BE49-F238E27FC236}">
                <a16:creationId xmlns:a16="http://schemas.microsoft.com/office/drawing/2014/main" id="{6B3A7FCF-70E9-F18F-DDF1-45E24868365F}"/>
              </a:ext>
            </a:extLst>
          </p:cNvPr>
          <p:cNvSpPr txBox="1"/>
          <p:nvPr/>
        </p:nvSpPr>
        <p:spPr>
          <a:xfrm>
            <a:off x="8200714" y="1067671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4" name="object 54">
            <a:extLst>
              <a:ext uri="{FF2B5EF4-FFF2-40B4-BE49-F238E27FC236}">
                <a16:creationId xmlns:a16="http://schemas.microsoft.com/office/drawing/2014/main" id="{3CBF1464-E3E2-C60B-D3E6-078328005E8A}"/>
              </a:ext>
            </a:extLst>
          </p:cNvPr>
          <p:cNvSpPr txBox="1"/>
          <p:nvPr/>
        </p:nvSpPr>
        <p:spPr>
          <a:xfrm>
            <a:off x="8200714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5" name="object 55">
            <a:extLst>
              <a:ext uri="{FF2B5EF4-FFF2-40B4-BE49-F238E27FC236}">
                <a16:creationId xmlns:a16="http://schemas.microsoft.com/office/drawing/2014/main" id="{FD399F7E-971C-3E76-56DC-4F5DBC966EA6}"/>
              </a:ext>
            </a:extLst>
          </p:cNvPr>
          <p:cNvSpPr txBox="1"/>
          <p:nvPr/>
        </p:nvSpPr>
        <p:spPr>
          <a:xfrm>
            <a:off x="8200714" y="259575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6" name="object 56">
            <a:extLst>
              <a:ext uri="{FF2B5EF4-FFF2-40B4-BE49-F238E27FC236}">
                <a16:creationId xmlns:a16="http://schemas.microsoft.com/office/drawing/2014/main" id="{AF5A0492-4F0F-DD30-36C1-244AA9BF5C05}"/>
              </a:ext>
            </a:extLst>
          </p:cNvPr>
          <p:cNvSpPr txBox="1"/>
          <p:nvPr/>
        </p:nvSpPr>
        <p:spPr>
          <a:xfrm>
            <a:off x="8200714" y="33605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7" name="object 57">
            <a:extLst>
              <a:ext uri="{FF2B5EF4-FFF2-40B4-BE49-F238E27FC236}">
                <a16:creationId xmlns:a16="http://schemas.microsoft.com/office/drawing/2014/main" id="{7A36B1D6-B6FD-BB18-3C16-69B14154414E}"/>
              </a:ext>
            </a:extLst>
          </p:cNvPr>
          <p:cNvSpPr txBox="1"/>
          <p:nvPr/>
        </p:nvSpPr>
        <p:spPr>
          <a:xfrm>
            <a:off x="9026133" y="106767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8" name="object 58">
            <a:extLst>
              <a:ext uri="{FF2B5EF4-FFF2-40B4-BE49-F238E27FC236}">
                <a16:creationId xmlns:a16="http://schemas.microsoft.com/office/drawing/2014/main" id="{27F16F36-3CCA-F952-B176-4047D62733FD}"/>
              </a:ext>
            </a:extLst>
          </p:cNvPr>
          <p:cNvSpPr txBox="1"/>
          <p:nvPr/>
        </p:nvSpPr>
        <p:spPr>
          <a:xfrm>
            <a:off x="9026133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9" name="object 59">
            <a:extLst>
              <a:ext uri="{FF2B5EF4-FFF2-40B4-BE49-F238E27FC236}">
                <a16:creationId xmlns:a16="http://schemas.microsoft.com/office/drawing/2014/main" id="{D560E511-13E8-BFBF-3AF2-E32AF8257D52}"/>
              </a:ext>
            </a:extLst>
          </p:cNvPr>
          <p:cNvSpPr txBox="1"/>
          <p:nvPr/>
        </p:nvSpPr>
        <p:spPr>
          <a:xfrm>
            <a:off x="9017785" y="2595752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0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0" name="object 60">
            <a:extLst>
              <a:ext uri="{FF2B5EF4-FFF2-40B4-BE49-F238E27FC236}">
                <a16:creationId xmlns:a16="http://schemas.microsoft.com/office/drawing/2014/main" id="{A6471E86-BC84-D4F9-62B2-DE77A8792528}"/>
              </a:ext>
            </a:extLst>
          </p:cNvPr>
          <p:cNvSpPr txBox="1"/>
          <p:nvPr/>
        </p:nvSpPr>
        <p:spPr>
          <a:xfrm>
            <a:off x="9026133" y="33605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id="{AA308558-5A4B-5EAB-29F3-ABA31662FC37}"/>
              </a:ext>
            </a:extLst>
          </p:cNvPr>
          <p:cNvSpPr txBox="1"/>
          <p:nvPr/>
        </p:nvSpPr>
        <p:spPr>
          <a:xfrm>
            <a:off x="9026133" y="412921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2" name="object 62">
            <a:extLst>
              <a:ext uri="{FF2B5EF4-FFF2-40B4-BE49-F238E27FC236}">
                <a16:creationId xmlns:a16="http://schemas.microsoft.com/office/drawing/2014/main" id="{99B40724-CD7A-B0AA-9516-9D6644085742}"/>
              </a:ext>
            </a:extLst>
          </p:cNvPr>
          <p:cNvSpPr txBox="1"/>
          <p:nvPr/>
        </p:nvSpPr>
        <p:spPr>
          <a:xfrm>
            <a:off x="9026133" y="489113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3" name="object 63">
            <a:extLst>
              <a:ext uri="{FF2B5EF4-FFF2-40B4-BE49-F238E27FC236}">
                <a16:creationId xmlns:a16="http://schemas.microsoft.com/office/drawing/2014/main" id="{9A60AEE3-D0DC-BDD4-D428-9F45A1D2160D}"/>
              </a:ext>
            </a:extLst>
          </p:cNvPr>
          <p:cNvSpPr txBox="1"/>
          <p:nvPr/>
        </p:nvSpPr>
        <p:spPr>
          <a:xfrm>
            <a:off x="9026133" y="5656716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4" name="object 64">
            <a:extLst>
              <a:ext uri="{FF2B5EF4-FFF2-40B4-BE49-F238E27FC236}">
                <a16:creationId xmlns:a16="http://schemas.microsoft.com/office/drawing/2014/main" id="{22B30473-FE33-B555-E906-8A58ACC7BACD}"/>
              </a:ext>
            </a:extLst>
          </p:cNvPr>
          <p:cNvSpPr txBox="1"/>
          <p:nvPr/>
        </p:nvSpPr>
        <p:spPr>
          <a:xfrm>
            <a:off x="9844979" y="106767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5" name="object 65">
            <a:extLst>
              <a:ext uri="{FF2B5EF4-FFF2-40B4-BE49-F238E27FC236}">
                <a16:creationId xmlns:a16="http://schemas.microsoft.com/office/drawing/2014/main" id="{3E1238DB-A531-9E87-DBEB-8F6006284571}"/>
              </a:ext>
            </a:extLst>
          </p:cNvPr>
          <p:cNvSpPr txBox="1"/>
          <p:nvPr/>
        </p:nvSpPr>
        <p:spPr>
          <a:xfrm>
            <a:off x="9844979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6" name="object 66">
            <a:extLst>
              <a:ext uri="{FF2B5EF4-FFF2-40B4-BE49-F238E27FC236}">
                <a16:creationId xmlns:a16="http://schemas.microsoft.com/office/drawing/2014/main" id="{C2E41D99-E208-1FAC-1EF6-46997350C1C0}"/>
              </a:ext>
            </a:extLst>
          </p:cNvPr>
          <p:cNvSpPr txBox="1"/>
          <p:nvPr/>
        </p:nvSpPr>
        <p:spPr>
          <a:xfrm>
            <a:off x="9849944" y="4140467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7" name="object 67">
            <a:extLst>
              <a:ext uri="{FF2B5EF4-FFF2-40B4-BE49-F238E27FC236}">
                <a16:creationId xmlns:a16="http://schemas.microsoft.com/office/drawing/2014/main" id="{480F3771-7AAD-9A9F-DE4F-6DAEFAAA1F9F}"/>
              </a:ext>
            </a:extLst>
          </p:cNvPr>
          <p:cNvSpPr txBox="1"/>
          <p:nvPr/>
        </p:nvSpPr>
        <p:spPr>
          <a:xfrm>
            <a:off x="9849944" y="490239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8" name="object 68">
            <a:extLst>
              <a:ext uri="{FF2B5EF4-FFF2-40B4-BE49-F238E27FC236}">
                <a16:creationId xmlns:a16="http://schemas.microsoft.com/office/drawing/2014/main" id="{9C387274-2FE6-184E-97E5-E966E1BB0829}"/>
              </a:ext>
            </a:extLst>
          </p:cNvPr>
          <p:cNvSpPr txBox="1"/>
          <p:nvPr/>
        </p:nvSpPr>
        <p:spPr>
          <a:xfrm>
            <a:off x="9844979" y="259517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9" name="object 69">
            <a:extLst>
              <a:ext uri="{FF2B5EF4-FFF2-40B4-BE49-F238E27FC236}">
                <a16:creationId xmlns:a16="http://schemas.microsoft.com/office/drawing/2014/main" id="{F2EAD2FF-6DBA-E717-49A0-6CEEEF7EABDC}"/>
              </a:ext>
            </a:extLst>
          </p:cNvPr>
          <p:cNvSpPr txBox="1"/>
          <p:nvPr/>
        </p:nvSpPr>
        <p:spPr>
          <a:xfrm>
            <a:off x="8203859" y="412858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0" name="object 70">
            <a:extLst>
              <a:ext uri="{FF2B5EF4-FFF2-40B4-BE49-F238E27FC236}">
                <a16:creationId xmlns:a16="http://schemas.microsoft.com/office/drawing/2014/main" id="{44D034AE-B8A4-D9B4-F15D-85DE862C06DD}"/>
              </a:ext>
            </a:extLst>
          </p:cNvPr>
          <p:cNvSpPr txBox="1"/>
          <p:nvPr/>
        </p:nvSpPr>
        <p:spPr>
          <a:xfrm>
            <a:off x="8200659" y="488913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1" name="object 71">
            <a:extLst>
              <a:ext uri="{FF2B5EF4-FFF2-40B4-BE49-F238E27FC236}">
                <a16:creationId xmlns:a16="http://schemas.microsoft.com/office/drawing/2014/main" id="{C4404EEB-D2CA-10E6-D3ED-1D601EE8AD0A}"/>
              </a:ext>
            </a:extLst>
          </p:cNvPr>
          <p:cNvSpPr txBox="1"/>
          <p:nvPr/>
        </p:nvSpPr>
        <p:spPr>
          <a:xfrm>
            <a:off x="5721547" y="565134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2" name="object 72">
            <a:extLst>
              <a:ext uri="{FF2B5EF4-FFF2-40B4-BE49-F238E27FC236}">
                <a16:creationId xmlns:a16="http://schemas.microsoft.com/office/drawing/2014/main" id="{B1E8AB5C-93AF-C7AC-E019-3EF5B6FE4381}"/>
              </a:ext>
            </a:extLst>
          </p:cNvPr>
          <p:cNvSpPr txBox="1"/>
          <p:nvPr/>
        </p:nvSpPr>
        <p:spPr>
          <a:xfrm>
            <a:off x="8196827" y="565134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grpSp>
        <p:nvGrpSpPr>
          <p:cNvPr id="73" name="object 73">
            <a:extLst>
              <a:ext uri="{FF2B5EF4-FFF2-40B4-BE49-F238E27FC236}">
                <a16:creationId xmlns:a16="http://schemas.microsoft.com/office/drawing/2014/main" id="{99AAA6E2-696A-D002-DC9E-444DD7BA7C9A}"/>
              </a:ext>
            </a:extLst>
          </p:cNvPr>
          <p:cNvGrpSpPr/>
          <p:nvPr/>
        </p:nvGrpSpPr>
        <p:grpSpPr>
          <a:xfrm>
            <a:off x="6656402" y="1324846"/>
            <a:ext cx="350032" cy="350023"/>
            <a:chOff x="6656402" y="1324846"/>
            <a:chExt cx="350032" cy="350023"/>
          </a:xfrm>
        </p:grpSpPr>
        <p:pic>
          <p:nvPicPr>
            <p:cNvPr id="74" name="object 74">
              <a:extLst>
                <a:ext uri="{FF2B5EF4-FFF2-40B4-BE49-F238E27FC236}">
                  <a16:creationId xmlns:a16="http://schemas.microsoft.com/office/drawing/2014/main" id="{F50FAC14-13F1-E849-6166-7ADE29953EE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56402" y="1329885"/>
              <a:ext cx="349940" cy="34490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5" name="object 75">
              <a:extLst>
                <a:ext uri="{FF2B5EF4-FFF2-40B4-BE49-F238E27FC236}">
                  <a16:creationId xmlns:a16="http://schemas.microsoft.com/office/drawing/2014/main" id="{7A15C4AE-1512-FD75-6359-C4DBEDCAB522}"/>
                </a:ext>
              </a:extLst>
            </p:cNvPr>
            <p:cNvSpPr/>
            <p:nvPr/>
          </p:nvSpPr>
          <p:spPr>
            <a:xfrm>
              <a:off x="6656411" y="132484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6" name="object 76">
            <a:extLst>
              <a:ext uri="{FF2B5EF4-FFF2-40B4-BE49-F238E27FC236}">
                <a16:creationId xmlns:a16="http://schemas.microsoft.com/office/drawing/2014/main" id="{6A1C016C-1F87-3813-7CF4-6B5648F3EFBA}"/>
              </a:ext>
            </a:extLst>
          </p:cNvPr>
          <p:cNvGrpSpPr/>
          <p:nvPr/>
        </p:nvGrpSpPr>
        <p:grpSpPr>
          <a:xfrm>
            <a:off x="8300027" y="2862657"/>
            <a:ext cx="350023" cy="350023"/>
            <a:chOff x="8300027" y="2862657"/>
            <a:chExt cx="350023" cy="350023"/>
          </a:xfrm>
        </p:grpSpPr>
        <p:pic>
          <p:nvPicPr>
            <p:cNvPr id="77" name="object 77">
              <a:extLst>
                <a:ext uri="{FF2B5EF4-FFF2-40B4-BE49-F238E27FC236}">
                  <a16:creationId xmlns:a16="http://schemas.microsoft.com/office/drawing/2014/main" id="{1F04364B-1ED0-EC94-DA45-78422B530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00027" y="2862657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8" name="object 78">
              <a:extLst>
                <a:ext uri="{FF2B5EF4-FFF2-40B4-BE49-F238E27FC236}">
                  <a16:creationId xmlns:a16="http://schemas.microsoft.com/office/drawing/2014/main" id="{A66691DD-A75C-34E9-91C7-AD7196C9236A}"/>
                </a:ext>
              </a:extLst>
            </p:cNvPr>
            <p:cNvSpPr/>
            <p:nvPr/>
          </p:nvSpPr>
          <p:spPr>
            <a:xfrm>
              <a:off x="8300027" y="286265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9" name="object 79">
            <a:extLst>
              <a:ext uri="{FF2B5EF4-FFF2-40B4-BE49-F238E27FC236}">
                <a16:creationId xmlns:a16="http://schemas.microsoft.com/office/drawing/2014/main" id="{829CB32B-494B-EF5C-C926-D599BD3C9B4E}"/>
              </a:ext>
            </a:extLst>
          </p:cNvPr>
          <p:cNvGrpSpPr/>
          <p:nvPr/>
        </p:nvGrpSpPr>
        <p:grpSpPr>
          <a:xfrm>
            <a:off x="8298024" y="3630680"/>
            <a:ext cx="350023" cy="350023"/>
            <a:chOff x="8298024" y="3630680"/>
            <a:chExt cx="350023" cy="350023"/>
          </a:xfrm>
        </p:grpSpPr>
        <p:pic>
          <p:nvPicPr>
            <p:cNvPr id="80" name="object 80">
              <a:extLst>
                <a:ext uri="{FF2B5EF4-FFF2-40B4-BE49-F238E27FC236}">
                  <a16:creationId xmlns:a16="http://schemas.microsoft.com/office/drawing/2014/main" id="{ED29A556-91E5-16BB-FF5D-E37B3B823B7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98024" y="3630680"/>
              <a:ext cx="34993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1" name="object 81">
              <a:extLst>
                <a:ext uri="{FF2B5EF4-FFF2-40B4-BE49-F238E27FC236}">
                  <a16:creationId xmlns:a16="http://schemas.microsoft.com/office/drawing/2014/main" id="{428D7BE8-5931-0335-B382-F36B122BBCD1}"/>
                </a:ext>
              </a:extLst>
            </p:cNvPr>
            <p:cNvSpPr/>
            <p:nvPr/>
          </p:nvSpPr>
          <p:spPr>
            <a:xfrm>
              <a:off x="8298024" y="363068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2" name="object 82">
            <a:extLst>
              <a:ext uri="{FF2B5EF4-FFF2-40B4-BE49-F238E27FC236}">
                <a16:creationId xmlns:a16="http://schemas.microsoft.com/office/drawing/2014/main" id="{E7BB2A3A-430D-349A-E7E8-53AB8EEA291E}"/>
              </a:ext>
            </a:extLst>
          </p:cNvPr>
          <p:cNvGrpSpPr/>
          <p:nvPr/>
        </p:nvGrpSpPr>
        <p:grpSpPr>
          <a:xfrm>
            <a:off x="8298024" y="4382115"/>
            <a:ext cx="350023" cy="350023"/>
            <a:chOff x="8298024" y="4382115"/>
            <a:chExt cx="350023" cy="350023"/>
          </a:xfrm>
        </p:grpSpPr>
        <p:pic>
          <p:nvPicPr>
            <p:cNvPr id="83" name="object 83">
              <a:extLst>
                <a:ext uri="{FF2B5EF4-FFF2-40B4-BE49-F238E27FC236}">
                  <a16:creationId xmlns:a16="http://schemas.microsoft.com/office/drawing/2014/main" id="{B6BE04CD-F2F1-2515-34F3-4123F656F1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98024" y="4382115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4" name="object 84">
              <a:extLst>
                <a:ext uri="{FF2B5EF4-FFF2-40B4-BE49-F238E27FC236}">
                  <a16:creationId xmlns:a16="http://schemas.microsoft.com/office/drawing/2014/main" id="{74BB1AE4-C8E5-6211-9F7D-E4AC2CB94C90}"/>
                </a:ext>
              </a:extLst>
            </p:cNvPr>
            <p:cNvSpPr/>
            <p:nvPr/>
          </p:nvSpPr>
          <p:spPr>
            <a:xfrm>
              <a:off x="8298024" y="438211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5" name="object 85">
            <a:extLst>
              <a:ext uri="{FF2B5EF4-FFF2-40B4-BE49-F238E27FC236}">
                <a16:creationId xmlns:a16="http://schemas.microsoft.com/office/drawing/2014/main" id="{CB6B6BA0-1464-7BA1-9B43-D1EE39D7C45E}"/>
              </a:ext>
            </a:extLst>
          </p:cNvPr>
          <p:cNvGrpSpPr/>
          <p:nvPr/>
        </p:nvGrpSpPr>
        <p:grpSpPr>
          <a:xfrm>
            <a:off x="8298024" y="5155935"/>
            <a:ext cx="350023" cy="350023"/>
            <a:chOff x="8298024" y="5155935"/>
            <a:chExt cx="350023" cy="350023"/>
          </a:xfrm>
        </p:grpSpPr>
        <p:pic>
          <p:nvPicPr>
            <p:cNvPr id="86" name="object 86">
              <a:extLst>
                <a:ext uri="{FF2B5EF4-FFF2-40B4-BE49-F238E27FC236}">
                  <a16:creationId xmlns:a16="http://schemas.microsoft.com/office/drawing/2014/main" id="{59BEEEBF-ADC8-0E69-CAD0-E6BC94412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98024" y="5155935"/>
              <a:ext cx="349931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7" name="object 87">
              <a:extLst>
                <a:ext uri="{FF2B5EF4-FFF2-40B4-BE49-F238E27FC236}">
                  <a16:creationId xmlns:a16="http://schemas.microsoft.com/office/drawing/2014/main" id="{D52AADA7-E278-5C32-9AAE-EE8B0930FD3E}"/>
                </a:ext>
              </a:extLst>
            </p:cNvPr>
            <p:cNvSpPr/>
            <p:nvPr/>
          </p:nvSpPr>
          <p:spPr>
            <a:xfrm>
              <a:off x="8298024" y="515593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46"/>
                <a:gd name="f6" fmla="val 573305"/>
                <a:gd name="f7" fmla="val 241743"/>
                <a:gd name="f8" fmla="val 562372"/>
                <a:gd name="f9" fmla="val 197344"/>
                <a:gd name="f10" fmla="val 544876"/>
                <a:gd name="f11" fmla="val 155944"/>
                <a:gd name="f12" fmla="val 521411"/>
                <a:gd name="f13" fmla="val 118135"/>
                <a:gd name="f14" fmla="val 492572"/>
                <a:gd name="f15" fmla="val 84514"/>
                <a:gd name="f16" fmla="val 458952"/>
                <a:gd name="f17" fmla="val 55673"/>
                <a:gd name="f18" fmla="val 421146"/>
                <a:gd name="f19" fmla="val 32207"/>
                <a:gd name="f20" fmla="val 379746"/>
                <a:gd name="f21" fmla="val 14710"/>
                <a:gd name="f22" fmla="val 335348"/>
                <a:gd name="f23" fmla="val 3776"/>
                <a:gd name="f24" fmla="val 335349"/>
                <a:gd name="f25" fmla="val 379747"/>
                <a:gd name="f26" fmla="val 421148"/>
                <a:gd name="f27" fmla="val 458956"/>
                <a:gd name="f28" fmla="val 492577"/>
                <a:gd name="f29" fmla="val 521418"/>
                <a:gd name="f30" fmla="val 544884"/>
                <a:gd name="f31" fmla="val 562381"/>
                <a:gd name="f32" fmla="val 573315"/>
                <a:gd name="f33" fmla="val 577092"/>
                <a:gd name="f34" fmla="*/ f0 1 577215"/>
                <a:gd name="f35" fmla="*/ f1 1 577215"/>
                <a:gd name="f36" fmla="+- f3 0 f2"/>
                <a:gd name="f37" fmla="*/ f36 1 577215"/>
                <a:gd name="f38" fmla="*/ f2 1 f37"/>
                <a:gd name="f39" fmla="*/ f3 1 f37"/>
                <a:gd name="f40" fmla="*/ f38 f34 1"/>
                <a:gd name="f41" fmla="*/ f39 f34 1"/>
                <a:gd name="f42" fmla="*/ f39 f35 1"/>
                <a:gd name="f43" fmla="*/ f38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4"/>
                  </a:lnTo>
                  <a:lnTo>
                    <a:pt x="f21" y="f25"/>
                  </a:lnTo>
                  <a:lnTo>
                    <a:pt x="f19" y="f26"/>
                  </a:lnTo>
                  <a:lnTo>
                    <a:pt x="f17" y="f27"/>
                  </a:lnTo>
                  <a:lnTo>
                    <a:pt x="f15" y="f28"/>
                  </a:lnTo>
                  <a:lnTo>
                    <a:pt x="f13" y="f29"/>
                  </a:lnTo>
                  <a:lnTo>
                    <a:pt x="f11" y="f30"/>
                  </a:lnTo>
                  <a:lnTo>
                    <a:pt x="f9" y="f31"/>
                  </a:lnTo>
                  <a:lnTo>
                    <a:pt x="f7" y="f32"/>
                  </a:lnTo>
                  <a:lnTo>
                    <a:pt x="f5" y="f33"/>
                  </a:lnTo>
                  <a:lnTo>
                    <a:pt x="f22" y="f32"/>
                  </a:lnTo>
                  <a:lnTo>
                    <a:pt x="f20" y="f31"/>
                  </a:lnTo>
                  <a:lnTo>
                    <a:pt x="f18" y="f30"/>
                  </a:lnTo>
                  <a:lnTo>
                    <a:pt x="f16" y="f29"/>
                  </a:lnTo>
                  <a:lnTo>
                    <a:pt x="f14" y="f28"/>
                  </a:lnTo>
                  <a:lnTo>
                    <a:pt x="f12" y="f27"/>
                  </a:lnTo>
                  <a:lnTo>
                    <a:pt x="f10" y="f26"/>
                  </a:lnTo>
                  <a:lnTo>
                    <a:pt x="f8" y="f25"/>
                  </a:lnTo>
                  <a:lnTo>
                    <a:pt x="f6" y="f24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8" name="object 88">
            <a:extLst>
              <a:ext uri="{FF2B5EF4-FFF2-40B4-BE49-F238E27FC236}">
                <a16:creationId xmlns:a16="http://schemas.microsoft.com/office/drawing/2014/main" id="{20400A4A-C085-95B0-E893-B762E3DDABE2}"/>
              </a:ext>
            </a:extLst>
          </p:cNvPr>
          <p:cNvGrpSpPr/>
          <p:nvPr/>
        </p:nvGrpSpPr>
        <p:grpSpPr>
          <a:xfrm>
            <a:off x="5010719" y="5911852"/>
            <a:ext cx="350023" cy="350023"/>
            <a:chOff x="5010719" y="5911852"/>
            <a:chExt cx="350023" cy="350023"/>
          </a:xfrm>
        </p:grpSpPr>
        <p:pic>
          <p:nvPicPr>
            <p:cNvPr id="89" name="object 89">
              <a:extLst>
                <a:ext uri="{FF2B5EF4-FFF2-40B4-BE49-F238E27FC236}">
                  <a16:creationId xmlns:a16="http://schemas.microsoft.com/office/drawing/2014/main" id="{98BFE774-F885-949A-65F2-1BD8F54AC6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10719" y="5911852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0" name="object 90">
              <a:extLst>
                <a:ext uri="{FF2B5EF4-FFF2-40B4-BE49-F238E27FC236}">
                  <a16:creationId xmlns:a16="http://schemas.microsoft.com/office/drawing/2014/main" id="{5597D032-7BD8-4B48-5E6D-DB2AAAF01081}"/>
                </a:ext>
              </a:extLst>
            </p:cNvPr>
            <p:cNvSpPr/>
            <p:nvPr/>
          </p:nvSpPr>
          <p:spPr>
            <a:xfrm>
              <a:off x="5010719" y="591185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1" name="object 91">
            <a:extLst>
              <a:ext uri="{FF2B5EF4-FFF2-40B4-BE49-F238E27FC236}">
                <a16:creationId xmlns:a16="http://schemas.microsoft.com/office/drawing/2014/main" id="{AFFEC472-FDC6-2A6B-C569-263392F47390}"/>
              </a:ext>
            </a:extLst>
          </p:cNvPr>
          <p:cNvGrpSpPr/>
          <p:nvPr/>
        </p:nvGrpSpPr>
        <p:grpSpPr>
          <a:xfrm>
            <a:off x="5011241" y="2870063"/>
            <a:ext cx="350023" cy="350023"/>
            <a:chOff x="5011241" y="2870063"/>
            <a:chExt cx="350023" cy="350023"/>
          </a:xfrm>
        </p:grpSpPr>
        <p:pic>
          <p:nvPicPr>
            <p:cNvPr id="92" name="object 92">
              <a:extLst>
                <a:ext uri="{FF2B5EF4-FFF2-40B4-BE49-F238E27FC236}">
                  <a16:creationId xmlns:a16="http://schemas.microsoft.com/office/drawing/2014/main" id="{34FE0DF7-8B80-EBFA-EAA1-EDDC6A19CD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011241" y="287006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3" name="object 93">
              <a:extLst>
                <a:ext uri="{FF2B5EF4-FFF2-40B4-BE49-F238E27FC236}">
                  <a16:creationId xmlns:a16="http://schemas.microsoft.com/office/drawing/2014/main" id="{DCB83F09-ED64-67E6-585D-66ECC1EA40C8}"/>
                </a:ext>
              </a:extLst>
            </p:cNvPr>
            <p:cNvSpPr/>
            <p:nvPr/>
          </p:nvSpPr>
          <p:spPr>
            <a:xfrm>
              <a:off x="5011241" y="287006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4" name="object 94">
            <a:extLst>
              <a:ext uri="{FF2B5EF4-FFF2-40B4-BE49-F238E27FC236}">
                <a16:creationId xmlns:a16="http://schemas.microsoft.com/office/drawing/2014/main" id="{385C9BCE-1C5D-8302-F721-28E5D7CFDEAC}"/>
              </a:ext>
            </a:extLst>
          </p:cNvPr>
          <p:cNvGrpSpPr/>
          <p:nvPr/>
        </p:nvGrpSpPr>
        <p:grpSpPr>
          <a:xfrm>
            <a:off x="5013106" y="2095420"/>
            <a:ext cx="350023" cy="350023"/>
            <a:chOff x="5013106" y="2095420"/>
            <a:chExt cx="350023" cy="350023"/>
          </a:xfrm>
        </p:grpSpPr>
        <p:pic>
          <p:nvPicPr>
            <p:cNvPr id="95" name="object 95">
              <a:extLst>
                <a:ext uri="{FF2B5EF4-FFF2-40B4-BE49-F238E27FC236}">
                  <a16:creationId xmlns:a16="http://schemas.microsoft.com/office/drawing/2014/main" id="{9A144AC5-B846-14FC-FA94-8CCD1A258BD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13106" y="2095420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6" name="object 96">
              <a:extLst>
                <a:ext uri="{FF2B5EF4-FFF2-40B4-BE49-F238E27FC236}">
                  <a16:creationId xmlns:a16="http://schemas.microsoft.com/office/drawing/2014/main" id="{51A24A55-6647-80BF-69F6-90F499F9A46B}"/>
                </a:ext>
              </a:extLst>
            </p:cNvPr>
            <p:cNvSpPr/>
            <p:nvPr/>
          </p:nvSpPr>
          <p:spPr>
            <a:xfrm>
              <a:off x="5013106" y="209542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7" name="object 97">
            <a:extLst>
              <a:ext uri="{FF2B5EF4-FFF2-40B4-BE49-F238E27FC236}">
                <a16:creationId xmlns:a16="http://schemas.microsoft.com/office/drawing/2014/main" id="{0A2289C9-6DF1-9B14-B63B-761700BFA145}"/>
              </a:ext>
            </a:extLst>
          </p:cNvPr>
          <p:cNvGrpSpPr/>
          <p:nvPr/>
        </p:nvGrpSpPr>
        <p:grpSpPr>
          <a:xfrm>
            <a:off x="6654820" y="569250"/>
            <a:ext cx="350023" cy="350023"/>
            <a:chOff x="6654820" y="569250"/>
            <a:chExt cx="350023" cy="350023"/>
          </a:xfrm>
        </p:grpSpPr>
        <p:pic>
          <p:nvPicPr>
            <p:cNvPr id="98" name="object 98">
              <a:extLst>
                <a:ext uri="{FF2B5EF4-FFF2-40B4-BE49-F238E27FC236}">
                  <a16:creationId xmlns:a16="http://schemas.microsoft.com/office/drawing/2014/main" id="{59F828BD-6EFA-415C-0745-F28BAE70302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54820" y="569250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9" name="object 99">
              <a:extLst>
                <a:ext uri="{FF2B5EF4-FFF2-40B4-BE49-F238E27FC236}">
                  <a16:creationId xmlns:a16="http://schemas.microsoft.com/office/drawing/2014/main" id="{8405C4C1-AC3E-4B44-C1BA-02E6905759FA}"/>
                </a:ext>
              </a:extLst>
            </p:cNvPr>
            <p:cNvSpPr/>
            <p:nvPr/>
          </p:nvSpPr>
          <p:spPr>
            <a:xfrm>
              <a:off x="6654820" y="688918"/>
              <a:ext cx="33887" cy="158648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5879"/>
                <a:gd name="f4" fmla="val 261619"/>
                <a:gd name="f5" fmla="val 14710"/>
                <a:gd name="f6" fmla="val 3776"/>
                <a:gd name="f7" fmla="val 44395"/>
                <a:gd name="f8" fmla="val 91198"/>
                <a:gd name="f9" fmla="val 138001"/>
                <a:gd name="f10" fmla="val 182399"/>
                <a:gd name="f11" fmla="val 32207"/>
                <a:gd name="f12" fmla="val 223800"/>
                <a:gd name="f13" fmla="val 55673"/>
                <a:gd name="f14" fmla="val 261608"/>
                <a:gd name="f15" fmla="*/ f0 1 55879"/>
                <a:gd name="f16" fmla="*/ f1 1 261619"/>
                <a:gd name="f17" fmla="+- f4 0 f2"/>
                <a:gd name="f18" fmla="+- f3 0 f2"/>
                <a:gd name="f19" fmla="*/ f18 1 55879"/>
                <a:gd name="f20" fmla="*/ f17 1 261619"/>
                <a:gd name="f21" fmla="*/ f2 1 f19"/>
                <a:gd name="f22" fmla="*/ f3 1 f19"/>
                <a:gd name="f23" fmla="*/ f2 1 f20"/>
                <a:gd name="f24" fmla="*/ f4 1 f20"/>
                <a:gd name="f25" fmla="*/ f21 f15 1"/>
                <a:gd name="f26" fmla="*/ f22 f15 1"/>
                <a:gd name="f27" fmla="*/ f24 f16 1"/>
                <a:gd name="f28" fmla="*/ f23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5" t="f28" r="f26" b="f27"/>
              <a:pathLst>
                <a:path w="55879" h="261619">
                  <a:moveTo>
                    <a:pt x="f5" y="f2"/>
                  </a:moveTo>
                  <a:lnTo>
                    <a:pt x="f6" y="f7"/>
                  </a:lnTo>
                  <a:lnTo>
                    <a:pt x="f2" y="f8"/>
                  </a:lnTo>
                  <a:lnTo>
                    <a:pt x="f6" y="f9"/>
                  </a:lnTo>
                  <a:lnTo>
                    <a:pt x="f5" y="f10"/>
                  </a:lnTo>
                  <a:lnTo>
                    <a:pt x="f11" y="f12"/>
                  </a:lnTo>
                  <a:lnTo>
                    <a:pt x="f13" y="f1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" name="object 100">
              <a:extLst>
                <a:ext uri="{FF2B5EF4-FFF2-40B4-BE49-F238E27FC236}">
                  <a16:creationId xmlns:a16="http://schemas.microsoft.com/office/drawing/2014/main" id="{45B2CF78-9574-258C-4EDF-49FB269B73B5}"/>
                </a:ext>
              </a:extLst>
            </p:cNvPr>
            <p:cNvSpPr/>
            <p:nvPr/>
          </p:nvSpPr>
          <p:spPr>
            <a:xfrm>
              <a:off x="6654820" y="5692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01" name="object 101">
            <a:extLst>
              <a:ext uri="{FF2B5EF4-FFF2-40B4-BE49-F238E27FC236}">
                <a16:creationId xmlns:a16="http://schemas.microsoft.com/office/drawing/2014/main" id="{45FC3833-2FD7-BB89-0BF7-509C63A99D29}"/>
              </a:ext>
            </a:extLst>
          </p:cNvPr>
          <p:cNvGrpSpPr/>
          <p:nvPr/>
        </p:nvGrpSpPr>
        <p:grpSpPr>
          <a:xfrm>
            <a:off x="7471809" y="1323420"/>
            <a:ext cx="350023" cy="350023"/>
            <a:chOff x="7471809" y="1323420"/>
            <a:chExt cx="350023" cy="350023"/>
          </a:xfrm>
        </p:grpSpPr>
        <p:pic>
          <p:nvPicPr>
            <p:cNvPr id="102" name="object 102">
              <a:extLst>
                <a:ext uri="{FF2B5EF4-FFF2-40B4-BE49-F238E27FC236}">
                  <a16:creationId xmlns:a16="http://schemas.microsoft.com/office/drawing/2014/main" id="{100B4496-33D2-1A34-D9B8-F7C7AAF649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471809" y="1323420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3" name="object 103">
              <a:extLst>
                <a:ext uri="{FF2B5EF4-FFF2-40B4-BE49-F238E27FC236}">
                  <a16:creationId xmlns:a16="http://schemas.microsoft.com/office/drawing/2014/main" id="{624286C2-8E87-58FB-24B0-C8F7292E68D5}"/>
                </a:ext>
              </a:extLst>
            </p:cNvPr>
            <p:cNvSpPr/>
            <p:nvPr/>
          </p:nvSpPr>
          <p:spPr>
            <a:xfrm>
              <a:off x="7471809" y="132342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04" name="object 104">
            <a:extLst>
              <a:ext uri="{FF2B5EF4-FFF2-40B4-BE49-F238E27FC236}">
                <a16:creationId xmlns:a16="http://schemas.microsoft.com/office/drawing/2014/main" id="{44B61B1A-572C-E505-F2AC-421B3812DBAB}"/>
              </a:ext>
            </a:extLst>
          </p:cNvPr>
          <p:cNvGrpSpPr/>
          <p:nvPr/>
        </p:nvGrpSpPr>
        <p:grpSpPr>
          <a:xfrm>
            <a:off x="5012411" y="1085502"/>
            <a:ext cx="350371" cy="123517"/>
            <a:chOff x="5012411" y="1085502"/>
            <a:chExt cx="350371" cy="123517"/>
          </a:xfrm>
        </p:grpSpPr>
        <p:sp>
          <p:nvSpPr>
            <p:cNvPr id="105" name="object 105">
              <a:extLst>
                <a:ext uri="{FF2B5EF4-FFF2-40B4-BE49-F238E27FC236}">
                  <a16:creationId xmlns:a16="http://schemas.microsoft.com/office/drawing/2014/main" id="{15836AB6-7690-F974-3866-F00C83810DCE}"/>
                </a:ext>
              </a:extLst>
            </p:cNvPr>
            <p:cNvSpPr/>
            <p:nvPr/>
          </p:nvSpPr>
          <p:spPr>
            <a:xfrm>
              <a:off x="529265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" name="object 106">
              <a:extLst>
                <a:ext uri="{FF2B5EF4-FFF2-40B4-BE49-F238E27FC236}">
                  <a16:creationId xmlns:a16="http://schemas.microsoft.com/office/drawing/2014/main" id="{4976E54A-8C80-B689-623F-E6E0E9876C83}"/>
                </a:ext>
              </a:extLst>
            </p:cNvPr>
            <p:cNvSpPr/>
            <p:nvPr/>
          </p:nvSpPr>
          <p:spPr>
            <a:xfrm>
              <a:off x="532767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" name="object 107">
              <a:extLst>
                <a:ext uri="{FF2B5EF4-FFF2-40B4-BE49-F238E27FC236}">
                  <a16:creationId xmlns:a16="http://schemas.microsoft.com/office/drawing/2014/main" id="{5C5E8A22-06A4-5BA2-954F-A39A7E8AF229}"/>
                </a:ext>
              </a:extLst>
            </p:cNvPr>
            <p:cNvSpPr/>
            <p:nvPr/>
          </p:nvSpPr>
          <p:spPr>
            <a:xfrm>
              <a:off x="522261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" name="object 108">
              <a:extLst>
                <a:ext uri="{FF2B5EF4-FFF2-40B4-BE49-F238E27FC236}">
                  <a16:creationId xmlns:a16="http://schemas.microsoft.com/office/drawing/2014/main" id="{12E7DC2D-DBDA-78C7-E4B7-E32923472FA0}"/>
                </a:ext>
              </a:extLst>
            </p:cNvPr>
            <p:cNvSpPr/>
            <p:nvPr/>
          </p:nvSpPr>
          <p:spPr>
            <a:xfrm>
              <a:off x="511754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" name="object 109">
              <a:extLst>
                <a:ext uri="{FF2B5EF4-FFF2-40B4-BE49-F238E27FC236}">
                  <a16:creationId xmlns:a16="http://schemas.microsoft.com/office/drawing/2014/main" id="{BF645CC3-53A1-E906-61B6-5AE2CF47EB68}"/>
                </a:ext>
              </a:extLst>
            </p:cNvPr>
            <p:cNvSpPr/>
            <p:nvPr/>
          </p:nvSpPr>
          <p:spPr>
            <a:xfrm>
              <a:off x="5152634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" name="object 110">
              <a:extLst>
                <a:ext uri="{FF2B5EF4-FFF2-40B4-BE49-F238E27FC236}">
                  <a16:creationId xmlns:a16="http://schemas.microsoft.com/office/drawing/2014/main" id="{9E01B352-CAB2-083F-2909-F1D7F31B9E5E}"/>
                </a:ext>
              </a:extLst>
            </p:cNvPr>
            <p:cNvSpPr/>
            <p:nvPr/>
          </p:nvSpPr>
          <p:spPr>
            <a:xfrm>
              <a:off x="504750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" name="object 111">
              <a:extLst>
                <a:ext uri="{FF2B5EF4-FFF2-40B4-BE49-F238E27FC236}">
                  <a16:creationId xmlns:a16="http://schemas.microsoft.com/office/drawing/2014/main" id="{A21D37DC-82A3-02CA-FBF5-694F49378349}"/>
                </a:ext>
              </a:extLst>
            </p:cNvPr>
            <p:cNvSpPr/>
            <p:nvPr/>
          </p:nvSpPr>
          <p:spPr>
            <a:xfrm>
              <a:off x="525763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" name="object 112">
              <a:extLst>
                <a:ext uri="{FF2B5EF4-FFF2-40B4-BE49-F238E27FC236}">
                  <a16:creationId xmlns:a16="http://schemas.microsoft.com/office/drawing/2014/main" id="{BA914E99-0C9E-6858-4FC4-609BBA2F5735}"/>
                </a:ext>
              </a:extLst>
            </p:cNvPr>
            <p:cNvSpPr/>
            <p:nvPr/>
          </p:nvSpPr>
          <p:spPr>
            <a:xfrm>
              <a:off x="508252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" name="object 113">
              <a:extLst>
                <a:ext uri="{FF2B5EF4-FFF2-40B4-BE49-F238E27FC236}">
                  <a16:creationId xmlns:a16="http://schemas.microsoft.com/office/drawing/2014/main" id="{89F11FAC-929F-3D45-FD13-26340B3D999D}"/>
                </a:ext>
              </a:extLst>
            </p:cNvPr>
            <p:cNvSpPr/>
            <p:nvPr/>
          </p:nvSpPr>
          <p:spPr>
            <a:xfrm>
              <a:off x="536269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" name="object 114">
              <a:extLst>
                <a:ext uri="{FF2B5EF4-FFF2-40B4-BE49-F238E27FC236}">
                  <a16:creationId xmlns:a16="http://schemas.microsoft.com/office/drawing/2014/main" id="{2667D79E-3191-156A-2223-D0F162BAB144}"/>
                </a:ext>
              </a:extLst>
            </p:cNvPr>
            <p:cNvSpPr/>
            <p:nvPr/>
          </p:nvSpPr>
          <p:spPr>
            <a:xfrm>
              <a:off x="518772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" name="object 115">
              <a:extLst>
                <a:ext uri="{FF2B5EF4-FFF2-40B4-BE49-F238E27FC236}">
                  <a16:creationId xmlns:a16="http://schemas.microsoft.com/office/drawing/2014/main" id="{2EACF6E4-C424-3FBA-1A5D-AC7908FFBEB4}"/>
                </a:ext>
              </a:extLst>
            </p:cNvPr>
            <p:cNvSpPr/>
            <p:nvPr/>
          </p:nvSpPr>
          <p:spPr>
            <a:xfrm>
              <a:off x="501275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" name="object 116">
              <a:extLst>
                <a:ext uri="{FF2B5EF4-FFF2-40B4-BE49-F238E27FC236}">
                  <a16:creationId xmlns:a16="http://schemas.microsoft.com/office/drawing/2014/main" id="{41B6FD72-9514-DF00-78D5-40901DB50ACD}"/>
                </a:ext>
              </a:extLst>
            </p:cNvPr>
            <p:cNvSpPr/>
            <p:nvPr/>
          </p:nvSpPr>
          <p:spPr>
            <a:xfrm>
              <a:off x="5012759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" name="object 117">
              <a:extLst>
                <a:ext uri="{FF2B5EF4-FFF2-40B4-BE49-F238E27FC236}">
                  <a16:creationId xmlns:a16="http://schemas.microsoft.com/office/drawing/2014/main" id="{5D2F5CB7-1DD7-EF76-AF75-C23F84397259}"/>
                </a:ext>
              </a:extLst>
            </p:cNvPr>
            <p:cNvSpPr/>
            <p:nvPr/>
          </p:nvSpPr>
          <p:spPr>
            <a:xfrm>
              <a:off x="5012877" y="1085502"/>
              <a:ext cx="3157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2070"/>
                <a:gd name="f4" fmla="val 84455"/>
                <a:gd name="f5" fmla="val 51757"/>
                <a:gd name="f6" fmla="val 84123"/>
                <a:gd name="f7" fmla="*/ f0 1 52070"/>
                <a:gd name="f8" fmla="*/ f1 1 84455"/>
                <a:gd name="f9" fmla="+- f4 0 f2"/>
                <a:gd name="f10" fmla="+- f3 0 f2"/>
                <a:gd name="f11" fmla="*/ f10 1 5207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207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" name="object 118">
              <a:extLst>
                <a:ext uri="{FF2B5EF4-FFF2-40B4-BE49-F238E27FC236}">
                  <a16:creationId xmlns:a16="http://schemas.microsoft.com/office/drawing/2014/main" id="{9104CF07-1515-8D13-4B92-7BFF40B895DD}"/>
                </a:ext>
              </a:extLst>
            </p:cNvPr>
            <p:cNvSpPr/>
            <p:nvPr/>
          </p:nvSpPr>
          <p:spPr>
            <a:xfrm>
              <a:off x="5012877" y="1157804"/>
              <a:ext cx="11975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7484"/>
                <a:gd name="f4" fmla="val 84455"/>
                <a:gd name="f5" fmla="val 197459"/>
                <a:gd name="f6" fmla="val 84112"/>
                <a:gd name="f7" fmla="*/ f0 1 197484"/>
                <a:gd name="f8" fmla="*/ f1 1 84455"/>
                <a:gd name="f9" fmla="+- f4 0 f2"/>
                <a:gd name="f10" fmla="+- f3 0 f2"/>
                <a:gd name="f11" fmla="*/ f10 1 19748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748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" name="object 119">
              <a:extLst>
                <a:ext uri="{FF2B5EF4-FFF2-40B4-BE49-F238E27FC236}">
                  <a16:creationId xmlns:a16="http://schemas.microsoft.com/office/drawing/2014/main" id="{A555CB51-1A84-CB21-F748-294467F493B2}"/>
                </a:ext>
              </a:extLst>
            </p:cNvPr>
            <p:cNvSpPr/>
            <p:nvPr/>
          </p:nvSpPr>
          <p:spPr>
            <a:xfrm>
              <a:off x="529230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" name="object 120">
              <a:extLst>
                <a:ext uri="{FF2B5EF4-FFF2-40B4-BE49-F238E27FC236}">
                  <a16:creationId xmlns:a16="http://schemas.microsoft.com/office/drawing/2014/main" id="{A96BE8A8-277D-3B3E-A632-2CDBE50B534C}"/>
                </a:ext>
              </a:extLst>
            </p:cNvPr>
            <p:cNvSpPr/>
            <p:nvPr/>
          </p:nvSpPr>
          <p:spPr>
            <a:xfrm>
              <a:off x="532733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" name="object 121">
              <a:extLst>
                <a:ext uri="{FF2B5EF4-FFF2-40B4-BE49-F238E27FC236}">
                  <a16:creationId xmlns:a16="http://schemas.microsoft.com/office/drawing/2014/main" id="{E2242EC0-A56D-B59C-83A5-07316DAE8E54}"/>
                </a:ext>
              </a:extLst>
            </p:cNvPr>
            <p:cNvSpPr/>
            <p:nvPr/>
          </p:nvSpPr>
          <p:spPr>
            <a:xfrm>
              <a:off x="522226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" name="object 122">
              <a:extLst>
                <a:ext uri="{FF2B5EF4-FFF2-40B4-BE49-F238E27FC236}">
                  <a16:creationId xmlns:a16="http://schemas.microsoft.com/office/drawing/2014/main" id="{AEC2F170-4F4C-F3DD-B647-1314D4419EEC}"/>
                </a:ext>
              </a:extLst>
            </p:cNvPr>
            <p:cNvSpPr/>
            <p:nvPr/>
          </p:nvSpPr>
          <p:spPr>
            <a:xfrm>
              <a:off x="511720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" name="object 123">
              <a:extLst>
                <a:ext uri="{FF2B5EF4-FFF2-40B4-BE49-F238E27FC236}">
                  <a16:creationId xmlns:a16="http://schemas.microsoft.com/office/drawing/2014/main" id="{E9971894-5C57-ADC6-4732-C98E46171DEE}"/>
                </a:ext>
              </a:extLst>
            </p:cNvPr>
            <p:cNvSpPr/>
            <p:nvPr/>
          </p:nvSpPr>
          <p:spPr>
            <a:xfrm>
              <a:off x="515229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" name="object 124">
              <a:extLst>
                <a:ext uri="{FF2B5EF4-FFF2-40B4-BE49-F238E27FC236}">
                  <a16:creationId xmlns:a16="http://schemas.microsoft.com/office/drawing/2014/main" id="{CD288F55-3EA3-F2A6-383D-523A73E6FA49}"/>
                </a:ext>
              </a:extLst>
            </p:cNvPr>
            <p:cNvSpPr/>
            <p:nvPr/>
          </p:nvSpPr>
          <p:spPr>
            <a:xfrm>
              <a:off x="504715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" name="object 125">
              <a:extLst>
                <a:ext uri="{FF2B5EF4-FFF2-40B4-BE49-F238E27FC236}">
                  <a16:creationId xmlns:a16="http://schemas.microsoft.com/office/drawing/2014/main" id="{976EADC4-22A9-2065-7E92-06B4B662FCEE}"/>
                </a:ext>
              </a:extLst>
            </p:cNvPr>
            <p:cNvSpPr/>
            <p:nvPr/>
          </p:nvSpPr>
          <p:spPr>
            <a:xfrm>
              <a:off x="525728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" name="object 126">
              <a:extLst>
                <a:ext uri="{FF2B5EF4-FFF2-40B4-BE49-F238E27FC236}">
                  <a16:creationId xmlns:a16="http://schemas.microsoft.com/office/drawing/2014/main" id="{629B9E58-103D-692A-8C88-1CB052F334BF}"/>
                </a:ext>
              </a:extLst>
            </p:cNvPr>
            <p:cNvSpPr/>
            <p:nvPr/>
          </p:nvSpPr>
          <p:spPr>
            <a:xfrm>
              <a:off x="508218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" name="object 127">
              <a:extLst>
                <a:ext uri="{FF2B5EF4-FFF2-40B4-BE49-F238E27FC236}">
                  <a16:creationId xmlns:a16="http://schemas.microsoft.com/office/drawing/2014/main" id="{BC41E1C7-5F1C-20B7-209C-242CD8480E39}"/>
                </a:ext>
              </a:extLst>
            </p:cNvPr>
            <p:cNvSpPr/>
            <p:nvPr/>
          </p:nvSpPr>
          <p:spPr>
            <a:xfrm>
              <a:off x="5362352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" name="object 128">
              <a:extLst>
                <a:ext uri="{FF2B5EF4-FFF2-40B4-BE49-F238E27FC236}">
                  <a16:creationId xmlns:a16="http://schemas.microsoft.com/office/drawing/2014/main" id="{D7AC9890-1085-D050-92C8-496D0343AE11}"/>
                </a:ext>
              </a:extLst>
            </p:cNvPr>
            <p:cNvSpPr/>
            <p:nvPr/>
          </p:nvSpPr>
          <p:spPr>
            <a:xfrm>
              <a:off x="5187382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" name="object 129">
              <a:extLst>
                <a:ext uri="{FF2B5EF4-FFF2-40B4-BE49-F238E27FC236}">
                  <a16:creationId xmlns:a16="http://schemas.microsoft.com/office/drawing/2014/main" id="{C1A16525-9C0C-91AF-EA60-239763D16530}"/>
                </a:ext>
              </a:extLst>
            </p:cNvPr>
            <p:cNvSpPr/>
            <p:nvPr/>
          </p:nvSpPr>
          <p:spPr>
            <a:xfrm>
              <a:off x="501241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" name="object 130">
              <a:extLst>
                <a:ext uri="{FF2B5EF4-FFF2-40B4-BE49-F238E27FC236}">
                  <a16:creationId xmlns:a16="http://schemas.microsoft.com/office/drawing/2014/main" id="{A2187076-DD12-9513-0D69-B8CE4554977D}"/>
                </a:ext>
              </a:extLst>
            </p:cNvPr>
            <p:cNvSpPr/>
            <p:nvPr/>
          </p:nvSpPr>
          <p:spPr>
            <a:xfrm>
              <a:off x="5187382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" name="object 131">
              <a:extLst>
                <a:ext uri="{FF2B5EF4-FFF2-40B4-BE49-F238E27FC236}">
                  <a16:creationId xmlns:a16="http://schemas.microsoft.com/office/drawing/2014/main" id="{1C8149FE-05E0-9C0A-F22A-AF4BEA72C04D}"/>
                </a:ext>
              </a:extLst>
            </p:cNvPr>
            <p:cNvSpPr/>
            <p:nvPr/>
          </p:nvSpPr>
          <p:spPr>
            <a:xfrm>
              <a:off x="5012411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32" name="object 132">
            <a:extLst>
              <a:ext uri="{FF2B5EF4-FFF2-40B4-BE49-F238E27FC236}">
                <a16:creationId xmlns:a16="http://schemas.microsoft.com/office/drawing/2014/main" id="{271EDE38-1FD3-BCB4-D36E-A804F4A907B0}"/>
              </a:ext>
            </a:extLst>
          </p:cNvPr>
          <p:cNvGrpSpPr/>
          <p:nvPr/>
        </p:nvGrpSpPr>
        <p:grpSpPr>
          <a:xfrm>
            <a:off x="4190000" y="6432163"/>
            <a:ext cx="350023" cy="124239"/>
            <a:chOff x="4190000" y="6432163"/>
            <a:chExt cx="350023" cy="124239"/>
          </a:xfrm>
        </p:grpSpPr>
        <p:sp>
          <p:nvSpPr>
            <p:cNvPr id="133" name="object 133">
              <a:extLst>
                <a:ext uri="{FF2B5EF4-FFF2-40B4-BE49-F238E27FC236}">
                  <a16:creationId xmlns:a16="http://schemas.microsoft.com/office/drawing/2014/main" id="{2B465899-B7F0-CD90-BC37-0C584C119DBF}"/>
                </a:ext>
              </a:extLst>
            </p:cNvPr>
            <p:cNvSpPr/>
            <p:nvPr/>
          </p:nvSpPr>
          <p:spPr>
            <a:xfrm>
              <a:off x="4190000" y="6432173"/>
              <a:ext cx="1890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1784"/>
                <a:gd name="f4" fmla="val 84454"/>
                <a:gd name="f5" fmla="val 311215"/>
                <a:gd name="f6" fmla="val 84112"/>
                <a:gd name="f7" fmla="*/ f0 1 311784"/>
                <a:gd name="f8" fmla="*/ f1 1 84454"/>
                <a:gd name="f9" fmla="+- f4 0 f2"/>
                <a:gd name="f10" fmla="+- f3 0 f2"/>
                <a:gd name="f11" fmla="*/ f10 1 31178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178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" name="object 134">
              <a:extLst>
                <a:ext uri="{FF2B5EF4-FFF2-40B4-BE49-F238E27FC236}">
                  <a16:creationId xmlns:a16="http://schemas.microsoft.com/office/drawing/2014/main" id="{8E136550-D693-414B-2C2C-B1BAFA58B3E7}"/>
                </a:ext>
              </a:extLst>
            </p:cNvPr>
            <p:cNvSpPr/>
            <p:nvPr/>
          </p:nvSpPr>
          <p:spPr>
            <a:xfrm>
              <a:off x="4399864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" name="object 135">
              <a:extLst>
                <a:ext uri="{FF2B5EF4-FFF2-40B4-BE49-F238E27FC236}">
                  <a16:creationId xmlns:a16="http://schemas.microsoft.com/office/drawing/2014/main" id="{8B9349D5-0108-F5F3-539D-7936B0072C61}"/>
                </a:ext>
              </a:extLst>
            </p:cNvPr>
            <p:cNvSpPr/>
            <p:nvPr/>
          </p:nvSpPr>
          <p:spPr>
            <a:xfrm>
              <a:off x="4294790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" name="object 136">
              <a:extLst>
                <a:ext uri="{FF2B5EF4-FFF2-40B4-BE49-F238E27FC236}">
                  <a16:creationId xmlns:a16="http://schemas.microsoft.com/office/drawing/2014/main" id="{6E2E1BCA-223C-C40A-9CED-3E46715C6B74}"/>
                </a:ext>
              </a:extLst>
            </p:cNvPr>
            <p:cNvSpPr/>
            <p:nvPr/>
          </p:nvSpPr>
          <p:spPr>
            <a:xfrm>
              <a:off x="4329885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" name="object 137">
              <a:extLst>
                <a:ext uri="{FF2B5EF4-FFF2-40B4-BE49-F238E27FC236}">
                  <a16:creationId xmlns:a16="http://schemas.microsoft.com/office/drawing/2014/main" id="{D7CC9AE4-7E7D-7ED2-0CD3-44A321B48351}"/>
                </a:ext>
              </a:extLst>
            </p:cNvPr>
            <p:cNvSpPr/>
            <p:nvPr/>
          </p:nvSpPr>
          <p:spPr>
            <a:xfrm>
              <a:off x="4224747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" name="object 138">
              <a:extLst>
                <a:ext uri="{FF2B5EF4-FFF2-40B4-BE49-F238E27FC236}">
                  <a16:creationId xmlns:a16="http://schemas.microsoft.com/office/drawing/2014/main" id="{4959166B-1BB4-FA6A-4278-22985D2B2C54}"/>
                </a:ext>
              </a:extLst>
            </p:cNvPr>
            <p:cNvSpPr/>
            <p:nvPr/>
          </p:nvSpPr>
          <p:spPr>
            <a:xfrm>
              <a:off x="4259768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" name="object 139">
              <a:extLst>
                <a:ext uri="{FF2B5EF4-FFF2-40B4-BE49-F238E27FC236}">
                  <a16:creationId xmlns:a16="http://schemas.microsoft.com/office/drawing/2014/main" id="{D0C454F7-EB0F-71D3-B23C-18B30DCB2993}"/>
                </a:ext>
              </a:extLst>
            </p:cNvPr>
            <p:cNvSpPr/>
            <p:nvPr/>
          </p:nvSpPr>
          <p:spPr>
            <a:xfrm>
              <a:off x="4364979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" name="object 140">
              <a:extLst>
                <a:ext uri="{FF2B5EF4-FFF2-40B4-BE49-F238E27FC236}">
                  <a16:creationId xmlns:a16="http://schemas.microsoft.com/office/drawing/2014/main" id="{E78E7A5D-853F-3969-ACE8-AC5FEF735D3A}"/>
                </a:ext>
              </a:extLst>
            </p:cNvPr>
            <p:cNvSpPr/>
            <p:nvPr/>
          </p:nvSpPr>
          <p:spPr>
            <a:xfrm>
              <a:off x="4190000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" name="object 141">
              <a:extLst>
                <a:ext uri="{FF2B5EF4-FFF2-40B4-BE49-F238E27FC236}">
                  <a16:creationId xmlns:a16="http://schemas.microsoft.com/office/drawing/2014/main" id="{70007AD1-3041-9CE3-4D2E-17623A7CD0E3}"/>
                </a:ext>
              </a:extLst>
            </p:cNvPr>
            <p:cNvSpPr/>
            <p:nvPr/>
          </p:nvSpPr>
          <p:spPr>
            <a:xfrm>
              <a:off x="4364979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" name="object 142">
              <a:extLst>
                <a:ext uri="{FF2B5EF4-FFF2-40B4-BE49-F238E27FC236}">
                  <a16:creationId xmlns:a16="http://schemas.microsoft.com/office/drawing/2014/main" id="{A729D764-8CE9-9896-5DFC-6421137521E5}"/>
                </a:ext>
              </a:extLst>
            </p:cNvPr>
            <p:cNvSpPr/>
            <p:nvPr/>
          </p:nvSpPr>
          <p:spPr>
            <a:xfrm>
              <a:off x="4469907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" name="object 143">
              <a:extLst>
                <a:ext uri="{FF2B5EF4-FFF2-40B4-BE49-F238E27FC236}">
                  <a16:creationId xmlns:a16="http://schemas.microsoft.com/office/drawing/2014/main" id="{51F3D4A9-FAEF-9B3C-7E5F-3E90F823586B}"/>
                </a:ext>
              </a:extLst>
            </p:cNvPr>
            <p:cNvSpPr/>
            <p:nvPr/>
          </p:nvSpPr>
          <p:spPr>
            <a:xfrm>
              <a:off x="4504928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" name="object 144">
              <a:extLst>
                <a:ext uri="{FF2B5EF4-FFF2-40B4-BE49-F238E27FC236}">
                  <a16:creationId xmlns:a16="http://schemas.microsoft.com/office/drawing/2014/main" id="{76C834C2-D662-3110-9D8C-4B33609026A1}"/>
                </a:ext>
              </a:extLst>
            </p:cNvPr>
            <p:cNvSpPr/>
            <p:nvPr/>
          </p:nvSpPr>
          <p:spPr>
            <a:xfrm>
              <a:off x="4434885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" name="object 145">
              <a:extLst>
                <a:ext uri="{FF2B5EF4-FFF2-40B4-BE49-F238E27FC236}">
                  <a16:creationId xmlns:a16="http://schemas.microsoft.com/office/drawing/2014/main" id="{ED4D9EE6-C1FE-4B8F-2532-62F08F3FE9D5}"/>
                </a:ext>
              </a:extLst>
            </p:cNvPr>
            <p:cNvSpPr/>
            <p:nvPr/>
          </p:nvSpPr>
          <p:spPr>
            <a:xfrm>
              <a:off x="4539950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" name="object 146">
              <a:extLst>
                <a:ext uri="{FF2B5EF4-FFF2-40B4-BE49-F238E27FC236}">
                  <a16:creationId xmlns:a16="http://schemas.microsoft.com/office/drawing/2014/main" id="{E368B942-70BF-62AE-A540-CC067A767105}"/>
                </a:ext>
              </a:extLst>
            </p:cNvPr>
            <p:cNvSpPr/>
            <p:nvPr/>
          </p:nvSpPr>
          <p:spPr>
            <a:xfrm>
              <a:off x="4190000" y="645767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" name="object 147">
              <a:extLst>
                <a:ext uri="{FF2B5EF4-FFF2-40B4-BE49-F238E27FC236}">
                  <a16:creationId xmlns:a16="http://schemas.microsoft.com/office/drawing/2014/main" id="{CB400260-7B62-765B-3B2D-D2C0C6A4436B}"/>
                </a:ext>
              </a:extLst>
            </p:cNvPr>
            <p:cNvSpPr/>
            <p:nvPr/>
          </p:nvSpPr>
          <p:spPr>
            <a:xfrm>
              <a:off x="4539950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" name="object 148">
              <a:extLst>
                <a:ext uri="{FF2B5EF4-FFF2-40B4-BE49-F238E27FC236}">
                  <a16:creationId xmlns:a16="http://schemas.microsoft.com/office/drawing/2014/main" id="{26FC90E7-2E5F-5000-208E-7FFF99E5442D}"/>
                </a:ext>
              </a:extLst>
            </p:cNvPr>
            <p:cNvSpPr/>
            <p:nvPr/>
          </p:nvSpPr>
          <p:spPr>
            <a:xfrm>
              <a:off x="4364979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" name="object 149">
              <a:extLst>
                <a:ext uri="{FF2B5EF4-FFF2-40B4-BE49-F238E27FC236}">
                  <a16:creationId xmlns:a16="http://schemas.microsoft.com/office/drawing/2014/main" id="{6C0FDAA1-57A1-4336-3470-CEDBB937AF52}"/>
                </a:ext>
              </a:extLst>
            </p:cNvPr>
            <p:cNvSpPr/>
            <p:nvPr/>
          </p:nvSpPr>
          <p:spPr>
            <a:xfrm>
              <a:off x="4190000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" name="object 150">
              <a:extLst>
                <a:ext uri="{FF2B5EF4-FFF2-40B4-BE49-F238E27FC236}">
                  <a16:creationId xmlns:a16="http://schemas.microsoft.com/office/drawing/2014/main" id="{F774BB92-5EDD-8AB5-1440-AE150E05ECDE}"/>
                </a:ext>
              </a:extLst>
            </p:cNvPr>
            <p:cNvSpPr/>
            <p:nvPr/>
          </p:nvSpPr>
          <p:spPr>
            <a:xfrm>
              <a:off x="4364979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" name="object 151">
              <a:extLst>
                <a:ext uri="{FF2B5EF4-FFF2-40B4-BE49-F238E27FC236}">
                  <a16:creationId xmlns:a16="http://schemas.microsoft.com/office/drawing/2014/main" id="{A5AEF4D5-C749-476E-9AD4-3842C4DA10BD}"/>
                </a:ext>
              </a:extLst>
            </p:cNvPr>
            <p:cNvSpPr/>
            <p:nvPr/>
          </p:nvSpPr>
          <p:spPr>
            <a:xfrm>
              <a:off x="4469907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" name="object 152">
              <a:extLst>
                <a:ext uri="{FF2B5EF4-FFF2-40B4-BE49-F238E27FC236}">
                  <a16:creationId xmlns:a16="http://schemas.microsoft.com/office/drawing/2014/main" id="{32682CEE-3404-A59C-3649-92FD6EB25218}"/>
                </a:ext>
              </a:extLst>
            </p:cNvPr>
            <p:cNvSpPr/>
            <p:nvPr/>
          </p:nvSpPr>
          <p:spPr>
            <a:xfrm>
              <a:off x="4504928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" name="object 153">
              <a:extLst>
                <a:ext uri="{FF2B5EF4-FFF2-40B4-BE49-F238E27FC236}">
                  <a16:creationId xmlns:a16="http://schemas.microsoft.com/office/drawing/2014/main" id="{6FD5C266-274F-ABCE-7452-12E480C387C5}"/>
                </a:ext>
              </a:extLst>
            </p:cNvPr>
            <p:cNvSpPr/>
            <p:nvPr/>
          </p:nvSpPr>
          <p:spPr>
            <a:xfrm>
              <a:off x="4399864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" name="object 154">
              <a:extLst>
                <a:ext uri="{FF2B5EF4-FFF2-40B4-BE49-F238E27FC236}">
                  <a16:creationId xmlns:a16="http://schemas.microsoft.com/office/drawing/2014/main" id="{B116F89B-574A-26B3-61AC-CB3874CDA996}"/>
                </a:ext>
              </a:extLst>
            </p:cNvPr>
            <p:cNvSpPr/>
            <p:nvPr/>
          </p:nvSpPr>
          <p:spPr>
            <a:xfrm>
              <a:off x="4294790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" name="object 155">
              <a:extLst>
                <a:ext uri="{FF2B5EF4-FFF2-40B4-BE49-F238E27FC236}">
                  <a16:creationId xmlns:a16="http://schemas.microsoft.com/office/drawing/2014/main" id="{6D5E7B79-7091-AB2C-F6F0-A7C9029BFA1C}"/>
                </a:ext>
              </a:extLst>
            </p:cNvPr>
            <p:cNvSpPr/>
            <p:nvPr/>
          </p:nvSpPr>
          <p:spPr>
            <a:xfrm>
              <a:off x="4329885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" name="object 156">
              <a:extLst>
                <a:ext uri="{FF2B5EF4-FFF2-40B4-BE49-F238E27FC236}">
                  <a16:creationId xmlns:a16="http://schemas.microsoft.com/office/drawing/2014/main" id="{219EDADA-DCB6-278C-0AC4-B9AE0D8AAB0E}"/>
                </a:ext>
              </a:extLst>
            </p:cNvPr>
            <p:cNvSpPr/>
            <p:nvPr/>
          </p:nvSpPr>
          <p:spPr>
            <a:xfrm>
              <a:off x="4224747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" name="object 157">
              <a:extLst>
                <a:ext uri="{FF2B5EF4-FFF2-40B4-BE49-F238E27FC236}">
                  <a16:creationId xmlns:a16="http://schemas.microsoft.com/office/drawing/2014/main" id="{E89BD5E7-1E73-8B57-6382-AB42E2DB7E1A}"/>
                </a:ext>
              </a:extLst>
            </p:cNvPr>
            <p:cNvSpPr/>
            <p:nvPr/>
          </p:nvSpPr>
          <p:spPr>
            <a:xfrm>
              <a:off x="4434885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" name="object 158">
              <a:extLst>
                <a:ext uri="{FF2B5EF4-FFF2-40B4-BE49-F238E27FC236}">
                  <a16:creationId xmlns:a16="http://schemas.microsoft.com/office/drawing/2014/main" id="{91AFEB8B-E926-38CF-0E7B-99A673ED33E4}"/>
                </a:ext>
              </a:extLst>
            </p:cNvPr>
            <p:cNvSpPr/>
            <p:nvPr/>
          </p:nvSpPr>
          <p:spPr>
            <a:xfrm>
              <a:off x="4259768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" name="object 159">
              <a:extLst>
                <a:ext uri="{FF2B5EF4-FFF2-40B4-BE49-F238E27FC236}">
                  <a16:creationId xmlns:a16="http://schemas.microsoft.com/office/drawing/2014/main" id="{7EB9CC62-CD6D-A20A-A66E-0CC22EC25E95}"/>
                </a:ext>
              </a:extLst>
            </p:cNvPr>
            <p:cNvSpPr/>
            <p:nvPr/>
          </p:nvSpPr>
          <p:spPr>
            <a:xfrm>
              <a:off x="4190000" y="653069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0" name="object 160">
            <a:extLst>
              <a:ext uri="{FF2B5EF4-FFF2-40B4-BE49-F238E27FC236}">
                <a16:creationId xmlns:a16="http://schemas.microsoft.com/office/drawing/2014/main" id="{CC8B5A03-82C1-3A5A-4FFC-2AFD5EE35DC4}"/>
              </a:ext>
            </a:extLst>
          </p:cNvPr>
          <p:cNvGrpSpPr/>
          <p:nvPr/>
        </p:nvGrpSpPr>
        <p:grpSpPr>
          <a:xfrm>
            <a:off x="5833725" y="1085502"/>
            <a:ext cx="350371" cy="123517"/>
            <a:chOff x="5833725" y="1085502"/>
            <a:chExt cx="350371" cy="123517"/>
          </a:xfrm>
        </p:grpSpPr>
        <p:sp>
          <p:nvSpPr>
            <p:cNvPr id="161" name="object 161">
              <a:extLst>
                <a:ext uri="{FF2B5EF4-FFF2-40B4-BE49-F238E27FC236}">
                  <a16:creationId xmlns:a16="http://schemas.microsoft.com/office/drawing/2014/main" id="{2BFB7D90-CA5F-6C22-CB3E-11A586E8F909}"/>
                </a:ext>
              </a:extLst>
            </p:cNvPr>
            <p:cNvSpPr/>
            <p:nvPr/>
          </p:nvSpPr>
          <p:spPr>
            <a:xfrm>
              <a:off x="611397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" name="object 162">
              <a:extLst>
                <a:ext uri="{FF2B5EF4-FFF2-40B4-BE49-F238E27FC236}">
                  <a16:creationId xmlns:a16="http://schemas.microsoft.com/office/drawing/2014/main" id="{CD826054-666F-5CD9-505E-CFB98211C6F1}"/>
                </a:ext>
              </a:extLst>
            </p:cNvPr>
            <p:cNvSpPr/>
            <p:nvPr/>
          </p:nvSpPr>
          <p:spPr>
            <a:xfrm>
              <a:off x="6148992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" name="object 163">
              <a:extLst>
                <a:ext uri="{FF2B5EF4-FFF2-40B4-BE49-F238E27FC236}">
                  <a16:creationId xmlns:a16="http://schemas.microsoft.com/office/drawing/2014/main" id="{4BAD1A2A-FC3B-957C-5119-7DE8F7BD6B2B}"/>
                </a:ext>
              </a:extLst>
            </p:cNvPr>
            <p:cNvSpPr/>
            <p:nvPr/>
          </p:nvSpPr>
          <p:spPr>
            <a:xfrm>
              <a:off x="604392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" name="object 164">
              <a:extLst>
                <a:ext uri="{FF2B5EF4-FFF2-40B4-BE49-F238E27FC236}">
                  <a16:creationId xmlns:a16="http://schemas.microsoft.com/office/drawing/2014/main" id="{7E4FABEC-F2EC-B7EA-60D3-883B364F00DC}"/>
                </a:ext>
              </a:extLst>
            </p:cNvPr>
            <p:cNvSpPr/>
            <p:nvPr/>
          </p:nvSpPr>
          <p:spPr>
            <a:xfrm>
              <a:off x="593886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" name="object 165">
              <a:extLst>
                <a:ext uri="{FF2B5EF4-FFF2-40B4-BE49-F238E27FC236}">
                  <a16:creationId xmlns:a16="http://schemas.microsoft.com/office/drawing/2014/main" id="{B08AA96E-1129-AB66-7EE3-1D6DB17ED4FD}"/>
                </a:ext>
              </a:extLst>
            </p:cNvPr>
            <p:cNvSpPr/>
            <p:nvPr/>
          </p:nvSpPr>
          <p:spPr>
            <a:xfrm>
              <a:off x="597395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" name="object 166">
              <a:extLst>
                <a:ext uri="{FF2B5EF4-FFF2-40B4-BE49-F238E27FC236}">
                  <a16:creationId xmlns:a16="http://schemas.microsoft.com/office/drawing/2014/main" id="{32417A89-1231-959F-27F8-8F5E523116DF}"/>
                </a:ext>
              </a:extLst>
            </p:cNvPr>
            <p:cNvSpPr/>
            <p:nvPr/>
          </p:nvSpPr>
          <p:spPr>
            <a:xfrm>
              <a:off x="586882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" name="object 167">
              <a:extLst>
                <a:ext uri="{FF2B5EF4-FFF2-40B4-BE49-F238E27FC236}">
                  <a16:creationId xmlns:a16="http://schemas.microsoft.com/office/drawing/2014/main" id="{BE39D83A-B899-C50E-E819-041962D8E659}"/>
                </a:ext>
              </a:extLst>
            </p:cNvPr>
            <p:cNvSpPr/>
            <p:nvPr/>
          </p:nvSpPr>
          <p:spPr>
            <a:xfrm>
              <a:off x="607894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" name="object 168">
              <a:extLst>
                <a:ext uri="{FF2B5EF4-FFF2-40B4-BE49-F238E27FC236}">
                  <a16:creationId xmlns:a16="http://schemas.microsoft.com/office/drawing/2014/main" id="{6645AD2A-4E27-4165-F994-67F260CC7323}"/>
                </a:ext>
              </a:extLst>
            </p:cNvPr>
            <p:cNvSpPr/>
            <p:nvPr/>
          </p:nvSpPr>
          <p:spPr>
            <a:xfrm>
              <a:off x="590384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" name="object 169">
              <a:extLst>
                <a:ext uri="{FF2B5EF4-FFF2-40B4-BE49-F238E27FC236}">
                  <a16:creationId xmlns:a16="http://schemas.microsoft.com/office/drawing/2014/main" id="{918DD6FD-B8BD-4D05-03EC-70C725DD5195}"/>
                </a:ext>
              </a:extLst>
            </p:cNvPr>
            <p:cNvSpPr/>
            <p:nvPr/>
          </p:nvSpPr>
          <p:spPr>
            <a:xfrm>
              <a:off x="6184014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" name="object 170">
              <a:extLst>
                <a:ext uri="{FF2B5EF4-FFF2-40B4-BE49-F238E27FC236}">
                  <a16:creationId xmlns:a16="http://schemas.microsoft.com/office/drawing/2014/main" id="{7D0E21F8-8B54-260D-DF21-DC8507A4E16C}"/>
                </a:ext>
              </a:extLst>
            </p:cNvPr>
            <p:cNvSpPr/>
            <p:nvPr/>
          </p:nvSpPr>
          <p:spPr>
            <a:xfrm>
              <a:off x="6009043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" name="object 171">
              <a:extLst>
                <a:ext uri="{FF2B5EF4-FFF2-40B4-BE49-F238E27FC236}">
                  <a16:creationId xmlns:a16="http://schemas.microsoft.com/office/drawing/2014/main" id="{62CBE659-D66D-18B7-DE05-B8D7C975E2DA}"/>
                </a:ext>
              </a:extLst>
            </p:cNvPr>
            <p:cNvSpPr/>
            <p:nvPr/>
          </p:nvSpPr>
          <p:spPr>
            <a:xfrm>
              <a:off x="5834073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" name="object 172">
              <a:extLst>
                <a:ext uri="{FF2B5EF4-FFF2-40B4-BE49-F238E27FC236}">
                  <a16:creationId xmlns:a16="http://schemas.microsoft.com/office/drawing/2014/main" id="{5876F6D7-418C-4357-FD23-838EFA7DBD50}"/>
                </a:ext>
              </a:extLst>
            </p:cNvPr>
            <p:cNvSpPr/>
            <p:nvPr/>
          </p:nvSpPr>
          <p:spPr>
            <a:xfrm>
              <a:off x="5834073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" name="object 173">
              <a:extLst>
                <a:ext uri="{FF2B5EF4-FFF2-40B4-BE49-F238E27FC236}">
                  <a16:creationId xmlns:a16="http://schemas.microsoft.com/office/drawing/2014/main" id="{A9BFE9DC-A1AE-D100-0C41-99EEC6F0A16B}"/>
                </a:ext>
              </a:extLst>
            </p:cNvPr>
            <p:cNvSpPr/>
            <p:nvPr/>
          </p:nvSpPr>
          <p:spPr>
            <a:xfrm>
              <a:off x="5834192" y="1085502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5"/>
                <a:gd name="f5" fmla="val 241856"/>
                <a:gd name="f6" fmla="val 84123"/>
                <a:gd name="f7" fmla="*/ f0 1 241934"/>
                <a:gd name="f8" fmla="*/ f1 1 84455"/>
                <a:gd name="f9" fmla="+- f4 0 f2"/>
                <a:gd name="f10" fmla="+- f3 0 f2"/>
                <a:gd name="f11" fmla="*/ f10 1 241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" name="object 174">
              <a:extLst>
                <a:ext uri="{FF2B5EF4-FFF2-40B4-BE49-F238E27FC236}">
                  <a16:creationId xmlns:a16="http://schemas.microsoft.com/office/drawing/2014/main" id="{ED8F1BB4-3493-5C5E-C095-430A4817841C}"/>
                </a:ext>
              </a:extLst>
            </p:cNvPr>
            <p:cNvSpPr/>
            <p:nvPr/>
          </p:nvSpPr>
          <p:spPr>
            <a:xfrm>
              <a:off x="5834192" y="1157804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5"/>
                <a:gd name="f5" fmla="val 291436"/>
                <a:gd name="f6" fmla="val 84112"/>
                <a:gd name="f7" fmla="*/ f0 1 291465"/>
                <a:gd name="f8" fmla="*/ f1 1 84455"/>
                <a:gd name="f9" fmla="+- f4 0 f2"/>
                <a:gd name="f10" fmla="+- f3 0 f2"/>
                <a:gd name="f11" fmla="*/ f10 1 29146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" name="object 175">
              <a:extLst>
                <a:ext uri="{FF2B5EF4-FFF2-40B4-BE49-F238E27FC236}">
                  <a16:creationId xmlns:a16="http://schemas.microsoft.com/office/drawing/2014/main" id="{3D3C51F7-99A7-6FD2-0221-15D2E3E810A9}"/>
                </a:ext>
              </a:extLst>
            </p:cNvPr>
            <p:cNvSpPr/>
            <p:nvPr/>
          </p:nvSpPr>
          <p:spPr>
            <a:xfrm>
              <a:off x="611362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" name="object 176">
              <a:extLst>
                <a:ext uri="{FF2B5EF4-FFF2-40B4-BE49-F238E27FC236}">
                  <a16:creationId xmlns:a16="http://schemas.microsoft.com/office/drawing/2014/main" id="{0B39DD9B-3F37-A7D4-D7F2-06281600A1BC}"/>
                </a:ext>
              </a:extLst>
            </p:cNvPr>
            <p:cNvSpPr/>
            <p:nvPr/>
          </p:nvSpPr>
          <p:spPr>
            <a:xfrm>
              <a:off x="614864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" name="object 177">
              <a:extLst>
                <a:ext uri="{FF2B5EF4-FFF2-40B4-BE49-F238E27FC236}">
                  <a16:creationId xmlns:a16="http://schemas.microsoft.com/office/drawing/2014/main" id="{9A2478F2-AA3D-7D04-57B4-8EAF4AC318E4}"/>
                </a:ext>
              </a:extLst>
            </p:cNvPr>
            <p:cNvSpPr/>
            <p:nvPr/>
          </p:nvSpPr>
          <p:spPr>
            <a:xfrm>
              <a:off x="604358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" name="object 178">
              <a:extLst>
                <a:ext uri="{FF2B5EF4-FFF2-40B4-BE49-F238E27FC236}">
                  <a16:creationId xmlns:a16="http://schemas.microsoft.com/office/drawing/2014/main" id="{688A5C36-7537-6905-1A04-E65B9471CAFF}"/>
                </a:ext>
              </a:extLst>
            </p:cNvPr>
            <p:cNvSpPr/>
            <p:nvPr/>
          </p:nvSpPr>
          <p:spPr>
            <a:xfrm>
              <a:off x="593851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" name="object 179">
              <a:extLst>
                <a:ext uri="{FF2B5EF4-FFF2-40B4-BE49-F238E27FC236}">
                  <a16:creationId xmlns:a16="http://schemas.microsoft.com/office/drawing/2014/main" id="{3EDD4231-9D44-3EC2-B78B-D6185BA3DA4E}"/>
                </a:ext>
              </a:extLst>
            </p:cNvPr>
            <p:cNvSpPr/>
            <p:nvPr/>
          </p:nvSpPr>
          <p:spPr>
            <a:xfrm>
              <a:off x="597361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" name="object 180">
              <a:extLst>
                <a:ext uri="{FF2B5EF4-FFF2-40B4-BE49-F238E27FC236}">
                  <a16:creationId xmlns:a16="http://schemas.microsoft.com/office/drawing/2014/main" id="{55C4643C-BB0A-899C-4583-5136B71B6DB3}"/>
                </a:ext>
              </a:extLst>
            </p:cNvPr>
            <p:cNvSpPr/>
            <p:nvPr/>
          </p:nvSpPr>
          <p:spPr>
            <a:xfrm>
              <a:off x="586847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" name="object 181">
              <a:extLst>
                <a:ext uri="{FF2B5EF4-FFF2-40B4-BE49-F238E27FC236}">
                  <a16:creationId xmlns:a16="http://schemas.microsoft.com/office/drawing/2014/main" id="{DD209206-C6DC-5525-64C9-3A48668C470C}"/>
                </a:ext>
              </a:extLst>
            </p:cNvPr>
            <p:cNvSpPr/>
            <p:nvPr/>
          </p:nvSpPr>
          <p:spPr>
            <a:xfrm>
              <a:off x="607860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" name="object 182">
              <a:extLst>
                <a:ext uri="{FF2B5EF4-FFF2-40B4-BE49-F238E27FC236}">
                  <a16:creationId xmlns:a16="http://schemas.microsoft.com/office/drawing/2014/main" id="{C4855B2C-BDBD-46E3-ADFD-A5C8556E31D1}"/>
                </a:ext>
              </a:extLst>
            </p:cNvPr>
            <p:cNvSpPr/>
            <p:nvPr/>
          </p:nvSpPr>
          <p:spPr>
            <a:xfrm>
              <a:off x="590349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" name="object 183">
              <a:extLst>
                <a:ext uri="{FF2B5EF4-FFF2-40B4-BE49-F238E27FC236}">
                  <a16:creationId xmlns:a16="http://schemas.microsoft.com/office/drawing/2014/main" id="{F7ECF91F-67A0-311A-A8D3-184B11571C7B}"/>
                </a:ext>
              </a:extLst>
            </p:cNvPr>
            <p:cNvSpPr/>
            <p:nvPr/>
          </p:nvSpPr>
          <p:spPr>
            <a:xfrm>
              <a:off x="6183666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" name="object 184">
              <a:extLst>
                <a:ext uri="{FF2B5EF4-FFF2-40B4-BE49-F238E27FC236}">
                  <a16:creationId xmlns:a16="http://schemas.microsoft.com/office/drawing/2014/main" id="{0ED19B8D-6BE1-D1E7-A785-2170430B12F8}"/>
                </a:ext>
              </a:extLst>
            </p:cNvPr>
            <p:cNvSpPr/>
            <p:nvPr/>
          </p:nvSpPr>
          <p:spPr>
            <a:xfrm>
              <a:off x="6008696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" name="object 185">
              <a:extLst>
                <a:ext uri="{FF2B5EF4-FFF2-40B4-BE49-F238E27FC236}">
                  <a16:creationId xmlns:a16="http://schemas.microsoft.com/office/drawing/2014/main" id="{BC14E8DD-5E5B-B3F6-D2B0-BD329EB4A25A}"/>
                </a:ext>
              </a:extLst>
            </p:cNvPr>
            <p:cNvSpPr/>
            <p:nvPr/>
          </p:nvSpPr>
          <p:spPr>
            <a:xfrm>
              <a:off x="5833725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" name="object 186">
              <a:extLst>
                <a:ext uri="{FF2B5EF4-FFF2-40B4-BE49-F238E27FC236}">
                  <a16:creationId xmlns:a16="http://schemas.microsoft.com/office/drawing/2014/main" id="{F2239224-B007-0C0B-8E59-0D1C06A30182}"/>
                </a:ext>
              </a:extLst>
            </p:cNvPr>
            <p:cNvSpPr/>
            <p:nvPr/>
          </p:nvSpPr>
          <p:spPr>
            <a:xfrm>
              <a:off x="6008696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" name="object 187">
              <a:extLst>
                <a:ext uri="{FF2B5EF4-FFF2-40B4-BE49-F238E27FC236}">
                  <a16:creationId xmlns:a16="http://schemas.microsoft.com/office/drawing/2014/main" id="{06A3647A-ED09-F0E3-B3A4-21C200E0DC92}"/>
                </a:ext>
              </a:extLst>
            </p:cNvPr>
            <p:cNvSpPr/>
            <p:nvPr/>
          </p:nvSpPr>
          <p:spPr>
            <a:xfrm>
              <a:off x="5833725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8" name="object 188">
            <a:extLst>
              <a:ext uri="{FF2B5EF4-FFF2-40B4-BE49-F238E27FC236}">
                <a16:creationId xmlns:a16="http://schemas.microsoft.com/office/drawing/2014/main" id="{1D350F79-B3DE-389D-958E-042A818F022E}"/>
              </a:ext>
            </a:extLst>
          </p:cNvPr>
          <p:cNvGrpSpPr/>
          <p:nvPr/>
        </p:nvGrpSpPr>
        <p:grpSpPr>
          <a:xfrm>
            <a:off x="6656054" y="1085502"/>
            <a:ext cx="350371" cy="123517"/>
            <a:chOff x="6656054" y="1085502"/>
            <a:chExt cx="350371" cy="123517"/>
          </a:xfrm>
        </p:grpSpPr>
        <p:sp>
          <p:nvSpPr>
            <p:cNvPr id="189" name="object 189">
              <a:extLst>
                <a:ext uri="{FF2B5EF4-FFF2-40B4-BE49-F238E27FC236}">
                  <a16:creationId xmlns:a16="http://schemas.microsoft.com/office/drawing/2014/main" id="{A644EA59-EB11-CF58-ABC8-A550A0CB544C}"/>
                </a:ext>
              </a:extLst>
            </p:cNvPr>
            <p:cNvSpPr/>
            <p:nvPr/>
          </p:nvSpPr>
          <p:spPr>
            <a:xfrm>
              <a:off x="693630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" name="object 190">
              <a:extLst>
                <a:ext uri="{FF2B5EF4-FFF2-40B4-BE49-F238E27FC236}">
                  <a16:creationId xmlns:a16="http://schemas.microsoft.com/office/drawing/2014/main" id="{825F8912-C0FD-89E4-33B9-E6D4A6C9E573}"/>
                </a:ext>
              </a:extLst>
            </p:cNvPr>
            <p:cNvSpPr/>
            <p:nvPr/>
          </p:nvSpPr>
          <p:spPr>
            <a:xfrm>
              <a:off x="697133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" name="object 191">
              <a:extLst>
                <a:ext uri="{FF2B5EF4-FFF2-40B4-BE49-F238E27FC236}">
                  <a16:creationId xmlns:a16="http://schemas.microsoft.com/office/drawing/2014/main" id="{386B1C90-F8C0-19B4-4ADA-040162A6CEAF}"/>
                </a:ext>
              </a:extLst>
            </p:cNvPr>
            <p:cNvSpPr/>
            <p:nvPr/>
          </p:nvSpPr>
          <p:spPr>
            <a:xfrm>
              <a:off x="686625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" name="object 192">
              <a:extLst>
                <a:ext uri="{FF2B5EF4-FFF2-40B4-BE49-F238E27FC236}">
                  <a16:creationId xmlns:a16="http://schemas.microsoft.com/office/drawing/2014/main" id="{11EC0150-42E5-D687-6626-E166A020AA78}"/>
                </a:ext>
              </a:extLst>
            </p:cNvPr>
            <p:cNvSpPr/>
            <p:nvPr/>
          </p:nvSpPr>
          <p:spPr>
            <a:xfrm>
              <a:off x="6761192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" name="object 193">
              <a:extLst>
                <a:ext uri="{FF2B5EF4-FFF2-40B4-BE49-F238E27FC236}">
                  <a16:creationId xmlns:a16="http://schemas.microsoft.com/office/drawing/2014/main" id="{96AA06AF-458F-DD4C-471F-E2F807506289}"/>
                </a:ext>
              </a:extLst>
            </p:cNvPr>
            <p:cNvSpPr/>
            <p:nvPr/>
          </p:nvSpPr>
          <p:spPr>
            <a:xfrm>
              <a:off x="679628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" name="object 194">
              <a:extLst>
                <a:ext uri="{FF2B5EF4-FFF2-40B4-BE49-F238E27FC236}">
                  <a16:creationId xmlns:a16="http://schemas.microsoft.com/office/drawing/2014/main" id="{BDB4CFCD-5B5B-0F72-DD52-9DF4106821E3}"/>
                </a:ext>
              </a:extLst>
            </p:cNvPr>
            <p:cNvSpPr/>
            <p:nvPr/>
          </p:nvSpPr>
          <p:spPr>
            <a:xfrm>
              <a:off x="669114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" name="object 195">
              <a:extLst>
                <a:ext uri="{FF2B5EF4-FFF2-40B4-BE49-F238E27FC236}">
                  <a16:creationId xmlns:a16="http://schemas.microsoft.com/office/drawing/2014/main" id="{F589A5BB-1F55-EF8D-2B45-859894244691}"/>
                </a:ext>
              </a:extLst>
            </p:cNvPr>
            <p:cNvSpPr/>
            <p:nvPr/>
          </p:nvSpPr>
          <p:spPr>
            <a:xfrm>
              <a:off x="690127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" name="object 196">
              <a:extLst>
                <a:ext uri="{FF2B5EF4-FFF2-40B4-BE49-F238E27FC236}">
                  <a16:creationId xmlns:a16="http://schemas.microsoft.com/office/drawing/2014/main" id="{7A978085-4B04-F81A-1864-2D366501DA35}"/>
                </a:ext>
              </a:extLst>
            </p:cNvPr>
            <p:cNvSpPr/>
            <p:nvPr/>
          </p:nvSpPr>
          <p:spPr>
            <a:xfrm>
              <a:off x="672617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" name="object 197">
              <a:extLst>
                <a:ext uri="{FF2B5EF4-FFF2-40B4-BE49-F238E27FC236}">
                  <a16:creationId xmlns:a16="http://schemas.microsoft.com/office/drawing/2014/main" id="{DBA3DE09-D9B6-C0B7-801F-E6553B224F65}"/>
                </a:ext>
              </a:extLst>
            </p:cNvPr>
            <p:cNvSpPr/>
            <p:nvPr/>
          </p:nvSpPr>
          <p:spPr>
            <a:xfrm>
              <a:off x="700635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" name="object 198">
              <a:extLst>
                <a:ext uri="{FF2B5EF4-FFF2-40B4-BE49-F238E27FC236}">
                  <a16:creationId xmlns:a16="http://schemas.microsoft.com/office/drawing/2014/main" id="{8A368F14-496A-6868-5290-86282B4F8570}"/>
                </a:ext>
              </a:extLst>
            </p:cNvPr>
            <p:cNvSpPr/>
            <p:nvPr/>
          </p:nvSpPr>
          <p:spPr>
            <a:xfrm>
              <a:off x="683137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" name="object 199">
              <a:extLst>
                <a:ext uri="{FF2B5EF4-FFF2-40B4-BE49-F238E27FC236}">
                  <a16:creationId xmlns:a16="http://schemas.microsoft.com/office/drawing/2014/main" id="{CD4E1972-07C5-4E81-27C3-63BE35A0F09D}"/>
                </a:ext>
              </a:extLst>
            </p:cNvPr>
            <p:cNvSpPr/>
            <p:nvPr/>
          </p:nvSpPr>
          <p:spPr>
            <a:xfrm>
              <a:off x="665640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" name="object 200">
              <a:extLst>
                <a:ext uri="{FF2B5EF4-FFF2-40B4-BE49-F238E27FC236}">
                  <a16:creationId xmlns:a16="http://schemas.microsoft.com/office/drawing/2014/main" id="{A63BA9B4-1CD5-E033-92E4-C16D1D440936}"/>
                </a:ext>
              </a:extLst>
            </p:cNvPr>
            <p:cNvSpPr/>
            <p:nvPr/>
          </p:nvSpPr>
          <p:spPr>
            <a:xfrm>
              <a:off x="6656402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" name="object 201">
              <a:extLst>
                <a:ext uri="{FF2B5EF4-FFF2-40B4-BE49-F238E27FC236}">
                  <a16:creationId xmlns:a16="http://schemas.microsoft.com/office/drawing/2014/main" id="{4142B049-3199-DF3F-9FDD-78EE9F7A4035}"/>
                </a:ext>
              </a:extLst>
            </p:cNvPr>
            <p:cNvSpPr/>
            <p:nvPr/>
          </p:nvSpPr>
          <p:spPr>
            <a:xfrm>
              <a:off x="6656539" y="1085502"/>
              <a:ext cx="5891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97154"/>
                <a:gd name="f4" fmla="val 84455"/>
                <a:gd name="f5" fmla="val 96625"/>
                <a:gd name="f6" fmla="val 84123"/>
                <a:gd name="f7" fmla="*/ f0 1 97154"/>
                <a:gd name="f8" fmla="*/ f1 1 84455"/>
                <a:gd name="f9" fmla="+- f4 0 f2"/>
                <a:gd name="f10" fmla="+- f3 0 f2"/>
                <a:gd name="f11" fmla="*/ f10 1 9715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9715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" name="object 202">
              <a:extLst>
                <a:ext uri="{FF2B5EF4-FFF2-40B4-BE49-F238E27FC236}">
                  <a16:creationId xmlns:a16="http://schemas.microsoft.com/office/drawing/2014/main" id="{70C7A7C1-9DAA-8A77-3277-7BADFB82D317}"/>
                </a:ext>
              </a:extLst>
            </p:cNvPr>
            <p:cNvSpPr/>
            <p:nvPr/>
          </p:nvSpPr>
          <p:spPr>
            <a:xfrm>
              <a:off x="6656539" y="1157804"/>
              <a:ext cx="2884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75615"/>
                <a:gd name="f4" fmla="val 84455"/>
                <a:gd name="f5" fmla="val 475482"/>
                <a:gd name="f6" fmla="val 84112"/>
                <a:gd name="f7" fmla="*/ f0 1 475615"/>
                <a:gd name="f8" fmla="*/ f1 1 84455"/>
                <a:gd name="f9" fmla="+- f4 0 f2"/>
                <a:gd name="f10" fmla="+- f3 0 f2"/>
                <a:gd name="f11" fmla="*/ f10 1 47561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7561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" name="object 203">
              <a:extLst>
                <a:ext uri="{FF2B5EF4-FFF2-40B4-BE49-F238E27FC236}">
                  <a16:creationId xmlns:a16="http://schemas.microsoft.com/office/drawing/2014/main" id="{92AC7295-B54C-969B-E86F-481897346131}"/>
                </a:ext>
              </a:extLst>
            </p:cNvPr>
            <p:cNvSpPr/>
            <p:nvPr/>
          </p:nvSpPr>
          <p:spPr>
            <a:xfrm>
              <a:off x="693596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4" name="object 204">
              <a:extLst>
                <a:ext uri="{FF2B5EF4-FFF2-40B4-BE49-F238E27FC236}">
                  <a16:creationId xmlns:a16="http://schemas.microsoft.com/office/drawing/2014/main" id="{DE90573D-8CD6-0673-4F34-C0297B81673F}"/>
                </a:ext>
              </a:extLst>
            </p:cNvPr>
            <p:cNvSpPr/>
            <p:nvPr/>
          </p:nvSpPr>
          <p:spPr>
            <a:xfrm>
              <a:off x="697098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5" name="object 205">
              <a:extLst>
                <a:ext uri="{FF2B5EF4-FFF2-40B4-BE49-F238E27FC236}">
                  <a16:creationId xmlns:a16="http://schemas.microsoft.com/office/drawing/2014/main" id="{4183B030-00F4-D6A7-FDCF-1D0699012D39}"/>
                </a:ext>
              </a:extLst>
            </p:cNvPr>
            <p:cNvSpPr/>
            <p:nvPr/>
          </p:nvSpPr>
          <p:spPr>
            <a:xfrm>
              <a:off x="686591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6" name="object 206">
              <a:extLst>
                <a:ext uri="{FF2B5EF4-FFF2-40B4-BE49-F238E27FC236}">
                  <a16:creationId xmlns:a16="http://schemas.microsoft.com/office/drawing/2014/main" id="{8BDD17F8-226E-DFC6-8D8C-677CA6B9362F}"/>
                </a:ext>
              </a:extLst>
            </p:cNvPr>
            <p:cNvSpPr/>
            <p:nvPr/>
          </p:nvSpPr>
          <p:spPr>
            <a:xfrm>
              <a:off x="676084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7" name="object 207">
              <a:extLst>
                <a:ext uri="{FF2B5EF4-FFF2-40B4-BE49-F238E27FC236}">
                  <a16:creationId xmlns:a16="http://schemas.microsoft.com/office/drawing/2014/main" id="{48CC2509-519F-3739-E999-C60E82E8C0E6}"/>
                </a:ext>
              </a:extLst>
            </p:cNvPr>
            <p:cNvSpPr/>
            <p:nvPr/>
          </p:nvSpPr>
          <p:spPr>
            <a:xfrm>
              <a:off x="679593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8" name="object 208">
              <a:extLst>
                <a:ext uri="{FF2B5EF4-FFF2-40B4-BE49-F238E27FC236}">
                  <a16:creationId xmlns:a16="http://schemas.microsoft.com/office/drawing/2014/main" id="{AE446E87-80F8-B88E-BA3C-6582D96B3B2B}"/>
                </a:ext>
              </a:extLst>
            </p:cNvPr>
            <p:cNvSpPr/>
            <p:nvPr/>
          </p:nvSpPr>
          <p:spPr>
            <a:xfrm>
              <a:off x="669080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9" name="object 209">
              <a:extLst>
                <a:ext uri="{FF2B5EF4-FFF2-40B4-BE49-F238E27FC236}">
                  <a16:creationId xmlns:a16="http://schemas.microsoft.com/office/drawing/2014/main" id="{E7A9952D-D3FD-087B-975E-EEBB0801511C}"/>
                </a:ext>
              </a:extLst>
            </p:cNvPr>
            <p:cNvSpPr/>
            <p:nvPr/>
          </p:nvSpPr>
          <p:spPr>
            <a:xfrm>
              <a:off x="690094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0" name="object 210">
              <a:extLst>
                <a:ext uri="{FF2B5EF4-FFF2-40B4-BE49-F238E27FC236}">
                  <a16:creationId xmlns:a16="http://schemas.microsoft.com/office/drawing/2014/main" id="{75273F8A-E7EC-0D49-2ACB-75EDC50F3AF6}"/>
                </a:ext>
              </a:extLst>
            </p:cNvPr>
            <p:cNvSpPr/>
            <p:nvPr/>
          </p:nvSpPr>
          <p:spPr>
            <a:xfrm>
              <a:off x="672582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1" name="object 211">
              <a:extLst>
                <a:ext uri="{FF2B5EF4-FFF2-40B4-BE49-F238E27FC236}">
                  <a16:creationId xmlns:a16="http://schemas.microsoft.com/office/drawing/2014/main" id="{1BDD8F1F-B295-C3EC-E0AC-012B44DFEF5E}"/>
                </a:ext>
              </a:extLst>
            </p:cNvPr>
            <p:cNvSpPr/>
            <p:nvPr/>
          </p:nvSpPr>
          <p:spPr>
            <a:xfrm>
              <a:off x="700600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2" name="object 212">
              <a:extLst>
                <a:ext uri="{FF2B5EF4-FFF2-40B4-BE49-F238E27FC236}">
                  <a16:creationId xmlns:a16="http://schemas.microsoft.com/office/drawing/2014/main" id="{4A32B070-1411-D8D8-28BA-E07288AE79C5}"/>
                </a:ext>
              </a:extLst>
            </p:cNvPr>
            <p:cNvSpPr/>
            <p:nvPr/>
          </p:nvSpPr>
          <p:spPr>
            <a:xfrm>
              <a:off x="683103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3" name="object 213">
              <a:extLst>
                <a:ext uri="{FF2B5EF4-FFF2-40B4-BE49-F238E27FC236}">
                  <a16:creationId xmlns:a16="http://schemas.microsoft.com/office/drawing/2014/main" id="{CEF20BC4-574E-43E6-06EC-3A8C963ACFA7}"/>
                </a:ext>
              </a:extLst>
            </p:cNvPr>
            <p:cNvSpPr/>
            <p:nvPr/>
          </p:nvSpPr>
          <p:spPr>
            <a:xfrm>
              <a:off x="665605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4" name="object 214">
              <a:extLst>
                <a:ext uri="{FF2B5EF4-FFF2-40B4-BE49-F238E27FC236}">
                  <a16:creationId xmlns:a16="http://schemas.microsoft.com/office/drawing/2014/main" id="{2423DBAA-C8FA-0632-735E-345EB9BBC4F6}"/>
                </a:ext>
              </a:extLst>
            </p:cNvPr>
            <p:cNvSpPr/>
            <p:nvPr/>
          </p:nvSpPr>
          <p:spPr>
            <a:xfrm>
              <a:off x="683103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5" name="object 215">
              <a:extLst>
                <a:ext uri="{FF2B5EF4-FFF2-40B4-BE49-F238E27FC236}">
                  <a16:creationId xmlns:a16="http://schemas.microsoft.com/office/drawing/2014/main" id="{6AF137AD-7551-7D97-171F-EA654A1890D5}"/>
                </a:ext>
              </a:extLst>
            </p:cNvPr>
            <p:cNvSpPr/>
            <p:nvPr/>
          </p:nvSpPr>
          <p:spPr>
            <a:xfrm>
              <a:off x="6656054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16" name="object 216">
            <a:extLst>
              <a:ext uri="{FF2B5EF4-FFF2-40B4-BE49-F238E27FC236}">
                <a16:creationId xmlns:a16="http://schemas.microsoft.com/office/drawing/2014/main" id="{4035D5FB-C9C4-70DD-D0B9-33C23FC5AD7B}"/>
              </a:ext>
            </a:extLst>
          </p:cNvPr>
          <p:cNvGrpSpPr/>
          <p:nvPr/>
        </p:nvGrpSpPr>
        <p:grpSpPr>
          <a:xfrm>
            <a:off x="7477954" y="1085502"/>
            <a:ext cx="350370" cy="123517"/>
            <a:chOff x="7477954" y="1085502"/>
            <a:chExt cx="350370" cy="123517"/>
          </a:xfrm>
        </p:grpSpPr>
        <p:sp>
          <p:nvSpPr>
            <p:cNvPr id="217" name="object 217">
              <a:extLst>
                <a:ext uri="{FF2B5EF4-FFF2-40B4-BE49-F238E27FC236}">
                  <a16:creationId xmlns:a16="http://schemas.microsoft.com/office/drawing/2014/main" id="{87F211E5-6919-FAF3-3A66-D8218DBF17E3}"/>
                </a:ext>
              </a:extLst>
            </p:cNvPr>
            <p:cNvSpPr/>
            <p:nvPr/>
          </p:nvSpPr>
          <p:spPr>
            <a:xfrm>
              <a:off x="775819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8" name="object 218">
              <a:extLst>
                <a:ext uri="{FF2B5EF4-FFF2-40B4-BE49-F238E27FC236}">
                  <a16:creationId xmlns:a16="http://schemas.microsoft.com/office/drawing/2014/main" id="{24E5BE1C-867E-70FE-31E8-D0A3D24174BA}"/>
                </a:ext>
              </a:extLst>
            </p:cNvPr>
            <p:cNvSpPr/>
            <p:nvPr/>
          </p:nvSpPr>
          <p:spPr>
            <a:xfrm>
              <a:off x="779322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9" name="object 219">
              <a:extLst>
                <a:ext uri="{FF2B5EF4-FFF2-40B4-BE49-F238E27FC236}">
                  <a16:creationId xmlns:a16="http://schemas.microsoft.com/office/drawing/2014/main" id="{78FDD4F7-662F-E5E8-541A-E0C361F00574}"/>
                </a:ext>
              </a:extLst>
            </p:cNvPr>
            <p:cNvSpPr/>
            <p:nvPr/>
          </p:nvSpPr>
          <p:spPr>
            <a:xfrm>
              <a:off x="768815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0" name="object 220">
              <a:extLst>
                <a:ext uri="{FF2B5EF4-FFF2-40B4-BE49-F238E27FC236}">
                  <a16:creationId xmlns:a16="http://schemas.microsoft.com/office/drawing/2014/main" id="{E6B868E6-A705-AF2C-851F-86663FFD4844}"/>
                </a:ext>
              </a:extLst>
            </p:cNvPr>
            <p:cNvSpPr/>
            <p:nvPr/>
          </p:nvSpPr>
          <p:spPr>
            <a:xfrm>
              <a:off x="758309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1" name="object 221">
              <a:extLst>
                <a:ext uri="{FF2B5EF4-FFF2-40B4-BE49-F238E27FC236}">
                  <a16:creationId xmlns:a16="http://schemas.microsoft.com/office/drawing/2014/main" id="{F467151D-628B-C719-3889-24EA5EBEC943}"/>
                </a:ext>
              </a:extLst>
            </p:cNvPr>
            <p:cNvSpPr/>
            <p:nvPr/>
          </p:nvSpPr>
          <p:spPr>
            <a:xfrm>
              <a:off x="761818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2" name="object 222">
              <a:extLst>
                <a:ext uri="{FF2B5EF4-FFF2-40B4-BE49-F238E27FC236}">
                  <a16:creationId xmlns:a16="http://schemas.microsoft.com/office/drawing/2014/main" id="{EE836574-9448-5AB7-8BC8-2D571100F8DE}"/>
                </a:ext>
              </a:extLst>
            </p:cNvPr>
            <p:cNvSpPr/>
            <p:nvPr/>
          </p:nvSpPr>
          <p:spPr>
            <a:xfrm>
              <a:off x="751304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3" name="object 223">
              <a:extLst>
                <a:ext uri="{FF2B5EF4-FFF2-40B4-BE49-F238E27FC236}">
                  <a16:creationId xmlns:a16="http://schemas.microsoft.com/office/drawing/2014/main" id="{881F1B15-8B87-7D35-7640-1EA77ED977F5}"/>
                </a:ext>
              </a:extLst>
            </p:cNvPr>
            <p:cNvSpPr/>
            <p:nvPr/>
          </p:nvSpPr>
          <p:spPr>
            <a:xfrm>
              <a:off x="772317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4" name="object 224">
              <a:extLst>
                <a:ext uri="{FF2B5EF4-FFF2-40B4-BE49-F238E27FC236}">
                  <a16:creationId xmlns:a16="http://schemas.microsoft.com/office/drawing/2014/main" id="{06E72E4F-41EB-4D07-9C60-4584529ACDD1}"/>
                </a:ext>
              </a:extLst>
            </p:cNvPr>
            <p:cNvSpPr/>
            <p:nvPr/>
          </p:nvSpPr>
          <p:spPr>
            <a:xfrm>
              <a:off x="754807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5" name="object 225">
              <a:extLst>
                <a:ext uri="{FF2B5EF4-FFF2-40B4-BE49-F238E27FC236}">
                  <a16:creationId xmlns:a16="http://schemas.microsoft.com/office/drawing/2014/main" id="{EDCBD726-B177-B9EC-1C2A-0E58586BFC23}"/>
                </a:ext>
              </a:extLst>
            </p:cNvPr>
            <p:cNvSpPr/>
            <p:nvPr/>
          </p:nvSpPr>
          <p:spPr>
            <a:xfrm>
              <a:off x="782824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6" name="object 226">
              <a:extLst>
                <a:ext uri="{FF2B5EF4-FFF2-40B4-BE49-F238E27FC236}">
                  <a16:creationId xmlns:a16="http://schemas.microsoft.com/office/drawing/2014/main" id="{C4324B58-2372-863A-00CE-D5F3607715D3}"/>
                </a:ext>
              </a:extLst>
            </p:cNvPr>
            <p:cNvSpPr/>
            <p:nvPr/>
          </p:nvSpPr>
          <p:spPr>
            <a:xfrm>
              <a:off x="7653271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7" name="object 227">
              <a:extLst>
                <a:ext uri="{FF2B5EF4-FFF2-40B4-BE49-F238E27FC236}">
                  <a16:creationId xmlns:a16="http://schemas.microsoft.com/office/drawing/2014/main" id="{78131CDD-7936-A088-42F3-35BB070FDADB}"/>
                </a:ext>
              </a:extLst>
            </p:cNvPr>
            <p:cNvSpPr/>
            <p:nvPr/>
          </p:nvSpPr>
          <p:spPr>
            <a:xfrm>
              <a:off x="7478301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8" name="object 228">
              <a:extLst>
                <a:ext uri="{FF2B5EF4-FFF2-40B4-BE49-F238E27FC236}">
                  <a16:creationId xmlns:a16="http://schemas.microsoft.com/office/drawing/2014/main" id="{74F79280-D0C9-26E3-A006-EE2C54F866C6}"/>
                </a:ext>
              </a:extLst>
            </p:cNvPr>
            <p:cNvSpPr/>
            <p:nvPr/>
          </p:nvSpPr>
          <p:spPr>
            <a:xfrm>
              <a:off x="7478301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9" name="object 229">
              <a:extLst>
                <a:ext uri="{FF2B5EF4-FFF2-40B4-BE49-F238E27FC236}">
                  <a16:creationId xmlns:a16="http://schemas.microsoft.com/office/drawing/2014/main" id="{92C67F47-20B6-CA56-13CE-DA682F6F2109}"/>
                </a:ext>
              </a:extLst>
            </p:cNvPr>
            <p:cNvSpPr/>
            <p:nvPr/>
          </p:nvSpPr>
          <p:spPr>
            <a:xfrm>
              <a:off x="7478429" y="1085502"/>
              <a:ext cx="25568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1640"/>
                <a:gd name="f4" fmla="val 84455"/>
                <a:gd name="f5" fmla="val 421034"/>
                <a:gd name="f6" fmla="val 84123"/>
                <a:gd name="f7" fmla="*/ f0 1 421640"/>
                <a:gd name="f8" fmla="*/ f1 1 84455"/>
                <a:gd name="f9" fmla="+- f4 0 f2"/>
                <a:gd name="f10" fmla="+- f3 0 f2"/>
                <a:gd name="f11" fmla="*/ f10 1 42164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164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0" name="object 230">
              <a:extLst>
                <a:ext uri="{FF2B5EF4-FFF2-40B4-BE49-F238E27FC236}">
                  <a16:creationId xmlns:a16="http://schemas.microsoft.com/office/drawing/2014/main" id="{2BDABED3-F8A9-8626-6372-165701512531}"/>
                </a:ext>
              </a:extLst>
            </p:cNvPr>
            <p:cNvSpPr/>
            <p:nvPr/>
          </p:nvSpPr>
          <p:spPr>
            <a:xfrm>
              <a:off x="7478429" y="1157804"/>
              <a:ext cx="33692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55625"/>
                <a:gd name="f4" fmla="val 84455"/>
                <a:gd name="f5" fmla="val 555250"/>
                <a:gd name="f6" fmla="val 84112"/>
                <a:gd name="f7" fmla="*/ f0 1 555625"/>
                <a:gd name="f8" fmla="*/ f1 1 84455"/>
                <a:gd name="f9" fmla="+- f4 0 f2"/>
                <a:gd name="f10" fmla="+- f3 0 f2"/>
                <a:gd name="f11" fmla="*/ f10 1 55562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5562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1" name="object 231">
              <a:extLst>
                <a:ext uri="{FF2B5EF4-FFF2-40B4-BE49-F238E27FC236}">
                  <a16:creationId xmlns:a16="http://schemas.microsoft.com/office/drawing/2014/main" id="{0B1F47DD-13FB-569B-98C4-516FC3EBA1A8}"/>
                </a:ext>
              </a:extLst>
            </p:cNvPr>
            <p:cNvSpPr/>
            <p:nvPr/>
          </p:nvSpPr>
          <p:spPr>
            <a:xfrm>
              <a:off x="775785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2" name="object 232">
              <a:extLst>
                <a:ext uri="{FF2B5EF4-FFF2-40B4-BE49-F238E27FC236}">
                  <a16:creationId xmlns:a16="http://schemas.microsoft.com/office/drawing/2014/main" id="{EB341B6B-058F-8FED-91F1-A42DF471ACCB}"/>
                </a:ext>
              </a:extLst>
            </p:cNvPr>
            <p:cNvSpPr/>
            <p:nvPr/>
          </p:nvSpPr>
          <p:spPr>
            <a:xfrm>
              <a:off x="779287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3" name="object 233">
              <a:extLst>
                <a:ext uri="{FF2B5EF4-FFF2-40B4-BE49-F238E27FC236}">
                  <a16:creationId xmlns:a16="http://schemas.microsoft.com/office/drawing/2014/main" id="{B7B291F7-9FFE-E68A-6A83-58C4CEF86874}"/>
                </a:ext>
              </a:extLst>
            </p:cNvPr>
            <p:cNvSpPr/>
            <p:nvPr/>
          </p:nvSpPr>
          <p:spPr>
            <a:xfrm>
              <a:off x="768780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4" name="object 234">
              <a:extLst>
                <a:ext uri="{FF2B5EF4-FFF2-40B4-BE49-F238E27FC236}">
                  <a16:creationId xmlns:a16="http://schemas.microsoft.com/office/drawing/2014/main" id="{BDADD144-7C05-7766-EA1C-E5400C4CB0AD}"/>
                </a:ext>
              </a:extLst>
            </p:cNvPr>
            <p:cNvSpPr/>
            <p:nvPr/>
          </p:nvSpPr>
          <p:spPr>
            <a:xfrm>
              <a:off x="758274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5" name="object 235">
              <a:extLst>
                <a:ext uri="{FF2B5EF4-FFF2-40B4-BE49-F238E27FC236}">
                  <a16:creationId xmlns:a16="http://schemas.microsoft.com/office/drawing/2014/main" id="{D8F49CF8-1D04-B904-2338-45FE3BFB5E3C}"/>
                </a:ext>
              </a:extLst>
            </p:cNvPr>
            <p:cNvSpPr/>
            <p:nvPr/>
          </p:nvSpPr>
          <p:spPr>
            <a:xfrm>
              <a:off x="761783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6" name="object 236">
              <a:extLst>
                <a:ext uri="{FF2B5EF4-FFF2-40B4-BE49-F238E27FC236}">
                  <a16:creationId xmlns:a16="http://schemas.microsoft.com/office/drawing/2014/main" id="{D74529DD-7EA6-A600-3F07-29CB82B58E1F}"/>
                </a:ext>
              </a:extLst>
            </p:cNvPr>
            <p:cNvSpPr/>
            <p:nvPr/>
          </p:nvSpPr>
          <p:spPr>
            <a:xfrm>
              <a:off x="751270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7" name="object 237">
              <a:extLst>
                <a:ext uri="{FF2B5EF4-FFF2-40B4-BE49-F238E27FC236}">
                  <a16:creationId xmlns:a16="http://schemas.microsoft.com/office/drawing/2014/main" id="{E77448D5-E8BE-BC37-13D4-16E505ABF775}"/>
                </a:ext>
              </a:extLst>
            </p:cNvPr>
            <p:cNvSpPr/>
            <p:nvPr/>
          </p:nvSpPr>
          <p:spPr>
            <a:xfrm>
              <a:off x="772283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8" name="object 238">
              <a:extLst>
                <a:ext uri="{FF2B5EF4-FFF2-40B4-BE49-F238E27FC236}">
                  <a16:creationId xmlns:a16="http://schemas.microsoft.com/office/drawing/2014/main" id="{5A4D88C4-06BF-91AA-32EB-1F62B41D78F2}"/>
                </a:ext>
              </a:extLst>
            </p:cNvPr>
            <p:cNvSpPr/>
            <p:nvPr/>
          </p:nvSpPr>
          <p:spPr>
            <a:xfrm>
              <a:off x="754772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9" name="object 239">
              <a:extLst>
                <a:ext uri="{FF2B5EF4-FFF2-40B4-BE49-F238E27FC236}">
                  <a16:creationId xmlns:a16="http://schemas.microsoft.com/office/drawing/2014/main" id="{3F8F3F86-6345-3D61-5BBD-F6DABFFBC074}"/>
                </a:ext>
              </a:extLst>
            </p:cNvPr>
            <p:cNvSpPr/>
            <p:nvPr/>
          </p:nvSpPr>
          <p:spPr>
            <a:xfrm>
              <a:off x="782789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0" name="object 240">
              <a:extLst>
                <a:ext uri="{FF2B5EF4-FFF2-40B4-BE49-F238E27FC236}">
                  <a16:creationId xmlns:a16="http://schemas.microsoft.com/office/drawing/2014/main" id="{F8991760-DDAF-003D-A284-D7AA33A26CD7}"/>
                </a:ext>
              </a:extLst>
            </p:cNvPr>
            <p:cNvSpPr/>
            <p:nvPr/>
          </p:nvSpPr>
          <p:spPr>
            <a:xfrm>
              <a:off x="765292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1" name="object 241">
              <a:extLst>
                <a:ext uri="{FF2B5EF4-FFF2-40B4-BE49-F238E27FC236}">
                  <a16:creationId xmlns:a16="http://schemas.microsoft.com/office/drawing/2014/main" id="{AAF0D0FC-8B34-B576-4E8D-7ABE4CAD1508}"/>
                </a:ext>
              </a:extLst>
            </p:cNvPr>
            <p:cNvSpPr/>
            <p:nvPr/>
          </p:nvSpPr>
          <p:spPr>
            <a:xfrm>
              <a:off x="747795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2" name="object 242">
              <a:extLst>
                <a:ext uri="{FF2B5EF4-FFF2-40B4-BE49-F238E27FC236}">
                  <a16:creationId xmlns:a16="http://schemas.microsoft.com/office/drawing/2014/main" id="{AC122BF6-A9C3-613C-74B6-3C2A3122DFAE}"/>
                </a:ext>
              </a:extLst>
            </p:cNvPr>
            <p:cNvSpPr/>
            <p:nvPr/>
          </p:nvSpPr>
          <p:spPr>
            <a:xfrm>
              <a:off x="765292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3" name="object 243">
              <a:extLst>
                <a:ext uri="{FF2B5EF4-FFF2-40B4-BE49-F238E27FC236}">
                  <a16:creationId xmlns:a16="http://schemas.microsoft.com/office/drawing/2014/main" id="{68E8356C-782C-D247-D371-BEF99B5E1790}"/>
                </a:ext>
              </a:extLst>
            </p:cNvPr>
            <p:cNvSpPr/>
            <p:nvPr/>
          </p:nvSpPr>
          <p:spPr>
            <a:xfrm>
              <a:off x="7477954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44" name="object 244">
            <a:extLst>
              <a:ext uri="{FF2B5EF4-FFF2-40B4-BE49-F238E27FC236}">
                <a16:creationId xmlns:a16="http://schemas.microsoft.com/office/drawing/2014/main" id="{739AC403-8B5E-E019-F7D5-963589164D51}"/>
              </a:ext>
            </a:extLst>
          </p:cNvPr>
          <p:cNvGrpSpPr/>
          <p:nvPr/>
        </p:nvGrpSpPr>
        <p:grpSpPr>
          <a:xfrm>
            <a:off x="8299130" y="2612705"/>
            <a:ext cx="350371" cy="123526"/>
            <a:chOff x="8299130" y="2612705"/>
            <a:chExt cx="350371" cy="123526"/>
          </a:xfrm>
        </p:grpSpPr>
        <p:sp>
          <p:nvSpPr>
            <p:cNvPr id="245" name="object 245">
              <a:extLst>
                <a:ext uri="{FF2B5EF4-FFF2-40B4-BE49-F238E27FC236}">
                  <a16:creationId xmlns:a16="http://schemas.microsoft.com/office/drawing/2014/main" id="{437639E5-1D06-B0A4-D3BF-9DFE20F1699E}"/>
                </a:ext>
              </a:extLst>
            </p:cNvPr>
            <p:cNvSpPr/>
            <p:nvPr/>
          </p:nvSpPr>
          <p:spPr>
            <a:xfrm>
              <a:off x="8579376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6" name="object 246">
              <a:extLst>
                <a:ext uri="{FF2B5EF4-FFF2-40B4-BE49-F238E27FC236}">
                  <a16:creationId xmlns:a16="http://schemas.microsoft.com/office/drawing/2014/main" id="{F0DBDA18-6459-392E-B619-88CCF97AFD12}"/>
                </a:ext>
              </a:extLst>
            </p:cNvPr>
            <p:cNvSpPr/>
            <p:nvPr/>
          </p:nvSpPr>
          <p:spPr>
            <a:xfrm>
              <a:off x="8614397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7" name="object 247">
              <a:extLst>
                <a:ext uri="{FF2B5EF4-FFF2-40B4-BE49-F238E27FC236}">
                  <a16:creationId xmlns:a16="http://schemas.microsoft.com/office/drawing/2014/main" id="{C58285E6-103F-4D5A-F42F-DED42FDA9A04}"/>
                </a:ext>
              </a:extLst>
            </p:cNvPr>
            <p:cNvSpPr/>
            <p:nvPr/>
          </p:nvSpPr>
          <p:spPr>
            <a:xfrm>
              <a:off x="8509333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8" name="object 248">
              <a:extLst>
                <a:ext uri="{FF2B5EF4-FFF2-40B4-BE49-F238E27FC236}">
                  <a16:creationId xmlns:a16="http://schemas.microsoft.com/office/drawing/2014/main" id="{ADDFCA3E-B96F-458B-6678-7D614E8B0717}"/>
                </a:ext>
              </a:extLst>
            </p:cNvPr>
            <p:cNvSpPr/>
            <p:nvPr/>
          </p:nvSpPr>
          <p:spPr>
            <a:xfrm>
              <a:off x="8404268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9" name="object 249">
              <a:extLst>
                <a:ext uri="{FF2B5EF4-FFF2-40B4-BE49-F238E27FC236}">
                  <a16:creationId xmlns:a16="http://schemas.microsoft.com/office/drawing/2014/main" id="{D75A4BAD-BDAB-C4A6-B6DF-EC532173EDD9}"/>
                </a:ext>
              </a:extLst>
            </p:cNvPr>
            <p:cNvSpPr/>
            <p:nvPr/>
          </p:nvSpPr>
          <p:spPr>
            <a:xfrm>
              <a:off x="8439354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0" name="object 250">
              <a:extLst>
                <a:ext uri="{FF2B5EF4-FFF2-40B4-BE49-F238E27FC236}">
                  <a16:creationId xmlns:a16="http://schemas.microsoft.com/office/drawing/2014/main" id="{BA05ECB9-4D34-5996-D7E2-83F71E1810BE}"/>
                </a:ext>
              </a:extLst>
            </p:cNvPr>
            <p:cNvSpPr/>
            <p:nvPr/>
          </p:nvSpPr>
          <p:spPr>
            <a:xfrm>
              <a:off x="8334225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1" name="object 251">
              <a:extLst>
                <a:ext uri="{FF2B5EF4-FFF2-40B4-BE49-F238E27FC236}">
                  <a16:creationId xmlns:a16="http://schemas.microsoft.com/office/drawing/2014/main" id="{CCD85CBB-23B1-5E83-1D90-93EFFA62B82E}"/>
                </a:ext>
              </a:extLst>
            </p:cNvPr>
            <p:cNvSpPr/>
            <p:nvPr/>
          </p:nvSpPr>
          <p:spPr>
            <a:xfrm>
              <a:off x="8544354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2" name="object 252">
              <a:extLst>
                <a:ext uri="{FF2B5EF4-FFF2-40B4-BE49-F238E27FC236}">
                  <a16:creationId xmlns:a16="http://schemas.microsoft.com/office/drawing/2014/main" id="{335A576D-E507-3383-5E66-18CEC9549E8F}"/>
                </a:ext>
              </a:extLst>
            </p:cNvPr>
            <p:cNvSpPr/>
            <p:nvPr/>
          </p:nvSpPr>
          <p:spPr>
            <a:xfrm>
              <a:off x="8369247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3" name="object 253">
              <a:extLst>
                <a:ext uri="{FF2B5EF4-FFF2-40B4-BE49-F238E27FC236}">
                  <a16:creationId xmlns:a16="http://schemas.microsoft.com/office/drawing/2014/main" id="{3F34881F-74AC-BEBA-0F11-2B2AC22EAF94}"/>
                </a:ext>
              </a:extLst>
            </p:cNvPr>
            <p:cNvSpPr/>
            <p:nvPr/>
          </p:nvSpPr>
          <p:spPr>
            <a:xfrm>
              <a:off x="8649419" y="261270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4" name="object 254">
              <a:extLst>
                <a:ext uri="{FF2B5EF4-FFF2-40B4-BE49-F238E27FC236}">
                  <a16:creationId xmlns:a16="http://schemas.microsoft.com/office/drawing/2014/main" id="{501951EC-188F-4EA0-806C-DE658C0C9AB5}"/>
                </a:ext>
              </a:extLst>
            </p:cNvPr>
            <p:cNvSpPr/>
            <p:nvPr/>
          </p:nvSpPr>
          <p:spPr>
            <a:xfrm>
              <a:off x="8474448" y="261270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5" name="object 255">
              <a:extLst>
                <a:ext uri="{FF2B5EF4-FFF2-40B4-BE49-F238E27FC236}">
                  <a16:creationId xmlns:a16="http://schemas.microsoft.com/office/drawing/2014/main" id="{E6339DE5-868F-D0CD-8382-17D1C6D8DB11}"/>
                </a:ext>
              </a:extLst>
            </p:cNvPr>
            <p:cNvSpPr/>
            <p:nvPr/>
          </p:nvSpPr>
          <p:spPr>
            <a:xfrm>
              <a:off x="8299478" y="261270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6" name="object 256">
              <a:extLst>
                <a:ext uri="{FF2B5EF4-FFF2-40B4-BE49-F238E27FC236}">
                  <a16:creationId xmlns:a16="http://schemas.microsoft.com/office/drawing/2014/main" id="{DC1F8123-8036-75CA-0B97-A2830247A32D}"/>
                </a:ext>
              </a:extLst>
            </p:cNvPr>
            <p:cNvSpPr/>
            <p:nvPr/>
          </p:nvSpPr>
          <p:spPr>
            <a:xfrm>
              <a:off x="8299478" y="263821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7" name="object 257">
              <a:extLst>
                <a:ext uri="{FF2B5EF4-FFF2-40B4-BE49-F238E27FC236}">
                  <a16:creationId xmlns:a16="http://schemas.microsoft.com/office/drawing/2014/main" id="{5561E048-0FDC-0554-63CD-CFEC202F492F}"/>
                </a:ext>
              </a:extLst>
            </p:cNvPr>
            <p:cNvSpPr/>
            <p:nvPr/>
          </p:nvSpPr>
          <p:spPr>
            <a:xfrm>
              <a:off x="8299588" y="2612715"/>
              <a:ext cx="978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1290"/>
                <a:gd name="f4" fmla="val 84454"/>
                <a:gd name="f5" fmla="val 161125"/>
                <a:gd name="f6" fmla="val 84102"/>
                <a:gd name="f7" fmla="*/ f0 1 161290"/>
                <a:gd name="f8" fmla="*/ f1 1 84454"/>
                <a:gd name="f9" fmla="+- f4 0 f2"/>
                <a:gd name="f10" fmla="+- f3 0 f2"/>
                <a:gd name="f11" fmla="*/ f10 1 161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1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8" name="object 258">
              <a:extLst>
                <a:ext uri="{FF2B5EF4-FFF2-40B4-BE49-F238E27FC236}">
                  <a16:creationId xmlns:a16="http://schemas.microsoft.com/office/drawing/2014/main" id="{D859DBE2-9998-1C47-61FA-EABEDBF5A9CD}"/>
                </a:ext>
              </a:extLst>
            </p:cNvPr>
            <p:cNvSpPr/>
            <p:nvPr/>
          </p:nvSpPr>
          <p:spPr>
            <a:xfrm>
              <a:off x="8299588" y="2685016"/>
              <a:ext cx="2391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94334"/>
                <a:gd name="f4" fmla="val 84454"/>
                <a:gd name="f5" fmla="val 393736"/>
                <a:gd name="f6" fmla="val 84102"/>
                <a:gd name="f7" fmla="*/ f0 1 394334"/>
                <a:gd name="f8" fmla="*/ f1 1 84454"/>
                <a:gd name="f9" fmla="+- f4 0 f2"/>
                <a:gd name="f10" fmla="+- f3 0 f2"/>
                <a:gd name="f11" fmla="*/ f10 1 3943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943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9" name="object 259">
              <a:extLst>
                <a:ext uri="{FF2B5EF4-FFF2-40B4-BE49-F238E27FC236}">
                  <a16:creationId xmlns:a16="http://schemas.microsoft.com/office/drawing/2014/main" id="{754AD92C-4F47-EC73-921E-D9DC509CABAA}"/>
                </a:ext>
              </a:extLst>
            </p:cNvPr>
            <p:cNvSpPr/>
            <p:nvPr/>
          </p:nvSpPr>
          <p:spPr>
            <a:xfrm>
              <a:off x="8579028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0" name="object 260">
              <a:extLst>
                <a:ext uri="{FF2B5EF4-FFF2-40B4-BE49-F238E27FC236}">
                  <a16:creationId xmlns:a16="http://schemas.microsoft.com/office/drawing/2014/main" id="{A35E612E-41C6-ED34-E042-AF8C30474F9F}"/>
                </a:ext>
              </a:extLst>
            </p:cNvPr>
            <p:cNvSpPr/>
            <p:nvPr/>
          </p:nvSpPr>
          <p:spPr>
            <a:xfrm>
              <a:off x="8614050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1" name="object 261">
              <a:extLst>
                <a:ext uri="{FF2B5EF4-FFF2-40B4-BE49-F238E27FC236}">
                  <a16:creationId xmlns:a16="http://schemas.microsoft.com/office/drawing/2014/main" id="{52CC4A95-18D2-5A68-86CC-807C6FD450FE}"/>
                </a:ext>
              </a:extLst>
            </p:cNvPr>
            <p:cNvSpPr/>
            <p:nvPr/>
          </p:nvSpPr>
          <p:spPr>
            <a:xfrm>
              <a:off x="8508985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2" name="object 262">
              <a:extLst>
                <a:ext uri="{FF2B5EF4-FFF2-40B4-BE49-F238E27FC236}">
                  <a16:creationId xmlns:a16="http://schemas.microsoft.com/office/drawing/2014/main" id="{F733B483-A93B-E7DF-4D39-60358DD5F3B5}"/>
                </a:ext>
              </a:extLst>
            </p:cNvPr>
            <p:cNvSpPr/>
            <p:nvPr/>
          </p:nvSpPr>
          <p:spPr>
            <a:xfrm>
              <a:off x="8403921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3" name="object 263">
              <a:extLst>
                <a:ext uri="{FF2B5EF4-FFF2-40B4-BE49-F238E27FC236}">
                  <a16:creationId xmlns:a16="http://schemas.microsoft.com/office/drawing/2014/main" id="{F6D1E38E-CFE6-871B-1DA6-8BA5829DF711}"/>
                </a:ext>
              </a:extLst>
            </p:cNvPr>
            <p:cNvSpPr/>
            <p:nvPr/>
          </p:nvSpPr>
          <p:spPr>
            <a:xfrm>
              <a:off x="8439015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4" name="object 264">
              <a:extLst>
                <a:ext uri="{FF2B5EF4-FFF2-40B4-BE49-F238E27FC236}">
                  <a16:creationId xmlns:a16="http://schemas.microsoft.com/office/drawing/2014/main" id="{1F99A2B4-1548-82B3-0E63-C4A14D5554E2}"/>
                </a:ext>
              </a:extLst>
            </p:cNvPr>
            <p:cNvSpPr/>
            <p:nvPr/>
          </p:nvSpPr>
          <p:spPr>
            <a:xfrm>
              <a:off x="8333878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5" name="object 265">
              <a:extLst>
                <a:ext uri="{FF2B5EF4-FFF2-40B4-BE49-F238E27FC236}">
                  <a16:creationId xmlns:a16="http://schemas.microsoft.com/office/drawing/2014/main" id="{0C69415A-9FB9-47CB-B16E-ED2D526C10B8}"/>
                </a:ext>
              </a:extLst>
            </p:cNvPr>
            <p:cNvSpPr/>
            <p:nvPr/>
          </p:nvSpPr>
          <p:spPr>
            <a:xfrm>
              <a:off x="8544007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6" name="object 266">
              <a:extLst>
                <a:ext uri="{FF2B5EF4-FFF2-40B4-BE49-F238E27FC236}">
                  <a16:creationId xmlns:a16="http://schemas.microsoft.com/office/drawing/2014/main" id="{403687B2-9E72-B9CC-5F96-BEE4CA92E6D3}"/>
                </a:ext>
              </a:extLst>
            </p:cNvPr>
            <p:cNvSpPr/>
            <p:nvPr/>
          </p:nvSpPr>
          <p:spPr>
            <a:xfrm>
              <a:off x="8368899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7" name="object 267">
              <a:extLst>
                <a:ext uri="{FF2B5EF4-FFF2-40B4-BE49-F238E27FC236}">
                  <a16:creationId xmlns:a16="http://schemas.microsoft.com/office/drawing/2014/main" id="{D8242BF5-10CB-3F04-E827-080ED9AADAC1}"/>
                </a:ext>
              </a:extLst>
            </p:cNvPr>
            <p:cNvSpPr/>
            <p:nvPr/>
          </p:nvSpPr>
          <p:spPr>
            <a:xfrm>
              <a:off x="8649071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8" name="object 268">
              <a:extLst>
                <a:ext uri="{FF2B5EF4-FFF2-40B4-BE49-F238E27FC236}">
                  <a16:creationId xmlns:a16="http://schemas.microsoft.com/office/drawing/2014/main" id="{FA4B1C26-3122-54BB-8C13-5BF3DD7F3BB0}"/>
                </a:ext>
              </a:extLst>
            </p:cNvPr>
            <p:cNvSpPr/>
            <p:nvPr/>
          </p:nvSpPr>
          <p:spPr>
            <a:xfrm>
              <a:off x="8474101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9" name="object 269">
              <a:extLst>
                <a:ext uri="{FF2B5EF4-FFF2-40B4-BE49-F238E27FC236}">
                  <a16:creationId xmlns:a16="http://schemas.microsoft.com/office/drawing/2014/main" id="{6A507147-7011-FCD5-48FE-6F7C0B1C661C}"/>
                </a:ext>
              </a:extLst>
            </p:cNvPr>
            <p:cNvSpPr/>
            <p:nvPr/>
          </p:nvSpPr>
          <p:spPr>
            <a:xfrm>
              <a:off x="8299130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0" name="object 270">
              <a:extLst>
                <a:ext uri="{FF2B5EF4-FFF2-40B4-BE49-F238E27FC236}">
                  <a16:creationId xmlns:a16="http://schemas.microsoft.com/office/drawing/2014/main" id="{38586CEA-2AFF-1FFF-D133-93CB86DFF728}"/>
                </a:ext>
              </a:extLst>
            </p:cNvPr>
            <p:cNvSpPr/>
            <p:nvPr/>
          </p:nvSpPr>
          <p:spPr>
            <a:xfrm>
              <a:off x="8474101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1" name="object 271">
              <a:extLst>
                <a:ext uri="{FF2B5EF4-FFF2-40B4-BE49-F238E27FC236}">
                  <a16:creationId xmlns:a16="http://schemas.microsoft.com/office/drawing/2014/main" id="{FCA5CBDB-531F-F50A-DBF8-23DB14725246}"/>
                </a:ext>
              </a:extLst>
            </p:cNvPr>
            <p:cNvSpPr/>
            <p:nvPr/>
          </p:nvSpPr>
          <p:spPr>
            <a:xfrm>
              <a:off x="8299130" y="271051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72" name="object 272">
            <a:extLst>
              <a:ext uri="{FF2B5EF4-FFF2-40B4-BE49-F238E27FC236}">
                <a16:creationId xmlns:a16="http://schemas.microsoft.com/office/drawing/2014/main" id="{4ECD9431-51F4-726C-539A-912422C57780}"/>
              </a:ext>
            </a:extLst>
          </p:cNvPr>
          <p:cNvGrpSpPr/>
          <p:nvPr/>
        </p:nvGrpSpPr>
        <p:grpSpPr>
          <a:xfrm>
            <a:off x="8299130" y="4145203"/>
            <a:ext cx="350371" cy="123508"/>
            <a:chOff x="8299130" y="4145203"/>
            <a:chExt cx="350371" cy="123508"/>
          </a:xfrm>
        </p:grpSpPr>
        <p:sp>
          <p:nvSpPr>
            <p:cNvPr id="273" name="object 273">
              <a:extLst>
                <a:ext uri="{FF2B5EF4-FFF2-40B4-BE49-F238E27FC236}">
                  <a16:creationId xmlns:a16="http://schemas.microsoft.com/office/drawing/2014/main" id="{61065828-D829-40B7-44C3-9B3D37096364}"/>
                </a:ext>
              </a:extLst>
            </p:cNvPr>
            <p:cNvSpPr/>
            <p:nvPr/>
          </p:nvSpPr>
          <p:spPr>
            <a:xfrm>
              <a:off x="8579376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4" name="object 274">
              <a:extLst>
                <a:ext uri="{FF2B5EF4-FFF2-40B4-BE49-F238E27FC236}">
                  <a16:creationId xmlns:a16="http://schemas.microsoft.com/office/drawing/2014/main" id="{9631B069-9AED-FD95-CBA6-FF858FA4DCA1}"/>
                </a:ext>
              </a:extLst>
            </p:cNvPr>
            <p:cNvSpPr/>
            <p:nvPr/>
          </p:nvSpPr>
          <p:spPr>
            <a:xfrm>
              <a:off x="8614397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5" name="object 275">
              <a:extLst>
                <a:ext uri="{FF2B5EF4-FFF2-40B4-BE49-F238E27FC236}">
                  <a16:creationId xmlns:a16="http://schemas.microsoft.com/office/drawing/2014/main" id="{7449A48D-ECC2-C11C-2B36-1EEF6AE5C7B6}"/>
                </a:ext>
              </a:extLst>
            </p:cNvPr>
            <p:cNvSpPr/>
            <p:nvPr/>
          </p:nvSpPr>
          <p:spPr>
            <a:xfrm>
              <a:off x="8509333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6" name="object 276">
              <a:extLst>
                <a:ext uri="{FF2B5EF4-FFF2-40B4-BE49-F238E27FC236}">
                  <a16:creationId xmlns:a16="http://schemas.microsoft.com/office/drawing/2014/main" id="{3775B687-9CC9-4B4E-313A-1D5D52418852}"/>
                </a:ext>
              </a:extLst>
            </p:cNvPr>
            <p:cNvSpPr/>
            <p:nvPr/>
          </p:nvSpPr>
          <p:spPr>
            <a:xfrm>
              <a:off x="8404268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7" name="object 277">
              <a:extLst>
                <a:ext uri="{FF2B5EF4-FFF2-40B4-BE49-F238E27FC236}">
                  <a16:creationId xmlns:a16="http://schemas.microsoft.com/office/drawing/2014/main" id="{2469D0A9-F80D-1836-0EF6-9DF86B517995}"/>
                </a:ext>
              </a:extLst>
            </p:cNvPr>
            <p:cNvSpPr/>
            <p:nvPr/>
          </p:nvSpPr>
          <p:spPr>
            <a:xfrm>
              <a:off x="8439354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8" name="object 278">
              <a:extLst>
                <a:ext uri="{FF2B5EF4-FFF2-40B4-BE49-F238E27FC236}">
                  <a16:creationId xmlns:a16="http://schemas.microsoft.com/office/drawing/2014/main" id="{66945605-AD30-4FF2-F7FD-E8AE18A17E6F}"/>
                </a:ext>
              </a:extLst>
            </p:cNvPr>
            <p:cNvSpPr/>
            <p:nvPr/>
          </p:nvSpPr>
          <p:spPr>
            <a:xfrm>
              <a:off x="8334225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9" name="object 279">
              <a:extLst>
                <a:ext uri="{FF2B5EF4-FFF2-40B4-BE49-F238E27FC236}">
                  <a16:creationId xmlns:a16="http://schemas.microsoft.com/office/drawing/2014/main" id="{D21CEDB4-BB6F-E496-C445-D1218AD3D15D}"/>
                </a:ext>
              </a:extLst>
            </p:cNvPr>
            <p:cNvSpPr/>
            <p:nvPr/>
          </p:nvSpPr>
          <p:spPr>
            <a:xfrm>
              <a:off x="8544354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0" name="object 280">
              <a:extLst>
                <a:ext uri="{FF2B5EF4-FFF2-40B4-BE49-F238E27FC236}">
                  <a16:creationId xmlns:a16="http://schemas.microsoft.com/office/drawing/2014/main" id="{40829C2E-24CB-9020-1E93-9A99303F2640}"/>
                </a:ext>
              </a:extLst>
            </p:cNvPr>
            <p:cNvSpPr/>
            <p:nvPr/>
          </p:nvSpPr>
          <p:spPr>
            <a:xfrm>
              <a:off x="8369247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1" name="object 281">
              <a:extLst>
                <a:ext uri="{FF2B5EF4-FFF2-40B4-BE49-F238E27FC236}">
                  <a16:creationId xmlns:a16="http://schemas.microsoft.com/office/drawing/2014/main" id="{59EF1062-2D19-28F8-E50C-9C983642D666}"/>
                </a:ext>
              </a:extLst>
            </p:cNvPr>
            <p:cNvSpPr/>
            <p:nvPr/>
          </p:nvSpPr>
          <p:spPr>
            <a:xfrm>
              <a:off x="8649419" y="414520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2" name="object 282">
              <a:extLst>
                <a:ext uri="{FF2B5EF4-FFF2-40B4-BE49-F238E27FC236}">
                  <a16:creationId xmlns:a16="http://schemas.microsoft.com/office/drawing/2014/main" id="{4B1891E1-8B16-4FC3-2CB1-EA71AA7EE040}"/>
                </a:ext>
              </a:extLst>
            </p:cNvPr>
            <p:cNvSpPr/>
            <p:nvPr/>
          </p:nvSpPr>
          <p:spPr>
            <a:xfrm>
              <a:off x="8474448" y="414520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3" name="object 283">
              <a:extLst>
                <a:ext uri="{FF2B5EF4-FFF2-40B4-BE49-F238E27FC236}">
                  <a16:creationId xmlns:a16="http://schemas.microsoft.com/office/drawing/2014/main" id="{2400FA3E-7B17-29C0-506B-5F4C7D4C16B8}"/>
                </a:ext>
              </a:extLst>
            </p:cNvPr>
            <p:cNvSpPr/>
            <p:nvPr/>
          </p:nvSpPr>
          <p:spPr>
            <a:xfrm>
              <a:off x="8299478" y="414520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4" name="object 284">
              <a:extLst>
                <a:ext uri="{FF2B5EF4-FFF2-40B4-BE49-F238E27FC236}">
                  <a16:creationId xmlns:a16="http://schemas.microsoft.com/office/drawing/2014/main" id="{7504F342-10A3-9ED4-58EC-64898FD4C67A}"/>
                </a:ext>
              </a:extLst>
            </p:cNvPr>
            <p:cNvSpPr/>
            <p:nvPr/>
          </p:nvSpPr>
          <p:spPr>
            <a:xfrm>
              <a:off x="8299478" y="41707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5" name="object 285">
              <a:extLst>
                <a:ext uri="{FF2B5EF4-FFF2-40B4-BE49-F238E27FC236}">
                  <a16:creationId xmlns:a16="http://schemas.microsoft.com/office/drawing/2014/main" id="{CC622242-9581-ABC9-5187-2975E821F9AA}"/>
                </a:ext>
              </a:extLst>
            </p:cNvPr>
            <p:cNvSpPr/>
            <p:nvPr/>
          </p:nvSpPr>
          <p:spPr>
            <a:xfrm>
              <a:off x="8299588" y="4145203"/>
              <a:ext cx="15017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7650"/>
                <a:gd name="f4" fmla="val 84454"/>
                <a:gd name="f5" fmla="val 247458"/>
                <a:gd name="f6" fmla="val 84123"/>
                <a:gd name="f7" fmla="*/ f0 1 247650"/>
                <a:gd name="f8" fmla="*/ f1 1 84454"/>
                <a:gd name="f9" fmla="+- f4 0 f2"/>
                <a:gd name="f10" fmla="+- f3 0 f2"/>
                <a:gd name="f11" fmla="*/ f10 1 2476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76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6" name="object 286">
              <a:extLst>
                <a:ext uri="{FF2B5EF4-FFF2-40B4-BE49-F238E27FC236}">
                  <a16:creationId xmlns:a16="http://schemas.microsoft.com/office/drawing/2014/main" id="{F1F06BC9-7EDC-A024-9C49-142507DA53A5}"/>
                </a:ext>
              </a:extLst>
            </p:cNvPr>
            <p:cNvSpPr/>
            <p:nvPr/>
          </p:nvSpPr>
          <p:spPr>
            <a:xfrm>
              <a:off x="8299588" y="4217496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80"/>
                <a:gd name="f4" fmla="val 84454"/>
                <a:gd name="f5" fmla="val 576296"/>
                <a:gd name="f6" fmla="val 84133"/>
                <a:gd name="f7" fmla="*/ f0 1 576580"/>
                <a:gd name="f8" fmla="*/ f1 1 84454"/>
                <a:gd name="f9" fmla="+- f4 0 f2"/>
                <a:gd name="f10" fmla="+- f3 0 f2"/>
                <a:gd name="f11" fmla="*/ f10 1 57658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8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7" name="object 287">
              <a:extLst>
                <a:ext uri="{FF2B5EF4-FFF2-40B4-BE49-F238E27FC236}">
                  <a16:creationId xmlns:a16="http://schemas.microsoft.com/office/drawing/2014/main" id="{387B276D-F51E-C7EE-B34E-B9B026C741D4}"/>
                </a:ext>
              </a:extLst>
            </p:cNvPr>
            <p:cNvSpPr/>
            <p:nvPr/>
          </p:nvSpPr>
          <p:spPr>
            <a:xfrm>
              <a:off x="8579028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8" name="object 288">
              <a:extLst>
                <a:ext uri="{FF2B5EF4-FFF2-40B4-BE49-F238E27FC236}">
                  <a16:creationId xmlns:a16="http://schemas.microsoft.com/office/drawing/2014/main" id="{2F63C9BB-0140-5584-963A-BFEE175B08EA}"/>
                </a:ext>
              </a:extLst>
            </p:cNvPr>
            <p:cNvSpPr/>
            <p:nvPr/>
          </p:nvSpPr>
          <p:spPr>
            <a:xfrm>
              <a:off x="8614050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9" name="object 289">
              <a:extLst>
                <a:ext uri="{FF2B5EF4-FFF2-40B4-BE49-F238E27FC236}">
                  <a16:creationId xmlns:a16="http://schemas.microsoft.com/office/drawing/2014/main" id="{85428DDD-19A2-A563-AB09-87396C6046AF}"/>
                </a:ext>
              </a:extLst>
            </p:cNvPr>
            <p:cNvSpPr/>
            <p:nvPr/>
          </p:nvSpPr>
          <p:spPr>
            <a:xfrm>
              <a:off x="8508985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0" name="object 290">
              <a:extLst>
                <a:ext uri="{FF2B5EF4-FFF2-40B4-BE49-F238E27FC236}">
                  <a16:creationId xmlns:a16="http://schemas.microsoft.com/office/drawing/2014/main" id="{07A9A954-47A5-7BF4-9605-6D09ABD9DB8E}"/>
                </a:ext>
              </a:extLst>
            </p:cNvPr>
            <p:cNvSpPr/>
            <p:nvPr/>
          </p:nvSpPr>
          <p:spPr>
            <a:xfrm>
              <a:off x="8403921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1" name="object 291">
              <a:extLst>
                <a:ext uri="{FF2B5EF4-FFF2-40B4-BE49-F238E27FC236}">
                  <a16:creationId xmlns:a16="http://schemas.microsoft.com/office/drawing/2014/main" id="{3654AAEB-EAA3-55D5-9B68-9504E293DE84}"/>
                </a:ext>
              </a:extLst>
            </p:cNvPr>
            <p:cNvSpPr/>
            <p:nvPr/>
          </p:nvSpPr>
          <p:spPr>
            <a:xfrm>
              <a:off x="8439015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2" name="object 292">
              <a:extLst>
                <a:ext uri="{FF2B5EF4-FFF2-40B4-BE49-F238E27FC236}">
                  <a16:creationId xmlns:a16="http://schemas.microsoft.com/office/drawing/2014/main" id="{70DDA78D-A15F-66A6-AEE9-BECDA1CBA5D1}"/>
                </a:ext>
              </a:extLst>
            </p:cNvPr>
            <p:cNvSpPr/>
            <p:nvPr/>
          </p:nvSpPr>
          <p:spPr>
            <a:xfrm>
              <a:off x="8333878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3" name="object 293">
              <a:extLst>
                <a:ext uri="{FF2B5EF4-FFF2-40B4-BE49-F238E27FC236}">
                  <a16:creationId xmlns:a16="http://schemas.microsoft.com/office/drawing/2014/main" id="{019FF333-BED1-07CA-D92C-940CC22DCCBA}"/>
                </a:ext>
              </a:extLst>
            </p:cNvPr>
            <p:cNvSpPr/>
            <p:nvPr/>
          </p:nvSpPr>
          <p:spPr>
            <a:xfrm>
              <a:off x="8544007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4" name="object 294">
              <a:extLst>
                <a:ext uri="{FF2B5EF4-FFF2-40B4-BE49-F238E27FC236}">
                  <a16:creationId xmlns:a16="http://schemas.microsoft.com/office/drawing/2014/main" id="{8ED400FF-B5C4-CAA5-2A86-F51081372E60}"/>
                </a:ext>
              </a:extLst>
            </p:cNvPr>
            <p:cNvSpPr/>
            <p:nvPr/>
          </p:nvSpPr>
          <p:spPr>
            <a:xfrm>
              <a:off x="8368899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5" name="object 295">
              <a:extLst>
                <a:ext uri="{FF2B5EF4-FFF2-40B4-BE49-F238E27FC236}">
                  <a16:creationId xmlns:a16="http://schemas.microsoft.com/office/drawing/2014/main" id="{D010B9B6-55DE-5757-03C8-75C142156C99}"/>
                </a:ext>
              </a:extLst>
            </p:cNvPr>
            <p:cNvSpPr/>
            <p:nvPr/>
          </p:nvSpPr>
          <p:spPr>
            <a:xfrm>
              <a:off x="8649071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6" name="object 296">
              <a:extLst>
                <a:ext uri="{FF2B5EF4-FFF2-40B4-BE49-F238E27FC236}">
                  <a16:creationId xmlns:a16="http://schemas.microsoft.com/office/drawing/2014/main" id="{FCCBD564-8968-FD84-A17E-9FCF1708CA22}"/>
                </a:ext>
              </a:extLst>
            </p:cNvPr>
            <p:cNvSpPr/>
            <p:nvPr/>
          </p:nvSpPr>
          <p:spPr>
            <a:xfrm>
              <a:off x="8474101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7" name="object 297">
              <a:extLst>
                <a:ext uri="{FF2B5EF4-FFF2-40B4-BE49-F238E27FC236}">
                  <a16:creationId xmlns:a16="http://schemas.microsoft.com/office/drawing/2014/main" id="{3BE5014C-2CC1-5561-F76F-912517BBAB74}"/>
                </a:ext>
              </a:extLst>
            </p:cNvPr>
            <p:cNvSpPr/>
            <p:nvPr/>
          </p:nvSpPr>
          <p:spPr>
            <a:xfrm>
              <a:off x="8299130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8" name="object 298">
              <a:extLst>
                <a:ext uri="{FF2B5EF4-FFF2-40B4-BE49-F238E27FC236}">
                  <a16:creationId xmlns:a16="http://schemas.microsoft.com/office/drawing/2014/main" id="{36A7E640-8C72-4E92-35D8-5A5283E97FF9}"/>
                </a:ext>
              </a:extLst>
            </p:cNvPr>
            <p:cNvSpPr/>
            <p:nvPr/>
          </p:nvSpPr>
          <p:spPr>
            <a:xfrm>
              <a:off x="8474101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9" name="object 299">
              <a:extLst>
                <a:ext uri="{FF2B5EF4-FFF2-40B4-BE49-F238E27FC236}">
                  <a16:creationId xmlns:a16="http://schemas.microsoft.com/office/drawing/2014/main" id="{1BDBC62D-B890-9A33-71D8-B0D8BD16CA6B}"/>
                </a:ext>
              </a:extLst>
            </p:cNvPr>
            <p:cNvSpPr/>
            <p:nvPr/>
          </p:nvSpPr>
          <p:spPr>
            <a:xfrm>
              <a:off x="8299130" y="424300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00" name="object 300">
            <a:extLst>
              <a:ext uri="{FF2B5EF4-FFF2-40B4-BE49-F238E27FC236}">
                <a16:creationId xmlns:a16="http://schemas.microsoft.com/office/drawing/2014/main" id="{07F41DA6-CFAD-3FBA-1898-AC7CA357C3A8}"/>
              </a:ext>
            </a:extLst>
          </p:cNvPr>
          <p:cNvGrpSpPr/>
          <p:nvPr/>
        </p:nvGrpSpPr>
        <p:grpSpPr>
          <a:xfrm>
            <a:off x="8299130" y="4906670"/>
            <a:ext cx="350371" cy="123507"/>
            <a:chOff x="8299130" y="4906670"/>
            <a:chExt cx="350371" cy="123507"/>
          </a:xfrm>
        </p:grpSpPr>
        <p:sp>
          <p:nvSpPr>
            <p:cNvPr id="301" name="object 301">
              <a:extLst>
                <a:ext uri="{FF2B5EF4-FFF2-40B4-BE49-F238E27FC236}">
                  <a16:creationId xmlns:a16="http://schemas.microsoft.com/office/drawing/2014/main" id="{8709E3C7-6499-B181-90A3-92AC20A4DBC1}"/>
                </a:ext>
              </a:extLst>
            </p:cNvPr>
            <p:cNvSpPr/>
            <p:nvPr/>
          </p:nvSpPr>
          <p:spPr>
            <a:xfrm>
              <a:off x="8579376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2" name="object 302">
              <a:extLst>
                <a:ext uri="{FF2B5EF4-FFF2-40B4-BE49-F238E27FC236}">
                  <a16:creationId xmlns:a16="http://schemas.microsoft.com/office/drawing/2014/main" id="{E45D5FB7-B15F-076B-3828-57355187D706}"/>
                </a:ext>
              </a:extLst>
            </p:cNvPr>
            <p:cNvSpPr/>
            <p:nvPr/>
          </p:nvSpPr>
          <p:spPr>
            <a:xfrm>
              <a:off x="861439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3" name="object 303">
              <a:extLst>
                <a:ext uri="{FF2B5EF4-FFF2-40B4-BE49-F238E27FC236}">
                  <a16:creationId xmlns:a16="http://schemas.microsoft.com/office/drawing/2014/main" id="{F1A3A5CE-6717-33E8-F940-DBB062DD099F}"/>
                </a:ext>
              </a:extLst>
            </p:cNvPr>
            <p:cNvSpPr/>
            <p:nvPr/>
          </p:nvSpPr>
          <p:spPr>
            <a:xfrm>
              <a:off x="8509333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4" name="object 304">
              <a:extLst>
                <a:ext uri="{FF2B5EF4-FFF2-40B4-BE49-F238E27FC236}">
                  <a16:creationId xmlns:a16="http://schemas.microsoft.com/office/drawing/2014/main" id="{1D81988C-1EBD-7CEF-ECCE-7B81FF9F1563}"/>
                </a:ext>
              </a:extLst>
            </p:cNvPr>
            <p:cNvSpPr/>
            <p:nvPr/>
          </p:nvSpPr>
          <p:spPr>
            <a:xfrm>
              <a:off x="8404268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5" name="object 305">
              <a:extLst>
                <a:ext uri="{FF2B5EF4-FFF2-40B4-BE49-F238E27FC236}">
                  <a16:creationId xmlns:a16="http://schemas.microsoft.com/office/drawing/2014/main" id="{499D5487-D722-979B-8B43-C950E73853BE}"/>
                </a:ext>
              </a:extLst>
            </p:cNvPr>
            <p:cNvSpPr/>
            <p:nvPr/>
          </p:nvSpPr>
          <p:spPr>
            <a:xfrm>
              <a:off x="8439354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6" name="object 306">
              <a:extLst>
                <a:ext uri="{FF2B5EF4-FFF2-40B4-BE49-F238E27FC236}">
                  <a16:creationId xmlns:a16="http://schemas.microsoft.com/office/drawing/2014/main" id="{AE3C1D7D-BCBD-D304-DB1C-08F07EEF4FA1}"/>
                </a:ext>
              </a:extLst>
            </p:cNvPr>
            <p:cNvSpPr/>
            <p:nvPr/>
          </p:nvSpPr>
          <p:spPr>
            <a:xfrm>
              <a:off x="8334225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7" name="object 307">
              <a:extLst>
                <a:ext uri="{FF2B5EF4-FFF2-40B4-BE49-F238E27FC236}">
                  <a16:creationId xmlns:a16="http://schemas.microsoft.com/office/drawing/2014/main" id="{AD61F791-D7FE-3666-D48D-BBD302584239}"/>
                </a:ext>
              </a:extLst>
            </p:cNvPr>
            <p:cNvSpPr/>
            <p:nvPr/>
          </p:nvSpPr>
          <p:spPr>
            <a:xfrm>
              <a:off x="8544354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8" name="object 308">
              <a:extLst>
                <a:ext uri="{FF2B5EF4-FFF2-40B4-BE49-F238E27FC236}">
                  <a16:creationId xmlns:a16="http://schemas.microsoft.com/office/drawing/2014/main" id="{E6214E18-3623-A704-127F-51C5ED267AB9}"/>
                </a:ext>
              </a:extLst>
            </p:cNvPr>
            <p:cNvSpPr/>
            <p:nvPr/>
          </p:nvSpPr>
          <p:spPr>
            <a:xfrm>
              <a:off x="836924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9" name="object 309">
              <a:extLst>
                <a:ext uri="{FF2B5EF4-FFF2-40B4-BE49-F238E27FC236}">
                  <a16:creationId xmlns:a16="http://schemas.microsoft.com/office/drawing/2014/main" id="{110DC412-620A-83B7-4C25-A11DA8BDEBF2}"/>
                </a:ext>
              </a:extLst>
            </p:cNvPr>
            <p:cNvSpPr/>
            <p:nvPr/>
          </p:nvSpPr>
          <p:spPr>
            <a:xfrm>
              <a:off x="864941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0" name="object 310">
              <a:extLst>
                <a:ext uri="{FF2B5EF4-FFF2-40B4-BE49-F238E27FC236}">
                  <a16:creationId xmlns:a16="http://schemas.microsoft.com/office/drawing/2014/main" id="{154F11BF-BCA9-FA12-06AB-BEBF89B99CB1}"/>
                </a:ext>
              </a:extLst>
            </p:cNvPr>
            <p:cNvSpPr/>
            <p:nvPr/>
          </p:nvSpPr>
          <p:spPr>
            <a:xfrm>
              <a:off x="8474448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1" name="object 311">
              <a:extLst>
                <a:ext uri="{FF2B5EF4-FFF2-40B4-BE49-F238E27FC236}">
                  <a16:creationId xmlns:a16="http://schemas.microsoft.com/office/drawing/2014/main" id="{2BCD5AF7-5BA8-F7F1-CE2E-0B5D004A11FB}"/>
                </a:ext>
              </a:extLst>
            </p:cNvPr>
            <p:cNvSpPr/>
            <p:nvPr/>
          </p:nvSpPr>
          <p:spPr>
            <a:xfrm>
              <a:off x="8299478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2" name="object 312">
              <a:extLst>
                <a:ext uri="{FF2B5EF4-FFF2-40B4-BE49-F238E27FC236}">
                  <a16:creationId xmlns:a16="http://schemas.microsoft.com/office/drawing/2014/main" id="{AB445BF8-B275-E679-59C5-78EBA7F8AAE1}"/>
                </a:ext>
              </a:extLst>
            </p:cNvPr>
            <p:cNvSpPr/>
            <p:nvPr/>
          </p:nvSpPr>
          <p:spPr>
            <a:xfrm>
              <a:off x="8299478" y="49321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3" name="object 313">
              <a:extLst>
                <a:ext uri="{FF2B5EF4-FFF2-40B4-BE49-F238E27FC236}">
                  <a16:creationId xmlns:a16="http://schemas.microsoft.com/office/drawing/2014/main" id="{2ED042E9-4CD7-BA0E-5872-4FCA47058D92}"/>
                </a:ext>
              </a:extLst>
            </p:cNvPr>
            <p:cNvSpPr/>
            <p:nvPr/>
          </p:nvSpPr>
          <p:spPr>
            <a:xfrm>
              <a:off x="8299588" y="4906670"/>
              <a:ext cx="4505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4294"/>
                <a:gd name="f4" fmla="val 84454"/>
                <a:gd name="f5" fmla="val 74060"/>
                <a:gd name="f6" fmla="val 84133"/>
                <a:gd name="f7" fmla="*/ f0 1 74294"/>
                <a:gd name="f8" fmla="*/ f1 1 84454"/>
                <a:gd name="f9" fmla="+- f4 0 f2"/>
                <a:gd name="f10" fmla="+- f3 0 f2"/>
                <a:gd name="f11" fmla="*/ f10 1 7429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7429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4" name="object 314">
              <a:extLst>
                <a:ext uri="{FF2B5EF4-FFF2-40B4-BE49-F238E27FC236}">
                  <a16:creationId xmlns:a16="http://schemas.microsoft.com/office/drawing/2014/main" id="{960B311A-321F-2AEF-0BDC-5CB5765293EF}"/>
                </a:ext>
              </a:extLst>
            </p:cNvPr>
            <p:cNvSpPr/>
            <p:nvPr/>
          </p:nvSpPr>
          <p:spPr>
            <a:xfrm>
              <a:off x="8299588" y="4978962"/>
              <a:ext cx="8702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3509"/>
                <a:gd name="f4" fmla="val 84454"/>
                <a:gd name="f5" fmla="val 143116"/>
                <a:gd name="f6" fmla="val 84133"/>
                <a:gd name="f7" fmla="*/ f0 1 143509"/>
                <a:gd name="f8" fmla="*/ f1 1 84454"/>
                <a:gd name="f9" fmla="+- f4 0 f2"/>
                <a:gd name="f10" fmla="+- f3 0 f2"/>
                <a:gd name="f11" fmla="*/ f10 1 1435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35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5" name="object 315">
              <a:extLst>
                <a:ext uri="{FF2B5EF4-FFF2-40B4-BE49-F238E27FC236}">
                  <a16:creationId xmlns:a16="http://schemas.microsoft.com/office/drawing/2014/main" id="{24B554E5-867D-E4BC-F2B5-FED10CDDF711}"/>
                </a:ext>
              </a:extLst>
            </p:cNvPr>
            <p:cNvSpPr/>
            <p:nvPr/>
          </p:nvSpPr>
          <p:spPr>
            <a:xfrm>
              <a:off x="8579028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6" name="object 316">
              <a:extLst>
                <a:ext uri="{FF2B5EF4-FFF2-40B4-BE49-F238E27FC236}">
                  <a16:creationId xmlns:a16="http://schemas.microsoft.com/office/drawing/2014/main" id="{55ABEEE5-45DB-A3C1-D6C4-344B093EE68F}"/>
                </a:ext>
              </a:extLst>
            </p:cNvPr>
            <p:cNvSpPr/>
            <p:nvPr/>
          </p:nvSpPr>
          <p:spPr>
            <a:xfrm>
              <a:off x="861405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7" name="object 317">
              <a:extLst>
                <a:ext uri="{FF2B5EF4-FFF2-40B4-BE49-F238E27FC236}">
                  <a16:creationId xmlns:a16="http://schemas.microsoft.com/office/drawing/2014/main" id="{117C434F-185B-F9A0-AD44-06CF70F4F904}"/>
                </a:ext>
              </a:extLst>
            </p:cNvPr>
            <p:cNvSpPr/>
            <p:nvPr/>
          </p:nvSpPr>
          <p:spPr>
            <a:xfrm>
              <a:off x="850898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8" name="object 318">
              <a:extLst>
                <a:ext uri="{FF2B5EF4-FFF2-40B4-BE49-F238E27FC236}">
                  <a16:creationId xmlns:a16="http://schemas.microsoft.com/office/drawing/2014/main" id="{42772060-F5A3-2770-16C8-3436AB686AA6}"/>
                </a:ext>
              </a:extLst>
            </p:cNvPr>
            <p:cNvSpPr/>
            <p:nvPr/>
          </p:nvSpPr>
          <p:spPr>
            <a:xfrm>
              <a:off x="8403921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9" name="object 319">
              <a:extLst>
                <a:ext uri="{FF2B5EF4-FFF2-40B4-BE49-F238E27FC236}">
                  <a16:creationId xmlns:a16="http://schemas.microsoft.com/office/drawing/2014/main" id="{477A422A-9114-F923-838C-1EEEA0BBD75E}"/>
                </a:ext>
              </a:extLst>
            </p:cNvPr>
            <p:cNvSpPr/>
            <p:nvPr/>
          </p:nvSpPr>
          <p:spPr>
            <a:xfrm>
              <a:off x="843901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0" name="object 320">
              <a:extLst>
                <a:ext uri="{FF2B5EF4-FFF2-40B4-BE49-F238E27FC236}">
                  <a16:creationId xmlns:a16="http://schemas.microsoft.com/office/drawing/2014/main" id="{F1EFA36D-C50B-7408-B571-8D9013A098FF}"/>
                </a:ext>
              </a:extLst>
            </p:cNvPr>
            <p:cNvSpPr/>
            <p:nvPr/>
          </p:nvSpPr>
          <p:spPr>
            <a:xfrm>
              <a:off x="8333878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1" name="object 321">
              <a:extLst>
                <a:ext uri="{FF2B5EF4-FFF2-40B4-BE49-F238E27FC236}">
                  <a16:creationId xmlns:a16="http://schemas.microsoft.com/office/drawing/2014/main" id="{08E074FF-3CEF-6AA5-5BFF-21FB2AA4487B}"/>
                </a:ext>
              </a:extLst>
            </p:cNvPr>
            <p:cNvSpPr/>
            <p:nvPr/>
          </p:nvSpPr>
          <p:spPr>
            <a:xfrm>
              <a:off x="8544007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2" name="object 322">
              <a:extLst>
                <a:ext uri="{FF2B5EF4-FFF2-40B4-BE49-F238E27FC236}">
                  <a16:creationId xmlns:a16="http://schemas.microsoft.com/office/drawing/2014/main" id="{B8028759-B7E0-DB55-EBAB-632530F06AAD}"/>
                </a:ext>
              </a:extLst>
            </p:cNvPr>
            <p:cNvSpPr/>
            <p:nvPr/>
          </p:nvSpPr>
          <p:spPr>
            <a:xfrm>
              <a:off x="8368899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3" name="object 323">
              <a:extLst>
                <a:ext uri="{FF2B5EF4-FFF2-40B4-BE49-F238E27FC236}">
                  <a16:creationId xmlns:a16="http://schemas.microsoft.com/office/drawing/2014/main" id="{7AFD07CF-B122-D978-0E63-C7A399F0C89D}"/>
                </a:ext>
              </a:extLst>
            </p:cNvPr>
            <p:cNvSpPr/>
            <p:nvPr/>
          </p:nvSpPr>
          <p:spPr>
            <a:xfrm>
              <a:off x="864907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4" name="object 324">
              <a:extLst>
                <a:ext uri="{FF2B5EF4-FFF2-40B4-BE49-F238E27FC236}">
                  <a16:creationId xmlns:a16="http://schemas.microsoft.com/office/drawing/2014/main" id="{9FB845D1-AF8B-0B89-7F51-148E3DCFF271}"/>
                </a:ext>
              </a:extLst>
            </p:cNvPr>
            <p:cNvSpPr/>
            <p:nvPr/>
          </p:nvSpPr>
          <p:spPr>
            <a:xfrm>
              <a:off x="847410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5" name="object 325">
              <a:extLst>
                <a:ext uri="{FF2B5EF4-FFF2-40B4-BE49-F238E27FC236}">
                  <a16:creationId xmlns:a16="http://schemas.microsoft.com/office/drawing/2014/main" id="{3BA310DB-464F-C36D-F622-7FE989667577}"/>
                </a:ext>
              </a:extLst>
            </p:cNvPr>
            <p:cNvSpPr/>
            <p:nvPr/>
          </p:nvSpPr>
          <p:spPr>
            <a:xfrm>
              <a:off x="8299130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6" name="object 326">
              <a:extLst>
                <a:ext uri="{FF2B5EF4-FFF2-40B4-BE49-F238E27FC236}">
                  <a16:creationId xmlns:a16="http://schemas.microsoft.com/office/drawing/2014/main" id="{EBCD538B-DB03-705F-D0D5-77B336F934E9}"/>
                </a:ext>
              </a:extLst>
            </p:cNvPr>
            <p:cNvSpPr/>
            <p:nvPr/>
          </p:nvSpPr>
          <p:spPr>
            <a:xfrm>
              <a:off x="847410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7" name="object 327">
              <a:extLst>
                <a:ext uri="{FF2B5EF4-FFF2-40B4-BE49-F238E27FC236}">
                  <a16:creationId xmlns:a16="http://schemas.microsoft.com/office/drawing/2014/main" id="{07E1EC51-B374-DB37-6421-6598424FD66B}"/>
                </a:ext>
              </a:extLst>
            </p:cNvPr>
            <p:cNvSpPr/>
            <p:nvPr/>
          </p:nvSpPr>
          <p:spPr>
            <a:xfrm>
              <a:off x="8299130" y="50044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28" name="object 328">
            <a:extLst>
              <a:ext uri="{FF2B5EF4-FFF2-40B4-BE49-F238E27FC236}">
                <a16:creationId xmlns:a16="http://schemas.microsoft.com/office/drawing/2014/main" id="{FA06C2EE-8D04-35CC-143A-FD8BE16F773F}"/>
              </a:ext>
            </a:extLst>
          </p:cNvPr>
          <p:cNvGrpSpPr/>
          <p:nvPr/>
        </p:nvGrpSpPr>
        <p:grpSpPr>
          <a:xfrm>
            <a:off x="8299130" y="5669709"/>
            <a:ext cx="350371" cy="123508"/>
            <a:chOff x="8299130" y="5669709"/>
            <a:chExt cx="350371" cy="123508"/>
          </a:xfrm>
        </p:grpSpPr>
        <p:sp>
          <p:nvSpPr>
            <p:cNvPr id="329" name="object 329">
              <a:extLst>
                <a:ext uri="{FF2B5EF4-FFF2-40B4-BE49-F238E27FC236}">
                  <a16:creationId xmlns:a16="http://schemas.microsoft.com/office/drawing/2014/main" id="{1324FBAB-302E-2AA8-070F-65E89BA54A6D}"/>
                </a:ext>
              </a:extLst>
            </p:cNvPr>
            <p:cNvSpPr/>
            <p:nvPr/>
          </p:nvSpPr>
          <p:spPr>
            <a:xfrm>
              <a:off x="8579376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0" name="object 330">
              <a:extLst>
                <a:ext uri="{FF2B5EF4-FFF2-40B4-BE49-F238E27FC236}">
                  <a16:creationId xmlns:a16="http://schemas.microsoft.com/office/drawing/2014/main" id="{F2FC884C-9752-DF0E-4F69-A9AEA817BABD}"/>
                </a:ext>
              </a:extLst>
            </p:cNvPr>
            <p:cNvSpPr/>
            <p:nvPr/>
          </p:nvSpPr>
          <p:spPr>
            <a:xfrm>
              <a:off x="861439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1" name="object 331">
              <a:extLst>
                <a:ext uri="{FF2B5EF4-FFF2-40B4-BE49-F238E27FC236}">
                  <a16:creationId xmlns:a16="http://schemas.microsoft.com/office/drawing/2014/main" id="{7176A489-8927-99BC-A616-2E93C421FEFD}"/>
                </a:ext>
              </a:extLst>
            </p:cNvPr>
            <p:cNvSpPr/>
            <p:nvPr/>
          </p:nvSpPr>
          <p:spPr>
            <a:xfrm>
              <a:off x="850933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2" name="object 332">
              <a:extLst>
                <a:ext uri="{FF2B5EF4-FFF2-40B4-BE49-F238E27FC236}">
                  <a16:creationId xmlns:a16="http://schemas.microsoft.com/office/drawing/2014/main" id="{3CBD2254-6B13-87AC-D363-937CEB4F6B1F}"/>
                </a:ext>
              </a:extLst>
            </p:cNvPr>
            <p:cNvSpPr/>
            <p:nvPr/>
          </p:nvSpPr>
          <p:spPr>
            <a:xfrm>
              <a:off x="8404268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3" name="object 333">
              <a:extLst>
                <a:ext uri="{FF2B5EF4-FFF2-40B4-BE49-F238E27FC236}">
                  <a16:creationId xmlns:a16="http://schemas.microsoft.com/office/drawing/2014/main" id="{2289E62B-E172-DC58-AA68-ACCA458B9357}"/>
                </a:ext>
              </a:extLst>
            </p:cNvPr>
            <p:cNvSpPr/>
            <p:nvPr/>
          </p:nvSpPr>
          <p:spPr>
            <a:xfrm>
              <a:off x="8439354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4" name="object 334">
              <a:extLst>
                <a:ext uri="{FF2B5EF4-FFF2-40B4-BE49-F238E27FC236}">
                  <a16:creationId xmlns:a16="http://schemas.microsoft.com/office/drawing/2014/main" id="{7121970E-693A-FAEC-7D46-FEC3A7B1E515}"/>
                </a:ext>
              </a:extLst>
            </p:cNvPr>
            <p:cNvSpPr/>
            <p:nvPr/>
          </p:nvSpPr>
          <p:spPr>
            <a:xfrm>
              <a:off x="8334225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5" name="object 335">
              <a:extLst>
                <a:ext uri="{FF2B5EF4-FFF2-40B4-BE49-F238E27FC236}">
                  <a16:creationId xmlns:a16="http://schemas.microsoft.com/office/drawing/2014/main" id="{FF88213D-ADA0-CDA4-C225-18871DA5D56C}"/>
                </a:ext>
              </a:extLst>
            </p:cNvPr>
            <p:cNvSpPr/>
            <p:nvPr/>
          </p:nvSpPr>
          <p:spPr>
            <a:xfrm>
              <a:off x="8544354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6" name="object 336">
              <a:extLst>
                <a:ext uri="{FF2B5EF4-FFF2-40B4-BE49-F238E27FC236}">
                  <a16:creationId xmlns:a16="http://schemas.microsoft.com/office/drawing/2014/main" id="{E3B59F11-10BE-E250-4037-0F0FE530DCF1}"/>
                </a:ext>
              </a:extLst>
            </p:cNvPr>
            <p:cNvSpPr/>
            <p:nvPr/>
          </p:nvSpPr>
          <p:spPr>
            <a:xfrm>
              <a:off x="836924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7" name="object 337">
              <a:extLst>
                <a:ext uri="{FF2B5EF4-FFF2-40B4-BE49-F238E27FC236}">
                  <a16:creationId xmlns:a16="http://schemas.microsoft.com/office/drawing/2014/main" id="{AE6CE5AA-068A-DEAF-812C-98426492F236}"/>
                </a:ext>
              </a:extLst>
            </p:cNvPr>
            <p:cNvSpPr/>
            <p:nvPr/>
          </p:nvSpPr>
          <p:spPr>
            <a:xfrm>
              <a:off x="8649419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8" name="object 338">
              <a:extLst>
                <a:ext uri="{FF2B5EF4-FFF2-40B4-BE49-F238E27FC236}">
                  <a16:creationId xmlns:a16="http://schemas.microsoft.com/office/drawing/2014/main" id="{DCA7C6CC-6EDA-A365-DA61-34908D221A2F}"/>
                </a:ext>
              </a:extLst>
            </p:cNvPr>
            <p:cNvSpPr/>
            <p:nvPr/>
          </p:nvSpPr>
          <p:spPr>
            <a:xfrm>
              <a:off x="847444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9" name="object 339">
              <a:extLst>
                <a:ext uri="{FF2B5EF4-FFF2-40B4-BE49-F238E27FC236}">
                  <a16:creationId xmlns:a16="http://schemas.microsoft.com/office/drawing/2014/main" id="{37D5AB7C-AB45-BF21-2E40-8B5D2C3842EB}"/>
                </a:ext>
              </a:extLst>
            </p:cNvPr>
            <p:cNvSpPr/>
            <p:nvPr/>
          </p:nvSpPr>
          <p:spPr>
            <a:xfrm>
              <a:off x="829947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0" name="object 340">
              <a:extLst>
                <a:ext uri="{FF2B5EF4-FFF2-40B4-BE49-F238E27FC236}">
                  <a16:creationId xmlns:a16="http://schemas.microsoft.com/office/drawing/2014/main" id="{B7599379-E5CC-BAFB-3D88-22A409FC0E53}"/>
                </a:ext>
              </a:extLst>
            </p:cNvPr>
            <p:cNvSpPr/>
            <p:nvPr/>
          </p:nvSpPr>
          <p:spPr>
            <a:xfrm>
              <a:off x="8299478" y="569521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1" name="object 341">
              <a:extLst>
                <a:ext uri="{FF2B5EF4-FFF2-40B4-BE49-F238E27FC236}">
                  <a16:creationId xmlns:a16="http://schemas.microsoft.com/office/drawing/2014/main" id="{127C6F82-D0FE-0D5A-6672-CFBFD2D076ED}"/>
                </a:ext>
              </a:extLst>
            </p:cNvPr>
            <p:cNvSpPr/>
            <p:nvPr/>
          </p:nvSpPr>
          <p:spPr>
            <a:xfrm>
              <a:off x="8299588" y="5669709"/>
              <a:ext cx="7662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6365"/>
                <a:gd name="f4" fmla="val 84454"/>
                <a:gd name="f5" fmla="val 126195"/>
                <a:gd name="f6" fmla="val 84123"/>
                <a:gd name="f7" fmla="*/ f0 1 126365"/>
                <a:gd name="f8" fmla="*/ f1 1 84454"/>
                <a:gd name="f9" fmla="+- f4 0 f2"/>
                <a:gd name="f10" fmla="+- f3 0 f2"/>
                <a:gd name="f11" fmla="*/ f10 1 1263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63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2" name="object 342">
              <a:extLst>
                <a:ext uri="{FF2B5EF4-FFF2-40B4-BE49-F238E27FC236}">
                  <a16:creationId xmlns:a16="http://schemas.microsoft.com/office/drawing/2014/main" id="{5650A460-5D7A-D5B6-5C57-46E30D0525BA}"/>
                </a:ext>
              </a:extLst>
            </p:cNvPr>
            <p:cNvSpPr/>
            <p:nvPr/>
          </p:nvSpPr>
          <p:spPr>
            <a:xfrm>
              <a:off x="8299588" y="5742002"/>
              <a:ext cx="1239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04469"/>
                <a:gd name="f4" fmla="val 84454"/>
                <a:gd name="f5" fmla="val 204161"/>
                <a:gd name="f6" fmla="val 84133"/>
                <a:gd name="f7" fmla="*/ f0 1 204469"/>
                <a:gd name="f8" fmla="*/ f1 1 84454"/>
                <a:gd name="f9" fmla="+- f4 0 f2"/>
                <a:gd name="f10" fmla="+- f3 0 f2"/>
                <a:gd name="f11" fmla="*/ f10 1 20446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0446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3" name="object 343">
              <a:extLst>
                <a:ext uri="{FF2B5EF4-FFF2-40B4-BE49-F238E27FC236}">
                  <a16:creationId xmlns:a16="http://schemas.microsoft.com/office/drawing/2014/main" id="{7354A52C-7468-439F-5EBB-3D65AAA210E9}"/>
                </a:ext>
              </a:extLst>
            </p:cNvPr>
            <p:cNvSpPr/>
            <p:nvPr/>
          </p:nvSpPr>
          <p:spPr>
            <a:xfrm>
              <a:off x="8579028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4" name="object 344">
              <a:extLst>
                <a:ext uri="{FF2B5EF4-FFF2-40B4-BE49-F238E27FC236}">
                  <a16:creationId xmlns:a16="http://schemas.microsoft.com/office/drawing/2014/main" id="{3771C077-77C5-E304-AB96-0D497055DA48}"/>
                </a:ext>
              </a:extLst>
            </p:cNvPr>
            <p:cNvSpPr/>
            <p:nvPr/>
          </p:nvSpPr>
          <p:spPr>
            <a:xfrm>
              <a:off x="8614050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5" name="object 345">
              <a:extLst>
                <a:ext uri="{FF2B5EF4-FFF2-40B4-BE49-F238E27FC236}">
                  <a16:creationId xmlns:a16="http://schemas.microsoft.com/office/drawing/2014/main" id="{A1D7025C-55FB-D89E-41FD-03737BCB95EB}"/>
                </a:ext>
              </a:extLst>
            </p:cNvPr>
            <p:cNvSpPr/>
            <p:nvPr/>
          </p:nvSpPr>
          <p:spPr>
            <a:xfrm>
              <a:off x="8508985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6" name="object 346">
              <a:extLst>
                <a:ext uri="{FF2B5EF4-FFF2-40B4-BE49-F238E27FC236}">
                  <a16:creationId xmlns:a16="http://schemas.microsoft.com/office/drawing/2014/main" id="{2C1506BD-4988-F773-A262-5F17DFC44B21}"/>
                </a:ext>
              </a:extLst>
            </p:cNvPr>
            <p:cNvSpPr/>
            <p:nvPr/>
          </p:nvSpPr>
          <p:spPr>
            <a:xfrm>
              <a:off x="8403921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7" name="object 347">
              <a:extLst>
                <a:ext uri="{FF2B5EF4-FFF2-40B4-BE49-F238E27FC236}">
                  <a16:creationId xmlns:a16="http://schemas.microsoft.com/office/drawing/2014/main" id="{21E087E2-F28D-7E0E-A146-D65B7C83A309}"/>
                </a:ext>
              </a:extLst>
            </p:cNvPr>
            <p:cNvSpPr/>
            <p:nvPr/>
          </p:nvSpPr>
          <p:spPr>
            <a:xfrm>
              <a:off x="8439015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8" name="object 348">
              <a:extLst>
                <a:ext uri="{FF2B5EF4-FFF2-40B4-BE49-F238E27FC236}">
                  <a16:creationId xmlns:a16="http://schemas.microsoft.com/office/drawing/2014/main" id="{3EC2A4B3-172F-6E25-C3D6-FAFD6B7627AD}"/>
                </a:ext>
              </a:extLst>
            </p:cNvPr>
            <p:cNvSpPr/>
            <p:nvPr/>
          </p:nvSpPr>
          <p:spPr>
            <a:xfrm>
              <a:off x="8333878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9" name="object 349">
              <a:extLst>
                <a:ext uri="{FF2B5EF4-FFF2-40B4-BE49-F238E27FC236}">
                  <a16:creationId xmlns:a16="http://schemas.microsoft.com/office/drawing/2014/main" id="{A4533479-0485-C67D-B1CB-AF32080571C8}"/>
                </a:ext>
              </a:extLst>
            </p:cNvPr>
            <p:cNvSpPr/>
            <p:nvPr/>
          </p:nvSpPr>
          <p:spPr>
            <a:xfrm>
              <a:off x="8544007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0" name="object 350">
              <a:extLst>
                <a:ext uri="{FF2B5EF4-FFF2-40B4-BE49-F238E27FC236}">
                  <a16:creationId xmlns:a16="http://schemas.microsoft.com/office/drawing/2014/main" id="{8799156E-E1DD-53F9-5039-E11552418EB3}"/>
                </a:ext>
              </a:extLst>
            </p:cNvPr>
            <p:cNvSpPr/>
            <p:nvPr/>
          </p:nvSpPr>
          <p:spPr>
            <a:xfrm>
              <a:off x="8368899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1" name="object 351">
              <a:extLst>
                <a:ext uri="{FF2B5EF4-FFF2-40B4-BE49-F238E27FC236}">
                  <a16:creationId xmlns:a16="http://schemas.microsoft.com/office/drawing/2014/main" id="{FDBD5EC9-A82A-F466-A60E-C1C11D252C1C}"/>
                </a:ext>
              </a:extLst>
            </p:cNvPr>
            <p:cNvSpPr/>
            <p:nvPr/>
          </p:nvSpPr>
          <p:spPr>
            <a:xfrm>
              <a:off x="8649071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2" name="object 352">
              <a:extLst>
                <a:ext uri="{FF2B5EF4-FFF2-40B4-BE49-F238E27FC236}">
                  <a16:creationId xmlns:a16="http://schemas.microsoft.com/office/drawing/2014/main" id="{6F737879-6DDC-4C4F-B33D-FCB2A4EC7D34}"/>
                </a:ext>
              </a:extLst>
            </p:cNvPr>
            <p:cNvSpPr/>
            <p:nvPr/>
          </p:nvSpPr>
          <p:spPr>
            <a:xfrm>
              <a:off x="8474101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3" name="object 353">
              <a:extLst>
                <a:ext uri="{FF2B5EF4-FFF2-40B4-BE49-F238E27FC236}">
                  <a16:creationId xmlns:a16="http://schemas.microsoft.com/office/drawing/2014/main" id="{F8CA175D-F077-F47D-0086-A9672A3AB4F2}"/>
                </a:ext>
              </a:extLst>
            </p:cNvPr>
            <p:cNvSpPr/>
            <p:nvPr/>
          </p:nvSpPr>
          <p:spPr>
            <a:xfrm>
              <a:off x="8299130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4" name="object 354">
              <a:extLst>
                <a:ext uri="{FF2B5EF4-FFF2-40B4-BE49-F238E27FC236}">
                  <a16:creationId xmlns:a16="http://schemas.microsoft.com/office/drawing/2014/main" id="{5E5D2573-1E59-49F9-A2E0-8DA19D6CF871}"/>
                </a:ext>
              </a:extLst>
            </p:cNvPr>
            <p:cNvSpPr/>
            <p:nvPr/>
          </p:nvSpPr>
          <p:spPr>
            <a:xfrm>
              <a:off x="8474101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5" name="object 355">
              <a:extLst>
                <a:ext uri="{FF2B5EF4-FFF2-40B4-BE49-F238E27FC236}">
                  <a16:creationId xmlns:a16="http://schemas.microsoft.com/office/drawing/2014/main" id="{B6EFA5A9-21EA-0335-BBEE-8D6DFAB7C3E3}"/>
                </a:ext>
              </a:extLst>
            </p:cNvPr>
            <p:cNvSpPr/>
            <p:nvPr/>
          </p:nvSpPr>
          <p:spPr>
            <a:xfrm>
              <a:off x="8299130" y="576750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56" name="object 356">
            <a:extLst>
              <a:ext uri="{FF2B5EF4-FFF2-40B4-BE49-F238E27FC236}">
                <a16:creationId xmlns:a16="http://schemas.microsoft.com/office/drawing/2014/main" id="{E0D3F5B6-C24C-AF02-76C4-08B772A53A5B}"/>
              </a:ext>
            </a:extLst>
          </p:cNvPr>
          <p:cNvGrpSpPr/>
          <p:nvPr/>
        </p:nvGrpSpPr>
        <p:grpSpPr>
          <a:xfrm>
            <a:off x="8299130" y="6432301"/>
            <a:ext cx="350371" cy="123507"/>
            <a:chOff x="8299130" y="6432301"/>
            <a:chExt cx="350371" cy="123507"/>
          </a:xfrm>
        </p:grpSpPr>
        <p:sp>
          <p:nvSpPr>
            <p:cNvPr id="357" name="object 357">
              <a:extLst>
                <a:ext uri="{FF2B5EF4-FFF2-40B4-BE49-F238E27FC236}">
                  <a16:creationId xmlns:a16="http://schemas.microsoft.com/office/drawing/2014/main" id="{F812EE70-E8EF-2236-D0B3-EB8D46848490}"/>
                </a:ext>
              </a:extLst>
            </p:cNvPr>
            <p:cNvSpPr/>
            <p:nvPr/>
          </p:nvSpPr>
          <p:spPr>
            <a:xfrm>
              <a:off x="8579376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8" name="object 358">
              <a:extLst>
                <a:ext uri="{FF2B5EF4-FFF2-40B4-BE49-F238E27FC236}">
                  <a16:creationId xmlns:a16="http://schemas.microsoft.com/office/drawing/2014/main" id="{D63C12CB-57C9-C849-12DB-98A1574E7BED}"/>
                </a:ext>
              </a:extLst>
            </p:cNvPr>
            <p:cNvSpPr/>
            <p:nvPr/>
          </p:nvSpPr>
          <p:spPr>
            <a:xfrm>
              <a:off x="8614397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9" name="object 359">
              <a:extLst>
                <a:ext uri="{FF2B5EF4-FFF2-40B4-BE49-F238E27FC236}">
                  <a16:creationId xmlns:a16="http://schemas.microsoft.com/office/drawing/2014/main" id="{1E424774-1378-5521-05E9-E0B91C3A52A3}"/>
                </a:ext>
              </a:extLst>
            </p:cNvPr>
            <p:cNvSpPr/>
            <p:nvPr/>
          </p:nvSpPr>
          <p:spPr>
            <a:xfrm>
              <a:off x="8509333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0" name="object 360">
              <a:extLst>
                <a:ext uri="{FF2B5EF4-FFF2-40B4-BE49-F238E27FC236}">
                  <a16:creationId xmlns:a16="http://schemas.microsoft.com/office/drawing/2014/main" id="{7762547D-AABE-B3D8-D5F3-0AE931B6F0E1}"/>
                </a:ext>
              </a:extLst>
            </p:cNvPr>
            <p:cNvSpPr/>
            <p:nvPr/>
          </p:nvSpPr>
          <p:spPr>
            <a:xfrm>
              <a:off x="8404268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1" name="object 361">
              <a:extLst>
                <a:ext uri="{FF2B5EF4-FFF2-40B4-BE49-F238E27FC236}">
                  <a16:creationId xmlns:a16="http://schemas.microsoft.com/office/drawing/2014/main" id="{771FC6BA-8B0C-3BF7-6A5A-0431D4045D59}"/>
                </a:ext>
              </a:extLst>
            </p:cNvPr>
            <p:cNvSpPr/>
            <p:nvPr/>
          </p:nvSpPr>
          <p:spPr>
            <a:xfrm>
              <a:off x="8439354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2" name="object 362">
              <a:extLst>
                <a:ext uri="{FF2B5EF4-FFF2-40B4-BE49-F238E27FC236}">
                  <a16:creationId xmlns:a16="http://schemas.microsoft.com/office/drawing/2014/main" id="{BE2345A5-067B-A46B-238D-22A49FEC6788}"/>
                </a:ext>
              </a:extLst>
            </p:cNvPr>
            <p:cNvSpPr/>
            <p:nvPr/>
          </p:nvSpPr>
          <p:spPr>
            <a:xfrm>
              <a:off x="8334225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3" name="object 363">
              <a:extLst>
                <a:ext uri="{FF2B5EF4-FFF2-40B4-BE49-F238E27FC236}">
                  <a16:creationId xmlns:a16="http://schemas.microsoft.com/office/drawing/2014/main" id="{5822C659-7887-3B94-6595-5A8CED98C134}"/>
                </a:ext>
              </a:extLst>
            </p:cNvPr>
            <p:cNvSpPr/>
            <p:nvPr/>
          </p:nvSpPr>
          <p:spPr>
            <a:xfrm>
              <a:off x="8544354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4" name="object 364">
              <a:extLst>
                <a:ext uri="{FF2B5EF4-FFF2-40B4-BE49-F238E27FC236}">
                  <a16:creationId xmlns:a16="http://schemas.microsoft.com/office/drawing/2014/main" id="{F4DF1C3D-FC99-1AD7-72F0-B9D867FF01D9}"/>
                </a:ext>
              </a:extLst>
            </p:cNvPr>
            <p:cNvSpPr/>
            <p:nvPr/>
          </p:nvSpPr>
          <p:spPr>
            <a:xfrm>
              <a:off x="8369247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5" name="object 365">
              <a:extLst>
                <a:ext uri="{FF2B5EF4-FFF2-40B4-BE49-F238E27FC236}">
                  <a16:creationId xmlns:a16="http://schemas.microsoft.com/office/drawing/2014/main" id="{9A484CAE-F126-B0F0-89E4-4ACF090C0329}"/>
                </a:ext>
              </a:extLst>
            </p:cNvPr>
            <p:cNvSpPr/>
            <p:nvPr/>
          </p:nvSpPr>
          <p:spPr>
            <a:xfrm>
              <a:off x="8649419" y="6432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6" name="object 366">
              <a:extLst>
                <a:ext uri="{FF2B5EF4-FFF2-40B4-BE49-F238E27FC236}">
                  <a16:creationId xmlns:a16="http://schemas.microsoft.com/office/drawing/2014/main" id="{00753DA6-FC12-DE58-9843-538C56400891}"/>
                </a:ext>
              </a:extLst>
            </p:cNvPr>
            <p:cNvSpPr/>
            <p:nvPr/>
          </p:nvSpPr>
          <p:spPr>
            <a:xfrm>
              <a:off x="8474448" y="6432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7" name="object 367">
              <a:extLst>
                <a:ext uri="{FF2B5EF4-FFF2-40B4-BE49-F238E27FC236}">
                  <a16:creationId xmlns:a16="http://schemas.microsoft.com/office/drawing/2014/main" id="{6635B837-FED5-50CE-0A32-E582E73337A2}"/>
                </a:ext>
              </a:extLst>
            </p:cNvPr>
            <p:cNvSpPr/>
            <p:nvPr/>
          </p:nvSpPr>
          <p:spPr>
            <a:xfrm>
              <a:off x="8299478" y="6432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8" name="object 368">
              <a:extLst>
                <a:ext uri="{FF2B5EF4-FFF2-40B4-BE49-F238E27FC236}">
                  <a16:creationId xmlns:a16="http://schemas.microsoft.com/office/drawing/2014/main" id="{88884587-AD93-0E5F-63CD-D1851B8CD1FC}"/>
                </a:ext>
              </a:extLst>
            </p:cNvPr>
            <p:cNvSpPr/>
            <p:nvPr/>
          </p:nvSpPr>
          <p:spPr>
            <a:xfrm>
              <a:off x="8299478" y="645781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9" name="object 369">
              <a:extLst>
                <a:ext uri="{FF2B5EF4-FFF2-40B4-BE49-F238E27FC236}">
                  <a16:creationId xmlns:a16="http://schemas.microsoft.com/office/drawing/2014/main" id="{DB8C2977-345A-AB15-B651-41C2EFDFF767}"/>
                </a:ext>
              </a:extLst>
            </p:cNvPr>
            <p:cNvSpPr/>
            <p:nvPr/>
          </p:nvSpPr>
          <p:spPr>
            <a:xfrm>
              <a:off x="8299588" y="6432301"/>
              <a:ext cx="6199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2234"/>
                <a:gd name="f4" fmla="val 84454"/>
                <a:gd name="f5" fmla="val 102070"/>
                <a:gd name="f6" fmla="val 84123"/>
                <a:gd name="f7" fmla="*/ f0 1 102234"/>
                <a:gd name="f8" fmla="*/ f1 1 84454"/>
                <a:gd name="f9" fmla="+- f4 0 f2"/>
                <a:gd name="f10" fmla="+- f3 0 f2"/>
                <a:gd name="f11" fmla="*/ f10 1 1022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22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0" name="object 370">
              <a:extLst>
                <a:ext uri="{FF2B5EF4-FFF2-40B4-BE49-F238E27FC236}">
                  <a16:creationId xmlns:a16="http://schemas.microsoft.com/office/drawing/2014/main" id="{60475D3E-8A53-8722-438B-0E4FB652B9F5}"/>
                </a:ext>
              </a:extLst>
            </p:cNvPr>
            <p:cNvSpPr/>
            <p:nvPr/>
          </p:nvSpPr>
          <p:spPr>
            <a:xfrm>
              <a:off x="8299588" y="6504593"/>
              <a:ext cx="13014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14630"/>
                <a:gd name="f4" fmla="val 84454"/>
                <a:gd name="f5" fmla="val 214579"/>
                <a:gd name="f6" fmla="val 84123"/>
                <a:gd name="f7" fmla="*/ f0 1 214630"/>
                <a:gd name="f8" fmla="*/ f1 1 84454"/>
                <a:gd name="f9" fmla="+- f4 0 f2"/>
                <a:gd name="f10" fmla="+- f3 0 f2"/>
                <a:gd name="f11" fmla="*/ f10 1 2146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146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1" name="object 371">
              <a:extLst>
                <a:ext uri="{FF2B5EF4-FFF2-40B4-BE49-F238E27FC236}">
                  <a16:creationId xmlns:a16="http://schemas.microsoft.com/office/drawing/2014/main" id="{AA7C35C5-0F85-0094-8451-5A5A1AC5B2E2}"/>
                </a:ext>
              </a:extLst>
            </p:cNvPr>
            <p:cNvSpPr/>
            <p:nvPr/>
          </p:nvSpPr>
          <p:spPr>
            <a:xfrm>
              <a:off x="8579028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2" name="object 372">
              <a:extLst>
                <a:ext uri="{FF2B5EF4-FFF2-40B4-BE49-F238E27FC236}">
                  <a16:creationId xmlns:a16="http://schemas.microsoft.com/office/drawing/2014/main" id="{30F13170-C0F0-3B89-803A-C72609853F3B}"/>
                </a:ext>
              </a:extLst>
            </p:cNvPr>
            <p:cNvSpPr/>
            <p:nvPr/>
          </p:nvSpPr>
          <p:spPr>
            <a:xfrm>
              <a:off x="8614050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3" name="object 373">
              <a:extLst>
                <a:ext uri="{FF2B5EF4-FFF2-40B4-BE49-F238E27FC236}">
                  <a16:creationId xmlns:a16="http://schemas.microsoft.com/office/drawing/2014/main" id="{A1713CB4-FD98-B518-4C18-33ABB068D587}"/>
                </a:ext>
              </a:extLst>
            </p:cNvPr>
            <p:cNvSpPr/>
            <p:nvPr/>
          </p:nvSpPr>
          <p:spPr>
            <a:xfrm>
              <a:off x="8508985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4" name="object 374">
              <a:extLst>
                <a:ext uri="{FF2B5EF4-FFF2-40B4-BE49-F238E27FC236}">
                  <a16:creationId xmlns:a16="http://schemas.microsoft.com/office/drawing/2014/main" id="{7AD2C94A-175A-2AC9-9367-63D9799DB568}"/>
                </a:ext>
              </a:extLst>
            </p:cNvPr>
            <p:cNvSpPr/>
            <p:nvPr/>
          </p:nvSpPr>
          <p:spPr>
            <a:xfrm>
              <a:off x="8403921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5" name="object 375">
              <a:extLst>
                <a:ext uri="{FF2B5EF4-FFF2-40B4-BE49-F238E27FC236}">
                  <a16:creationId xmlns:a16="http://schemas.microsoft.com/office/drawing/2014/main" id="{008F54D7-5816-6882-C343-D1822621BE21}"/>
                </a:ext>
              </a:extLst>
            </p:cNvPr>
            <p:cNvSpPr/>
            <p:nvPr/>
          </p:nvSpPr>
          <p:spPr>
            <a:xfrm>
              <a:off x="8439015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6" name="object 376">
              <a:extLst>
                <a:ext uri="{FF2B5EF4-FFF2-40B4-BE49-F238E27FC236}">
                  <a16:creationId xmlns:a16="http://schemas.microsoft.com/office/drawing/2014/main" id="{1BE8B9E9-22A0-04B6-714A-E6BC7C35550B}"/>
                </a:ext>
              </a:extLst>
            </p:cNvPr>
            <p:cNvSpPr/>
            <p:nvPr/>
          </p:nvSpPr>
          <p:spPr>
            <a:xfrm>
              <a:off x="8333878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7" name="object 377">
              <a:extLst>
                <a:ext uri="{FF2B5EF4-FFF2-40B4-BE49-F238E27FC236}">
                  <a16:creationId xmlns:a16="http://schemas.microsoft.com/office/drawing/2014/main" id="{5993B483-556E-0F46-11E6-F4D2D84FCA52}"/>
                </a:ext>
              </a:extLst>
            </p:cNvPr>
            <p:cNvSpPr/>
            <p:nvPr/>
          </p:nvSpPr>
          <p:spPr>
            <a:xfrm>
              <a:off x="8544007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8" name="object 378">
              <a:extLst>
                <a:ext uri="{FF2B5EF4-FFF2-40B4-BE49-F238E27FC236}">
                  <a16:creationId xmlns:a16="http://schemas.microsoft.com/office/drawing/2014/main" id="{53783179-888E-6230-ECA0-00028DF09FA2}"/>
                </a:ext>
              </a:extLst>
            </p:cNvPr>
            <p:cNvSpPr/>
            <p:nvPr/>
          </p:nvSpPr>
          <p:spPr>
            <a:xfrm>
              <a:off x="8368899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9" name="object 379">
              <a:extLst>
                <a:ext uri="{FF2B5EF4-FFF2-40B4-BE49-F238E27FC236}">
                  <a16:creationId xmlns:a16="http://schemas.microsoft.com/office/drawing/2014/main" id="{C7DC0262-94B4-1E6A-281E-6FD37C0C8525}"/>
                </a:ext>
              </a:extLst>
            </p:cNvPr>
            <p:cNvSpPr/>
            <p:nvPr/>
          </p:nvSpPr>
          <p:spPr>
            <a:xfrm>
              <a:off x="8649071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0" name="object 380">
              <a:extLst>
                <a:ext uri="{FF2B5EF4-FFF2-40B4-BE49-F238E27FC236}">
                  <a16:creationId xmlns:a16="http://schemas.microsoft.com/office/drawing/2014/main" id="{E34CBD95-D0CD-BC59-4B16-3D0206237A7B}"/>
                </a:ext>
              </a:extLst>
            </p:cNvPr>
            <p:cNvSpPr/>
            <p:nvPr/>
          </p:nvSpPr>
          <p:spPr>
            <a:xfrm>
              <a:off x="8474101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1" name="object 381">
              <a:extLst>
                <a:ext uri="{FF2B5EF4-FFF2-40B4-BE49-F238E27FC236}">
                  <a16:creationId xmlns:a16="http://schemas.microsoft.com/office/drawing/2014/main" id="{3173C07B-BA0E-00CF-BD9B-7D60E78694D6}"/>
                </a:ext>
              </a:extLst>
            </p:cNvPr>
            <p:cNvSpPr/>
            <p:nvPr/>
          </p:nvSpPr>
          <p:spPr>
            <a:xfrm>
              <a:off x="8299130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2" name="object 382">
              <a:extLst>
                <a:ext uri="{FF2B5EF4-FFF2-40B4-BE49-F238E27FC236}">
                  <a16:creationId xmlns:a16="http://schemas.microsoft.com/office/drawing/2014/main" id="{162D51D9-C7F2-D221-9687-C72659A2F8B8}"/>
                </a:ext>
              </a:extLst>
            </p:cNvPr>
            <p:cNvSpPr/>
            <p:nvPr/>
          </p:nvSpPr>
          <p:spPr>
            <a:xfrm>
              <a:off x="8474101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3" name="object 383">
              <a:extLst>
                <a:ext uri="{FF2B5EF4-FFF2-40B4-BE49-F238E27FC236}">
                  <a16:creationId xmlns:a16="http://schemas.microsoft.com/office/drawing/2014/main" id="{62554D12-6FA2-D00A-67AF-09F1D63B6280}"/>
                </a:ext>
              </a:extLst>
            </p:cNvPr>
            <p:cNvSpPr/>
            <p:nvPr/>
          </p:nvSpPr>
          <p:spPr>
            <a:xfrm>
              <a:off x="8299130" y="653010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84" name="object 384">
            <a:extLst>
              <a:ext uri="{FF2B5EF4-FFF2-40B4-BE49-F238E27FC236}">
                <a16:creationId xmlns:a16="http://schemas.microsoft.com/office/drawing/2014/main" id="{275A5D21-5997-79EA-3DDF-7A56053EAEC8}"/>
              </a:ext>
            </a:extLst>
          </p:cNvPr>
          <p:cNvGrpSpPr/>
          <p:nvPr/>
        </p:nvGrpSpPr>
        <p:grpSpPr>
          <a:xfrm>
            <a:off x="8299130" y="3378077"/>
            <a:ext cx="350371" cy="123516"/>
            <a:chOff x="8299130" y="3378077"/>
            <a:chExt cx="350371" cy="123516"/>
          </a:xfrm>
        </p:grpSpPr>
        <p:sp>
          <p:nvSpPr>
            <p:cNvPr id="385" name="object 385">
              <a:extLst>
                <a:ext uri="{FF2B5EF4-FFF2-40B4-BE49-F238E27FC236}">
                  <a16:creationId xmlns:a16="http://schemas.microsoft.com/office/drawing/2014/main" id="{B6EAEE0A-F8CB-C433-DEC1-7B6463E9B616}"/>
                </a:ext>
              </a:extLst>
            </p:cNvPr>
            <p:cNvSpPr/>
            <p:nvPr/>
          </p:nvSpPr>
          <p:spPr>
            <a:xfrm>
              <a:off x="857937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6" name="object 386">
              <a:extLst>
                <a:ext uri="{FF2B5EF4-FFF2-40B4-BE49-F238E27FC236}">
                  <a16:creationId xmlns:a16="http://schemas.microsoft.com/office/drawing/2014/main" id="{9208E1EB-C5BC-CF83-F4EC-28F1E0DE5BD8}"/>
                </a:ext>
              </a:extLst>
            </p:cNvPr>
            <p:cNvSpPr/>
            <p:nvPr/>
          </p:nvSpPr>
          <p:spPr>
            <a:xfrm>
              <a:off x="861439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7" name="object 387">
              <a:extLst>
                <a:ext uri="{FF2B5EF4-FFF2-40B4-BE49-F238E27FC236}">
                  <a16:creationId xmlns:a16="http://schemas.microsoft.com/office/drawing/2014/main" id="{76391535-26C5-2E20-86A0-4BF75A677872}"/>
                </a:ext>
              </a:extLst>
            </p:cNvPr>
            <p:cNvSpPr/>
            <p:nvPr/>
          </p:nvSpPr>
          <p:spPr>
            <a:xfrm>
              <a:off x="8509333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8" name="object 388">
              <a:extLst>
                <a:ext uri="{FF2B5EF4-FFF2-40B4-BE49-F238E27FC236}">
                  <a16:creationId xmlns:a16="http://schemas.microsoft.com/office/drawing/2014/main" id="{C5AE2BC2-E8B5-7D7A-1CC1-C8FCFE55D8BC}"/>
                </a:ext>
              </a:extLst>
            </p:cNvPr>
            <p:cNvSpPr/>
            <p:nvPr/>
          </p:nvSpPr>
          <p:spPr>
            <a:xfrm>
              <a:off x="840426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9" name="object 389">
              <a:extLst>
                <a:ext uri="{FF2B5EF4-FFF2-40B4-BE49-F238E27FC236}">
                  <a16:creationId xmlns:a16="http://schemas.microsoft.com/office/drawing/2014/main" id="{72AA4ADC-4B10-049E-8CD7-3DFCC2F8EC08}"/>
                </a:ext>
              </a:extLst>
            </p:cNvPr>
            <p:cNvSpPr/>
            <p:nvPr/>
          </p:nvSpPr>
          <p:spPr>
            <a:xfrm>
              <a:off x="843935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0" name="object 390">
              <a:extLst>
                <a:ext uri="{FF2B5EF4-FFF2-40B4-BE49-F238E27FC236}">
                  <a16:creationId xmlns:a16="http://schemas.microsoft.com/office/drawing/2014/main" id="{0DD21569-2001-1784-2806-77128AE20B4F}"/>
                </a:ext>
              </a:extLst>
            </p:cNvPr>
            <p:cNvSpPr/>
            <p:nvPr/>
          </p:nvSpPr>
          <p:spPr>
            <a:xfrm>
              <a:off x="833422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1" name="object 391">
              <a:extLst>
                <a:ext uri="{FF2B5EF4-FFF2-40B4-BE49-F238E27FC236}">
                  <a16:creationId xmlns:a16="http://schemas.microsoft.com/office/drawing/2014/main" id="{39F6AD2C-412F-1004-244F-6F1457DE12C8}"/>
                </a:ext>
              </a:extLst>
            </p:cNvPr>
            <p:cNvSpPr/>
            <p:nvPr/>
          </p:nvSpPr>
          <p:spPr>
            <a:xfrm>
              <a:off x="854435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2" name="object 392">
              <a:extLst>
                <a:ext uri="{FF2B5EF4-FFF2-40B4-BE49-F238E27FC236}">
                  <a16:creationId xmlns:a16="http://schemas.microsoft.com/office/drawing/2014/main" id="{7055A639-470E-C458-4FB2-26B3EB9CB08E}"/>
                </a:ext>
              </a:extLst>
            </p:cNvPr>
            <p:cNvSpPr/>
            <p:nvPr/>
          </p:nvSpPr>
          <p:spPr>
            <a:xfrm>
              <a:off x="836924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3" name="object 393">
              <a:extLst>
                <a:ext uri="{FF2B5EF4-FFF2-40B4-BE49-F238E27FC236}">
                  <a16:creationId xmlns:a16="http://schemas.microsoft.com/office/drawing/2014/main" id="{FECEEB8D-2C8E-9C65-616B-25711BFB71E1}"/>
                </a:ext>
              </a:extLst>
            </p:cNvPr>
            <p:cNvSpPr/>
            <p:nvPr/>
          </p:nvSpPr>
          <p:spPr>
            <a:xfrm>
              <a:off x="864941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4" name="object 394">
              <a:extLst>
                <a:ext uri="{FF2B5EF4-FFF2-40B4-BE49-F238E27FC236}">
                  <a16:creationId xmlns:a16="http://schemas.microsoft.com/office/drawing/2014/main" id="{9D6787E4-E6BF-8C27-2886-8DB8138B3B10}"/>
                </a:ext>
              </a:extLst>
            </p:cNvPr>
            <p:cNvSpPr/>
            <p:nvPr/>
          </p:nvSpPr>
          <p:spPr>
            <a:xfrm>
              <a:off x="8474448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5" name="object 395">
              <a:extLst>
                <a:ext uri="{FF2B5EF4-FFF2-40B4-BE49-F238E27FC236}">
                  <a16:creationId xmlns:a16="http://schemas.microsoft.com/office/drawing/2014/main" id="{8F140C18-A7CF-F614-F2AF-80011C19F889}"/>
                </a:ext>
              </a:extLst>
            </p:cNvPr>
            <p:cNvSpPr/>
            <p:nvPr/>
          </p:nvSpPr>
          <p:spPr>
            <a:xfrm>
              <a:off x="8299478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6" name="object 396">
              <a:extLst>
                <a:ext uri="{FF2B5EF4-FFF2-40B4-BE49-F238E27FC236}">
                  <a16:creationId xmlns:a16="http://schemas.microsoft.com/office/drawing/2014/main" id="{97E5ABF5-1A08-D8C5-A0BD-67906E9C8169}"/>
                </a:ext>
              </a:extLst>
            </p:cNvPr>
            <p:cNvSpPr/>
            <p:nvPr/>
          </p:nvSpPr>
          <p:spPr>
            <a:xfrm>
              <a:off x="8299478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7" name="object 397">
              <a:extLst>
                <a:ext uri="{FF2B5EF4-FFF2-40B4-BE49-F238E27FC236}">
                  <a16:creationId xmlns:a16="http://schemas.microsoft.com/office/drawing/2014/main" id="{4BEB2347-8E70-34C0-22EF-E99042C7B33B}"/>
                </a:ext>
              </a:extLst>
            </p:cNvPr>
            <p:cNvSpPr/>
            <p:nvPr/>
          </p:nvSpPr>
          <p:spPr>
            <a:xfrm>
              <a:off x="8299588" y="3378086"/>
              <a:ext cx="696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4934"/>
                <a:gd name="f4" fmla="val 84454"/>
                <a:gd name="f5" fmla="val 114834"/>
                <a:gd name="f6" fmla="val 84112"/>
                <a:gd name="f7" fmla="*/ f0 1 114934"/>
                <a:gd name="f8" fmla="*/ f1 1 84454"/>
                <a:gd name="f9" fmla="+- f4 0 f2"/>
                <a:gd name="f10" fmla="+- f3 0 f2"/>
                <a:gd name="f11" fmla="*/ f10 1 1149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49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8" name="object 398">
              <a:extLst>
                <a:ext uri="{FF2B5EF4-FFF2-40B4-BE49-F238E27FC236}">
                  <a16:creationId xmlns:a16="http://schemas.microsoft.com/office/drawing/2014/main" id="{D410CFAD-0712-B72C-17FF-EAD783F231E3}"/>
                </a:ext>
              </a:extLst>
            </p:cNvPr>
            <p:cNvSpPr/>
            <p:nvPr/>
          </p:nvSpPr>
          <p:spPr>
            <a:xfrm>
              <a:off x="864907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9" name="object 399">
              <a:extLst>
                <a:ext uri="{FF2B5EF4-FFF2-40B4-BE49-F238E27FC236}">
                  <a16:creationId xmlns:a16="http://schemas.microsoft.com/office/drawing/2014/main" id="{376A93F0-943A-0594-CB57-CE9C31E929B5}"/>
                </a:ext>
              </a:extLst>
            </p:cNvPr>
            <p:cNvSpPr/>
            <p:nvPr/>
          </p:nvSpPr>
          <p:spPr>
            <a:xfrm>
              <a:off x="847410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0" name="object 400">
              <a:extLst>
                <a:ext uri="{FF2B5EF4-FFF2-40B4-BE49-F238E27FC236}">
                  <a16:creationId xmlns:a16="http://schemas.microsoft.com/office/drawing/2014/main" id="{678397D1-9E21-8830-1662-7E2F3AF63D21}"/>
                </a:ext>
              </a:extLst>
            </p:cNvPr>
            <p:cNvSpPr/>
            <p:nvPr/>
          </p:nvSpPr>
          <p:spPr>
            <a:xfrm>
              <a:off x="8299130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1" name="object 401">
              <a:extLst>
                <a:ext uri="{FF2B5EF4-FFF2-40B4-BE49-F238E27FC236}">
                  <a16:creationId xmlns:a16="http://schemas.microsoft.com/office/drawing/2014/main" id="{2F83C0CF-58E2-B00E-684A-52AFFA728FC0}"/>
                </a:ext>
              </a:extLst>
            </p:cNvPr>
            <p:cNvSpPr/>
            <p:nvPr/>
          </p:nvSpPr>
          <p:spPr>
            <a:xfrm>
              <a:off x="847410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2" name="object 402">
              <a:extLst>
                <a:ext uri="{FF2B5EF4-FFF2-40B4-BE49-F238E27FC236}">
                  <a16:creationId xmlns:a16="http://schemas.microsoft.com/office/drawing/2014/main" id="{62EAC935-5C5D-B533-6D8F-CF8FBB9801FB}"/>
                </a:ext>
              </a:extLst>
            </p:cNvPr>
            <p:cNvSpPr/>
            <p:nvPr/>
          </p:nvSpPr>
          <p:spPr>
            <a:xfrm>
              <a:off x="857902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3" name="object 403">
              <a:extLst>
                <a:ext uri="{FF2B5EF4-FFF2-40B4-BE49-F238E27FC236}">
                  <a16:creationId xmlns:a16="http://schemas.microsoft.com/office/drawing/2014/main" id="{9E273C91-A8D9-05A6-35FA-AAE9D2F61332}"/>
                </a:ext>
              </a:extLst>
            </p:cNvPr>
            <p:cNvSpPr/>
            <p:nvPr/>
          </p:nvSpPr>
          <p:spPr>
            <a:xfrm>
              <a:off x="861405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4" name="object 404">
              <a:extLst>
                <a:ext uri="{FF2B5EF4-FFF2-40B4-BE49-F238E27FC236}">
                  <a16:creationId xmlns:a16="http://schemas.microsoft.com/office/drawing/2014/main" id="{A2F9E938-851F-1F36-4040-A99CDD7563EA}"/>
                </a:ext>
              </a:extLst>
            </p:cNvPr>
            <p:cNvSpPr/>
            <p:nvPr/>
          </p:nvSpPr>
          <p:spPr>
            <a:xfrm>
              <a:off x="850898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5" name="object 405">
              <a:extLst>
                <a:ext uri="{FF2B5EF4-FFF2-40B4-BE49-F238E27FC236}">
                  <a16:creationId xmlns:a16="http://schemas.microsoft.com/office/drawing/2014/main" id="{BC2777D3-E05D-B04D-FF01-97C02B6D03CF}"/>
                </a:ext>
              </a:extLst>
            </p:cNvPr>
            <p:cNvSpPr/>
            <p:nvPr/>
          </p:nvSpPr>
          <p:spPr>
            <a:xfrm>
              <a:off x="840392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6" name="object 406">
              <a:extLst>
                <a:ext uri="{FF2B5EF4-FFF2-40B4-BE49-F238E27FC236}">
                  <a16:creationId xmlns:a16="http://schemas.microsoft.com/office/drawing/2014/main" id="{8BF73E70-4BE2-468B-D4AD-19341676C63A}"/>
                </a:ext>
              </a:extLst>
            </p:cNvPr>
            <p:cNvSpPr/>
            <p:nvPr/>
          </p:nvSpPr>
          <p:spPr>
            <a:xfrm>
              <a:off x="843901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7" name="object 407">
              <a:extLst>
                <a:ext uri="{FF2B5EF4-FFF2-40B4-BE49-F238E27FC236}">
                  <a16:creationId xmlns:a16="http://schemas.microsoft.com/office/drawing/2014/main" id="{A921076F-F13B-9858-C641-99C995F5D2A4}"/>
                </a:ext>
              </a:extLst>
            </p:cNvPr>
            <p:cNvSpPr/>
            <p:nvPr/>
          </p:nvSpPr>
          <p:spPr>
            <a:xfrm>
              <a:off x="833387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8" name="object 408">
              <a:extLst>
                <a:ext uri="{FF2B5EF4-FFF2-40B4-BE49-F238E27FC236}">
                  <a16:creationId xmlns:a16="http://schemas.microsoft.com/office/drawing/2014/main" id="{97DB56B6-A54A-DDAF-F23F-478029849F49}"/>
                </a:ext>
              </a:extLst>
            </p:cNvPr>
            <p:cNvSpPr/>
            <p:nvPr/>
          </p:nvSpPr>
          <p:spPr>
            <a:xfrm>
              <a:off x="8544007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9" name="object 409">
              <a:extLst>
                <a:ext uri="{FF2B5EF4-FFF2-40B4-BE49-F238E27FC236}">
                  <a16:creationId xmlns:a16="http://schemas.microsoft.com/office/drawing/2014/main" id="{256902D5-9E78-6908-BCF0-8FA60923E827}"/>
                </a:ext>
              </a:extLst>
            </p:cNvPr>
            <p:cNvSpPr/>
            <p:nvPr/>
          </p:nvSpPr>
          <p:spPr>
            <a:xfrm>
              <a:off x="8368899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0" name="object 410">
              <a:extLst>
                <a:ext uri="{FF2B5EF4-FFF2-40B4-BE49-F238E27FC236}">
                  <a16:creationId xmlns:a16="http://schemas.microsoft.com/office/drawing/2014/main" id="{55A52B70-F61E-6179-076B-C484AEC05283}"/>
                </a:ext>
              </a:extLst>
            </p:cNvPr>
            <p:cNvSpPr/>
            <p:nvPr/>
          </p:nvSpPr>
          <p:spPr>
            <a:xfrm>
              <a:off x="8299130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11" name="object 411">
            <a:extLst>
              <a:ext uri="{FF2B5EF4-FFF2-40B4-BE49-F238E27FC236}">
                <a16:creationId xmlns:a16="http://schemas.microsoft.com/office/drawing/2014/main" id="{3C88FCC7-D479-77D2-550C-7FC42432B762}"/>
              </a:ext>
            </a:extLst>
          </p:cNvPr>
          <p:cNvGrpSpPr/>
          <p:nvPr/>
        </p:nvGrpSpPr>
        <p:grpSpPr>
          <a:xfrm>
            <a:off x="7477954" y="1848916"/>
            <a:ext cx="350370" cy="123526"/>
            <a:chOff x="7477954" y="1848916"/>
            <a:chExt cx="350370" cy="123526"/>
          </a:xfrm>
        </p:grpSpPr>
        <p:sp>
          <p:nvSpPr>
            <p:cNvPr id="412" name="object 412">
              <a:extLst>
                <a:ext uri="{FF2B5EF4-FFF2-40B4-BE49-F238E27FC236}">
                  <a16:creationId xmlns:a16="http://schemas.microsoft.com/office/drawing/2014/main" id="{BF424EC5-0111-0E9F-C4A2-894AC2224364}"/>
                </a:ext>
              </a:extLst>
            </p:cNvPr>
            <p:cNvSpPr/>
            <p:nvPr/>
          </p:nvSpPr>
          <p:spPr>
            <a:xfrm>
              <a:off x="775819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3" name="object 413">
              <a:extLst>
                <a:ext uri="{FF2B5EF4-FFF2-40B4-BE49-F238E27FC236}">
                  <a16:creationId xmlns:a16="http://schemas.microsoft.com/office/drawing/2014/main" id="{AE051E51-1730-C5D7-07C0-83BB25A8074E}"/>
                </a:ext>
              </a:extLst>
            </p:cNvPr>
            <p:cNvSpPr/>
            <p:nvPr/>
          </p:nvSpPr>
          <p:spPr>
            <a:xfrm>
              <a:off x="779322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4" name="object 414">
              <a:extLst>
                <a:ext uri="{FF2B5EF4-FFF2-40B4-BE49-F238E27FC236}">
                  <a16:creationId xmlns:a16="http://schemas.microsoft.com/office/drawing/2014/main" id="{2105F6AA-BF5D-845B-4798-87ED791F096C}"/>
                </a:ext>
              </a:extLst>
            </p:cNvPr>
            <p:cNvSpPr/>
            <p:nvPr/>
          </p:nvSpPr>
          <p:spPr>
            <a:xfrm>
              <a:off x="768815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5" name="object 415">
              <a:extLst>
                <a:ext uri="{FF2B5EF4-FFF2-40B4-BE49-F238E27FC236}">
                  <a16:creationId xmlns:a16="http://schemas.microsoft.com/office/drawing/2014/main" id="{E2926C3C-4B7C-72A8-E897-1DCE5C6482F2}"/>
                </a:ext>
              </a:extLst>
            </p:cNvPr>
            <p:cNvSpPr/>
            <p:nvPr/>
          </p:nvSpPr>
          <p:spPr>
            <a:xfrm>
              <a:off x="758309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6" name="object 416">
              <a:extLst>
                <a:ext uri="{FF2B5EF4-FFF2-40B4-BE49-F238E27FC236}">
                  <a16:creationId xmlns:a16="http://schemas.microsoft.com/office/drawing/2014/main" id="{7F25DF5D-B275-6B2B-AB09-34E41832D72C}"/>
                </a:ext>
              </a:extLst>
            </p:cNvPr>
            <p:cNvSpPr/>
            <p:nvPr/>
          </p:nvSpPr>
          <p:spPr>
            <a:xfrm>
              <a:off x="761818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7" name="object 417">
              <a:extLst>
                <a:ext uri="{FF2B5EF4-FFF2-40B4-BE49-F238E27FC236}">
                  <a16:creationId xmlns:a16="http://schemas.microsoft.com/office/drawing/2014/main" id="{77C76BD5-C7A7-B253-76BA-9BE767DB84BB}"/>
                </a:ext>
              </a:extLst>
            </p:cNvPr>
            <p:cNvSpPr/>
            <p:nvPr/>
          </p:nvSpPr>
          <p:spPr>
            <a:xfrm>
              <a:off x="751304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8" name="object 418">
              <a:extLst>
                <a:ext uri="{FF2B5EF4-FFF2-40B4-BE49-F238E27FC236}">
                  <a16:creationId xmlns:a16="http://schemas.microsoft.com/office/drawing/2014/main" id="{3C7A0BDE-4B34-8FAC-2D58-792471568DBB}"/>
                </a:ext>
              </a:extLst>
            </p:cNvPr>
            <p:cNvSpPr/>
            <p:nvPr/>
          </p:nvSpPr>
          <p:spPr>
            <a:xfrm>
              <a:off x="772317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9" name="object 419">
              <a:extLst>
                <a:ext uri="{FF2B5EF4-FFF2-40B4-BE49-F238E27FC236}">
                  <a16:creationId xmlns:a16="http://schemas.microsoft.com/office/drawing/2014/main" id="{0AB6148D-A71F-85F7-18E4-7E2FB25B4B8E}"/>
                </a:ext>
              </a:extLst>
            </p:cNvPr>
            <p:cNvSpPr/>
            <p:nvPr/>
          </p:nvSpPr>
          <p:spPr>
            <a:xfrm>
              <a:off x="754807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0" name="object 420">
              <a:extLst>
                <a:ext uri="{FF2B5EF4-FFF2-40B4-BE49-F238E27FC236}">
                  <a16:creationId xmlns:a16="http://schemas.microsoft.com/office/drawing/2014/main" id="{CAEE7CA2-20AC-FE2A-851F-0FD39E9C6F1A}"/>
                </a:ext>
              </a:extLst>
            </p:cNvPr>
            <p:cNvSpPr/>
            <p:nvPr/>
          </p:nvSpPr>
          <p:spPr>
            <a:xfrm>
              <a:off x="782824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1" name="object 421">
              <a:extLst>
                <a:ext uri="{FF2B5EF4-FFF2-40B4-BE49-F238E27FC236}">
                  <a16:creationId xmlns:a16="http://schemas.microsoft.com/office/drawing/2014/main" id="{A8FAA27D-A284-DB68-CF98-933F99CAC03C}"/>
                </a:ext>
              </a:extLst>
            </p:cNvPr>
            <p:cNvSpPr/>
            <p:nvPr/>
          </p:nvSpPr>
          <p:spPr>
            <a:xfrm>
              <a:off x="7653271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2" name="object 422">
              <a:extLst>
                <a:ext uri="{FF2B5EF4-FFF2-40B4-BE49-F238E27FC236}">
                  <a16:creationId xmlns:a16="http://schemas.microsoft.com/office/drawing/2014/main" id="{B680CF22-F0F7-EB85-0C20-93BFA7714309}"/>
                </a:ext>
              </a:extLst>
            </p:cNvPr>
            <p:cNvSpPr/>
            <p:nvPr/>
          </p:nvSpPr>
          <p:spPr>
            <a:xfrm>
              <a:off x="7478301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3" name="object 423">
              <a:extLst>
                <a:ext uri="{FF2B5EF4-FFF2-40B4-BE49-F238E27FC236}">
                  <a16:creationId xmlns:a16="http://schemas.microsoft.com/office/drawing/2014/main" id="{D24265E0-2803-0117-B56C-ECEA4C3637ED}"/>
                </a:ext>
              </a:extLst>
            </p:cNvPr>
            <p:cNvSpPr/>
            <p:nvPr/>
          </p:nvSpPr>
          <p:spPr>
            <a:xfrm>
              <a:off x="7478301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4" name="object 424">
              <a:extLst>
                <a:ext uri="{FF2B5EF4-FFF2-40B4-BE49-F238E27FC236}">
                  <a16:creationId xmlns:a16="http://schemas.microsoft.com/office/drawing/2014/main" id="{B95CE75F-9DBA-E476-DC8C-2C22C239663D}"/>
                </a:ext>
              </a:extLst>
            </p:cNvPr>
            <p:cNvSpPr/>
            <p:nvPr/>
          </p:nvSpPr>
          <p:spPr>
            <a:xfrm>
              <a:off x="7478429" y="1848916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5"/>
                <a:gd name="f5" fmla="val 241594"/>
                <a:gd name="f6" fmla="val 84112"/>
                <a:gd name="f7" fmla="*/ f0 1 241934"/>
                <a:gd name="f8" fmla="*/ f1 1 84455"/>
                <a:gd name="f9" fmla="+- f4 0 f2"/>
                <a:gd name="f10" fmla="+- f3 0 f2"/>
                <a:gd name="f11" fmla="*/ f10 1 241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5" name="object 425">
              <a:extLst>
                <a:ext uri="{FF2B5EF4-FFF2-40B4-BE49-F238E27FC236}">
                  <a16:creationId xmlns:a16="http://schemas.microsoft.com/office/drawing/2014/main" id="{972DAD58-6D28-FAED-FDB0-0FB0C6718246}"/>
                </a:ext>
              </a:extLst>
            </p:cNvPr>
            <p:cNvSpPr/>
            <p:nvPr/>
          </p:nvSpPr>
          <p:spPr>
            <a:xfrm>
              <a:off x="7478429" y="1921227"/>
              <a:ext cx="29727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90220"/>
                <a:gd name="f4" fmla="val 84454"/>
                <a:gd name="f5" fmla="val 489618"/>
                <a:gd name="f6" fmla="val 84091"/>
                <a:gd name="f7" fmla="*/ f0 1 490220"/>
                <a:gd name="f8" fmla="*/ f1 1 84454"/>
                <a:gd name="f9" fmla="+- f4 0 f2"/>
                <a:gd name="f10" fmla="+- f3 0 f2"/>
                <a:gd name="f11" fmla="*/ f10 1 4902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902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6" name="object 426">
              <a:extLst>
                <a:ext uri="{FF2B5EF4-FFF2-40B4-BE49-F238E27FC236}">
                  <a16:creationId xmlns:a16="http://schemas.microsoft.com/office/drawing/2014/main" id="{09306CD5-0DAC-BBF8-D385-241EB139A307}"/>
                </a:ext>
              </a:extLst>
            </p:cNvPr>
            <p:cNvSpPr/>
            <p:nvPr/>
          </p:nvSpPr>
          <p:spPr>
            <a:xfrm>
              <a:off x="775785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7" name="object 427">
              <a:extLst>
                <a:ext uri="{FF2B5EF4-FFF2-40B4-BE49-F238E27FC236}">
                  <a16:creationId xmlns:a16="http://schemas.microsoft.com/office/drawing/2014/main" id="{FDFEDDED-2567-8612-CF49-E60A8E51650F}"/>
                </a:ext>
              </a:extLst>
            </p:cNvPr>
            <p:cNvSpPr/>
            <p:nvPr/>
          </p:nvSpPr>
          <p:spPr>
            <a:xfrm>
              <a:off x="779287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8" name="object 428">
              <a:extLst>
                <a:ext uri="{FF2B5EF4-FFF2-40B4-BE49-F238E27FC236}">
                  <a16:creationId xmlns:a16="http://schemas.microsoft.com/office/drawing/2014/main" id="{C4419B46-79FF-252F-99E2-4480313345DD}"/>
                </a:ext>
              </a:extLst>
            </p:cNvPr>
            <p:cNvSpPr/>
            <p:nvPr/>
          </p:nvSpPr>
          <p:spPr>
            <a:xfrm>
              <a:off x="768780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9" name="object 429">
              <a:extLst>
                <a:ext uri="{FF2B5EF4-FFF2-40B4-BE49-F238E27FC236}">
                  <a16:creationId xmlns:a16="http://schemas.microsoft.com/office/drawing/2014/main" id="{93BAFD53-73AC-E9DE-5665-30FA2F234385}"/>
                </a:ext>
              </a:extLst>
            </p:cNvPr>
            <p:cNvSpPr/>
            <p:nvPr/>
          </p:nvSpPr>
          <p:spPr>
            <a:xfrm>
              <a:off x="758274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0" name="object 430">
              <a:extLst>
                <a:ext uri="{FF2B5EF4-FFF2-40B4-BE49-F238E27FC236}">
                  <a16:creationId xmlns:a16="http://schemas.microsoft.com/office/drawing/2014/main" id="{CBE68430-26EF-CE35-A6CE-A6989840B2FC}"/>
                </a:ext>
              </a:extLst>
            </p:cNvPr>
            <p:cNvSpPr/>
            <p:nvPr/>
          </p:nvSpPr>
          <p:spPr>
            <a:xfrm>
              <a:off x="761783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1" name="object 431">
              <a:extLst>
                <a:ext uri="{FF2B5EF4-FFF2-40B4-BE49-F238E27FC236}">
                  <a16:creationId xmlns:a16="http://schemas.microsoft.com/office/drawing/2014/main" id="{8418F246-6007-5776-19E0-9358B3093723}"/>
                </a:ext>
              </a:extLst>
            </p:cNvPr>
            <p:cNvSpPr/>
            <p:nvPr/>
          </p:nvSpPr>
          <p:spPr>
            <a:xfrm>
              <a:off x="751270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2" name="object 432">
              <a:extLst>
                <a:ext uri="{FF2B5EF4-FFF2-40B4-BE49-F238E27FC236}">
                  <a16:creationId xmlns:a16="http://schemas.microsoft.com/office/drawing/2014/main" id="{AC299D68-CAFB-561E-9822-DECC3B11313B}"/>
                </a:ext>
              </a:extLst>
            </p:cNvPr>
            <p:cNvSpPr/>
            <p:nvPr/>
          </p:nvSpPr>
          <p:spPr>
            <a:xfrm>
              <a:off x="772283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3" name="object 433">
              <a:extLst>
                <a:ext uri="{FF2B5EF4-FFF2-40B4-BE49-F238E27FC236}">
                  <a16:creationId xmlns:a16="http://schemas.microsoft.com/office/drawing/2014/main" id="{8E50C96F-C5D1-D364-4C3F-9A1CBE9DF40E}"/>
                </a:ext>
              </a:extLst>
            </p:cNvPr>
            <p:cNvSpPr/>
            <p:nvPr/>
          </p:nvSpPr>
          <p:spPr>
            <a:xfrm>
              <a:off x="7547722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4" name="object 434">
              <a:extLst>
                <a:ext uri="{FF2B5EF4-FFF2-40B4-BE49-F238E27FC236}">
                  <a16:creationId xmlns:a16="http://schemas.microsoft.com/office/drawing/2014/main" id="{36F64975-D4F2-B0E0-BCC8-65077580C288}"/>
                </a:ext>
              </a:extLst>
            </p:cNvPr>
            <p:cNvSpPr/>
            <p:nvPr/>
          </p:nvSpPr>
          <p:spPr>
            <a:xfrm>
              <a:off x="782789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5" name="object 435">
              <a:extLst>
                <a:ext uri="{FF2B5EF4-FFF2-40B4-BE49-F238E27FC236}">
                  <a16:creationId xmlns:a16="http://schemas.microsoft.com/office/drawing/2014/main" id="{C2324BA7-6E1F-F946-3897-402AD2FDEDBF}"/>
                </a:ext>
              </a:extLst>
            </p:cNvPr>
            <p:cNvSpPr/>
            <p:nvPr/>
          </p:nvSpPr>
          <p:spPr>
            <a:xfrm>
              <a:off x="765292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6" name="object 436">
              <a:extLst>
                <a:ext uri="{FF2B5EF4-FFF2-40B4-BE49-F238E27FC236}">
                  <a16:creationId xmlns:a16="http://schemas.microsoft.com/office/drawing/2014/main" id="{3C91CC5E-5ABE-4AF7-7109-45A107635F38}"/>
                </a:ext>
              </a:extLst>
            </p:cNvPr>
            <p:cNvSpPr/>
            <p:nvPr/>
          </p:nvSpPr>
          <p:spPr>
            <a:xfrm>
              <a:off x="747795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7" name="object 437">
              <a:extLst>
                <a:ext uri="{FF2B5EF4-FFF2-40B4-BE49-F238E27FC236}">
                  <a16:creationId xmlns:a16="http://schemas.microsoft.com/office/drawing/2014/main" id="{E9FDC169-E587-445F-D93E-28D88AD69812}"/>
                </a:ext>
              </a:extLst>
            </p:cNvPr>
            <p:cNvSpPr/>
            <p:nvPr/>
          </p:nvSpPr>
          <p:spPr>
            <a:xfrm>
              <a:off x="765292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8" name="object 438">
              <a:extLst>
                <a:ext uri="{FF2B5EF4-FFF2-40B4-BE49-F238E27FC236}">
                  <a16:creationId xmlns:a16="http://schemas.microsoft.com/office/drawing/2014/main" id="{C299BBB9-F9A5-9FFB-AF81-3649F6FB5D81}"/>
                </a:ext>
              </a:extLst>
            </p:cNvPr>
            <p:cNvSpPr/>
            <p:nvPr/>
          </p:nvSpPr>
          <p:spPr>
            <a:xfrm>
              <a:off x="7477954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39" name="object 439">
            <a:extLst>
              <a:ext uri="{FF2B5EF4-FFF2-40B4-BE49-F238E27FC236}">
                <a16:creationId xmlns:a16="http://schemas.microsoft.com/office/drawing/2014/main" id="{581CD19B-6528-DBF3-3927-468B0FD49989}"/>
              </a:ext>
            </a:extLst>
          </p:cNvPr>
          <p:cNvGrpSpPr/>
          <p:nvPr/>
        </p:nvGrpSpPr>
        <p:grpSpPr>
          <a:xfrm>
            <a:off x="6656054" y="1848916"/>
            <a:ext cx="350371" cy="123526"/>
            <a:chOff x="6656054" y="1848916"/>
            <a:chExt cx="350371" cy="123526"/>
          </a:xfrm>
        </p:grpSpPr>
        <p:sp>
          <p:nvSpPr>
            <p:cNvPr id="440" name="object 440">
              <a:extLst>
                <a:ext uri="{FF2B5EF4-FFF2-40B4-BE49-F238E27FC236}">
                  <a16:creationId xmlns:a16="http://schemas.microsoft.com/office/drawing/2014/main" id="{A6D46C72-4032-B256-F3A5-1F0004D35264}"/>
                </a:ext>
              </a:extLst>
            </p:cNvPr>
            <p:cNvSpPr/>
            <p:nvPr/>
          </p:nvSpPr>
          <p:spPr>
            <a:xfrm>
              <a:off x="693630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1" name="object 441">
              <a:extLst>
                <a:ext uri="{FF2B5EF4-FFF2-40B4-BE49-F238E27FC236}">
                  <a16:creationId xmlns:a16="http://schemas.microsoft.com/office/drawing/2014/main" id="{8EC1E85F-E0BF-1B90-7A95-7BA0A3B320FE}"/>
                </a:ext>
              </a:extLst>
            </p:cNvPr>
            <p:cNvSpPr/>
            <p:nvPr/>
          </p:nvSpPr>
          <p:spPr>
            <a:xfrm>
              <a:off x="697133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2" name="object 442">
              <a:extLst>
                <a:ext uri="{FF2B5EF4-FFF2-40B4-BE49-F238E27FC236}">
                  <a16:creationId xmlns:a16="http://schemas.microsoft.com/office/drawing/2014/main" id="{6F2BF248-9441-2B1C-4825-D8667D69DC1D}"/>
                </a:ext>
              </a:extLst>
            </p:cNvPr>
            <p:cNvSpPr/>
            <p:nvPr/>
          </p:nvSpPr>
          <p:spPr>
            <a:xfrm>
              <a:off x="686625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3" name="object 443">
              <a:extLst>
                <a:ext uri="{FF2B5EF4-FFF2-40B4-BE49-F238E27FC236}">
                  <a16:creationId xmlns:a16="http://schemas.microsoft.com/office/drawing/2014/main" id="{0ADE6ABE-67A0-3DC1-7A6C-AE2172D354BA}"/>
                </a:ext>
              </a:extLst>
            </p:cNvPr>
            <p:cNvSpPr/>
            <p:nvPr/>
          </p:nvSpPr>
          <p:spPr>
            <a:xfrm>
              <a:off x="6761192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4" name="object 444">
              <a:extLst>
                <a:ext uri="{FF2B5EF4-FFF2-40B4-BE49-F238E27FC236}">
                  <a16:creationId xmlns:a16="http://schemas.microsoft.com/office/drawing/2014/main" id="{0FC44E30-DCA7-970E-41FD-07449B9B30E4}"/>
                </a:ext>
              </a:extLst>
            </p:cNvPr>
            <p:cNvSpPr/>
            <p:nvPr/>
          </p:nvSpPr>
          <p:spPr>
            <a:xfrm>
              <a:off x="679628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5" name="object 445">
              <a:extLst>
                <a:ext uri="{FF2B5EF4-FFF2-40B4-BE49-F238E27FC236}">
                  <a16:creationId xmlns:a16="http://schemas.microsoft.com/office/drawing/2014/main" id="{67DC5E0F-59D2-ABC7-1DD3-3FD8C03A0266}"/>
                </a:ext>
              </a:extLst>
            </p:cNvPr>
            <p:cNvSpPr/>
            <p:nvPr/>
          </p:nvSpPr>
          <p:spPr>
            <a:xfrm>
              <a:off x="669114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6" name="object 446">
              <a:extLst>
                <a:ext uri="{FF2B5EF4-FFF2-40B4-BE49-F238E27FC236}">
                  <a16:creationId xmlns:a16="http://schemas.microsoft.com/office/drawing/2014/main" id="{EFAE9975-D636-C935-6696-FBC7054E3930}"/>
                </a:ext>
              </a:extLst>
            </p:cNvPr>
            <p:cNvSpPr/>
            <p:nvPr/>
          </p:nvSpPr>
          <p:spPr>
            <a:xfrm>
              <a:off x="690127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7" name="object 447">
              <a:extLst>
                <a:ext uri="{FF2B5EF4-FFF2-40B4-BE49-F238E27FC236}">
                  <a16:creationId xmlns:a16="http://schemas.microsoft.com/office/drawing/2014/main" id="{EFCB9CDA-5CC0-2637-2B0F-72181232A495}"/>
                </a:ext>
              </a:extLst>
            </p:cNvPr>
            <p:cNvSpPr/>
            <p:nvPr/>
          </p:nvSpPr>
          <p:spPr>
            <a:xfrm>
              <a:off x="672617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8" name="object 448">
              <a:extLst>
                <a:ext uri="{FF2B5EF4-FFF2-40B4-BE49-F238E27FC236}">
                  <a16:creationId xmlns:a16="http://schemas.microsoft.com/office/drawing/2014/main" id="{D0B1809E-AADF-C4D3-0BD6-AEDC9C1B5E33}"/>
                </a:ext>
              </a:extLst>
            </p:cNvPr>
            <p:cNvSpPr/>
            <p:nvPr/>
          </p:nvSpPr>
          <p:spPr>
            <a:xfrm>
              <a:off x="700635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9" name="object 449">
              <a:extLst>
                <a:ext uri="{FF2B5EF4-FFF2-40B4-BE49-F238E27FC236}">
                  <a16:creationId xmlns:a16="http://schemas.microsoft.com/office/drawing/2014/main" id="{CE309EF6-4AE1-501A-DFD0-69293486233E}"/>
                </a:ext>
              </a:extLst>
            </p:cNvPr>
            <p:cNvSpPr/>
            <p:nvPr/>
          </p:nvSpPr>
          <p:spPr>
            <a:xfrm>
              <a:off x="683137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0" name="object 450">
              <a:extLst>
                <a:ext uri="{FF2B5EF4-FFF2-40B4-BE49-F238E27FC236}">
                  <a16:creationId xmlns:a16="http://schemas.microsoft.com/office/drawing/2014/main" id="{C704B868-273F-7845-7980-A88C462ADA3D}"/>
                </a:ext>
              </a:extLst>
            </p:cNvPr>
            <p:cNvSpPr/>
            <p:nvPr/>
          </p:nvSpPr>
          <p:spPr>
            <a:xfrm>
              <a:off x="665640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1" name="object 451">
              <a:extLst>
                <a:ext uri="{FF2B5EF4-FFF2-40B4-BE49-F238E27FC236}">
                  <a16:creationId xmlns:a16="http://schemas.microsoft.com/office/drawing/2014/main" id="{38B2DFFE-DB35-758F-3105-871D461D47D2}"/>
                </a:ext>
              </a:extLst>
            </p:cNvPr>
            <p:cNvSpPr/>
            <p:nvPr/>
          </p:nvSpPr>
          <p:spPr>
            <a:xfrm>
              <a:off x="6656402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2" name="object 452">
              <a:extLst>
                <a:ext uri="{FF2B5EF4-FFF2-40B4-BE49-F238E27FC236}">
                  <a16:creationId xmlns:a16="http://schemas.microsoft.com/office/drawing/2014/main" id="{A12DA770-5903-15D6-5908-A3BEDAA0EF06}"/>
                </a:ext>
              </a:extLst>
            </p:cNvPr>
            <p:cNvSpPr/>
            <p:nvPr/>
          </p:nvSpPr>
          <p:spPr>
            <a:xfrm>
              <a:off x="6656539" y="1848916"/>
              <a:ext cx="8779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4779"/>
                <a:gd name="f4" fmla="val 84455"/>
                <a:gd name="f5" fmla="val 144341"/>
                <a:gd name="f6" fmla="val 84112"/>
                <a:gd name="f7" fmla="*/ f0 1 144779"/>
                <a:gd name="f8" fmla="*/ f1 1 84455"/>
                <a:gd name="f9" fmla="+- f4 0 f2"/>
                <a:gd name="f10" fmla="+- f3 0 f2"/>
                <a:gd name="f11" fmla="*/ f10 1 14477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477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3" name="object 453">
              <a:extLst>
                <a:ext uri="{FF2B5EF4-FFF2-40B4-BE49-F238E27FC236}">
                  <a16:creationId xmlns:a16="http://schemas.microsoft.com/office/drawing/2014/main" id="{AC5BEC03-74F4-3033-C585-31F31CFF1B5B}"/>
                </a:ext>
              </a:extLst>
            </p:cNvPr>
            <p:cNvSpPr/>
            <p:nvPr/>
          </p:nvSpPr>
          <p:spPr>
            <a:xfrm>
              <a:off x="6656539" y="1921227"/>
              <a:ext cx="29034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78790"/>
                <a:gd name="f4" fmla="val 84454"/>
                <a:gd name="f5" fmla="val 478310"/>
                <a:gd name="f6" fmla="val 84091"/>
                <a:gd name="f7" fmla="*/ f0 1 478790"/>
                <a:gd name="f8" fmla="*/ f1 1 84454"/>
                <a:gd name="f9" fmla="+- f4 0 f2"/>
                <a:gd name="f10" fmla="+- f3 0 f2"/>
                <a:gd name="f11" fmla="*/ f10 1 4787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787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4" name="object 454">
              <a:extLst>
                <a:ext uri="{FF2B5EF4-FFF2-40B4-BE49-F238E27FC236}">
                  <a16:creationId xmlns:a16="http://schemas.microsoft.com/office/drawing/2014/main" id="{CC81B868-004D-3D0E-DAFF-7BD44388AC53}"/>
                </a:ext>
              </a:extLst>
            </p:cNvPr>
            <p:cNvSpPr/>
            <p:nvPr/>
          </p:nvSpPr>
          <p:spPr>
            <a:xfrm>
              <a:off x="693596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5" name="object 455">
              <a:extLst>
                <a:ext uri="{FF2B5EF4-FFF2-40B4-BE49-F238E27FC236}">
                  <a16:creationId xmlns:a16="http://schemas.microsoft.com/office/drawing/2014/main" id="{04E40AED-1772-9F93-ABF1-1A934755741C}"/>
                </a:ext>
              </a:extLst>
            </p:cNvPr>
            <p:cNvSpPr/>
            <p:nvPr/>
          </p:nvSpPr>
          <p:spPr>
            <a:xfrm>
              <a:off x="697098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6" name="object 456">
              <a:extLst>
                <a:ext uri="{FF2B5EF4-FFF2-40B4-BE49-F238E27FC236}">
                  <a16:creationId xmlns:a16="http://schemas.microsoft.com/office/drawing/2014/main" id="{E7614AE4-834A-695F-F0A9-E1F44275D047}"/>
                </a:ext>
              </a:extLst>
            </p:cNvPr>
            <p:cNvSpPr/>
            <p:nvPr/>
          </p:nvSpPr>
          <p:spPr>
            <a:xfrm>
              <a:off x="686591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7" name="object 457">
              <a:extLst>
                <a:ext uri="{FF2B5EF4-FFF2-40B4-BE49-F238E27FC236}">
                  <a16:creationId xmlns:a16="http://schemas.microsoft.com/office/drawing/2014/main" id="{456DE49A-E92B-EC86-7175-5D1F41AFB145}"/>
                </a:ext>
              </a:extLst>
            </p:cNvPr>
            <p:cNvSpPr/>
            <p:nvPr/>
          </p:nvSpPr>
          <p:spPr>
            <a:xfrm>
              <a:off x="676084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8" name="object 458">
              <a:extLst>
                <a:ext uri="{FF2B5EF4-FFF2-40B4-BE49-F238E27FC236}">
                  <a16:creationId xmlns:a16="http://schemas.microsoft.com/office/drawing/2014/main" id="{6E44BCE4-3D28-CB6C-E332-CAFF44331D9E}"/>
                </a:ext>
              </a:extLst>
            </p:cNvPr>
            <p:cNvSpPr/>
            <p:nvPr/>
          </p:nvSpPr>
          <p:spPr>
            <a:xfrm>
              <a:off x="679593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9" name="object 459">
              <a:extLst>
                <a:ext uri="{FF2B5EF4-FFF2-40B4-BE49-F238E27FC236}">
                  <a16:creationId xmlns:a16="http://schemas.microsoft.com/office/drawing/2014/main" id="{295B78BD-649E-353A-6F71-87AF61F60C9F}"/>
                </a:ext>
              </a:extLst>
            </p:cNvPr>
            <p:cNvSpPr/>
            <p:nvPr/>
          </p:nvSpPr>
          <p:spPr>
            <a:xfrm>
              <a:off x="669080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0" name="object 460">
              <a:extLst>
                <a:ext uri="{FF2B5EF4-FFF2-40B4-BE49-F238E27FC236}">
                  <a16:creationId xmlns:a16="http://schemas.microsoft.com/office/drawing/2014/main" id="{DFE7803A-6F22-8AC1-BED5-45B702ACD25B}"/>
                </a:ext>
              </a:extLst>
            </p:cNvPr>
            <p:cNvSpPr/>
            <p:nvPr/>
          </p:nvSpPr>
          <p:spPr>
            <a:xfrm>
              <a:off x="690094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1" name="object 461">
              <a:extLst>
                <a:ext uri="{FF2B5EF4-FFF2-40B4-BE49-F238E27FC236}">
                  <a16:creationId xmlns:a16="http://schemas.microsoft.com/office/drawing/2014/main" id="{3221869A-D5A8-9C99-5B80-DE4DCE8FB6FE}"/>
                </a:ext>
              </a:extLst>
            </p:cNvPr>
            <p:cNvSpPr/>
            <p:nvPr/>
          </p:nvSpPr>
          <p:spPr>
            <a:xfrm>
              <a:off x="672582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2" name="object 462">
              <a:extLst>
                <a:ext uri="{FF2B5EF4-FFF2-40B4-BE49-F238E27FC236}">
                  <a16:creationId xmlns:a16="http://schemas.microsoft.com/office/drawing/2014/main" id="{1C3D77AA-9C0E-D992-D80E-61E4713BD1B2}"/>
                </a:ext>
              </a:extLst>
            </p:cNvPr>
            <p:cNvSpPr/>
            <p:nvPr/>
          </p:nvSpPr>
          <p:spPr>
            <a:xfrm>
              <a:off x="700600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3" name="object 463">
              <a:extLst>
                <a:ext uri="{FF2B5EF4-FFF2-40B4-BE49-F238E27FC236}">
                  <a16:creationId xmlns:a16="http://schemas.microsoft.com/office/drawing/2014/main" id="{A32085F7-E83C-989C-67EF-31A0987E5309}"/>
                </a:ext>
              </a:extLst>
            </p:cNvPr>
            <p:cNvSpPr/>
            <p:nvPr/>
          </p:nvSpPr>
          <p:spPr>
            <a:xfrm>
              <a:off x="683103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4" name="object 464">
              <a:extLst>
                <a:ext uri="{FF2B5EF4-FFF2-40B4-BE49-F238E27FC236}">
                  <a16:creationId xmlns:a16="http://schemas.microsoft.com/office/drawing/2014/main" id="{804ACB66-EE27-64EF-1424-75E1587A238B}"/>
                </a:ext>
              </a:extLst>
            </p:cNvPr>
            <p:cNvSpPr/>
            <p:nvPr/>
          </p:nvSpPr>
          <p:spPr>
            <a:xfrm>
              <a:off x="665605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5" name="object 465">
              <a:extLst>
                <a:ext uri="{FF2B5EF4-FFF2-40B4-BE49-F238E27FC236}">
                  <a16:creationId xmlns:a16="http://schemas.microsoft.com/office/drawing/2014/main" id="{8F0E841E-67EF-6BC6-DCEF-0D42188F48C7}"/>
                </a:ext>
              </a:extLst>
            </p:cNvPr>
            <p:cNvSpPr/>
            <p:nvPr/>
          </p:nvSpPr>
          <p:spPr>
            <a:xfrm>
              <a:off x="683103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6" name="object 466">
              <a:extLst>
                <a:ext uri="{FF2B5EF4-FFF2-40B4-BE49-F238E27FC236}">
                  <a16:creationId xmlns:a16="http://schemas.microsoft.com/office/drawing/2014/main" id="{62FFB8BD-2C48-D1A5-F206-56DE34EAFDDC}"/>
                </a:ext>
              </a:extLst>
            </p:cNvPr>
            <p:cNvSpPr/>
            <p:nvPr/>
          </p:nvSpPr>
          <p:spPr>
            <a:xfrm>
              <a:off x="6656054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67" name="object 467">
            <a:extLst>
              <a:ext uri="{FF2B5EF4-FFF2-40B4-BE49-F238E27FC236}">
                <a16:creationId xmlns:a16="http://schemas.microsoft.com/office/drawing/2014/main" id="{AB7800B5-38B4-8D80-D70A-BF6C722F9487}"/>
              </a:ext>
            </a:extLst>
          </p:cNvPr>
          <p:cNvGrpSpPr/>
          <p:nvPr/>
        </p:nvGrpSpPr>
        <p:grpSpPr>
          <a:xfrm>
            <a:off x="5833725" y="1848916"/>
            <a:ext cx="350371" cy="123526"/>
            <a:chOff x="5833725" y="1848916"/>
            <a:chExt cx="350371" cy="123526"/>
          </a:xfrm>
        </p:grpSpPr>
        <p:sp>
          <p:nvSpPr>
            <p:cNvPr id="468" name="object 468">
              <a:extLst>
                <a:ext uri="{FF2B5EF4-FFF2-40B4-BE49-F238E27FC236}">
                  <a16:creationId xmlns:a16="http://schemas.microsoft.com/office/drawing/2014/main" id="{026D3093-2023-6194-F79E-E028C7244892}"/>
                </a:ext>
              </a:extLst>
            </p:cNvPr>
            <p:cNvSpPr/>
            <p:nvPr/>
          </p:nvSpPr>
          <p:spPr>
            <a:xfrm>
              <a:off x="611397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9" name="object 469">
              <a:extLst>
                <a:ext uri="{FF2B5EF4-FFF2-40B4-BE49-F238E27FC236}">
                  <a16:creationId xmlns:a16="http://schemas.microsoft.com/office/drawing/2014/main" id="{81F14802-3BDD-7624-4799-1B00D0435ED5}"/>
                </a:ext>
              </a:extLst>
            </p:cNvPr>
            <p:cNvSpPr/>
            <p:nvPr/>
          </p:nvSpPr>
          <p:spPr>
            <a:xfrm>
              <a:off x="6148992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0" name="object 470">
              <a:extLst>
                <a:ext uri="{FF2B5EF4-FFF2-40B4-BE49-F238E27FC236}">
                  <a16:creationId xmlns:a16="http://schemas.microsoft.com/office/drawing/2014/main" id="{523052EA-AD90-6607-04D7-4F0EC08B5FC5}"/>
                </a:ext>
              </a:extLst>
            </p:cNvPr>
            <p:cNvSpPr/>
            <p:nvPr/>
          </p:nvSpPr>
          <p:spPr>
            <a:xfrm>
              <a:off x="604392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1" name="object 471">
              <a:extLst>
                <a:ext uri="{FF2B5EF4-FFF2-40B4-BE49-F238E27FC236}">
                  <a16:creationId xmlns:a16="http://schemas.microsoft.com/office/drawing/2014/main" id="{C14F2402-98C8-DD3E-19EC-F6083D759C23}"/>
                </a:ext>
              </a:extLst>
            </p:cNvPr>
            <p:cNvSpPr/>
            <p:nvPr/>
          </p:nvSpPr>
          <p:spPr>
            <a:xfrm>
              <a:off x="593886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2" name="object 472">
              <a:extLst>
                <a:ext uri="{FF2B5EF4-FFF2-40B4-BE49-F238E27FC236}">
                  <a16:creationId xmlns:a16="http://schemas.microsoft.com/office/drawing/2014/main" id="{9CE2C743-07EB-13D2-E2DC-6BD96A1AE406}"/>
                </a:ext>
              </a:extLst>
            </p:cNvPr>
            <p:cNvSpPr/>
            <p:nvPr/>
          </p:nvSpPr>
          <p:spPr>
            <a:xfrm>
              <a:off x="597395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3" name="object 473">
              <a:extLst>
                <a:ext uri="{FF2B5EF4-FFF2-40B4-BE49-F238E27FC236}">
                  <a16:creationId xmlns:a16="http://schemas.microsoft.com/office/drawing/2014/main" id="{40CD33E9-4756-6672-0664-3221CE9A3103}"/>
                </a:ext>
              </a:extLst>
            </p:cNvPr>
            <p:cNvSpPr/>
            <p:nvPr/>
          </p:nvSpPr>
          <p:spPr>
            <a:xfrm>
              <a:off x="586882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4" name="object 474">
              <a:extLst>
                <a:ext uri="{FF2B5EF4-FFF2-40B4-BE49-F238E27FC236}">
                  <a16:creationId xmlns:a16="http://schemas.microsoft.com/office/drawing/2014/main" id="{6203ACB7-DC13-584B-2532-D568F60041C6}"/>
                </a:ext>
              </a:extLst>
            </p:cNvPr>
            <p:cNvSpPr/>
            <p:nvPr/>
          </p:nvSpPr>
          <p:spPr>
            <a:xfrm>
              <a:off x="607894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5" name="object 475">
              <a:extLst>
                <a:ext uri="{FF2B5EF4-FFF2-40B4-BE49-F238E27FC236}">
                  <a16:creationId xmlns:a16="http://schemas.microsoft.com/office/drawing/2014/main" id="{4FE03CF2-0F42-726B-7549-04BB3ADE95DB}"/>
                </a:ext>
              </a:extLst>
            </p:cNvPr>
            <p:cNvSpPr/>
            <p:nvPr/>
          </p:nvSpPr>
          <p:spPr>
            <a:xfrm>
              <a:off x="590384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6" name="object 476">
              <a:extLst>
                <a:ext uri="{FF2B5EF4-FFF2-40B4-BE49-F238E27FC236}">
                  <a16:creationId xmlns:a16="http://schemas.microsoft.com/office/drawing/2014/main" id="{1F1C5ED6-81A1-935E-FD30-495A77D3E982}"/>
                </a:ext>
              </a:extLst>
            </p:cNvPr>
            <p:cNvSpPr/>
            <p:nvPr/>
          </p:nvSpPr>
          <p:spPr>
            <a:xfrm>
              <a:off x="6184014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7" name="object 477">
              <a:extLst>
                <a:ext uri="{FF2B5EF4-FFF2-40B4-BE49-F238E27FC236}">
                  <a16:creationId xmlns:a16="http://schemas.microsoft.com/office/drawing/2014/main" id="{4F7F3CA0-FB88-43C6-6D3B-17403C7C96C4}"/>
                </a:ext>
              </a:extLst>
            </p:cNvPr>
            <p:cNvSpPr/>
            <p:nvPr/>
          </p:nvSpPr>
          <p:spPr>
            <a:xfrm>
              <a:off x="6009043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8" name="object 478">
              <a:extLst>
                <a:ext uri="{FF2B5EF4-FFF2-40B4-BE49-F238E27FC236}">
                  <a16:creationId xmlns:a16="http://schemas.microsoft.com/office/drawing/2014/main" id="{3596A9E4-06B6-C825-7955-1556DB700FE3}"/>
                </a:ext>
              </a:extLst>
            </p:cNvPr>
            <p:cNvSpPr/>
            <p:nvPr/>
          </p:nvSpPr>
          <p:spPr>
            <a:xfrm>
              <a:off x="5834073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9" name="object 479">
              <a:extLst>
                <a:ext uri="{FF2B5EF4-FFF2-40B4-BE49-F238E27FC236}">
                  <a16:creationId xmlns:a16="http://schemas.microsoft.com/office/drawing/2014/main" id="{0E14318E-7F4E-5C0B-3E59-9F729C7D4CD9}"/>
                </a:ext>
              </a:extLst>
            </p:cNvPr>
            <p:cNvSpPr/>
            <p:nvPr/>
          </p:nvSpPr>
          <p:spPr>
            <a:xfrm>
              <a:off x="5834073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0" name="object 480">
              <a:extLst>
                <a:ext uri="{FF2B5EF4-FFF2-40B4-BE49-F238E27FC236}">
                  <a16:creationId xmlns:a16="http://schemas.microsoft.com/office/drawing/2014/main" id="{4101101B-E161-A975-6CA6-121ADB780D42}"/>
                </a:ext>
              </a:extLst>
            </p:cNvPr>
            <p:cNvSpPr/>
            <p:nvPr/>
          </p:nvSpPr>
          <p:spPr>
            <a:xfrm>
              <a:off x="5834192" y="1848916"/>
              <a:ext cx="13977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0504"/>
                <a:gd name="f4" fmla="val 84455"/>
                <a:gd name="f5" fmla="val 230474"/>
                <a:gd name="f6" fmla="val 84112"/>
                <a:gd name="f7" fmla="*/ f0 1 230504"/>
                <a:gd name="f8" fmla="*/ f1 1 84455"/>
                <a:gd name="f9" fmla="+- f4 0 f2"/>
                <a:gd name="f10" fmla="+- f3 0 f2"/>
                <a:gd name="f11" fmla="*/ f10 1 23050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050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1" name="object 481">
              <a:extLst>
                <a:ext uri="{FF2B5EF4-FFF2-40B4-BE49-F238E27FC236}">
                  <a16:creationId xmlns:a16="http://schemas.microsoft.com/office/drawing/2014/main" id="{4AC65A4F-591B-3F94-12B8-F16CC41F1057}"/>
                </a:ext>
              </a:extLst>
            </p:cNvPr>
            <p:cNvSpPr/>
            <p:nvPr/>
          </p:nvSpPr>
          <p:spPr>
            <a:xfrm>
              <a:off x="5834192" y="1921227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4"/>
                <a:gd name="f5" fmla="val 291436"/>
                <a:gd name="f6" fmla="val 84091"/>
                <a:gd name="f7" fmla="*/ f0 1 291465"/>
                <a:gd name="f8" fmla="*/ f1 1 84454"/>
                <a:gd name="f9" fmla="+- f4 0 f2"/>
                <a:gd name="f10" fmla="+- f3 0 f2"/>
                <a:gd name="f11" fmla="*/ f10 1 2914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2" name="object 482">
              <a:extLst>
                <a:ext uri="{FF2B5EF4-FFF2-40B4-BE49-F238E27FC236}">
                  <a16:creationId xmlns:a16="http://schemas.microsoft.com/office/drawing/2014/main" id="{64B29AAE-8C83-9093-F6C5-01582D93B7F2}"/>
                </a:ext>
              </a:extLst>
            </p:cNvPr>
            <p:cNvSpPr/>
            <p:nvPr/>
          </p:nvSpPr>
          <p:spPr>
            <a:xfrm>
              <a:off x="611362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3" name="object 483">
              <a:extLst>
                <a:ext uri="{FF2B5EF4-FFF2-40B4-BE49-F238E27FC236}">
                  <a16:creationId xmlns:a16="http://schemas.microsoft.com/office/drawing/2014/main" id="{70B25C4A-C1BD-4741-B66D-A585840451A7}"/>
                </a:ext>
              </a:extLst>
            </p:cNvPr>
            <p:cNvSpPr/>
            <p:nvPr/>
          </p:nvSpPr>
          <p:spPr>
            <a:xfrm>
              <a:off x="614864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4" name="object 484">
              <a:extLst>
                <a:ext uri="{FF2B5EF4-FFF2-40B4-BE49-F238E27FC236}">
                  <a16:creationId xmlns:a16="http://schemas.microsoft.com/office/drawing/2014/main" id="{86342FA9-6033-9672-D944-2A44029A4B47}"/>
                </a:ext>
              </a:extLst>
            </p:cNvPr>
            <p:cNvSpPr/>
            <p:nvPr/>
          </p:nvSpPr>
          <p:spPr>
            <a:xfrm>
              <a:off x="604358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5" name="object 485">
              <a:extLst>
                <a:ext uri="{FF2B5EF4-FFF2-40B4-BE49-F238E27FC236}">
                  <a16:creationId xmlns:a16="http://schemas.microsoft.com/office/drawing/2014/main" id="{BF8174FD-6967-02EC-EF5F-84B6400995C4}"/>
                </a:ext>
              </a:extLst>
            </p:cNvPr>
            <p:cNvSpPr/>
            <p:nvPr/>
          </p:nvSpPr>
          <p:spPr>
            <a:xfrm>
              <a:off x="593851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6" name="object 486">
              <a:extLst>
                <a:ext uri="{FF2B5EF4-FFF2-40B4-BE49-F238E27FC236}">
                  <a16:creationId xmlns:a16="http://schemas.microsoft.com/office/drawing/2014/main" id="{05CF4156-C678-16F6-5047-78A5BCE743B3}"/>
                </a:ext>
              </a:extLst>
            </p:cNvPr>
            <p:cNvSpPr/>
            <p:nvPr/>
          </p:nvSpPr>
          <p:spPr>
            <a:xfrm>
              <a:off x="597361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7" name="object 487">
              <a:extLst>
                <a:ext uri="{FF2B5EF4-FFF2-40B4-BE49-F238E27FC236}">
                  <a16:creationId xmlns:a16="http://schemas.microsoft.com/office/drawing/2014/main" id="{4E1E211B-6052-2041-ECEE-FE6493439055}"/>
                </a:ext>
              </a:extLst>
            </p:cNvPr>
            <p:cNvSpPr/>
            <p:nvPr/>
          </p:nvSpPr>
          <p:spPr>
            <a:xfrm>
              <a:off x="5868472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8" name="object 488">
              <a:extLst>
                <a:ext uri="{FF2B5EF4-FFF2-40B4-BE49-F238E27FC236}">
                  <a16:creationId xmlns:a16="http://schemas.microsoft.com/office/drawing/2014/main" id="{53EA78E2-3D94-816E-669F-E9AF54D1C050}"/>
                </a:ext>
              </a:extLst>
            </p:cNvPr>
            <p:cNvSpPr/>
            <p:nvPr/>
          </p:nvSpPr>
          <p:spPr>
            <a:xfrm>
              <a:off x="6078602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9" name="object 489">
              <a:extLst>
                <a:ext uri="{FF2B5EF4-FFF2-40B4-BE49-F238E27FC236}">
                  <a16:creationId xmlns:a16="http://schemas.microsoft.com/office/drawing/2014/main" id="{F41848BE-AA0D-DFC7-AEAF-A0FE6578A54C}"/>
                </a:ext>
              </a:extLst>
            </p:cNvPr>
            <p:cNvSpPr/>
            <p:nvPr/>
          </p:nvSpPr>
          <p:spPr>
            <a:xfrm>
              <a:off x="590349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0" name="object 490">
              <a:extLst>
                <a:ext uri="{FF2B5EF4-FFF2-40B4-BE49-F238E27FC236}">
                  <a16:creationId xmlns:a16="http://schemas.microsoft.com/office/drawing/2014/main" id="{2FD0C50B-B72D-FD4F-7A32-BD635FD749BB}"/>
                </a:ext>
              </a:extLst>
            </p:cNvPr>
            <p:cNvSpPr/>
            <p:nvPr/>
          </p:nvSpPr>
          <p:spPr>
            <a:xfrm>
              <a:off x="6183666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1" name="object 491">
              <a:extLst>
                <a:ext uri="{FF2B5EF4-FFF2-40B4-BE49-F238E27FC236}">
                  <a16:creationId xmlns:a16="http://schemas.microsoft.com/office/drawing/2014/main" id="{3C24C157-4F1A-5C5F-2469-1602E9CA3F1D}"/>
                </a:ext>
              </a:extLst>
            </p:cNvPr>
            <p:cNvSpPr/>
            <p:nvPr/>
          </p:nvSpPr>
          <p:spPr>
            <a:xfrm>
              <a:off x="6008696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2" name="object 492">
              <a:extLst>
                <a:ext uri="{FF2B5EF4-FFF2-40B4-BE49-F238E27FC236}">
                  <a16:creationId xmlns:a16="http://schemas.microsoft.com/office/drawing/2014/main" id="{B60BC53C-002E-6CC8-4942-B98AE2761177}"/>
                </a:ext>
              </a:extLst>
            </p:cNvPr>
            <p:cNvSpPr/>
            <p:nvPr/>
          </p:nvSpPr>
          <p:spPr>
            <a:xfrm>
              <a:off x="5833725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3" name="object 493">
              <a:extLst>
                <a:ext uri="{FF2B5EF4-FFF2-40B4-BE49-F238E27FC236}">
                  <a16:creationId xmlns:a16="http://schemas.microsoft.com/office/drawing/2014/main" id="{FE081391-041B-CD03-F5AB-A15D08E82318}"/>
                </a:ext>
              </a:extLst>
            </p:cNvPr>
            <p:cNvSpPr/>
            <p:nvPr/>
          </p:nvSpPr>
          <p:spPr>
            <a:xfrm>
              <a:off x="6008696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4" name="object 494">
              <a:extLst>
                <a:ext uri="{FF2B5EF4-FFF2-40B4-BE49-F238E27FC236}">
                  <a16:creationId xmlns:a16="http://schemas.microsoft.com/office/drawing/2014/main" id="{4E390A1E-DE74-7612-E1FD-8E4FC3B57A31}"/>
                </a:ext>
              </a:extLst>
            </p:cNvPr>
            <p:cNvSpPr/>
            <p:nvPr/>
          </p:nvSpPr>
          <p:spPr>
            <a:xfrm>
              <a:off x="5833725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95" name="object 495">
            <a:extLst>
              <a:ext uri="{FF2B5EF4-FFF2-40B4-BE49-F238E27FC236}">
                <a16:creationId xmlns:a16="http://schemas.microsoft.com/office/drawing/2014/main" id="{B3ABA860-0C25-F13A-F09F-C3F7ABECCC31}"/>
              </a:ext>
            </a:extLst>
          </p:cNvPr>
          <p:cNvGrpSpPr/>
          <p:nvPr/>
        </p:nvGrpSpPr>
        <p:grpSpPr>
          <a:xfrm>
            <a:off x="5833725" y="5668868"/>
            <a:ext cx="350371" cy="123507"/>
            <a:chOff x="5833725" y="5668868"/>
            <a:chExt cx="350371" cy="123507"/>
          </a:xfrm>
        </p:grpSpPr>
        <p:sp>
          <p:nvSpPr>
            <p:cNvPr id="496" name="object 496">
              <a:extLst>
                <a:ext uri="{FF2B5EF4-FFF2-40B4-BE49-F238E27FC236}">
                  <a16:creationId xmlns:a16="http://schemas.microsoft.com/office/drawing/2014/main" id="{7080E7B4-AACC-9F01-35C9-677D00C70E10}"/>
                </a:ext>
              </a:extLst>
            </p:cNvPr>
            <p:cNvSpPr/>
            <p:nvPr/>
          </p:nvSpPr>
          <p:spPr>
            <a:xfrm>
              <a:off x="6113971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7" name="object 497">
              <a:extLst>
                <a:ext uri="{FF2B5EF4-FFF2-40B4-BE49-F238E27FC236}">
                  <a16:creationId xmlns:a16="http://schemas.microsoft.com/office/drawing/2014/main" id="{EEF7ECCC-073D-E655-D5A5-36D94577BD64}"/>
                </a:ext>
              </a:extLst>
            </p:cNvPr>
            <p:cNvSpPr/>
            <p:nvPr/>
          </p:nvSpPr>
          <p:spPr>
            <a:xfrm>
              <a:off x="6148992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8" name="object 498">
              <a:extLst>
                <a:ext uri="{FF2B5EF4-FFF2-40B4-BE49-F238E27FC236}">
                  <a16:creationId xmlns:a16="http://schemas.microsoft.com/office/drawing/2014/main" id="{909088DF-AA55-387F-F026-88FB44C5E83B}"/>
                </a:ext>
              </a:extLst>
            </p:cNvPr>
            <p:cNvSpPr/>
            <p:nvPr/>
          </p:nvSpPr>
          <p:spPr>
            <a:xfrm>
              <a:off x="6043927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9" name="object 499">
              <a:extLst>
                <a:ext uri="{FF2B5EF4-FFF2-40B4-BE49-F238E27FC236}">
                  <a16:creationId xmlns:a16="http://schemas.microsoft.com/office/drawing/2014/main" id="{F1DDA9C3-C065-A847-B9DD-F306E3BB3CF7}"/>
                </a:ext>
              </a:extLst>
            </p:cNvPr>
            <p:cNvSpPr/>
            <p:nvPr/>
          </p:nvSpPr>
          <p:spPr>
            <a:xfrm>
              <a:off x="5938863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0" name="object 500">
              <a:extLst>
                <a:ext uri="{FF2B5EF4-FFF2-40B4-BE49-F238E27FC236}">
                  <a16:creationId xmlns:a16="http://schemas.microsoft.com/office/drawing/2014/main" id="{22E4AD03-C676-F712-17EB-0038160F0CA4}"/>
                </a:ext>
              </a:extLst>
            </p:cNvPr>
            <p:cNvSpPr/>
            <p:nvPr/>
          </p:nvSpPr>
          <p:spPr>
            <a:xfrm>
              <a:off x="5973958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1" name="object 501">
              <a:extLst>
                <a:ext uri="{FF2B5EF4-FFF2-40B4-BE49-F238E27FC236}">
                  <a16:creationId xmlns:a16="http://schemas.microsoft.com/office/drawing/2014/main" id="{4B35C327-3496-FA0B-03AE-309C85F51A97}"/>
                </a:ext>
              </a:extLst>
            </p:cNvPr>
            <p:cNvSpPr/>
            <p:nvPr/>
          </p:nvSpPr>
          <p:spPr>
            <a:xfrm>
              <a:off x="5868820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2" name="object 502">
              <a:extLst>
                <a:ext uri="{FF2B5EF4-FFF2-40B4-BE49-F238E27FC236}">
                  <a16:creationId xmlns:a16="http://schemas.microsoft.com/office/drawing/2014/main" id="{24626497-CF96-E564-F506-A44C25E850BF}"/>
                </a:ext>
              </a:extLst>
            </p:cNvPr>
            <p:cNvSpPr/>
            <p:nvPr/>
          </p:nvSpPr>
          <p:spPr>
            <a:xfrm>
              <a:off x="6078949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3" name="object 503">
              <a:extLst>
                <a:ext uri="{FF2B5EF4-FFF2-40B4-BE49-F238E27FC236}">
                  <a16:creationId xmlns:a16="http://schemas.microsoft.com/office/drawing/2014/main" id="{61D3D9BF-9AFE-63F3-C354-B7B133B2678A}"/>
                </a:ext>
              </a:extLst>
            </p:cNvPr>
            <p:cNvSpPr/>
            <p:nvPr/>
          </p:nvSpPr>
          <p:spPr>
            <a:xfrm>
              <a:off x="5903841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4" name="object 504">
              <a:extLst>
                <a:ext uri="{FF2B5EF4-FFF2-40B4-BE49-F238E27FC236}">
                  <a16:creationId xmlns:a16="http://schemas.microsoft.com/office/drawing/2014/main" id="{1AB9F34C-57FD-CD1D-715E-46E83D681CEF}"/>
                </a:ext>
              </a:extLst>
            </p:cNvPr>
            <p:cNvSpPr/>
            <p:nvPr/>
          </p:nvSpPr>
          <p:spPr>
            <a:xfrm>
              <a:off x="6184014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5" name="object 505">
              <a:extLst>
                <a:ext uri="{FF2B5EF4-FFF2-40B4-BE49-F238E27FC236}">
                  <a16:creationId xmlns:a16="http://schemas.microsoft.com/office/drawing/2014/main" id="{0576D980-4002-EE22-3728-E363CD59D89F}"/>
                </a:ext>
              </a:extLst>
            </p:cNvPr>
            <p:cNvSpPr/>
            <p:nvPr/>
          </p:nvSpPr>
          <p:spPr>
            <a:xfrm>
              <a:off x="6009043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6" name="object 506">
              <a:extLst>
                <a:ext uri="{FF2B5EF4-FFF2-40B4-BE49-F238E27FC236}">
                  <a16:creationId xmlns:a16="http://schemas.microsoft.com/office/drawing/2014/main" id="{C65D47FD-14A6-1EA1-D70D-FB7C1B56783D}"/>
                </a:ext>
              </a:extLst>
            </p:cNvPr>
            <p:cNvSpPr/>
            <p:nvPr/>
          </p:nvSpPr>
          <p:spPr>
            <a:xfrm>
              <a:off x="5834073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7" name="object 507">
              <a:extLst>
                <a:ext uri="{FF2B5EF4-FFF2-40B4-BE49-F238E27FC236}">
                  <a16:creationId xmlns:a16="http://schemas.microsoft.com/office/drawing/2014/main" id="{BEE3093C-1D6E-FA12-C157-FC0C6C4C1338}"/>
                </a:ext>
              </a:extLst>
            </p:cNvPr>
            <p:cNvSpPr/>
            <p:nvPr/>
          </p:nvSpPr>
          <p:spPr>
            <a:xfrm>
              <a:off x="5834073" y="569437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8" name="object 508">
              <a:extLst>
                <a:ext uri="{FF2B5EF4-FFF2-40B4-BE49-F238E27FC236}">
                  <a16:creationId xmlns:a16="http://schemas.microsoft.com/office/drawing/2014/main" id="{15F4BC0C-8CE0-E19F-1075-78C9BB13CF5D}"/>
                </a:ext>
              </a:extLst>
            </p:cNvPr>
            <p:cNvSpPr/>
            <p:nvPr/>
          </p:nvSpPr>
          <p:spPr>
            <a:xfrm>
              <a:off x="5834192" y="5668868"/>
              <a:ext cx="18175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9720"/>
                <a:gd name="f4" fmla="val 84454"/>
                <a:gd name="f5" fmla="val 299624"/>
                <a:gd name="f6" fmla="val 84123"/>
                <a:gd name="f7" fmla="*/ f0 1 299720"/>
                <a:gd name="f8" fmla="*/ f1 1 84454"/>
                <a:gd name="f9" fmla="+- f4 0 f2"/>
                <a:gd name="f10" fmla="+- f3 0 f2"/>
                <a:gd name="f11" fmla="*/ f10 1 2997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97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9" name="object 509">
              <a:extLst>
                <a:ext uri="{FF2B5EF4-FFF2-40B4-BE49-F238E27FC236}">
                  <a16:creationId xmlns:a16="http://schemas.microsoft.com/office/drawing/2014/main" id="{9BD9D4D3-2C95-107B-80C6-9E47D448FDD0}"/>
                </a:ext>
              </a:extLst>
            </p:cNvPr>
            <p:cNvSpPr/>
            <p:nvPr/>
          </p:nvSpPr>
          <p:spPr>
            <a:xfrm>
              <a:off x="5834192" y="5741160"/>
              <a:ext cx="19214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6865"/>
                <a:gd name="f4" fmla="val 84454"/>
                <a:gd name="f5" fmla="val 316608"/>
                <a:gd name="f6" fmla="val 84123"/>
                <a:gd name="f7" fmla="*/ f0 1 316865"/>
                <a:gd name="f8" fmla="*/ f1 1 84454"/>
                <a:gd name="f9" fmla="+- f4 0 f2"/>
                <a:gd name="f10" fmla="+- f3 0 f2"/>
                <a:gd name="f11" fmla="*/ f10 1 3168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68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0" name="object 510">
              <a:extLst>
                <a:ext uri="{FF2B5EF4-FFF2-40B4-BE49-F238E27FC236}">
                  <a16:creationId xmlns:a16="http://schemas.microsoft.com/office/drawing/2014/main" id="{D0E1480F-F6C4-A287-2D21-B2371F4F1037}"/>
                </a:ext>
              </a:extLst>
            </p:cNvPr>
            <p:cNvSpPr/>
            <p:nvPr/>
          </p:nvSpPr>
          <p:spPr>
            <a:xfrm>
              <a:off x="6113623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1" name="object 511">
              <a:extLst>
                <a:ext uri="{FF2B5EF4-FFF2-40B4-BE49-F238E27FC236}">
                  <a16:creationId xmlns:a16="http://schemas.microsoft.com/office/drawing/2014/main" id="{FA22A760-35E4-5251-BACC-8DBB3698F4C1}"/>
                </a:ext>
              </a:extLst>
            </p:cNvPr>
            <p:cNvSpPr/>
            <p:nvPr/>
          </p:nvSpPr>
          <p:spPr>
            <a:xfrm>
              <a:off x="6148645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2" name="object 512">
              <a:extLst>
                <a:ext uri="{FF2B5EF4-FFF2-40B4-BE49-F238E27FC236}">
                  <a16:creationId xmlns:a16="http://schemas.microsoft.com/office/drawing/2014/main" id="{15DB8F22-956A-260B-E62F-C5D0BAF63EE2}"/>
                </a:ext>
              </a:extLst>
            </p:cNvPr>
            <p:cNvSpPr/>
            <p:nvPr/>
          </p:nvSpPr>
          <p:spPr>
            <a:xfrm>
              <a:off x="604358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3" name="object 513">
              <a:extLst>
                <a:ext uri="{FF2B5EF4-FFF2-40B4-BE49-F238E27FC236}">
                  <a16:creationId xmlns:a16="http://schemas.microsoft.com/office/drawing/2014/main" id="{878D9292-1EAE-657C-E8B0-52E046C26745}"/>
                </a:ext>
              </a:extLst>
            </p:cNvPr>
            <p:cNvSpPr/>
            <p:nvPr/>
          </p:nvSpPr>
          <p:spPr>
            <a:xfrm>
              <a:off x="5938515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4" name="object 514">
              <a:extLst>
                <a:ext uri="{FF2B5EF4-FFF2-40B4-BE49-F238E27FC236}">
                  <a16:creationId xmlns:a16="http://schemas.microsoft.com/office/drawing/2014/main" id="{AAB22473-0935-19B8-190B-0B280E465BEC}"/>
                </a:ext>
              </a:extLst>
            </p:cNvPr>
            <p:cNvSpPr/>
            <p:nvPr/>
          </p:nvSpPr>
          <p:spPr>
            <a:xfrm>
              <a:off x="597361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5" name="object 515">
              <a:extLst>
                <a:ext uri="{FF2B5EF4-FFF2-40B4-BE49-F238E27FC236}">
                  <a16:creationId xmlns:a16="http://schemas.microsoft.com/office/drawing/2014/main" id="{5B38B94D-D932-DB9C-168F-23647D2B1BBE}"/>
                </a:ext>
              </a:extLst>
            </p:cNvPr>
            <p:cNvSpPr/>
            <p:nvPr/>
          </p:nvSpPr>
          <p:spPr>
            <a:xfrm>
              <a:off x="5868472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6" name="object 516">
              <a:extLst>
                <a:ext uri="{FF2B5EF4-FFF2-40B4-BE49-F238E27FC236}">
                  <a16:creationId xmlns:a16="http://schemas.microsoft.com/office/drawing/2014/main" id="{CBC4A6CB-A1FD-A23C-C322-E2F8BEDC2DA8}"/>
                </a:ext>
              </a:extLst>
            </p:cNvPr>
            <p:cNvSpPr/>
            <p:nvPr/>
          </p:nvSpPr>
          <p:spPr>
            <a:xfrm>
              <a:off x="6078602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7" name="object 517">
              <a:extLst>
                <a:ext uri="{FF2B5EF4-FFF2-40B4-BE49-F238E27FC236}">
                  <a16:creationId xmlns:a16="http://schemas.microsoft.com/office/drawing/2014/main" id="{477E1111-9003-2D29-1F22-095AB00E8908}"/>
                </a:ext>
              </a:extLst>
            </p:cNvPr>
            <p:cNvSpPr/>
            <p:nvPr/>
          </p:nvSpPr>
          <p:spPr>
            <a:xfrm>
              <a:off x="5903494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8" name="object 518">
              <a:extLst>
                <a:ext uri="{FF2B5EF4-FFF2-40B4-BE49-F238E27FC236}">
                  <a16:creationId xmlns:a16="http://schemas.microsoft.com/office/drawing/2014/main" id="{1F02C9E8-379C-4DCF-2446-6CE933104B22}"/>
                </a:ext>
              </a:extLst>
            </p:cNvPr>
            <p:cNvSpPr/>
            <p:nvPr/>
          </p:nvSpPr>
          <p:spPr>
            <a:xfrm>
              <a:off x="6183666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9" name="object 519">
              <a:extLst>
                <a:ext uri="{FF2B5EF4-FFF2-40B4-BE49-F238E27FC236}">
                  <a16:creationId xmlns:a16="http://schemas.microsoft.com/office/drawing/2014/main" id="{FC96CD98-1248-23A2-0AFD-B34975A226C1}"/>
                </a:ext>
              </a:extLst>
            </p:cNvPr>
            <p:cNvSpPr/>
            <p:nvPr/>
          </p:nvSpPr>
          <p:spPr>
            <a:xfrm>
              <a:off x="6008696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0" name="object 520">
              <a:extLst>
                <a:ext uri="{FF2B5EF4-FFF2-40B4-BE49-F238E27FC236}">
                  <a16:creationId xmlns:a16="http://schemas.microsoft.com/office/drawing/2014/main" id="{A432A93A-C7DA-DBDB-8535-978D85E935E5}"/>
                </a:ext>
              </a:extLst>
            </p:cNvPr>
            <p:cNvSpPr/>
            <p:nvPr/>
          </p:nvSpPr>
          <p:spPr>
            <a:xfrm>
              <a:off x="5833725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1" name="object 521">
              <a:extLst>
                <a:ext uri="{FF2B5EF4-FFF2-40B4-BE49-F238E27FC236}">
                  <a16:creationId xmlns:a16="http://schemas.microsoft.com/office/drawing/2014/main" id="{8CAAEF1C-F22E-EE7A-F788-AFB9A7CA0CA2}"/>
                </a:ext>
              </a:extLst>
            </p:cNvPr>
            <p:cNvSpPr/>
            <p:nvPr/>
          </p:nvSpPr>
          <p:spPr>
            <a:xfrm>
              <a:off x="6008696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2" name="object 522">
              <a:extLst>
                <a:ext uri="{FF2B5EF4-FFF2-40B4-BE49-F238E27FC236}">
                  <a16:creationId xmlns:a16="http://schemas.microsoft.com/office/drawing/2014/main" id="{DFC4B152-C1C3-526F-0D17-91A672C1E053}"/>
                </a:ext>
              </a:extLst>
            </p:cNvPr>
            <p:cNvSpPr/>
            <p:nvPr/>
          </p:nvSpPr>
          <p:spPr>
            <a:xfrm>
              <a:off x="5833725" y="57666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23" name="object 523">
            <a:extLst>
              <a:ext uri="{FF2B5EF4-FFF2-40B4-BE49-F238E27FC236}">
                <a16:creationId xmlns:a16="http://schemas.microsoft.com/office/drawing/2014/main" id="{3A3EA02F-4B8D-8C1F-A9AF-BFD6744DCF23}"/>
              </a:ext>
            </a:extLst>
          </p:cNvPr>
          <p:cNvGrpSpPr/>
          <p:nvPr/>
        </p:nvGrpSpPr>
        <p:grpSpPr>
          <a:xfrm>
            <a:off x="5833725" y="6432932"/>
            <a:ext cx="350371" cy="123507"/>
            <a:chOff x="5833725" y="6432932"/>
            <a:chExt cx="350371" cy="123507"/>
          </a:xfrm>
        </p:grpSpPr>
        <p:sp>
          <p:nvSpPr>
            <p:cNvPr id="524" name="object 524">
              <a:extLst>
                <a:ext uri="{FF2B5EF4-FFF2-40B4-BE49-F238E27FC236}">
                  <a16:creationId xmlns:a16="http://schemas.microsoft.com/office/drawing/2014/main" id="{4B5FBB4F-E472-384E-15B1-FB3EA4E899CB}"/>
                </a:ext>
              </a:extLst>
            </p:cNvPr>
            <p:cNvSpPr/>
            <p:nvPr/>
          </p:nvSpPr>
          <p:spPr>
            <a:xfrm>
              <a:off x="6113971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5" name="object 525">
              <a:extLst>
                <a:ext uri="{FF2B5EF4-FFF2-40B4-BE49-F238E27FC236}">
                  <a16:creationId xmlns:a16="http://schemas.microsoft.com/office/drawing/2014/main" id="{FF40A141-CCE1-00F8-2C51-C4C7267401B4}"/>
                </a:ext>
              </a:extLst>
            </p:cNvPr>
            <p:cNvSpPr/>
            <p:nvPr/>
          </p:nvSpPr>
          <p:spPr>
            <a:xfrm>
              <a:off x="6148992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6" name="object 526">
              <a:extLst>
                <a:ext uri="{FF2B5EF4-FFF2-40B4-BE49-F238E27FC236}">
                  <a16:creationId xmlns:a16="http://schemas.microsoft.com/office/drawing/2014/main" id="{87A23822-2A66-C1F6-E268-19FBF1F5D60A}"/>
                </a:ext>
              </a:extLst>
            </p:cNvPr>
            <p:cNvSpPr/>
            <p:nvPr/>
          </p:nvSpPr>
          <p:spPr>
            <a:xfrm>
              <a:off x="6043927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7" name="object 527">
              <a:extLst>
                <a:ext uri="{FF2B5EF4-FFF2-40B4-BE49-F238E27FC236}">
                  <a16:creationId xmlns:a16="http://schemas.microsoft.com/office/drawing/2014/main" id="{EBAACA5A-1E0B-98AA-1EA2-5F8E3094114C}"/>
                </a:ext>
              </a:extLst>
            </p:cNvPr>
            <p:cNvSpPr/>
            <p:nvPr/>
          </p:nvSpPr>
          <p:spPr>
            <a:xfrm>
              <a:off x="5938863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8" name="object 528">
              <a:extLst>
                <a:ext uri="{FF2B5EF4-FFF2-40B4-BE49-F238E27FC236}">
                  <a16:creationId xmlns:a16="http://schemas.microsoft.com/office/drawing/2014/main" id="{073F8DE1-DF2A-00DB-9674-06D602C5B7BB}"/>
                </a:ext>
              </a:extLst>
            </p:cNvPr>
            <p:cNvSpPr/>
            <p:nvPr/>
          </p:nvSpPr>
          <p:spPr>
            <a:xfrm>
              <a:off x="5973958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9" name="object 529">
              <a:extLst>
                <a:ext uri="{FF2B5EF4-FFF2-40B4-BE49-F238E27FC236}">
                  <a16:creationId xmlns:a16="http://schemas.microsoft.com/office/drawing/2014/main" id="{9DAEE304-CD42-2B53-9D0B-C78635CD9777}"/>
                </a:ext>
              </a:extLst>
            </p:cNvPr>
            <p:cNvSpPr/>
            <p:nvPr/>
          </p:nvSpPr>
          <p:spPr>
            <a:xfrm>
              <a:off x="5868820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0" name="object 530">
              <a:extLst>
                <a:ext uri="{FF2B5EF4-FFF2-40B4-BE49-F238E27FC236}">
                  <a16:creationId xmlns:a16="http://schemas.microsoft.com/office/drawing/2014/main" id="{5AE46195-229A-997D-3F88-95E9DF8DDFD2}"/>
                </a:ext>
              </a:extLst>
            </p:cNvPr>
            <p:cNvSpPr/>
            <p:nvPr/>
          </p:nvSpPr>
          <p:spPr>
            <a:xfrm>
              <a:off x="6078949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1" name="object 531">
              <a:extLst>
                <a:ext uri="{FF2B5EF4-FFF2-40B4-BE49-F238E27FC236}">
                  <a16:creationId xmlns:a16="http://schemas.microsoft.com/office/drawing/2014/main" id="{61A7162F-9EDB-5745-D765-F3EF975D853E}"/>
                </a:ext>
              </a:extLst>
            </p:cNvPr>
            <p:cNvSpPr/>
            <p:nvPr/>
          </p:nvSpPr>
          <p:spPr>
            <a:xfrm>
              <a:off x="5903841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2" name="object 532">
              <a:extLst>
                <a:ext uri="{FF2B5EF4-FFF2-40B4-BE49-F238E27FC236}">
                  <a16:creationId xmlns:a16="http://schemas.microsoft.com/office/drawing/2014/main" id="{C6C96F40-7053-447D-06D6-533696D30DF4}"/>
                </a:ext>
              </a:extLst>
            </p:cNvPr>
            <p:cNvSpPr/>
            <p:nvPr/>
          </p:nvSpPr>
          <p:spPr>
            <a:xfrm>
              <a:off x="6184014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3" name="object 533">
              <a:extLst>
                <a:ext uri="{FF2B5EF4-FFF2-40B4-BE49-F238E27FC236}">
                  <a16:creationId xmlns:a16="http://schemas.microsoft.com/office/drawing/2014/main" id="{6D1E45D3-C55F-0A27-A6FC-4E99DF06FC6A}"/>
                </a:ext>
              </a:extLst>
            </p:cNvPr>
            <p:cNvSpPr/>
            <p:nvPr/>
          </p:nvSpPr>
          <p:spPr>
            <a:xfrm>
              <a:off x="6009043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4" name="object 534">
              <a:extLst>
                <a:ext uri="{FF2B5EF4-FFF2-40B4-BE49-F238E27FC236}">
                  <a16:creationId xmlns:a16="http://schemas.microsoft.com/office/drawing/2014/main" id="{C3014F0F-1B1C-5B5E-AB3F-27D53965D68D}"/>
                </a:ext>
              </a:extLst>
            </p:cNvPr>
            <p:cNvSpPr/>
            <p:nvPr/>
          </p:nvSpPr>
          <p:spPr>
            <a:xfrm>
              <a:off x="5834073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5" name="object 535">
              <a:extLst>
                <a:ext uri="{FF2B5EF4-FFF2-40B4-BE49-F238E27FC236}">
                  <a16:creationId xmlns:a16="http://schemas.microsoft.com/office/drawing/2014/main" id="{3D16580F-F77F-E65F-7B8D-A05D9B14C39F}"/>
                </a:ext>
              </a:extLst>
            </p:cNvPr>
            <p:cNvSpPr/>
            <p:nvPr/>
          </p:nvSpPr>
          <p:spPr>
            <a:xfrm>
              <a:off x="5834073" y="645843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6" name="object 536">
              <a:extLst>
                <a:ext uri="{FF2B5EF4-FFF2-40B4-BE49-F238E27FC236}">
                  <a16:creationId xmlns:a16="http://schemas.microsoft.com/office/drawing/2014/main" id="{5C2D42DD-DFDA-4D3B-A88B-627C3E15DC1B}"/>
                </a:ext>
              </a:extLst>
            </p:cNvPr>
            <p:cNvSpPr/>
            <p:nvPr/>
          </p:nvSpPr>
          <p:spPr>
            <a:xfrm>
              <a:off x="5834192" y="6432932"/>
              <a:ext cx="10088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6370"/>
                <a:gd name="f4" fmla="val 84454"/>
                <a:gd name="f5" fmla="val 166089"/>
                <a:gd name="f6" fmla="val 84123"/>
                <a:gd name="f7" fmla="*/ f0 1 166370"/>
                <a:gd name="f8" fmla="*/ f1 1 84454"/>
                <a:gd name="f9" fmla="+- f4 0 f2"/>
                <a:gd name="f10" fmla="+- f3 0 f2"/>
                <a:gd name="f11" fmla="*/ f10 1 16637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637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7" name="object 537">
              <a:extLst>
                <a:ext uri="{FF2B5EF4-FFF2-40B4-BE49-F238E27FC236}">
                  <a16:creationId xmlns:a16="http://schemas.microsoft.com/office/drawing/2014/main" id="{2707024A-0ACB-ECDE-41BD-87277313C426}"/>
                </a:ext>
              </a:extLst>
            </p:cNvPr>
            <p:cNvSpPr/>
            <p:nvPr/>
          </p:nvSpPr>
          <p:spPr>
            <a:xfrm>
              <a:off x="5834192" y="6505224"/>
              <a:ext cx="23565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88620"/>
                <a:gd name="f4" fmla="val 84454"/>
                <a:gd name="f5" fmla="val 388270"/>
                <a:gd name="f6" fmla="val 84123"/>
                <a:gd name="f7" fmla="*/ f0 1 388620"/>
                <a:gd name="f8" fmla="*/ f1 1 84454"/>
                <a:gd name="f9" fmla="+- f4 0 f2"/>
                <a:gd name="f10" fmla="+- f3 0 f2"/>
                <a:gd name="f11" fmla="*/ f10 1 3886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886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8" name="object 538">
              <a:extLst>
                <a:ext uri="{FF2B5EF4-FFF2-40B4-BE49-F238E27FC236}">
                  <a16:creationId xmlns:a16="http://schemas.microsoft.com/office/drawing/2014/main" id="{59A1B77F-BE7F-BA16-1827-B5D33FF5BE2E}"/>
                </a:ext>
              </a:extLst>
            </p:cNvPr>
            <p:cNvSpPr/>
            <p:nvPr/>
          </p:nvSpPr>
          <p:spPr>
            <a:xfrm>
              <a:off x="6113623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9" name="object 539">
              <a:extLst>
                <a:ext uri="{FF2B5EF4-FFF2-40B4-BE49-F238E27FC236}">
                  <a16:creationId xmlns:a16="http://schemas.microsoft.com/office/drawing/2014/main" id="{13B1CE51-54E6-BA89-8FED-2F27A68038C7}"/>
                </a:ext>
              </a:extLst>
            </p:cNvPr>
            <p:cNvSpPr/>
            <p:nvPr/>
          </p:nvSpPr>
          <p:spPr>
            <a:xfrm>
              <a:off x="6148645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0" name="object 540">
              <a:extLst>
                <a:ext uri="{FF2B5EF4-FFF2-40B4-BE49-F238E27FC236}">
                  <a16:creationId xmlns:a16="http://schemas.microsoft.com/office/drawing/2014/main" id="{33FA593B-25C7-304B-7F09-40117E7CEECF}"/>
                </a:ext>
              </a:extLst>
            </p:cNvPr>
            <p:cNvSpPr/>
            <p:nvPr/>
          </p:nvSpPr>
          <p:spPr>
            <a:xfrm>
              <a:off x="604358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1" name="object 541">
              <a:extLst>
                <a:ext uri="{FF2B5EF4-FFF2-40B4-BE49-F238E27FC236}">
                  <a16:creationId xmlns:a16="http://schemas.microsoft.com/office/drawing/2014/main" id="{7114CBFA-A1D9-21E8-2312-951B3C2D3E09}"/>
                </a:ext>
              </a:extLst>
            </p:cNvPr>
            <p:cNvSpPr/>
            <p:nvPr/>
          </p:nvSpPr>
          <p:spPr>
            <a:xfrm>
              <a:off x="5938515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2" name="object 542">
              <a:extLst>
                <a:ext uri="{FF2B5EF4-FFF2-40B4-BE49-F238E27FC236}">
                  <a16:creationId xmlns:a16="http://schemas.microsoft.com/office/drawing/2014/main" id="{32C18E5D-3021-D3FF-6693-2FF5C00C8279}"/>
                </a:ext>
              </a:extLst>
            </p:cNvPr>
            <p:cNvSpPr/>
            <p:nvPr/>
          </p:nvSpPr>
          <p:spPr>
            <a:xfrm>
              <a:off x="597361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3" name="object 543">
              <a:extLst>
                <a:ext uri="{FF2B5EF4-FFF2-40B4-BE49-F238E27FC236}">
                  <a16:creationId xmlns:a16="http://schemas.microsoft.com/office/drawing/2014/main" id="{0CF28737-7BC7-4B55-8BDD-B09BB4EF1E40}"/>
                </a:ext>
              </a:extLst>
            </p:cNvPr>
            <p:cNvSpPr/>
            <p:nvPr/>
          </p:nvSpPr>
          <p:spPr>
            <a:xfrm>
              <a:off x="5868472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4" name="object 544">
              <a:extLst>
                <a:ext uri="{FF2B5EF4-FFF2-40B4-BE49-F238E27FC236}">
                  <a16:creationId xmlns:a16="http://schemas.microsoft.com/office/drawing/2014/main" id="{CD57F614-5FE6-659B-BF78-BD1AE099B80C}"/>
                </a:ext>
              </a:extLst>
            </p:cNvPr>
            <p:cNvSpPr/>
            <p:nvPr/>
          </p:nvSpPr>
          <p:spPr>
            <a:xfrm>
              <a:off x="6078602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5" name="object 545">
              <a:extLst>
                <a:ext uri="{FF2B5EF4-FFF2-40B4-BE49-F238E27FC236}">
                  <a16:creationId xmlns:a16="http://schemas.microsoft.com/office/drawing/2014/main" id="{089A778E-C65F-C4F1-EA6D-DA373F62E4EE}"/>
                </a:ext>
              </a:extLst>
            </p:cNvPr>
            <p:cNvSpPr/>
            <p:nvPr/>
          </p:nvSpPr>
          <p:spPr>
            <a:xfrm>
              <a:off x="5903494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6" name="object 546">
              <a:extLst>
                <a:ext uri="{FF2B5EF4-FFF2-40B4-BE49-F238E27FC236}">
                  <a16:creationId xmlns:a16="http://schemas.microsoft.com/office/drawing/2014/main" id="{9AC24CD9-68C3-3174-96F5-781D4CC10A8C}"/>
                </a:ext>
              </a:extLst>
            </p:cNvPr>
            <p:cNvSpPr/>
            <p:nvPr/>
          </p:nvSpPr>
          <p:spPr>
            <a:xfrm>
              <a:off x="6183666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7" name="object 547">
              <a:extLst>
                <a:ext uri="{FF2B5EF4-FFF2-40B4-BE49-F238E27FC236}">
                  <a16:creationId xmlns:a16="http://schemas.microsoft.com/office/drawing/2014/main" id="{49F65AE4-20AD-2241-F486-AC69BB931E44}"/>
                </a:ext>
              </a:extLst>
            </p:cNvPr>
            <p:cNvSpPr/>
            <p:nvPr/>
          </p:nvSpPr>
          <p:spPr>
            <a:xfrm>
              <a:off x="6008696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8" name="object 548">
              <a:extLst>
                <a:ext uri="{FF2B5EF4-FFF2-40B4-BE49-F238E27FC236}">
                  <a16:creationId xmlns:a16="http://schemas.microsoft.com/office/drawing/2014/main" id="{9EFB2606-903C-070A-C7BB-A4AD9B3AF63D}"/>
                </a:ext>
              </a:extLst>
            </p:cNvPr>
            <p:cNvSpPr/>
            <p:nvPr/>
          </p:nvSpPr>
          <p:spPr>
            <a:xfrm>
              <a:off x="5833725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9" name="object 549">
              <a:extLst>
                <a:ext uri="{FF2B5EF4-FFF2-40B4-BE49-F238E27FC236}">
                  <a16:creationId xmlns:a16="http://schemas.microsoft.com/office/drawing/2014/main" id="{29D33A2A-D136-4BDE-80DE-3EF0E0E6E229}"/>
                </a:ext>
              </a:extLst>
            </p:cNvPr>
            <p:cNvSpPr/>
            <p:nvPr/>
          </p:nvSpPr>
          <p:spPr>
            <a:xfrm>
              <a:off x="6008696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0" name="object 550">
              <a:extLst>
                <a:ext uri="{FF2B5EF4-FFF2-40B4-BE49-F238E27FC236}">
                  <a16:creationId xmlns:a16="http://schemas.microsoft.com/office/drawing/2014/main" id="{CC68BB4D-B790-A8EE-8048-CC1FD249835C}"/>
                </a:ext>
              </a:extLst>
            </p:cNvPr>
            <p:cNvSpPr/>
            <p:nvPr/>
          </p:nvSpPr>
          <p:spPr>
            <a:xfrm>
              <a:off x="5833725" y="653073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51" name="object 551">
            <a:extLst>
              <a:ext uri="{FF2B5EF4-FFF2-40B4-BE49-F238E27FC236}">
                <a16:creationId xmlns:a16="http://schemas.microsoft.com/office/drawing/2014/main" id="{B0F73156-CBD5-4CBD-1490-666BEDA812C1}"/>
              </a:ext>
            </a:extLst>
          </p:cNvPr>
          <p:cNvGrpSpPr/>
          <p:nvPr/>
        </p:nvGrpSpPr>
        <p:grpSpPr>
          <a:xfrm>
            <a:off x="5012411" y="1848916"/>
            <a:ext cx="350371" cy="123526"/>
            <a:chOff x="5012411" y="1848916"/>
            <a:chExt cx="350371" cy="123526"/>
          </a:xfrm>
        </p:grpSpPr>
        <p:sp>
          <p:nvSpPr>
            <p:cNvPr id="552" name="object 552">
              <a:extLst>
                <a:ext uri="{FF2B5EF4-FFF2-40B4-BE49-F238E27FC236}">
                  <a16:creationId xmlns:a16="http://schemas.microsoft.com/office/drawing/2014/main" id="{F4A13A5B-BD14-B19F-7CE8-49B6E5070DCD}"/>
                </a:ext>
              </a:extLst>
            </p:cNvPr>
            <p:cNvSpPr/>
            <p:nvPr/>
          </p:nvSpPr>
          <p:spPr>
            <a:xfrm>
              <a:off x="529265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3" name="object 553">
              <a:extLst>
                <a:ext uri="{FF2B5EF4-FFF2-40B4-BE49-F238E27FC236}">
                  <a16:creationId xmlns:a16="http://schemas.microsoft.com/office/drawing/2014/main" id="{6B05B9B1-0A93-9406-6E6A-4DFB75F7EF06}"/>
                </a:ext>
              </a:extLst>
            </p:cNvPr>
            <p:cNvSpPr/>
            <p:nvPr/>
          </p:nvSpPr>
          <p:spPr>
            <a:xfrm>
              <a:off x="532767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4" name="object 554">
              <a:extLst>
                <a:ext uri="{FF2B5EF4-FFF2-40B4-BE49-F238E27FC236}">
                  <a16:creationId xmlns:a16="http://schemas.microsoft.com/office/drawing/2014/main" id="{2701E6B9-B12C-9D3D-92C0-60A111A60710}"/>
                </a:ext>
              </a:extLst>
            </p:cNvPr>
            <p:cNvSpPr/>
            <p:nvPr/>
          </p:nvSpPr>
          <p:spPr>
            <a:xfrm>
              <a:off x="522261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5" name="object 555">
              <a:extLst>
                <a:ext uri="{FF2B5EF4-FFF2-40B4-BE49-F238E27FC236}">
                  <a16:creationId xmlns:a16="http://schemas.microsoft.com/office/drawing/2014/main" id="{45A03782-DA13-D403-5835-4BB05FF52206}"/>
                </a:ext>
              </a:extLst>
            </p:cNvPr>
            <p:cNvSpPr/>
            <p:nvPr/>
          </p:nvSpPr>
          <p:spPr>
            <a:xfrm>
              <a:off x="511754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6" name="object 556">
              <a:extLst>
                <a:ext uri="{FF2B5EF4-FFF2-40B4-BE49-F238E27FC236}">
                  <a16:creationId xmlns:a16="http://schemas.microsoft.com/office/drawing/2014/main" id="{F75EB5D9-6097-8622-D681-59EFA6290775}"/>
                </a:ext>
              </a:extLst>
            </p:cNvPr>
            <p:cNvSpPr/>
            <p:nvPr/>
          </p:nvSpPr>
          <p:spPr>
            <a:xfrm>
              <a:off x="5152634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7" name="object 557">
              <a:extLst>
                <a:ext uri="{FF2B5EF4-FFF2-40B4-BE49-F238E27FC236}">
                  <a16:creationId xmlns:a16="http://schemas.microsoft.com/office/drawing/2014/main" id="{BE8F14FA-06B6-FF65-0020-3A03C25031F0}"/>
                </a:ext>
              </a:extLst>
            </p:cNvPr>
            <p:cNvSpPr/>
            <p:nvPr/>
          </p:nvSpPr>
          <p:spPr>
            <a:xfrm>
              <a:off x="504750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8" name="object 558">
              <a:extLst>
                <a:ext uri="{FF2B5EF4-FFF2-40B4-BE49-F238E27FC236}">
                  <a16:creationId xmlns:a16="http://schemas.microsoft.com/office/drawing/2014/main" id="{5A877F7E-7383-8095-2900-54E2B44FD840}"/>
                </a:ext>
              </a:extLst>
            </p:cNvPr>
            <p:cNvSpPr/>
            <p:nvPr/>
          </p:nvSpPr>
          <p:spPr>
            <a:xfrm>
              <a:off x="525763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9" name="object 559">
              <a:extLst>
                <a:ext uri="{FF2B5EF4-FFF2-40B4-BE49-F238E27FC236}">
                  <a16:creationId xmlns:a16="http://schemas.microsoft.com/office/drawing/2014/main" id="{79F96C6F-3E63-C96E-A894-7B3C8D95E4B8}"/>
                </a:ext>
              </a:extLst>
            </p:cNvPr>
            <p:cNvSpPr/>
            <p:nvPr/>
          </p:nvSpPr>
          <p:spPr>
            <a:xfrm>
              <a:off x="508252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0" name="object 560">
              <a:extLst>
                <a:ext uri="{FF2B5EF4-FFF2-40B4-BE49-F238E27FC236}">
                  <a16:creationId xmlns:a16="http://schemas.microsoft.com/office/drawing/2014/main" id="{AB4CF8C4-37C0-D89E-406D-C0580314C4EB}"/>
                </a:ext>
              </a:extLst>
            </p:cNvPr>
            <p:cNvSpPr/>
            <p:nvPr/>
          </p:nvSpPr>
          <p:spPr>
            <a:xfrm>
              <a:off x="536269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1" name="object 561">
              <a:extLst>
                <a:ext uri="{FF2B5EF4-FFF2-40B4-BE49-F238E27FC236}">
                  <a16:creationId xmlns:a16="http://schemas.microsoft.com/office/drawing/2014/main" id="{8FC3B9F6-0A8D-0936-10B2-5588066B74AB}"/>
                </a:ext>
              </a:extLst>
            </p:cNvPr>
            <p:cNvSpPr/>
            <p:nvPr/>
          </p:nvSpPr>
          <p:spPr>
            <a:xfrm>
              <a:off x="518772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2" name="object 562">
              <a:extLst>
                <a:ext uri="{FF2B5EF4-FFF2-40B4-BE49-F238E27FC236}">
                  <a16:creationId xmlns:a16="http://schemas.microsoft.com/office/drawing/2014/main" id="{68663CF6-8116-3BE7-C4E6-7767A5E20D1C}"/>
                </a:ext>
              </a:extLst>
            </p:cNvPr>
            <p:cNvSpPr/>
            <p:nvPr/>
          </p:nvSpPr>
          <p:spPr>
            <a:xfrm>
              <a:off x="501275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3" name="object 563">
              <a:extLst>
                <a:ext uri="{FF2B5EF4-FFF2-40B4-BE49-F238E27FC236}">
                  <a16:creationId xmlns:a16="http://schemas.microsoft.com/office/drawing/2014/main" id="{DE717F4E-2D5B-FBD6-DD68-939AB524038A}"/>
                </a:ext>
              </a:extLst>
            </p:cNvPr>
            <p:cNvSpPr/>
            <p:nvPr/>
          </p:nvSpPr>
          <p:spPr>
            <a:xfrm>
              <a:off x="5012759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4" name="object 564">
              <a:extLst>
                <a:ext uri="{FF2B5EF4-FFF2-40B4-BE49-F238E27FC236}">
                  <a16:creationId xmlns:a16="http://schemas.microsoft.com/office/drawing/2014/main" id="{63793663-ACBB-7AE3-F272-B1A9A1D7C093}"/>
                </a:ext>
              </a:extLst>
            </p:cNvPr>
            <p:cNvSpPr/>
            <p:nvPr/>
          </p:nvSpPr>
          <p:spPr>
            <a:xfrm>
              <a:off x="5012877" y="1848916"/>
              <a:ext cx="19946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8929"/>
                <a:gd name="f4" fmla="val 84455"/>
                <a:gd name="f5" fmla="val 328450"/>
                <a:gd name="f6" fmla="val 84112"/>
                <a:gd name="f7" fmla="*/ f0 1 328929"/>
                <a:gd name="f8" fmla="*/ f1 1 84455"/>
                <a:gd name="f9" fmla="+- f4 0 f2"/>
                <a:gd name="f10" fmla="+- f3 0 f2"/>
                <a:gd name="f11" fmla="*/ f10 1 32892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2892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5" name="object 565">
              <a:extLst>
                <a:ext uri="{FF2B5EF4-FFF2-40B4-BE49-F238E27FC236}">
                  <a16:creationId xmlns:a16="http://schemas.microsoft.com/office/drawing/2014/main" id="{6815055C-BC30-D56F-2BFB-73D832B30C48}"/>
                </a:ext>
              </a:extLst>
            </p:cNvPr>
            <p:cNvSpPr/>
            <p:nvPr/>
          </p:nvSpPr>
          <p:spPr>
            <a:xfrm>
              <a:off x="5012877" y="1921227"/>
              <a:ext cx="16557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73050"/>
                <a:gd name="f4" fmla="val 84454"/>
                <a:gd name="f5" fmla="val 272850"/>
                <a:gd name="f6" fmla="val 84091"/>
                <a:gd name="f7" fmla="*/ f0 1 273050"/>
                <a:gd name="f8" fmla="*/ f1 1 84454"/>
                <a:gd name="f9" fmla="+- f4 0 f2"/>
                <a:gd name="f10" fmla="+- f3 0 f2"/>
                <a:gd name="f11" fmla="*/ f10 1 2730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730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6" name="object 566">
              <a:extLst>
                <a:ext uri="{FF2B5EF4-FFF2-40B4-BE49-F238E27FC236}">
                  <a16:creationId xmlns:a16="http://schemas.microsoft.com/office/drawing/2014/main" id="{896C9C2F-1832-2C86-31BD-77A9A52DD2AE}"/>
                </a:ext>
              </a:extLst>
            </p:cNvPr>
            <p:cNvSpPr/>
            <p:nvPr/>
          </p:nvSpPr>
          <p:spPr>
            <a:xfrm>
              <a:off x="529230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7" name="object 567">
              <a:extLst>
                <a:ext uri="{FF2B5EF4-FFF2-40B4-BE49-F238E27FC236}">
                  <a16:creationId xmlns:a16="http://schemas.microsoft.com/office/drawing/2014/main" id="{35CF6C27-BEFB-0E5D-F6BF-84FC65FFA915}"/>
                </a:ext>
              </a:extLst>
            </p:cNvPr>
            <p:cNvSpPr/>
            <p:nvPr/>
          </p:nvSpPr>
          <p:spPr>
            <a:xfrm>
              <a:off x="532733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8" name="object 568">
              <a:extLst>
                <a:ext uri="{FF2B5EF4-FFF2-40B4-BE49-F238E27FC236}">
                  <a16:creationId xmlns:a16="http://schemas.microsoft.com/office/drawing/2014/main" id="{4B32453F-944A-9925-81F8-4CFD7991DB00}"/>
                </a:ext>
              </a:extLst>
            </p:cNvPr>
            <p:cNvSpPr/>
            <p:nvPr/>
          </p:nvSpPr>
          <p:spPr>
            <a:xfrm>
              <a:off x="522226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9" name="object 569">
              <a:extLst>
                <a:ext uri="{FF2B5EF4-FFF2-40B4-BE49-F238E27FC236}">
                  <a16:creationId xmlns:a16="http://schemas.microsoft.com/office/drawing/2014/main" id="{9673C38D-A375-EC08-EA7E-66243F609825}"/>
                </a:ext>
              </a:extLst>
            </p:cNvPr>
            <p:cNvSpPr/>
            <p:nvPr/>
          </p:nvSpPr>
          <p:spPr>
            <a:xfrm>
              <a:off x="511720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0" name="object 570">
              <a:extLst>
                <a:ext uri="{FF2B5EF4-FFF2-40B4-BE49-F238E27FC236}">
                  <a16:creationId xmlns:a16="http://schemas.microsoft.com/office/drawing/2014/main" id="{1AB9F557-7F89-47E1-A4C6-11C8629E6CD4}"/>
                </a:ext>
              </a:extLst>
            </p:cNvPr>
            <p:cNvSpPr/>
            <p:nvPr/>
          </p:nvSpPr>
          <p:spPr>
            <a:xfrm>
              <a:off x="515229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1" name="object 571">
              <a:extLst>
                <a:ext uri="{FF2B5EF4-FFF2-40B4-BE49-F238E27FC236}">
                  <a16:creationId xmlns:a16="http://schemas.microsoft.com/office/drawing/2014/main" id="{463A86B0-69E2-B673-C5CD-DC4540DCEE1E}"/>
                </a:ext>
              </a:extLst>
            </p:cNvPr>
            <p:cNvSpPr/>
            <p:nvPr/>
          </p:nvSpPr>
          <p:spPr>
            <a:xfrm>
              <a:off x="504715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2" name="object 572">
              <a:extLst>
                <a:ext uri="{FF2B5EF4-FFF2-40B4-BE49-F238E27FC236}">
                  <a16:creationId xmlns:a16="http://schemas.microsoft.com/office/drawing/2014/main" id="{EAF6686F-E3F5-6A48-632F-8CAAFD69C72E}"/>
                </a:ext>
              </a:extLst>
            </p:cNvPr>
            <p:cNvSpPr/>
            <p:nvPr/>
          </p:nvSpPr>
          <p:spPr>
            <a:xfrm>
              <a:off x="5257287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3" name="object 573">
              <a:extLst>
                <a:ext uri="{FF2B5EF4-FFF2-40B4-BE49-F238E27FC236}">
                  <a16:creationId xmlns:a16="http://schemas.microsoft.com/office/drawing/2014/main" id="{D40FD37E-FCCA-D790-9E81-E1789383B61D}"/>
                </a:ext>
              </a:extLst>
            </p:cNvPr>
            <p:cNvSpPr/>
            <p:nvPr/>
          </p:nvSpPr>
          <p:spPr>
            <a:xfrm>
              <a:off x="508218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4" name="object 574">
              <a:extLst>
                <a:ext uri="{FF2B5EF4-FFF2-40B4-BE49-F238E27FC236}">
                  <a16:creationId xmlns:a16="http://schemas.microsoft.com/office/drawing/2014/main" id="{EB430F14-CA49-7987-176D-E9D897476E04}"/>
                </a:ext>
              </a:extLst>
            </p:cNvPr>
            <p:cNvSpPr/>
            <p:nvPr/>
          </p:nvSpPr>
          <p:spPr>
            <a:xfrm>
              <a:off x="5362352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5" name="object 575">
              <a:extLst>
                <a:ext uri="{FF2B5EF4-FFF2-40B4-BE49-F238E27FC236}">
                  <a16:creationId xmlns:a16="http://schemas.microsoft.com/office/drawing/2014/main" id="{FECBD5B4-7615-87D3-D84F-80A48643F7C9}"/>
                </a:ext>
              </a:extLst>
            </p:cNvPr>
            <p:cNvSpPr/>
            <p:nvPr/>
          </p:nvSpPr>
          <p:spPr>
            <a:xfrm>
              <a:off x="5187382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6" name="object 576">
              <a:extLst>
                <a:ext uri="{FF2B5EF4-FFF2-40B4-BE49-F238E27FC236}">
                  <a16:creationId xmlns:a16="http://schemas.microsoft.com/office/drawing/2014/main" id="{44495F4E-FC98-9687-C7C8-C6AADD8FEB1A}"/>
                </a:ext>
              </a:extLst>
            </p:cNvPr>
            <p:cNvSpPr/>
            <p:nvPr/>
          </p:nvSpPr>
          <p:spPr>
            <a:xfrm>
              <a:off x="501241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7" name="object 577">
              <a:extLst>
                <a:ext uri="{FF2B5EF4-FFF2-40B4-BE49-F238E27FC236}">
                  <a16:creationId xmlns:a16="http://schemas.microsoft.com/office/drawing/2014/main" id="{7329A182-F122-448F-7312-E8605A5ACA4A}"/>
                </a:ext>
              </a:extLst>
            </p:cNvPr>
            <p:cNvSpPr/>
            <p:nvPr/>
          </p:nvSpPr>
          <p:spPr>
            <a:xfrm>
              <a:off x="5187382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8" name="object 578">
              <a:extLst>
                <a:ext uri="{FF2B5EF4-FFF2-40B4-BE49-F238E27FC236}">
                  <a16:creationId xmlns:a16="http://schemas.microsoft.com/office/drawing/2014/main" id="{0BBAF883-DA48-B2A6-8CE6-DDD76A006C24}"/>
                </a:ext>
              </a:extLst>
            </p:cNvPr>
            <p:cNvSpPr/>
            <p:nvPr/>
          </p:nvSpPr>
          <p:spPr>
            <a:xfrm>
              <a:off x="5012411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79" name="object 579">
            <a:extLst>
              <a:ext uri="{FF2B5EF4-FFF2-40B4-BE49-F238E27FC236}">
                <a16:creationId xmlns:a16="http://schemas.microsoft.com/office/drawing/2014/main" id="{8D12F08A-1C02-35B2-1A09-E26E9EDBD5B0}"/>
              </a:ext>
            </a:extLst>
          </p:cNvPr>
          <p:cNvGrpSpPr/>
          <p:nvPr/>
        </p:nvGrpSpPr>
        <p:grpSpPr>
          <a:xfrm>
            <a:off x="5012411" y="2613309"/>
            <a:ext cx="350371" cy="123535"/>
            <a:chOff x="5012411" y="2613309"/>
            <a:chExt cx="350371" cy="123535"/>
          </a:xfrm>
        </p:grpSpPr>
        <p:sp>
          <p:nvSpPr>
            <p:cNvPr id="580" name="object 580">
              <a:extLst>
                <a:ext uri="{FF2B5EF4-FFF2-40B4-BE49-F238E27FC236}">
                  <a16:creationId xmlns:a16="http://schemas.microsoft.com/office/drawing/2014/main" id="{9AA137E6-0D3A-B6B3-A37C-4AF5514E5413}"/>
                </a:ext>
              </a:extLst>
            </p:cNvPr>
            <p:cNvSpPr/>
            <p:nvPr/>
          </p:nvSpPr>
          <p:spPr>
            <a:xfrm>
              <a:off x="529265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1" name="object 581">
              <a:extLst>
                <a:ext uri="{FF2B5EF4-FFF2-40B4-BE49-F238E27FC236}">
                  <a16:creationId xmlns:a16="http://schemas.microsoft.com/office/drawing/2014/main" id="{6830BEF2-533C-B26C-CA33-F8F4047043F1}"/>
                </a:ext>
              </a:extLst>
            </p:cNvPr>
            <p:cNvSpPr/>
            <p:nvPr/>
          </p:nvSpPr>
          <p:spPr>
            <a:xfrm>
              <a:off x="532767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2" name="object 582">
              <a:extLst>
                <a:ext uri="{FF2B5EF4-FFF2-40B4-BE49-F238E27FC236}">
                  <a16:creationId xmlns:a16="http://schemas.microsoft.com/office/drawing/2014/main" id="{A83706D0-3880-5C3B-9B6D-406B9694ADC1}"/>
                </a:ext>
              </a:extLst>
            </p:cNvPr>
            <p:cNvSpPr/>
            <p:nvPr/>
          </p:nvSpPr>
          <p:spPr>
            <a:xfrm>
              <a:off x="522261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3" name="object 583">
              <a:extLst>
                <a:ext uri="{FF2B5EF4-FFF2-40B4-BE49-F238E27FC236}">
                  <a16:creationId xmlns:a16="http://schemas.microsoft.com/office/drawing/2014/main" id="{3C7A887F-F4E0-6D8B-2497-98A9E263F683}"/>
                </a:ext>
              </a:extLst>
            </p:cNvPr>
            <p:cNvSpPr/>
            <p:nvPr/>
          </p:nvSpPr>
          <p:spPr>
            <a:xfrm>
              <a:off x="511754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4" name="object 584">
              <a:extLst>
                <a:ext uri="{FF2B5EF4-FFF2-40B4-BE49-F238E27FC236}">
                  <a16:creationId xmlns:a16="http://schemas.microsoft.com/office/drawing/2014/main" id="{75B9735E-A191-331B-76EB-F86284A35B2A}"/>
                </a:ext>
              </a:extLst>
            </p:cNvPr>
            <p:cNvSpPr/>
            <p:nvPr/>
          </p:nvSpPr>
          <p:spPr>
            <a:xfrm>
              <a:off x="5152634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5" name="object 585">
              <a:extLst>
                <a:ext uri="{FF2B5EF4-FFF2-40B4-BE49-F238E27FC236}">
                  <a16:creationId xmlns:a16="http://schemas.microsoft.com/office/drawing/2014/main" id="{AF1679A8-5B1E-66B1-84DA-D20CFD7DFCB0}"/>
                </a:ext>
              </a:extLst>
            </p:cNvPr>
            <p:cNvSpPr/>
            <p:nvPr/>
          </p:nvSpPr>
          <p:spPr>
            <a:xfrm>
              <a:off x="504750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6" name="object 586">
              <a:extLst>
                <a:ext uri="{FF2B5EF4-FFF2-40B4-BE49-F238E27FC236}">
                  <a16:creationId xmlns:a16="http://schemas.microsoft.com/office/drawing/2014/main" id="{B6FCFEE7-E3E8-0A18-88FC-3446D060DF9A}"/>
                </a:ext>
              </a:extLst>
            </p:cNvPr>
            <p:cNvSpPr/>
            <p:nvPr/>
          </p:nvSpPr>
          <p:spPr>
            <a:xfrm>
              <a:off x="525763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7" name="object 587">
              <a:extLst>
                <a:ext uri="{FF2B5EF4-FFF2-40B4-BE49-F238E27FC236}">
                  <a16:creationId xmlns:a16="http://schemas.microsoft.com/office/drawing/2014/main" id="{9E5EBEDC-AD73-DEE4-D799-2B3C67A908B1}"/>
                </a:ext>
              </a:extLst>
            </p:cNvPr>
            <p:cNvSpPr/>
            <p:nvPr/>
          </p:nvSpPr>
          <p:spPr>
            <a:xfrm>
              <a:off x="508252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8" name="object 588">
              <a:extLst>
                <a:ext uri="{FF2B5EF4-FFF2-40B4-BE49-F238E27FC236}">
                  <a16:creationId xmlns:a16="http://schemas.microsoft.com/office/drawing/2014/main" id="{58094716-1BBC-089F-841E-C3124727E16D}"/>
                </a:ext>
              </a:extLst>
            </p:cNvPr>
            <p:cNvSpPr/>
            <p:nvPr/>
          </p:nvSpPr>
          <p:spPr>
            <a:xfrm>
              <a:off x="5362699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9" name="object 589">
              <a:extLst>
                <a:ext uri="{FF2B5EF4-FFF2-40B4-BE49-F238E27FC236}">
                  <a16:creationId xmlns:a16="http://schemas.microsoft.com/office/drawing/2014/main" id="{D6548215-DCF3-007C-77AC-5E5DD665E6FC}"/>
                </a:ext>
              </a:extLst>
            </p:cNvPr>
            <p:cNvSpPr/>
            <p:nvPr/>
          </p:nvSpPr>
          <p:spPr>
            <a:xfrm>
              <a:off x="5187729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0" name="object 590">
              <a:extLst>
                <a:ext uri="{FF2B5EF4-FFF2-40B4-BE49-F238E27FC236}">
                  <a16:creationId xmlns:a16="http://schemas.microsoft.com/office/drawing/2014/main" id="{BE669DA9-38F2-5210-B352-EAE7870E93F5}"/>
                </a:ext>
              </a:extLst>
            </p:cNvPr>
            <p:cNvSpPr/>
            <p:nvPr/>
          </p:nvSpPr>
          <p:spPr>
            <a:xfrm>
              <a:off x="5012759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1" name="object 591">
              <a:extLst>
                <a:ext uri="{FF2B5EF4-FFF2-40B4-BE49-F238E27FC236}">
                  <a16:creationId xmlns:a16="http://schemas.microsoft.com/office/drawing/2014/main" id="{7CF75A84-3387-E516-D3A6-C487C98582DC}"/>
                </a:ext>
              </a:extLst>
            </p:cNvPr>
            <p:cNvSpPr/>
            <p:nvPr/>
          </p:nvSpPr>
          <p:spPr>
            <a:xfrm>
              <a:off x="5012759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2" name="object 592">
              <a:extLst>
                <a:ext uri="{FF2B5EF4-FFF2-40B4-BE49-F238E27FC236}">
                  <a16:creationId xmlns:a16="http://schemas.microsoft.com/office/drawing/2014/main" id="{E5DD41E5-31DB-1F2E-EB0C-4593DB0BA3DD}"/>
                </a:ext>
              </a:extLst>
            </p:cNvPr>
            <p:cNvSpPr/>
            <p:nvPr/>
          </p:nvSpPr>
          <p:spPr>
            <a:xfrm>
              <a:off x="5012877" y="2613318"/>
              <a:ext cx="8047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715"/>
                <a:gd name="f4" fmla="val 84454"/>
                <a:gd name="f5" fmla="val 132582"/>
                <a:gd name="f6" fmla="val 84102"/>
                <a:gd name="f7" fmla="*/ f0 1 132715"/>
                <a:gd name="f8" fmla="*/ f1 1 84454"/>
                <a:gd name="f9" fmla="+- f4 0 f2"/>
                <a:gd name="f10" fmla="+- f3 0 f2"/>
                <a:gd name="f11" fmla="*/ f10 1 13271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71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3" name="object 593">
              <a:extLst>
                <a:ext uri="{FF2B5EF4-FFF2-40B4-BE49-F238E27FC236}">
                  <a16:creationId xmlns:a16="http://schemas.microsoft.com/office/drawing/2014/main" id="{9CC86357-8339-6BAB-3646-1EB346026FB0}"/>
                </a:ext>
              </a:extLst>
            </p:cNvPr>
            <p:cNvSpPr/>
            <p:nvPr/>
          </p:nvSpPr>
          <p:spPr>
            <a:xfrm>
              <a:off x="5012877" y="2685629"/>
              <a:ext cx="17481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8290"/>
                <a:gd name="f4" fmla="val 84454"/>
                <a:gd name="f5" fmla="val 287760"/>
                <a:gd name="f6" fmla="val 84102"/>
                <a:gd name="f7" fmla="*/ f0 1 288290"/>
                <a:gd name="f8" fmla="*/ f1 1 84454"/>
                <a:gd name="f9" fmla="+- f4 0 f2"/>
                <a:gd name="f10" fmla="+- f3 0 f2"/>
                <a:gd name="f11" fmla="*/ f10 1 288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88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4" name="object 594">
              <a:extLst>
                <a:ext uri="{FF2B5EF4-FFF2-40B4-BE49-F238E27FC236}">
                  <a16:creationId xmlns:a16="http://schemas.microsoft.com/office/drawing/2014/main" id="{9AFCC391-8A56-733B-480D-2B9B0BD25893}"/>
                </a:ext>
              </a:extLst>
            </p:cNvPr>
            <p:cNvSpPr/>
            <p:nvPr/>
          </p:nvSpPr>
          <p:spPr>
            <a:xfrm>
              <a:off x="5292309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5" name="object 595">
              <a:extLst>
                <a:ext uri="{FF2B5EF4-FFF2-40B4-BE49-F238E27FC236}">
                  <a16:creationId xmlns:a16="http://schemas.microsoft.com/office/drawing/2014/main" id="{CEC1248C-A926-D103-BA85-998B6E0A3E22}"/>
                </a:ext>
              </a:extLst>
            </p:cNvPr>
            <p:cNvSpPr/>
            <p:nvPr/>
          </p:nvSpPr>
          <p:spPr>
            <a:xfrm>
              <a:off x="532733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6" name="object 596">
              <a:extLst>
                <a:ext uri="{FF2B5EF4-FFF2-40B4-BE49-F238E27FC236}">
                  <a16:creationId xmlns:a16="http://schemas.microsoft.com/office/drawing/2014/main" id="{AC5A15D9-CF32-84E2-2466-FFF58D08B7F8}"/>
                </a:ext>
              </a:extLst>
            </p:cNvPr>
            <p:cNvSpPr/>
            <p:nvPr/>
          </p:nvSpPr>
          <p:spPr>
            <a:xfrm>
              <a:off x="522226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7" name="object 597">
              <a:extLst>
                <a:ext uri="{FF2B5EF4-FFF2-40B4-BE49-F238E27FC236}">
                  <a16:creationId xmlns:a16="http://schemas.microsoft.com/office/drawing/2014/main" id="{312E8A23-AF85-7BD2-7B82-68FF70F64627}"/>
                </a:ext>
              </a:extLst>
            </p:cNvPr>
            <p:cNvSpPr/>
            <p:nvPr/>
          </p:nvSpPr>
          <p:spPr>
            <a:xfrm>
              <a:off x="511720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8" name="object 598">
              <a:extLst>
                <a:ext uri="{FF2B5EF4-FFF2-40B4-BE49-F238E27FC236}">
                  <a16:creationId xmlns:a16="http://schemas.microsoft.com/office/drawing/2014/main" id="{2889FA4C-08A2-EE39-B8E3-60C94A0E9ED3}"/>
                </a:ext>
              </a:extLst>
            </p:cNvPr>
            <p:cNvSpPr/>
            <p:nvPr/>
          </p:nvSpPr>
          <p:spPr>
            <a:xfrm>
              <a:off x="515229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9" name="object 599">
              <a:extLst>
                <a:ext uri="{FF2B5EF4-FFF2-40B4-BE49-F238E27FC236}">
                  <a16:creationId xmlns:a16="http://schemas.microsoft.com/office/drawing/2014/main" id="{3BB344C0-85A3-63B8-59FC-D928DF70CB10}"/>
                </a:ext>
              </a:extLst>
            </p:cNvPr>
            <p:cNvSpPr/>
            <p:nvPr/>
          </p:nvSpPr>
          <p:spPr>
            <a:xfrm>
              <a:off x="504715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0" name="object 600">
              <a:extLst>
                <a:ext uri="{FF2B5EF4-FFF2-40B4-BE49-F238E27FC236}">
                  <a16:creationId xmlns:a16="http://schemas.microsoft.com/office/drawing/2014/main" id="{6681E713-7C38-F67C-E6AF-89206B80B3B2}"/>
                </a:ext>
              </a:extLst>
            </p:cNvPr>
            <p:cNvSpPr/>
            <p:nvPr/>
          </p:nvSpPr>
          <p:spPr>
            <a:xfrm>
              <a:off x="5257287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1" name="object 601">
              <a:extLst>
                <a:ext uri="{FF2B5EF4-FFF2-40B4-BE49-F238E27FC236}">
                  <a16:creationId xmlns:a16="http://schemas.microsoft.com/office/drawing/2014/main" id="{2DC91FAC-488C-95B4-B1C5-66F4D64FCA87}"/>
                </a:ext>
              </a:extLst>
            </p:cNvPr>
            <p:cNvSpPr/>
            <p:nvPr/>
          </p:nvSpPr>
          <p:spPr>
            <a:xfrm>
              <a:off x="508218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2" name="object 602">
              <a:extLst>
                <a:ext uri="{FF2B5EF4-FFF2-40B4-BE49-F238E27FC236}">
                  <a16:creationId xmlns:a16="http://schemas.microsoft.com/office/drawing/2014/main" id="{7FA9FADF-7878-8ADD-C0F5-58C83500D611}"/>
                </a:ext>
              </a:extLst>
            </p:cNvPr>
            <p:cNvSpPr/>
            <p:nvPr/>
          </p:nvSpPr>
          <p:spPr>
            <a:xfrm>
              <a:off x="5362352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3" name="object 603">
              <a:extLst>
                <a:ext uri="{FF2B5EF4-FFF2-40B4-BE49-F238E27FC236}">
                  <a16:creationId xmlns:a16="http://schemas.microsoft.com/office/drawing/2014/main" id="{41BFD40F-42F4-19BE-5E15-20E0224D992B}"/>
                </a:ext>
              </a:extLst>
            </p:cNvPr>
            <p:cNvSpPr/>
            <p:nvPr/>
          </p:nvSpPr>
          <p:spPr>
            <a:xfrm>
              <a:off x="5187382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4" name="object 604">
              <a:extLst>
                <a:ext uri="{FF2B5EF4-FFF2-40B4-BE49-F238E27FC236}">
                  <a16:creationId xmlns:a16="http://schemas.microsoft.com/office/drawing/2014/main" id="{253E6BF2-6EC6-A23D-9282-6C0CB938DC4A}"/>
                </a:ext>
              </a:extLst>
            </p:cNvPr>
            <p:cNvSpPr/>
            <p:nvPr/>
          </p:nvSpPr>
          <p:spPr>
            <a:xfrm>
              <a:off x="5012411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5" name="object 605">
              <a:extLst>
                <a:ext uri="{FF2B5EF4-FFF2-40B4-BE49-F238E27FC236}">
                  <a16:creationId xmlns:a16="http://schemas.microsoft.com/office/drawing/2014/main" id="{F935D222-4A87-4C99-DF36-DADC5B3941E0}"/>
                </a:ext>
              </a:extLst>
            </p:cNvPr>
            <p:cNvSpPr/>
            <p:nvPr/>
          </p:nvSpPr>
          <p:spPr>
            <a:xfrm>
              <a:off x="5187382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6" name="object 606">
              <a:extLst>
                <a:ext uri="{FF2B5EF4-FFF2-40B4-BE49-F238E27FC236}">
                  <a16:creationId xmlns:a16="http://schemas.microsoft.com/office/drawing/2014/main" id="{5B058C3E-5DD4-A082-0A06-81724BD3FD4A}"/>
                </a:ext>
              </a:extLst>
            </p:cNvPr>
            <p:cNvSpPr/>
            <p:nvPr/>
          </p:nvSpPr>
          <p:spPr>
            <a:xfrm>
              <a:off x="5012411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07" name="object 607">
            <a:extLst>
              <a:ext uri="{FF2B5EF4-FFF2-40B4-BE49-F238E27FC236}">
                <a16:creationId xmlns:a16="http://schemas.microsoft.com/office/drawing/2014/main" id="{44AA26FC-3241-6314-301B-5C2A3DB08FF4}"/>
              </a:ext>
            </a:extLst>
          </p:cNvPr>
          <p:cNvGrpSpPr/>
          <p:nvPr/>
        </p:nvGrpSpPr>
        <p:grpSpPr>
          <a:xfrm>
            <a:off x="5012411" y="3378077"/>
            <a:ext cx="350371" cy="123525"/>
            <a:chOff x="5012411" y="3378077"/>
            <a:chExt cx="350371" cy="123525"/>
          </a:xfrm>
        </p:grpSpPr>
        <p:sp>
          <p:nvSpPr>
            <p:cNvPr id="608" name="object 608">
              <a:extLst>
                <a:ext uri="{FF2B5EF4-FFF2-40B4-BE49-F238E27FC236}">
                  <a16:creationId xmlns:a16="http://schemas.microsoft.com/office/drawing/2014/main" id="{69735730-3C13-BFFA-6A42-A12DAC608872}"/>
                </a:ext>
              </a:extLst>
            </p:cNvPr>
            <p:cNvSpPr/>
            <p:nvPr/>
          </p:nvSpPr>
          <p:spPr>
            <a:xfrm>
              <a:off x="529265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9" name="object 609">
              <a:extLst>
                <a:ext uri="{FF2B5EF4-FFF2-40B4-BE49-F238E27FC236}">
                  <a16:creationId xmlns:a16="http://schemas.microsoft.com/office/drawing/2014/main" id="{F6ED1664-048C-C9BF-34FB-2178594885E1}"/>
                </a:ext>
              </a:extLst>
            </p:cNvPr>
            <p:cNvSpPr/>
            <p:nvPr/>
          </p:nvSpPr>
          <p:spPr>
            <a:xfrm>
              <a:off x="532767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0" name="object 610">
              <a:extLst>
                <a:ext uri="{FF2B5EF4-FFF2-40B4-BE49-F238E27FC236}">
                  <a16:creationId xmlns:a16="http://schemas.microsoft.com/office/drawing/2014/main" id="{77CDA6AC-7EF1-129C-AF2E-BC28D1FB77FF}"/>
                </a:ext>
              </a:extLst>
            </p:cNvPr>
            <p:cNvSpPr/>
            <p:nvPr/>
          </p:nvSpPr>
          <p:spPr>
            <a:xfrm>
              <a:off x="5222613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1" name="object 611">
              <a:extLst>
                <a:ext uri="{FF2B5EF4-FFF2-40B4-BE49-F238E27FC236}">
                  <a16:creationId xmlns:a16="http://schemas.microsoft.com/office/drawing/2014/main" id="{740AF889-8C2E-FDDE-9F38-DD8C73EED68A}"/>
                </a:ext>
              </a:extLst>
            </p:cNvPr>
            <p:cNvSpPr/>
            <p:nvPr/>
          </p:nvSpPr>
          <p:spPr>
            <a:xfrm>
              <a:off x="511754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2" name="object 612">
              <a:extLst>
                <a:ext uri="{FF2B5EF4-FFF2-40B4-BE49-F238E27FC236}">
                  <a16:creationId xmlns:a16="http://schemas.microsoft.com/office/drawing/2014/main" id="{9F4C26FD-B382-6075-1D86-773EE5280A4C}"/>
                </a:ext>
              </a:extLst>
            </p:cNvPr>
            <p:cNvSpPr/>
            <p:nvPr/>
          </p:nvSpPr>
          <p:spPr>
            <a:xfrm>
              <a:off x="515263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3" name="object 613">
              <a:extLst>
                <a:ext uri="{FF2B5EF4-FFF2-40B4-BE49-F238E27FC236}">
                  <a16:creationId xmlns:a16="http://schemas.microsoft.com/office/drawing/2014/main" id="{417D8B5F-1AB7-6DD9-6358-13A874EBEE99}"/>
                </a:ext>
              </a:extLst>
            </p:cNvPr>
            <p:cNvSpPr/>
            <p:nvPr/>
          </p:nvSpPr>
          <p:spPr>
            <a:xfrm>
              <a:off x="504750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4" name="object 614">
              <a:extLst>
                <a:ext uri="{FF2B5EF4-FFF2-40B4-BE49-F238E27FC236}">
                  <a16:creationId xmlns:a16="http://schemas.microsoft.com/office/drawing/2014/main" id="{75DDB8B7-4432-281F-A850-FC44F5D87C59}"/>
                </a:ext>
              </a:extLst>
            </p:cNvPr>
            <p:cNvSpPr/>
            <p:nvPr/>
          </p:nvSpPr>
          <p:spPr>
            <a:xfrm>
              <a:off x="525763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5" name="object 615">
              <a:extLst>
                <a:ext uri="{FF2B5EF4-FFF2-40B4-BE49-F238E27FC236}">
                  <a16:creationId xmlns:a16="http://schemas.microsoft.com/office/drawing/2014/main" id="{1AA2AE84-77D9-9892-7726-C450841F892E}"/>
                </a:ext>
              </a:extLst>
            </p:cNvPr>
            <p:cNvSpPr/>
            <p:nvPr/>
          </p:nvSpPr>
          <p:spPr>
            <a:xfrm>
              <a:off x="508252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6" name="object 616">
              <a:extLst>
                <a:ext uri="{FF2B5EF4-FFF2-40B4-BE49-F238E27FC236}">
                  <a16:creationId xmlns:a16="http://schemas.microsoft.com/office/drawing/2014/main" id="{722E7079-845E-F730-B135-CE7AA29CCA09}"/>
                </a:ext>
              </a:extLst>
            </p:cNvPr>
            <p:cNvSpPr/>
            <p:nvPr/>
          </p:nvSpPr>
          <p:spPr>
            <a:xfrm>
              <a:off x="536269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7" name="object 617">
              <a:extLst>
                <a:ext uri="{FF2B5EF4-FFF2-40B4-BE49-F238E27FC236}">
                  <a16:creationId xmlns:a16="http://schemas.microsoft.com/office/drawing/2014/main" id="{9310880E-67F4-3C7B-670D-7D733C9FD767}"/>
                </a:ext>
              </a:extLst>
            </p:cNvPr>
            <p:cNvSpPr/>
            <p:nvPr/>
          </p:nvSpPr>
          <p:spPr>
            <a:xfrm>
              <a:off x="518772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8" name="object 618">
              <a:extLst>
                <a:ext uri="{FF2B5EF4-FFF2-40B4-BE49-F238E27FC236}">
                  <a16:creationId xmlns:a16="http://schemas.microsoft.com/office/drawing/2014/main" id="{AE07D0E0-50ED-206A-FE78-BCEB755A6596}"/>
                </a:ext>
              </a:extLst>
            </p:cNvPr>
            <p:cNvSpPr/>
            <p:nvPr/>
          </p:nvSpPr>
          <p:spPr>
            <a:xfrm>
              <a:off x="501275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9" name="object 619">
              <a:extLst>
                <a:ext uri="{FF2B5EF4-FFF2-40B4-BE49-F238E27FC236}">
                  <a16:creationId xmlns:a16="http://schemas.microsoft.com/office/drawing/2014/main" id="{C68932B8-D3F3-2838-835F-D3DEE831624E}"/>
                </a:ext>
              </a:extLst>
            </p:cNvPr>
            <p:cNvSpPr/>
            <p:nvPr/>
          </p:nvSpPr>
          <p:spPr>
            <a:xfrm>
              <a:off x="5012759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0" name="object 620">
              <a:extLst>
                <a:ext uri="{FF2B5EF4-FFF2-40B4-BE49-F238E27FC236}">
                  <a16:creationId xmlns:a16="http://schemas.microsoft.com/office/drawing/2014/main" id="{C98B77D4-7C2F-7DAF-4374-F2EF4D3F60FA}"/>
                </a:ext>
              </a:extLst>
            </p:cNvPr>
            <p:cNvSpPr/>
            <p:nvPr/>
          </p:nvSpPr>
          <p:spPr>
            <a:xfrm>
              <a:off x="5012877" y="3378086"/>
              <a:ext cx="2133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51790"/>
                <a:gd name="f4" fmla="val 84454"/>
                <a:gd name="f5" fmla="val 351559"/>
                <a:gd name="f6" fmla="val 84112"/>
                <a:gd name="f7" fmla="*/ f0 1 351790"/>
                <a:gd name="f8" fmla="*/ f1 1 84454"/>
                <a:gd name="f9" fmla="+- f4 0 f2"/>
                <a:gd name="f10" fmla="+- f3 0 f2"/>
                <a:gd name="f11" fmla="*/ f10 1 3517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517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1" name="object 621">
              <a:extLst>
                <a:ext uri="{FF2B5EF4-FFF2-40B4-BE49-F238E27FC236}">
                  <a16:creationId xmlns:a16="http://schemas.microsoft.com/office/drawing/2014/main" id="{691BDC0A-E2D6-CBC4-CF91-080E4D5E6539}"/>
                </a:ext>
              </a:extLst>
            </p:cNvPr>
            <p:cNvSpPr/>
            <p:nvPr/>
          </p:nvSpPr>
          <p:spPr>
            <a:xfrm>
              <a:off x="5012877" y="3450387"/>
              <a:ext cx="1135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7325"/>
                <a:gd name="f4" fmla="val 84454"/>
                <a:gd name="f5" fmla="val 187030"/>
                <a:gd name="f6" fmla="val 84112"/>
                <a:gd name="f7" fmla="*/ f0 1 187325"/>
                <a:gd name="f8" fmla="*/ f1 1 84454"/>
                <a:gd name="f9" fmla="+- f4 0 f2"/>
                <a:gd name="f10" fmla="+- f3 0 f2"/>
                <a:gd name="f11" fmla="*/ f10 1 1873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73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2" name="object 622">
              <a:extLst>
                <a:ext uri="{FF2B5EF4-FFF2-40B4-BE49-F238E27FC236}">
                  <a16:creationId xmlns:a16="http://schemas.microsoft.com/office/drawing/2014/main" id="{B9739D1A-31E7-171A-E80E-3069C0E59BF3}"/>
                </a:ext>
              </a:extLst>
            </p:cNvPr>
            <p:cNvSpPr/>
            <p:nvPr/>
          </p:nvSpPr>
          <p:spPr>
            <a:xfrm>
              <a:off x="5292309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3" name="object 623">
              <a:extLst>
                <a:ext uri="{FF2B5EF4-FFF2-40B4-BE49-F238E27FC236}">
                  <a16:creationId xmlns:a16="http://schemas.microsoft.com/office/drawing/2014/main" id="{98545181-96D4-733D-79FB-941CFD95DF22}"/>
                </a:ext>
              </a:extLst>
            </p:cNvPr>
            <p:cNvSpPr/>
            <p:nvPr/>
          </p:nvSpPr>
          <p:spPr>
            <a:xfrm>
              <a:off x="532733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4" name="object 624">
              <a:extLst>
                <a:ext uri="{FF2B5EF4-FFF2-40B4-BE49-F238E27FC236}">
                  <a16:creationId xmlns:a16="http://schemas.microsoft.com/office/drawing/2014/main" id="{44BAC4A9-205E-E5DB-14F9-5D4CB44C5DE5}"/>
                </a:ext>
              </a:extLst>
            </p:cNvPr>
            <p:cNvSpPr/>
            <p:nvPr/>
          </p:nvSpPr>
          <p:spPr>
            <a:xfrm>
              <a:off x="5222266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5" name="object 625">
              <a:extLst>
                <a:ext uri="{FF2B5EF4-FFF2-40B4-BE49-F238E27FC236}">
                  <a16:creationId xmlns:a16="http://schemas.microsoft.com/office/drawing/2014/main" id="{208E77E9-23E9-AF90-CC73-C962ACC14349}"/>
                </a:ext>
              </a:extLst>
            </p:cNvPr>
            <p:cNvSpPr/>
            <p:nvPr/>
          </p:nvSpPr>
          <p:spPr>
            <a:xfrm>
              <a:off x="511720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6" name="object 626">
              <a:extLst>
                <a:ext uri="{FF2B5EF4-FFF2-40B4-BE49-F238E27FC236}">
                  <a16:creationId xmlns:a16="http://schemas.microsoft.com/office/drawing/2014/main" id="{2AA80875-EC54-4B46-EA15-E8937DF42DF2}"/>
                </a:ext>
              </a:extLst>
            </p:cNvPr>
            <p:cNvSpPr/>
            <p:nvPr/>
          </p:nvSpPr>
          <p:spPr>
            <a:xfrm>
              <a:off x="5152296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7" name="object 627">
              <a:extLst>
                <a:ext uri="{FF2B5EF4-FFF2-40B4-BE49-F238E27FC236}">
                  <a16:creationId xmlns:a16="http://schemas.microsoft.com/office/drawing/2014/main" id="{812B2087-9B20-7CF6-52EB-3CDE1422A582}"/>
                </a:ext>
              </a:extLst>
            </p:cNvPr>
            <p:cNvSpPr/>
            <p:nvPr/>
          </p:nvSpPr>
          <p:spPr>
            <a:xfrm>
              <a:off x="504715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8" name="object 628">
              <a:extLst>
                <a:ext uri="{FF2B5EF4-FFF2-40B4-BE49-F238E27FC236}">
                  <a16:creationId xmlns:a16="http://schemas.microsoft.com/office/drawing/2014/main" id="{31543D55-75BA-736E-D5FA-B816E8BA7183}"/>
                </a:ext>
              </a:extLst>
            </p:cNvPr>
            <p:cNvSpPr/>
            <p:nvPr/>
          </p:nvSpPr>
          <p:spPr>
            <a:xfrm>
              <a:off x="5257287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9" name="object 629">
              <a:extLst>
                <a:ext uri="{FF2B5EF4-FFF2-40B4-BE49-F238E27FC236}">
                  <a16:creationId xmlns:a16="http://schemas.microsoft.com/office/drawing/2014/main" id="{0A8AE437-236E-BAD8-74A1-540622E89036}"/>
                </a:ext>
              </a:extLst>
            </p:cNvPr>
            <p:cNvSpPr/>
            <p:nvPr/>
          </p:nvSpPr>
          <p:spPr>
            <a:xfrm>
              <a:off x="508218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0" name="object 630">
              <a:extLst>
                <a:ext uri="{FF2B5EF4-FFF2-40B4-BE49-F238E27FC236}">
                  <a16:creationId xmlns:a16="http://schemas.microsoft.com/office/drawing/2014/main" id="{7913C997-687C-AA4D-E0F6-DCDBB114A3EE}"/>
                </a:ext>
              </a:extLst>
            </p:cNvPr>
            <p:cNvSpPr/>
            <p:nvPr/>
          </p:nvSpPr>
          <p:spPr>
            <a:xfrm>
              <a:off x="5362352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1" name="object 631">
              <a:extLst>
                <a:ext uri="{FF2B5EF4-FFF2-40B4-BE49-F238E27FC236}">
                  <a16:creationId xmlns:a16="http://schemas.microsoft.com/office/drawing/2014/main" id="{ECCE1C69-3B49-06F1-90E4-A8CDAB8467C2}"/>
                </a:ext>
              </a:extLst>
            </p:cNvPr>
            <p:cNvSpPr/>
            <p:nvPr/>
          </p:nvSpPr>
          <p:spPr>
            <a:xfrm>
              <a:off x="5187382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2" name="object 632">
              <a:extLst>
                <a:ext uri="{FF2B5EF4-FFF2-40B4-BE49-F238E27FC236}">
                  <a16:creationId xmlns:a16="http://schemas.microsoft.com/office/drawing/2014/main" id="{8840EFFB-58F1-4E66-EE01-8A2FF81AFB5C}"/>
                </a:ext>
              </a:extLst>
            </p:cNvPr>
            <p:cNvSpPr/>
            <p:nvPr/>
          </p:nvSpPr>
          <p:spPr>
            <a:xfrm>
              <a:off x="501241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3" name="object 633">
              <a:extLst>
                <a:ext uri="{FF2B5EF4-FFF2-40B4-BE49-F238E27FC236}">
                  <a16:creationId xmlns:a16="http://schemas.microsoft.com/office/drawing/2014/main" id="{AEF6C9DA-0DDC-CA6D-BBD9-5D093BC8F374}"/>
                </a:ext>
              </a:extLst>
            </p:cNvPr>
            <p:cNvSpPr/>
            <p:nvPr/>
          </p:nvSpPr>
          <p:spPr>
            <a:xfrm>
              <a:off x="5187382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4" name="object 634">
              <a:extLst>
                <a:ext uri="{FF2B5EF4-FFF2-40B4-BE49-F238E27FC236}">
                  <a16:creationId xmlns:a16="http://schemas.microsoft.com/office/drawing/2014/main" id="{0C50805E-6213-83E6-4DC6-A1BFCE178E19}"/>
                </a:ext>
              </a:extLst>
            </p:cNvPr>
            <p:cNvSpPr/>
            <p:nvPr/>
          </p:nvSpPr>
          <p:spPr>
            <a:xfrm>
              <a:off x="5012411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35" name="object 635">
            <a:extLst>
              <a:ext uri="{FF2B5EF4-FFF2-40B4-BE49-F238E27FC236}">
                <a16:creationId xmlns:a16="http://schemas.microsoft.com/office/drawing/2014/main" id="{5D739831-45D1-1D14-5CDF-89BA5ADD3EE9}"/>
              </a:ext>
            </a:extLst>
          </p:cNvPr>
          <p:cNvGrpSpPr/>
          <p:nvPr/>
        </p:nvGrpSpPr>
        <p:grpSpPr>
          <a:xfrm>
            <a:off x="5012411" y="5668868"/>
            <a:ext cx="350371" cy="123507"/>
            <a:chOff x="5012411" y="5668868"/>
            <a:chExt cx="350371" cy="123507"/>
          </a:xfrm>
        </p:grpSpPr>
        <p:sp>
          <p:nvSpPr>
            <p:cNvPr id="636" name="object 636">
              <a:extLst>
                <a:ext uri="{FF2B5EF4-FFF2-40B4-BE49-F238E27FC236}">
                  <a16:creationId xmlns:a16="http://schemas.microsoft.com/office/drawing/2014/main" id="{1503B911-6914-44B2-34F7-B5F04C0CDDE2}"/>
                </a:ext>
              </a:extLst>
            </p:cNvPr>
            <p:cNvSpPr/>
            <p:nvPr/>
          </p:nvSpPr>
          <p:spPr>
            <a:xfrm>
              <a:off x="5292656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7" name="object 637">
              <a:extLst>
                <a:ext uri="{FF2B5EF4-FFF2-40B4-BE49-F238E27FC236}">
                  <a16:creationId xmlns:a16="http://schemas.microsoft.com/office/drawing/2014/main" id="{559EC92B-0952-0669-62F9-6825D7AC6DB8}"/>
                </a:ext>
              </a:extLst>
            </p:cNvPr>
            <p:cNvSpPr/>
            <p:nvPr/>
          </p:nvSpPr>
          <p:spPr>
            <a:xfrm>
              <a:off x="5327678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8" name="object 638">
              <a:extLst>
                <a:ext uri="{FF2B5EF4-FFF2-40B4-BE49-F238E27FC236}">
                  <a16:creationId xmlns:a16="http://schemas.microsoft.com/office/drawing/2014/main" id="{AA31464F-FFA1-C608-63F8-465CA75524C7}"/>
                </a:ext>
              </a:extLst>
            </p:cNvPr>
            <p:cNvSpPr/>
            <p:nvPr/>
          </p:nvSpPr>
          <p:spPr>
            <a:xfrm>
              <a:off x="5222613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9" name="object 639">
              <a:extLst>
                <a:ext uri="{FF2B5EF4-FFF2-40B4-BE49-F238E27FC236}">
                  <a16:creationId xmlns:a16="http://schemas.microsoft.com/office/drawing/2014/main" id="{6E293C45-8C0A-61F4-B6D5-348F2DA0A8DC}"/>
                </a:ext>
              </a:extLst>
            </p:cNvPr>
            <p:cNvSpPr/>
            <p:nvPr/>
          </p:nvSpPr>
          <p:spPr>
            <a:xfrm>
              <a:off x="5117549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0" name="object 640">
              <a:extLst>
                <a:ext uri="{FF2B5EF4-FFF2-40B4-BE49-F238E27FC236}">
                  <a16:creationId xmlns:a16="http://schemas.microsoft.com/office/drawing/2014/main" id="{6D2B3B60-0B20-22F9-C458-6BB0EB5312E2}"/>
                </a:ext>
              </a:extLst>
            </p:cNvPr>
            <p:cNvSpPr/>
            <p:nvPr/>
          </p:nvSpPr>
          <p:spPr>
            <a:xfrm>
              <a:off x="5152634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1" name="object 641">
              <a:extLst>
                <a:ext uri="{FF2B5EF4-FFF2-40B4-BE49-F238E27FC236}">
                  <a16:creationId xmlns:a16="http://schemas.microsoft.com/office/drawing/2014/main" id="{C6749A88-150B-5E3C-1F8B-4F8A2C139C19}"/>
                </a:ext>
              </a:extLst>
            </p:cNvPr>
            <p:cNvSpPr/>
            <p:nvPr/>
          </p:nvSpPr>
          <p:spPr>
            <a:xfrm>
              <a:off x="5047506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2" name="object 642">
              <a:extLst>
                <a:ext uri="{FF2B5EF4-FFF2-40B4-BE49-F238E27FC236}">
                  <a16:creationId xmlns:a16="http://schemas.microsoft.com/office/drawing/2014/main" id="{01C2C5A8-C95A-8089-107E-6E23AF087AEF}"/>
                </a:ext>
              </a:extLst>
            </p:cNvPr>
            <p:cNvSpPr/>
            <p:nvPr/>
          </p:nvSpPr>
          <p:spPr>
            <a:xfrm>
              <a:off x="5257635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3" name="object 643">
              <a:extLst>
                <a:ext uri="{FF2B5EF4-FFF2-40B4-BE49-F238E27FC236}">
                  <a16:creationId xmlns:a16="http://schemas.microsoft.com/office/drawing/2014/main" id="{ADA442F9-8E23-879B-E78F-E650338A4D52}"/>
                </a:ext>
              </a:extLst>
            </p:cNvPr>
            <p:cNvSpPr/>
            <p:nvPr/>
          </p:nvSpPr>
          <p:spPr>
            <a:xfrm>
              <a:off x="5082527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4" name="object 644">
              <a:extLst>
                <a:ext uri="{FF2B5EF4-FFF2-40B4-BE49-F238E27FC236}">
                  <a16:creationId xmlns:a16="http://schemas.microsoft.com/office/drawing/2014/main" id="{D30FA652-4AC8-CDFC-D202-B042B538F621}"/>
                </a:ext>
              </a:extLst>
            </p:cNvPr>
            <p:cNvSpPr/>
            <p:nvPr/>
          </p:nvSpPr>
          <p:spPr>
            <a:xfrm>
              <a:off x="5362699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5" name="object 645">
              <a:extLst>
                <a:ext uri="{FF2B5EF4-FFF2-40B4-BE49-F238E27FC236}">
                  <a16:creationId xmlns:a16="http://schemas.microsoft.com/office/drawing/2014/main" id="{B4B60FA4-DD62-48F6-471E-D683A916AF9C}"/>
                </a:ext>
              </a:extLst>
            </p:cNvPr>
            <p:cNvSpPr/>
            <p:nvPr/>
          </p:nvSpPr>
          <p:spPr>
            <a:xfrm>
              <a:off x="5187729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6" name="object 646">
              <a:extLst>
                <a:ext uri="{FF2B5EF4-FFF2-40B4-BE49-F238E27FC236}">
                  <a16:creationId xmlns:a16="http://schemas.microsoft.com/office/drawing/2014/main" id="{C3F003B1-0F13-3197-7B4D-509D40E8116E}"/>
                </a:ext>
              </a:extLst>
            </p:cNvPr>
            <p:cNvSpPr/>
            <p:nvPr/>
          </p:nvSpPr>
          <p:spPr>
            <a:xfrm>
              <a:off x="5012759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7" name="object 647">
              <a:extLst>
                <a:ext uri="{FF2B5EF4-FFF2-40B4-BE49-F238E27FC236}">
                  <a16:creationId xmlns:a16="http://schemas.microsoft.com/office/drawing/2014/main" id="{325EB66B-1458-97E2-21C8-D9C3247B0B69}"/>
                </a:ext>
              </a:extLst>
            </p:cNvPr>
            <p:cNvSpPr/>
            <p:nvPr/>
          </p:nvSpPr>
          <p:spPr>
            <a:xfrm>
              <a:off x="5012759" y="569437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8" name="object 648">
              <a:extLst>
                <a:ext uri="{FF2B5EF4-FFF2-40B4-BE49-F238E27FC236}">
                  <a16:creationId xmlns:a16="http://schemas.microsoft.com/office/drawing/2014/main" id="{E4432FB5-3548-3A55-4A66-A441934530A9}"/>
                </a:ext>
              </a:extLst>
            </p:cNvPr>
            <p:cNvSpPr/>
            <p:nvPr/>
          </p:nvSpPr>
          <p:spPr>
            <a:xfrm>
              <a:off x="5012877" y="5668868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4"/>
                <a:gd name="f5" fmla="val 241751"/>
                <a:gd name="f6" fmla="val 84123"/>
                <a:gd name="f7" fmla="*/ f0 1 241934"/>
                <a:gd name="f8" fmla="*/ f1 1 84454"/>
                <a:gd name="f9" fmla="+- f4 0 f2"/>
                <a:gd name="f10" fmla="+- f3 0 f2"/>
                <a:gd name="f11" fmla="*/ f10 1 2419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9" name="object 649">
              <a:extLst>
                <a:ext uri="{FF2B5EF4-FFF2-40B4-BE49-F238E27FC236}">
                  <a16:creationId xmlns:a16="http://schemas.microsoft.com/office/drawing/2014/main" id="{A0865F26-9C0C-9629-EA0C-BC19A96D871C}"/>
                </a:ext>
              </a:extLst>
            </p:cNvPr>
            <p:cNvSpPr/>
            <p:nvPr/>
          </p:nvSpPr>
          <p:spPr>
            <a:xfrm>
              <a:off x="5362352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0" name="object 650">
              <a:extLst>
                <a:ext uri="{FF2B5EF4-FFF2-40B4-BE49-F238E27FC236}">
                  <a16:creationId xmlns:a16="http://schemas.microsoft.com/office/drawing/2014/main" id="{46A15DEA-32C6-05CE-24AB-2C70D6D22B27}"/>
                </a:ext>
              </a:extLst>
            </p:cNvPr>
            <p:cNvSpPr/>
            <p:nvPr/>
          </p:nvSpPr>
          <p:spPr>
            <a:xfrm>
              <a:off x="5187382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1" name="object 651">
              <a:extLst>
                <a:ext uri="{FF2B5EF4-FFF2-40B4-BE49-F238E27FC236}">
                  <a16:creationId xmlns:a16="http://schemas.microsoft.com/office/drawing/2014/main" id="{0B937436-6364-9AF7-4481-143288D99FD1}"/>
                </a:ext>
              </a:extLst>
            </p:cNvPr>
            <p:cNvSpPr/>
            <p:nvPr/>
          </p:nvSpPr>
          <p:spPr>
            <a:xfrm>
              <a:off x="5012411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2" name="object 652">
              <a:extLst>
                <a:ext uri="{FF2B5EF4-FFF2-40B4-BE49-F238E27FC236}">
                  <a16:creationId xmlns:a16="http://schemas.microsoft.com/office/drawing/2014/main" id="{7B400CA1-6B13-49C0-1344-C9FCBF69C25F}"/>
                </a:ext>
              </a:extLst>
            </p:cNvPr>
            <p:cNvSpPr/>
            <p:nvPr/>
          </p:nvSpPr>
          <p:spPr>
            <a:xfrm>
              <a:off x="5187382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3" name="object 653">
              <a:extLst>
                <a:ext uri="{FF2B5EF4-FFF2-40B4-BE49-F238E27FC236}">
                  <a16:creationId xmlns:a16="http://schemas.microsoft.com/office/drawing/2014/main" id="{4DE90095-21B2-73C2-DA14-CA807C04DB0A}"/>
                </a:ext>
              </a:extLst>
            </p:cNvPr>
            <p:cNvSpPr/>
            <p:nvPr/>
          </p:nvSpPr>
          <p:spPr>
            <a:xfrm>
              <a:off x="5292309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4" name="object 654">
              <a:extLst>
                <a:ext uri="{FF2B5EF4-FFF2-40B4-BE49-F238E27FC236}">
                  <a16:creationId xmlns:a16="http://schemas.microsoft.com/office/drawing/2014/main" id="{25E58F6A-527F-C321-40FF-A3CF045F1B52}"/>
                </a:ext>
              </a:extLst>
            </p:cNvPr>
            <p:cNvSpPr/>
            <p:nvPr/>
          </p:nvSpPr>
          <p:spPr>
            <a:xfrm>
              <a:off x="532733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5" name="object 655">
              <a:extLst>
                <a:ext uri="{FF2B5EF4-FFF2-40B4-BE49-F238E27FC236}">
                  <a16:creationId xmlns:a16="http://schemas.microsoft.com/office/drawing/2014/main" id="{4CBE00AC-9DA0-ADE3-22FB-FD53F7EFB9DF}"/>
                </a:ext>
              </a:extLst>
            </p:cNvPr>
            <p:cNvSpPr/>
            <p:nvPr/>
          </p:nvSpPr>
          <p:spPr>
            <a:xfrm>
              <a:off x="5222266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6" name="object 656">
              <a:extLst>
                <a:ext uri="{FF2B5EF4-FFF2-40B4-BE49-F238E27FC236}">
                  <a16:creationId xmlns:a16="http://schemas.microsoft.com/office/drawing/2014/main" id="{364A97B6-C4C3-52DC-AADC-5453CCA6C9ED}"/>
                </a:ext>
              </a:extLst>
            </p:cNvPr>
            <p:cNvSpPr/>
            <p:nvPr/>
          </p:nvSpPr>
          <p:spPr>
            <a:xfrm>
              <a:off x="5117201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7" name="object 657">
              <a:extLst>
                <a:ext uri="{FF2B5EF4-FFF2-40B4-BE49-F238E27FC236}">
                  <a16:creationId xmlns:a16="http://schemas.microsoft.com/office/drawing/2014/main" id="{553EFDD5-89B2-4C81-F89D-B5444D67C10F}"/>
                </a:ext>
              </a:extLst>
            </p:cNvPr>
            <p:cNvSpPr/>
            <p:nvPr/>
          </p:nvSpPr>
          <p:spPr>
            <a:xfrm>
              <a:off x="5152296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8" name="object 658">
              <a:extLst>
                <a:ext uri="{FF2B5EF4-FFF2-40B4-BE49-F238E27FC236}">
                  <a16:creationId xmlns:a16="http://schemas.microsoft.com/office/drawing/2014/main" id="{D4D3BBC5-9489-0A94-639C-022780DE836A}"/>
                </a:ext>
              </a:extLst>
            </p:cNvPr>
            <p:cNvSpPr/>
            <p:nvPr/>
          </p:nvSpPr>
          <p:spPr>
            <a:xfrm>
              <a:off x="5047158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9" name="object 659">
              <a:extLst>
                <a:ext uri="{FF2B5EF4-FFF2-40B4-BE49-F238E27FC236}">
                  <a16:creationId xmlns:a16="http://schemas.microsoft.com/office/drawing/2014/main" id="{5DDE6D61-AF23-0CE1-0880-D2DC38735901}"/>
                </a:ext>
              </a:extLst>
            </p:cNvPr>
            <p:cNvSpPr/>
            <p:nvPr/>
          </p:nvSpPr>
          <p:spPr>
            <a:xfrm>
              <a:off x="5257287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0" name="object 660">
              <a:extLst>
                <a:ext uri="{FF2B5EF4-FFF2-40B4-BE49-F238E27FC236}">
                  <a16:creationId xmlns:a16="http://schemas.microsoft.com/office/drawing/2014/main" id="{1E4FD33A-3226-6C03-EE7D-2482E125D1E6}"/>
                </a:ext>
              </a:extLst>
            </p:cNvPr>
            <p:cNvSpPr/>
            <p:nvPr/>
          </p:nvSpPr>
          <p:spPr>
            <a:xfrm>
              <a:off x="508218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1" name="object 661">
              <a:extLst>
                <a:ext uri="{FF2B5EF4-FFF2-40B4-BE49-F238E27FC236}">
                  <a16:creationId xmlns:a16="http://schemas.microsoft.com/office/drawing/2014/main" id="{43FC7143-DA13-2C0E-9676-F3757F9B84CB}"/>
                </a:ext>
              </a:extLst>
            </p:cNvPr>
            <p:cNvSpPr/>
            <p:nvPr/>
          </p:nvSpPr>
          <p:spPr>
            <a:xfrm>
              <a:off x="5012411" y="57666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62" name="object 662">
            <a:extLst>
              <a:ext uri="{FF2B5EF4-FFF2-40B4-BE49-F238E27FC236}">
                <a16:creationId xmlns:a16="http://schemas.microsoft.com/office/drawing/2014/main" id="{24827795-76A0-1652-2772-9F2E5EE28939}"/>
              </a:ext>
            </a:extLst>
          </p:cNvPr>
          <p:cNvGrpSpPr/>
          <p:nvPr/>
        </p:nvGrpSpPr>
        <p:grpSpPr>
          <a:xfrm>
            <a:off x="5012411" y="6432932"/>
            <a:ext cx="350371" cy="123507"/>
            <a:chOff x="5012411" y="6432932"/>
            <a:chExt cx="350371" cy="123507"/>
          </a:xfrm>
        </p:grpSpPr>
        <p:sp>
          <p:nvSpPr>
            <p:cNvPr id="663" name="object 663">
              <a:extLst>
                <a:ext uri="{FF2B5EF4-FFF2-40B4-BE49-F238E27FC236}">
                  <a16:creationId xmlns:a16="http://schemas.microsoft.com/office/drawing/2014/main" id="{0DF1C5AC-5C61-DA14-D0BE-FB32FC5A2383}"/>
                </a:ext>
              </a:extLst>
            </p:cNvPr>
            <p:cNvSpPr/>
            <p:nvPr/>
          </p:nvSpPr>
          <p:spPr>
            <a:xfrm>
              <a:off x="5292656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4" name="object 664">
              <a:extLst>
                <a:ext uri="{FF2B5EF4-FFF2-40B4-BE49-F238E27FC236}">
                  <a16:creationId xmlns:a16="http://schemas.microsoft.com/office/drawing/2014/main" id="{DA9F3343-D7AB-0172-C81A-D9DE60249E82}"/>
                </a:ext>
              </a:extLst>
            </p:cNvPr>
            <p:cNvSpPr/>
            <p:nvPr/>
          </p:nvSpPr>
          <p:spPr>
            <a:xfrm>
              <a:off x="5327678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5" name="object 665">
              <a:extLst>
                <a:ext uri="{FF2B5EF4-FFF2-40B4-BE49-F238E27FC236}">
                  <a16:creationId xmlns:a16="http://schemas.microsoft.com/office/drawing/2014/main" id="{9ABD9BA3-2694-B614-D3F8-EBD82FE23EC9}"/>
                </a:ext>
              </a:extLst>
            </p:cNvPr>
            <p:cNvSpPr/>
            <p:nvPr/>
          </p:nvSpPr>
          <p:spPr>
            <a:xfrm>
              <a:off x="5222613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6" name="object 666">
              <a:extLst>
                <a:ext uri="{FF2B5EF4-FFF2-40B4-BE49-F238E27FC236}">
                  <a16:creationId xmlns:a16="http://schemas.microsoft.com/office/drawing/2014/main" id="{88BA7562-F1AB-C419-8CEE-439BBF7A7E16}"/>
                </a:ext>
              </a:extLst>
            </p:cNvPr>
            <p:cNvSpPr/>
            <p:nvPr/>
          </p:nvSpPr>
          <p:spPr>
            <a:xfrm>
              <a:off x="5117549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7" name="object 667">
              <a:extLst>
                <a:ext uri="{FF2B5EF4-FFF2-40B4-BE49-F238E27FC236}">
                  <a16:creationId xmlns:a16="http://schemas.microsoft.com/office/drawing/2014/main" id="{E1C4596E-B55A-2D70-39DC-6893A701EEA2}"/>
                </a:ext>
              </a:extLst>
            </p:cNvPr>
            <p:cNvSpPr/>
            <p:nvPr/>
          </p:nvSpPr>
          <p:spPr>
            <a:xfrm>
              <a:off x="5152634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8" name="object 668">
              <a:extLst>
                <a:ext uri="{FF2B5EF4-FFF2-40B4-BE49-F238E27FC236}">
                  <a16:creationId xmlns:a16="http://schemas.microsoft.com/office/drawing/2014/main" id="{393270B2-9D36-160D-B8A3-D7FF93A3E653}"/>
                </a:ext>
              </a:extLst>
            </p:cNvPr>
            <p:cNvSpPr/>
            <p:nvPr/>
          </p:nvSpPr>
          <p:spPr>
            <a:xfrm>
              <a:off x="5047506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9" name="object 669">
              <a:extLst>
                <a:ext uri="{FF2B5EF4-FFF2-40B4-BE49-F238E27FC236}">
                  <a16:creationId xmlns:a16="http://schemas.microsoft.com/office/drawing/2014/main" id="{B546A2CF-23B7-A2AB-4E20-D9890AFF5241}"/>
                </a:ext>
              </a:extLst>
            </p:cNvPr>
            <p:cNvSpPr/>
            <p:nvPr/>
          </p:nvSpPr>
          <p:spPr>
            <a:xfrm>
              <a:off x="5257635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0" name="object 670">
              <a:extLst>
                <a:ext uri="{FF2B5EF4-FFF2-40B4-BE49-F238E27FC236}">
                  <a16:creationId xmlns:a16="http://schemas.microsoft.com/office/drawing/2014/main" id="{DA9BBBD8-F398-8532-AC4F-A247ED9026F9}"/>
                </a:ext>
              </a:extLst>
            </p:cNvPr>
            <p:cNvSpPr/>
            <p:nvPr/>
          </p:nvSpPr>
          <p:spPr>
            <a:xfrm>
              <a:off x="5082527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1" name="object 671">
              <a:extLst>
                <a:ext uri="{FF2B5EF4-FFF2-40B4-BE49-F238E27FC236}">
                  <a16:creationId xmlns:a16="http://schemas.microsoft.com/office/drawing/2014/main" id="{44BBB0C1-2FE9-AC9B-21BA-E1214D07E77C}"/>
                </a:ext>
              </a:extLst>
            </p:cNvPr>
            <p:cNvSpPr/>
            <p:nvPr/>
          </p:nvSpPr>
          <p:spPr>
            <a:xfrm>
              <a:off x="5362699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2" name="object 672">
              <a:extLst>
                <a:ext uri="{FF2B5EF4-FFF2-40B4-BE49-F238E27FC236}">
                  <a16:creationId xmlns:a16="http://schemas.microsoft.com/office/drawing/2014/main" id="{6F084D35-B5B1-D2C0-5264-1D24872CE9C7}"/>
                </a:ext>
              </a:extLst>
            </p:cNvPr>
            <p:cNvSpPr/>
            <p:nvPr/>
          </p:nvSpPr>
          <p:spPr>
            <a:xfrm>
              <a:off x="5187729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3" name="object 673">
              <a:extLst>
                <a:ext uri="{FF2B5EF4-FFF2-40B4-BE49-F238E27FC236}">
                  <a16:creationId xmlns:a16="http://schemas.microsoft.com/office/drawing/2014/main" id="{C167573B-4C67-A6B3-848F-57CD40B54F77}"/>
                </a:ext>
              </a:extLst>
            </p:cNvPr>
            <p:cNvSpPr/>
            <p:nvPr/>
          </p:nvSpPr>
          <p:spPr>
            <a:xfrm>
              <a:off x="5012759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4" name="object 674">
              <a:extLst>
                <a:ext uri="{FF2B5EF4-FFF2-40B4-BE49-F238E27FC236}">
                  <a16:creationId xmlns:a16="http://schemas.microsoft.com/office/drawing/2014/main" id="{5F72DCFB-E2BC-28E9-1D53-A0848BB7ACEC}"/>
                </a:ext>
              </a:extLst>
            </p:cNvPr>
            <p:cNvSpPr/>
            <p:nvPr/>
          </p:nvSpPr>
          <p:spPr>
            <a:xfrm>
              <a:off x="5012759" y="645843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5" name="object 675">
              <a:extLst>
                <a:ext uri="{FF2B5EF4-FFF2-40B4-BE49-F238E27FC236}">
                  <a16:creationId xmlns:a16="http://schemas.microsoft.com/office/drawing/2014/main" id="{88DB75FF-BD56-B7C1-5C14-B206C1654AE0}"/>
                </a:ext>
              </a:extLst>
            </p:cNvPr>
            <p:cNvSpPr/>
            <p:nvPr/>
          </p:nvSpPr>
          <p:spPr>
            <a:xfrm>
              <a:off x="5012877" y="6432932"/>
              <a:ext cx="4158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8579"/>
                <a:gd name="f4" fmla="val 84454"/>
                <a:gd name="f5" fmla="val 68479"/>
                <a:gd name="f6" fmla="val 84123"/>
                <a:gd name="f7" fmla="*/ f0 1 68579"/>
                <a:gd name="f8" fmla="*/ f1 1 84454"/>
                <a:gd name="f9" fmla="+- f4 0 f2"/>
                <a:gd name="f10" fmla="+- f3 0 f2"/>
                <a:gd name="f11" fmla="*/ f10 1 68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8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6" name="object 676">
              <a:extLst>
                <a:ext uri="{FF2B5EF4-FFF2-40B4-BE49-F238E27FC236}">
                  <a16:creationId xmlns:a16="http://schemas.microsoft.com/office/drawing/2014/main" id="{9B3E55A0-4B1B-4C1B-C4D4-1BA879D58C7B}"/>
                </a:ext>
              </a:extLst>
            </p:cNvPr>
            <p:cNvSpPr/>
            <p:nvPr/>
          </p:nvSpPr>
          <p:spPr>
            <a:xfrm>
              <a:off x="5362352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7" name="object 677">
              <a:extLst>
                <a:ext uri="{FF2B5EF4-FFF2-40B4-BE49-F238E27FC236}">
                  <a16:creationId xmlns:a16="http://schemas.microsoft.com/office/drawing/2014/main" id="{7CA55D89-7822-8F48-2457-0F76E8F90E1B}"/>
                </a:ext>
              </a:extLst>
            </p:cNvPr>
            <p:cNvSpPr/>
            <p:nvPr/>
          </p:nvSpPr>
          <p:spPr>
            <a:xfrm>
              <a:off x="5187382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8" name="object 678">
              <a:extLst>
                <a:ext uri="{FF2B5EF4-FFF2-40B4-BE49-F238E27FC236}">
                  <a16:creationId xmlns:a16="http://schemas.microsoft.com/office/drawing/2014/main" id="{AC837AE5-F354-11AA-A825-63D95886E548}"/>
                </a:ext>
              </a:extLst>
            </p:cNvPr>
            <p:cNvSpPr/>
            <p:nvPr/>
          </p:nvSpPr>
          <p:spPr>
            <a:xfrm>
              <a:off x="5012411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9" name="object 679">
              <a:extLst>
                <a:ext uri="{FF2B5EF4-FFF2-40B4-BE49-F238E27FC236}">
                  <a16:creationId xmlns:a16="http://schemas.microsoft.com/office/drawing/2014/main" id="{D3720584-78C3-42E5-B052-3B9F63132A87}"/>
                </a:ext>
              </a:extLst>
            </p:cNvPr>
            <p:cNvSpPr/>
            <p:nvPr/>
          </p:nvSpPr>
          <p:spPr>
            <a:xfrm>
              <a:off x="5187382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0" name="object 680">
              <a:extLst>
                <a:ext uri="{FF2B5EF4-FFF2-40B4-BE49-F238E27FC236}">
                  <a16:creationId xmlns:a16="http://schemas.microsoft.com/office/drawing/2014/main" id="{F2102C6E-24E8-B92A-182D-820BD9BD7360}"/>
                </a:ext>
              </a:extLst>
            </p:cNvPr>
            <p:cNvSpPr/>
            <p:nvPr/>
          </p:nvSpPr>
          <p:spPr>
            <a:xfrm>
              <a:off x="5292309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1" name="object 681">
              <a:extLst>
                <a:ext uri="{FF2B5EF4-FFF2-40B4-BE49-F238E27FC236}">
                  <a16:creationId xmlns:a16="http://schemas.microsoft.com/office/drawing/2014/main" id="{8CD4C1D3-5FEE-0133-AF46-7BF0BFD2ADF5}"/>
                </a:ext>
              </a:extLst>
            </p:cNvPr>
            <p:cNvSpPr/>
            <p:nvPr/>
          </p:nvSpPr>
          <p:spPr>
            <a:xfrm>
              <a:off x="532733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2" name="object 682">
              <a:extLst>
                <a:ext uri="{FF2B5EF4-FFF2-40B4-BE49-F238E27FC236}">
                  <a16:creationId xmlns:a16="http://schemas.microsoft.com/office/drawing/2014/main" id="{64D6E9B4-085D-1D8B-F8EE-A6FD2EF7F7AB}"/>
                </a:ext>
              </a:extLst>
            </p:cNvPr>
            <p:cNvSpPr/>
            <p:nvPr/>
          </p:nvSpPr>
          <p:spPr>
            <a:xfrm>
              <a:off x="5222266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3" name="object 683">
              <a:extLst>
                <a:ext uri="{FF2B5EF4-FFF2-40B4-BE49-F238E27FC236}">
                  <a16:creationId xmlns:a16="http://schemas.microsoft.com/office/drawing/2014/main" id="{D1DEE39F-08A9-D9CA-22E7-1B543CF51AEC}"/>
                </a:ext>
              </a:extLst>
            </p:cNvPr>
            <p:cNvSpPr/>
            <p:nvPr/>
          </p:nvSpPr>
          <p:spPr>
            <a:xfrm>
              <a:off x="5117201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4" name="object 684">
              <a:extLst>
                <a:ext uri="{FF2B5EF4-FFF2-40B4-BE49-F238E27FC236}">
                  <a16:creationId xmlns:a16="http://schemas.microsoft.com/office/drawing/2014/main" id="{FC7FE9DB-E1FE-A33B-5EA9-A9B1613A994E}"/>
                </a:ext>
              </a:extLst>
            </p:cNvPr>
            <p:cNvSpPr/>
            <p:nvPr/>
          </p:nvSpPr>
          <p:spPr>
            <a:xfrm>
              <a:off x="5152296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5" name="object 685">
              <a:extLst>
                <a:ext uri="{FF2B5EF4-FFF2-40B4-BE49-F238E27FC236}">
                  <a16:creationId xmlns:a16="http://schemas.microsoft.com/office/drawing/2014/main" id="{B070B01C-C1D6-699C-80C1-60A42782526B}"/>
                </a:ext>
              </a:extLst>
            </p:cNvPr>
            <p:cNvSpPr/>
            <p:nvPr/>
          </p:nvSpPr>
          <p:spPr>
            <a:xfrm>
              <a:off x="5047158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6" name="object 686">
              <a:extLst>
                <a:ext uri="{FF2B5EF4-FFF2-40B4-BE49-F238E27FC236}">
                  <a16:creationId xmlns:a16="http://schemas.microsoft.com/office/drawing/2014/main" id="{CFB0C433-B573-E972-159F-F588536013F4}"/>
                </a:ext>
              </a:extLst>
            </p:cNvPr>
            <p:cNvSpPr/>
            <p:nvPr/>
          </p:nvSpPr>
          <p:spPr>
            <a:xfrm>
              <a:off x="5257287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7" name="object 687">
              <a:extLst>
                <a:ext uri="{FF2B5EF4-FFF2-40B4-BE49-F238E27FC236}">
                  <a16:creationId xmlns:a16="http://schemas.microsoft.com/office/drawing/2014/main" id="{485D7A81-86BF-DF20-4135-122C02ED07F3}"/>
                </a:ext>
              </a:extLst>
            </p:cNvPr>
            <p:cNvSpPr/>
            <p:nvPr/>
          </p:nvSpPr>
          <p:spPr>
            <a:xfrm>
              <a:off x="508218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8" name="object 688">
              <a:extLst>
                <a:ext uri="{FF2B5EF4-FFF2-40B4-BE49-F238E27FC236}">
                  <a16:creationId xmlns:a16="http://schemas.microsoft.com/office/drawing/2014/main" id="{5C45FA44-B502-2772-BBD7-F60B2A6ABC0B}"/>
                </a:ext>
              </a:extLst>
            </p:cNvPr>
            <p:cNvSpPr/>
            <p:nvPr/>
          </p:nvSpPr>
          <p:spPr>
            <a:xfrm>
              <a:off x="5012411" y="653073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89" name="object 689">
            <a:extLst>
              <a:ext uri="{FF2B5EF4-FFF2-40B4-BE49-F238E27FC236}">
                <a16:creationId xmlns:a16="http://schemas.microsoft.com/office/drawing/2014/main" id="{015F9659-EC06-8F24-FE90-A4CFC3C10DCE}"/>
              </a:ext>
            </a:extLst>
          </p:cNvPr>
          <p:cNvGrpSpPr/>
          <p:nvPr/>
        </p:nvGrpSpPr>
        <p:grpSpPr>
          <a:xfrm>
            <a:off x="5830781" y="557738"/>
            <a:ext cx="350023" cy="350032"/>
            <a:chOff x="5830781" y="557738"/>
            <a:chExt cx="350023" cy="350032"/>
          </a:xfrm>
        </p:grpSpPr>
        <p:pic>
          <p:nvPicPr>
            <p:cNvPr id="690" name="object 690">
              <a:extLst>
                <a:ext uri="{FF2B5EF4-FFF2-40B4-BE49-F238E27FC236}">
                  <a16:creationId xmlns:a16="http://schemas.microsoft.com/office/drawing/2014/main" id="{3C9BB4E4-AB64-2422-3EFE-117644A400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830781" y="557738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691" name="object 691">
              <a:extLst>
                <a:ext uri="{FF2B5EF4-FFF2-40B4-BE49-F238E27FC236}">
                  <a16:creationId xmlns:a16="http://schemas.microsoft.com/office/drawing/2014/main" id="{5D731B75-8AFF-A74F-62B6-9EAAD86974EA}"/>
                </a:ext>
              </a:extLst>
            </p:cNvPr>
            <p:cNvSpPr/>
            <p:nvPr/>
          </p:nvSpPr>
          <p:spPr>
            <a:xfrm>
              <a:off x="5830781" y="55774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92" name="object 692">
            <a:extLst>
              <a:ext uri="{FF2B5EF4-FFF2-40B4-BE49-F238E27FC236}">
                <a16:creationId xmlns:a16="http://schemas.microsoft.com/office/drawing/2014/main" id="{04DC6640-1EF2-1100-25B8-2F104EEEA766}"/>
              </a:ext>
            </a:extLst>
          </p:cNvPr>
          <p:cNvGrpSpPr/>
          <p:nvPr/>
        </p:nvGrpSpPr>
        <p:grpSpPr>
          <a:xfrm>
            <a:off x="5830781" y="1324837"/>
            <a:ext cx="350023" cy="350032"/>
            <a:chOff x="5830781" y="1324837"/>
            <a:chExt cx="350023" cy="350032"/>
          </a:xfrm>
        </p:grpSpPr>
        <p:pic>
          <p:nvPicPr>
            <p:cNvPr id="693" name="object 693">
              <a:extLst>
                <a:ext uri="{FF2B5EF4-FFF2-40B4-BE49-F238E27FC236}">
                  <a16:creationId xmlns:a16="http://schemas.microsoft.com/office/drawing/2014/main" id="{EE52AD3B-1568-E221-39F8-D1FC7791FD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830781" y="132483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694" name="object 694">
              <a:extLst>
                <a:ext uri="{FF2B5EF4-FFF2-40B4-BE49-F238E27FC236}">
                  <a16:creationId xmlns:a16="http://schemas.microsoft.com/office/drawing/2014/main" id="{C940322B-760C-B451-9C45-A16FD535E5F7}"/>
                </a:ext>
              </a:extLst>
            </p:cNvPr>
            <p:cNvSpPr/>
            <p:nvPr/>
          </p:nvSpPr>
          <p:spPr>
            <a:xfrm>
              <a:off x="5830781" y="132484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95" name="object 695">
            <a:extLst>
              <a:ext uri="{FF2B5EF4-FFF2-40B4-BE49-F238E27FC236}">
                <a16:creationId xmlns:a16="http://schemas.microsoft.com/office/drawing/2014/main" id="{502994F9-4052-CDA3-FA7C-4CED8A7902C9}"/>
              </a:ext>
            </a:extLst>
          </p:cNvPr>
          <p:cNvGrpSpPr/>
          <p:nvPr/>
        </p:nvGrpSpPr>
        <p:grpSpPr>
          <a:xfrm>
            <a:off x="5007373" y="1325121"/>
            <a:ext cx="359468" cy="359468"/>
            <a:chOff x="5007373" y="1325121"/>
            <a:chExt cx="359468" cy="359468"/>
          </a:xfrm>
        </p:grpSpPr>
        <p:pic>
          <p:nvPicPr>
            <p:cNvPr id="696" name="object 696">
              <a:extLst>
                <a:ext uri="{FF2B5EF4-FFF2-40B4-BE49-F238E27FC236}">
                  <a16:creationId xmlns:a16="http://schemas.microsoft.com/office/drawing/2014/main" id="{0B38098C-902C-9659-1A98-7991E61A26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012128" y="1329885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97" name="object 697">
              <a:extLst>
                <a:ext uri="{FF2B5EF4-FFF2-40B4-BE49-F238E27FC236}">
                  <a16:creationId xmlns:a16="http://schemas.microsoft.com/office/drawing/2014/main" id="{DBA5F1BF-2D19-D3C5-341E-06747E43D2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007373" y="1325121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698" name="object 698">
              <a:extLst>
                <a:ext uri="{FF2B5EF4-FFF2-40B4-BE49-F238E27FC236}">
                  <a16:creationId xmlns:a16="http://schemas.microsoft.com/office/drawing/2014/main" id="{1A6456A8-C8D0-C09A-59D6-3000CBF47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007373" y="1325121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699" name="object 699">
              <a:extLst>
                <a:ext uri="{FF2B5EF4-FFF2-40B4-BE49-F238E27FC236}">
                  <a16:creationId xmlns:a16="http://schemas.microsoft.com/office/drawing/2014/main" id="{D0C84414-C143-47F7-2231-57ACDDA5C3AC}"/>
                </a:ext>
              </a:extLst>
            </p:cNvPr>
            <p:cNvSpPr/>
            <p:nvPr/>
          </p:nvSpPr>
          <p:spPr>
            <a:xfrm>
              <a:off x="5012128" y="132988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00" name="object 700">
            <a:extLst>
              <a:ext uri="{FF2B5EF4-FFF2-40B4-BE49-F238E27FC236}">
                <a16:creationId xmlns:a16="http://schemas.microsoft.com/office/drawing/2014/main" id="{1C6BBB3D-363F-48FC-9DA7-8C2D1C021C06}"/>
              </a:ext>
            </a:extLst>
          </p:cNvPr>
          <p:cNvGrpSpPr/>
          <p:nvPr/>
        </p:nvGrpSpPr>
        <p:grpSpPr>
          <a:xfrm>
            <a:off x="5012402" y="568345"/>
            <a:ext cx="350023" cy="350032"/>
            <a:chOff x="5012402" y="568345"/>
            <a:chExt cx="350023" cy="350032"/>
          </a:xfrm>
        </p:grpSpPr>
        <p:pic>
          <p:nvPicPr>
            <p:cNvPr id="701" name="object 701">
              <a:extLst>
                <a:ext uri="{FF2B5EF4-FFF2-40B4-BE49-F238E27FC236}">
                  <a16:creationId xmlns:a16="http://schemas.microsoft.com/office/drawing/2014/main" id="{C25678FC-F917-4A9A-7C5C-C3C17CE4E2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012402" y="568345"/>
              <a:ext cx="34995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02" name="object 702">
              <a:extLst>
                <a:ext uri="{FF2B5EF4-FFF2-40B4-BE49-F238E27FC236}">
                  <a16:creationId xmlns:a16="http://schemas.microsoft.com/office/drawing/2014/main" id="{6024424C-46F9-477A-F58F-86DE3D17F4F4}"/>
                </a:ext>
              </a:extLst>
            </p:cNvPr>
            <p:cNvSpPr/>
            <p:nvPr/>
          </p:nvSpPr>
          <p:spPr>
            <a:xfrm>
              <a:off x="5012402" y="56835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03" name="object 703">
            <a:extLst>
              <a:ext uri="{FF2B5EF4-FFF2-40B4-BE49-F238E27FC236}">
                <a16:creationId xmlns:a16="http://schemas.microsoft.com/office/drawing/2014/main" id="{9261FAF8-BAC5-CC6F-B445-5DA14B46C468}"/>
              </a:ext>
            </a:extLst>
          </p:cNvPr>
          <p:cNvGrpSpPr/>
          <p:nvPr/>
        </p:nvGrpSpPr>
        <p:grpSpPr>
          <a:xfrm>
            <a:off x="9117409" y="5924214"/>
            <a:ext cx="350023" cy="350032"/>
            <a:chOff x="9117409" y="5924214"/>
            <a:chExt cx="350023" cy="350032"/>
          </a:xfrm>
        </p:grpSpPr>
        <p:pic>
          <p:nvPicPr>
            <p:cNvPr id="704" name="object 704">
              <a:extLst>
                <a:ext uri="{FF2B5EF4-FFF2-40B4-BE49-F238E27FC236}">
                  <a16:creationId xmlns:a16="http://schemas.microsoft.com/office/drawing/2014/main" id="{4F620FEF-083B-57DE-C774-D6C0DE1B2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117409" y="5924214"/>
              <a:ext cx="308838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05" name="object 705">
              <a:extLst>
                <a:ext uri="{FF2B5EF4-FFF2-40B4-BE49-F238E27FC236}">
                  <a16:creationId xmlns:a16="http://schemas.microsoft.com/office/drawing/2014/main" id="{D29DF4AF-2A0E-DF4F-6288-EA1522868ED8}"/>
                </a:ext>
              </a:extLst>
            </p:cNvPr>
            <p:cNvSpPr/>
            <p:nvPr/>
          </p:nvSpPr>
          <p:spPr>
            <a:xfrm>
              <a:off x="9117409" y="592422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06" name="object 706">
            <a:extLst>
              <a:ext uri="{FF2B5EF4-FFF2-40B4-BE49-F238E27FC236}">
                <a16:creationId xmlns:a16="http://schemas.microsoft.com/office/drawing/2014/main" id="{9764E250-1CC1-2D22-59C2-CFCB3B732971}"/>
              </a:ext>
            </a:extLst>
          </p:cNvPr>
          <p:cNvGrpSpPr/>
          <p:nvPr/>
        </p:nvGrpSpPr>
        <p:grpSpPr>
          <a:xfrm>
            <a:off x="9119475" y="5159117"/>
            <a:ext cx="350023" cy="350033"/>
            <a:chOff x="9119475" y="5159117"/>
            <a:chExt cx="350023" cy="350033"/>
          </a:xfrm>
        </p:grpSpPr>
        <p:pic>
          <p:nvPicPr>
            <p:cNvPr id="707" name="object 707">
              <a:extLst>
                <a:ext uri="{FF2B5EF4-FFF2-40B4-BE49-F238E27FC236}">
                  <a16:creationId xmlns:a16="http://schemas.microsoft.com/office/drawing/2014/main" id="{39A00FAC-1B1F-D5B7-94A7-F3CFBF24B5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9178308" y="5159117"/>
              <a:ext cx="291108" cy="34619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08" name="object 708">
              <a:extLst>
                <a:ext uri="{FF2B5EF4-FFF2-40B4-BE49-F238E27FC236}">
                  <a16:creationId xmlns:a16="http://schemas.microsoft.com/office/drawing/2014/main" id="{8F8457D8-C868-E91C-C189-492BDCE3EBD8}"/>
                </a:ext>
              </a:extLst>
            </p:cNvPr>
            <p:cNvSpPr/>
            <p:nvPr/>
          </p:nvSpPr>
          <p:spPr>
            <a:xfrm>
              <a:off x="9119475" y="515912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0"/>
                <a:gd name="f26" fmla="val 197340"/>
                <a:gd name="f27" fmla="val 155939"/>
                <a:gd name="f28" fmla="val 118131"/>
                <a:gd name="f29" fmla="val 84510"/>
                <a:gd name="f30" fmla="val 55670"/>
                <a:gd name="f31" fmla="val 335338"/>
                <a:gd name="f32" fmla="val 379737"/>
                <a:gd name="f33" fmla="val 421137"/>
                <a:gd name="f34" fmla="val 458945"/>
                <a:gd name="f35" fmla="val 492567"/>
                <a:gd name="f36" fmla="val 521408"/>
                <a:gd name="f37" fmla="val 544874"/>
                <a:gd name="f38" fmla="val 562371"/>
                <a:gd name="f39" fmla="*/ f0 1 577215"/>
                <a:gd name="f40" fmla="*/ f1 1 577215"/>
                <a:gd name="f41" fmla="+- f3 0 f2"/>
                <a:gd name="f42" fmla="*/ f41 1 577215"/>
                <a:gd name="f43" fmla="*/ f2 1 f42"/>
                <a:gd name="f44" fmla="*/ f3 1 f42"/>
                <a:gd name="f45" fmla="*/ f43 f39 1"/>
                <a:gd name="f46" fmla="*/ f44 f39 1"/>
                <a:gd name="f47" fmla="*/ f44 f40 1"/>
                <a:gd name="f48" fmla="*/ f43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5" t="f48" r="f46" b="f47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1"/>
                  </a:lnTo>
                  <a:lnTo>
                    <a:pt x="f21" y="f32"/>
                  </a:lnTo>
                  <a:lnTo>
                    <a:pt x="f19" y="f33"/>
                  </a:lnTo>
                  <a:lnTo>
                    <a:pt x="f30" y="f34"/>
                  </a:lnTo>
                  <a:lnTo>
                    <a:pt x="f29" y="f35"/>
                  </a:lnTo>
                  <a:lnTo>
                    <a:pt x="f28" y="f36"/>
                  </a:lnTo>
                  <a:lnTo>
                    <a:pt x="f27" y="f37"/>
                  </a:lnTo>
                  <a:lnTo>
                    <a:pt x="f26" y="f38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38"/>
                  </a:lnTo>
                  <a:lnTo>
                    <a:pt x="f18" y="f37"/>
                  </a:lnTo>
                  <a:lnTo>
                    <a:pt x="f16" y="f36"/>
                  </a:lnTo>
                  <a:lnTo>
                    <a:pt x="f14" y="f35"/>
                  </a:lnTo>
                  <a:lnTo>
                    <a:pt x="f12" y="f34"/>
                  </a:lnTo>
                  <a:lnTo>
                    <a:pt x="f10" y="f33"/>
                  </a:lnTo>
                  <a:lnTo>
                    <a:pt x="f8" y="f32"/>
                  </a:lnTo>
                  <a:lnTo>
                    <a:pt x="f6" y="f31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09" name="object 709">
            <a:extLst>
              <a:ext uri="{FF2B5EF4-FFF2-40B4-BE49-F238E27FC236}">
                <a16:creationId xmlns:a16="http://schemas.microsoft.com/office/drawing/2014/main" id="{28B2D49D-4FF5-B5F2-3F20-47C3050456AA}"/>
              </a:ext>
            </a:extLst>
          </p:cNvPr>
          <p:cNvGrpSpPr/>
          <p:nvPr/>
        </p:nvGrpSpPr>
        <p:grpSpPr>
          <a:xfrm>
            <a:off x="7479481" y="564504"/>
            <a:ext cx="359468" cy="359468"/>
            <a:chOff x="7479481" y="564504"/>
            <a:chExt cx="359468" cy="359468"/>
          </a:xfrm>
        </p:grpSpPr>
        <p:pic>
          <p:nvPicPr>
            <p:cNvPr id="710" name="object 710">
              <a:extLst>
                <a:ext uri="{FF2B5EF4-FFF2-40B4-BE49-F238E27FC236}">
                  <a16:creationId xmlns:a16="http://schemas.microsoft.com/office/drawing/2014/main" id="{DB26FE23-954E-2509-F600-BB2414AEF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483275" y="569259"/>
              <a:ext cx="349950" cy="3499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11" name="object 711">
              <a:extLst>
                <a:ext uri="{FF2B5EF4-FFF2-40B4-BE49-F238E27FC236}">
                  <a16:creationId xmlns:a16="http://schemas.microsoft.com/office/drawing/2014/main" id="{E79D3055-C690-FECC-3CA9-22A5942E8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479481" y="564504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12" name="object 712">
              <a:extLst>
                <a:ext uri="{FF2B5EF4-FFF2-40B4-BE49-F238E27FC236}">
                  <a16:creationId xmlns:a16="http://schemas.microsoft.com/office/drawing/2014/main" id="{659EE9F6-1FC9-AC11-0E94-9D7708914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479481" y="564504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13" name="object 713">
              <a:extLst>
                <a:ext uri="{FF2B5EF4-FFF2-40B4-BE49-F238E27FC236}">
                  <a16:creationId xmlns:a16="http://schemas.microsoft.com/office/drawing/2014/main" id="{8C4F4E31-1066-69CD-E078-FF02ED7FB052}"/>
                </a:ext>
              </a:extLst>
            </p:cNvPr>
            <p:cNvSpPr/>
            <p:nvPr/>
          </p:nvSpPr>
          <p:spPr>
            <a:xfrm>
              <a:off x="7484235" y="56925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14" name="object 714">
            <a:extLst>
              <a:ext uri="{FF2B5EF4-FFF2-40B4-BE49-F238E27FC236}">
                <a16:creationId xmlns:a16="http://schemas.microsoft.com/office/drawing/2014/main" id="{6572957F-6034-EB8C-0705-DF7938E824CB}"/>
              </a:ext>
            </a:extLst>
          </p:cNvPr>
          <p:cNvGrpSpPr/>
          <p:nvPr/>
        </p:nvGrpSpPr>
        <p:grpSpPr>
          <a:xfrm>
            <a:off x="8298024" y="5911852"/>
            <a:ext cx="350023" cy="350023"/>
            <a:chOff x="8298024" y="5911852"/>
            <a:chExt cx="350023" cy="350023"/>
          </a:xfrm>
        </p:grpSpPr>
        <p:pic>
          <p:nvPicPr>
            <p:cNvPr id="715" name="object 715">
              <a:extLst>
                <a:ext uri="{FF2B5EF4-FFF2-40B4-BE49-F238E27FC236}">
                  <a16:creationId xmlns:a16="http://schemas.microsoft.com/office/drawing/2014/main" id="{4368A1A4-736C-B656-6AD3-0CBDBFB46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8298024" y="5911852"/>
              <a:ext cx="34993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16" name="object 716">
              <a:extLst>
                <a:ext uri="{FF2B5EF4-FFF2-40B4-BE49-F238E27FC236}">
                  <a16:creationId xmlns:a16="http://schemas.microsoft.com/office/drawing/2014/main" id="{E6A6ED0F-0851-9B9F-7C0D-0D1E0474E329}"/>
                </a:ext>
              </a:extLst>
            </p:cNvPr>
            <p:cNvSpPr/>
            <p:nvPr/>
          </p:nvSpPr>
          <p:spPr>
            <a:xfrm>
              <a:off x="8298024" y="591185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17" name="object 717">
            <a:extLst>
              <a:ext uri="{FF2B5EF4-FFF2-40B4-BE49-F238E27FC236}">
                <a16:creationId xmlns:a16="http://schemas.microsoft.com/office/drawing/2014/main" id="{03D0580E-43BB-14F8-3E7F-97323486815E}"/>
              </a:ext>
            </a:extLst>
          </p:cNvPr>
          <p:cNvGrpSpPr/>
          <p:nvPr/>
        </p:nvGrpSpPr>
        <p:grpSpPr>
          <a:xfrm>
            <a:off x="2545707" y="560490"/>
            <a:ext cx="7747711" cy="5711598"/>
            <a:chOff x="2545707" y="560490"/>
            <a:chExt cx="7747711" cy="5711598"/>
          </a:xfrm>
        </p:grpSpPr>
        <p:pic>
          <p:nvPicPr>
            <p:cNvPr id="718" name="object 718">
              <a:extLst>
                <a:ext uri="{FF2B5EF4-FFF2-40B4-BE49-F238E27FC236}">
                  <a16:creationId xmlns:a16="http://schemas.microsoft.com/office/drawing/2014/main" id="{C3036572-A937-2024-7435-3871DC063B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4190512" y="2103248"/>
              <a:ext cx="349940" cy="34445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19" name="object 719">
              <a:extLst>
                <a:ext uri="{FF2B5EF4-FFF2-40B4-BE49-F238E27FC236}">
                  <a16:creationId xmlns:a16="http://schemas.microsoft.com/office/drawing/2014/main" id="{AB0F3D3A-F371-4FD5-27EA-6E1656DBE11C}"/>
                </a:ext>
              </a:extLst>
            </p:cNvPr>
            <p:cNvSpPr/>
            <p:nvPr/>
          </p:nvSpPr>
          <p:spPr>
            <a:xfrm>
              <a:off x="4190512" y="210266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0" name="object 720">
              <a:extLst>
                <a:ext uri="{FF2B5EF4-FFF2-40B4-BE49-F238E27FC236}">
                  <a16:creationId xmlns:a16="http://schemas.microsoft.com/office/drawing/2014/main" id="{84A62067-1130-E03D-8C4B-9ADEFB0140F3}"/>
                </a:ext>
              </a:extLst>
            </p:cNvPr>
            <p:cNvSpPr/>
            <p:nvPr/>
          </p:nvSpPr>
          <p:spPr>
            <a:xfrm>
              <a:off x="4470062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1" name="object 721">
              <a:extLst>
                <a:ext uri="{FF2B5EF4-FFF2-40B4-BE49-F238E27FC236}">
                  <a16:creationId xmlns:a16="http://schemas.microsoft.com/office/drawing/2014/main" id="{57E3B373-F233-1836-0B9A-DE29D6316DE5}"/>
                </a:ext>
              </a:extLst>
            </p:cNvPr>
            <p:cNvSpPr/>
            <p:nvPr/>
          </p:nvSpPr>
          <p:spPr>
            <a:xfrm>
              <a:off x="4505084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2" name="object 722">
              <a:extLst>
                <a:ext uri="{FF2B5EF4-FFF2-40B4-BE49-F238E27FC236}">
                  <a16:creationId xmlns:a16="http://schemas.microsoft.com/office/drawing/2014/main" id="{E60FBCEF-4826-DA37-946E-EDDA2EA34D1C}"/>
                </a:ext>
              </a:extLst>
            </p:cNvPr>
            <p:cNvSpPr/>
            <p:nvPr/>
          </p:nvSpPr>
          <p:spPr>
            <a:xfrm>
              <a:off x="4400019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3" name="object 723">
              <a:extLst>
                <a:ext uri="{FF2B5EF4-FFF2-40B4-BE49-F238E27FC236}">
                  <a16:creationId xmlns:a16="http://schemas.microsoft.com/office/drawing/2014/main" id="{067044B6-084B-40F6-B9CE-FC1E40AB182B}"/>
                </a:ext>
              </a:extLst>
            </p:cNvPr>
            <p:cNvSpPr/>
            <p:nvPr/>
          </p:nvSpPr>
          <p:spPr>
            <a:xfrm>
              <a:off x="4294955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4" name="object 724">
              <a:extLst>
                <a:ext uri="{FF2B5EF4-FFF2-40B4-BE49-F238E27FC236}">
                  <a16:creationId xmlns:a16="http://schemas.microsoft.com/office/drawing/2014/main" id="{341391A4-0D19-8FA3-040F-BB5B69884886}"/>
                </a:ext>
              </a:extLst>
            </p:cNvPr>
            <p:cNvSpPr/>
            <p:nvPr/>
          </p:nvSpPr>
          <p:spPr>
            <a:xfrm>
              <a:off x="4330049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5" name="object 725">
              <a:extLst>
                <a:ext uri="{FF2B5EF4-FFF2-40B4-BE49-F238E27FC236}">
                  <a16:creationId xmlns:a16="http://schemas.microsoft.com/office/drawing/2014/main" id="{34882FD2-D6F5-660D-BDB5-A03A26DAAD86}"/>
                </a:ext>
              </a:extLst>
            </p:cNvPr>
            <p:cNvSpPr/>
            <p:nvPr/>
          </p:nvSpPr>
          <p:spPr>
            <a:xfrm>
              <a:off x="4224912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6" name="object 726">
              <a:extLst>
                <a:ext uri="{FF2B5EF4-FFF2-40B4-BE49-F238E27FC236}">
                  <a16:creationId xmlns:a16="http://schemas.microsoft.com/office/drawing/2014/main" id="{021676AD-53E9-EBB6-418D-A7413C7B700E}"/>
                </a:ext>
              </a:extLst>
            </p:cNvPr>
            <p:cNvSpPr/>
            <p:nvPr/>
          </p:nvSpPr>
          <p:spPr>
            <a:xfrm>
              <a:off x="4435041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7" name="object 727">
              <a:extLst>
                <a:ext uri="{FF2B5EF4-FFF2-40B4-BE49-F238E27FC236}">
                  <a16:creationId xmlns:a16="http://schemas.microsoft.com/office/drawing/2014/main" id="{156680B0-7688-51FB-D26A-3B300496F7EA}"/>
                </a:ext>
              </a:extLst>
            </p:cNvPr>
            <p:cNvSpPr/>
            <p:nvPr/>
          </p:nvSpPr>
          <p:spPr>
            <a:xfrm>
              <a:off x="4259933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8" name="object 728">
              <a:extLst>
                <a:ext uri="{FF2B5EF4-FFF2-40B4-BE49-F238E27FC236}">
                  <a16:creationId xmlns:a16="http://schemas.microsoft.com/office/drawing/2014/main" id="{525797DF-4A63-930F-2AD9-D1E05F5D5841}"/>
                </a:ext>
              </a:extLst>
            </p:cNvPr>
            <p:cNvSpPr/>
            <p:nvPr/>
          </p:nvSpPr>
          <p:spPr>
            <a:xfrm>
              <a:off x="454010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9" name="object 729">
              <a:extLst>
                <a:ext uri="{FF2B5EF4-FFF2-40B4-BE49-F238E27FC236}">
                  <a16:creationId xmlns:a16="http://schemas.microsoft.com/office/drawing/2014/main" id="{14807BEB-27EC-E0C2-AF1B-7C82C92A6FB8}"/>
                </a:ext>
              </a:extLst>
            </p:cNvPr>
            <p:cNvSpPr/>
            <p:nvPr/>
          </p:nvSpPr>
          <p:spPr>
            <a:xfrm>
              <a:off x="436513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0" name="object 730">
              <a:extLst>
                <a:ext uri="{FF2B5EF4-FFF2-40B4-BE49-F238E27FC236}">
                  <a16:creationId xmlns:a16="http://schemas.microsoft.com/office/drawing/2014/main" id="{FCA872B9-159B-EA8C-BA23-159966D8E030}"/>
                </a:ext>
              </a:extLst>
            </p:cNvPr>
            <p:cNvSpPr/>
            <p:nvPr/>
          </p:nvSpPr>
          <p:spPr>
            <a:xfrm>
              <a:off x="4190164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1" name="object 731">
              <a:extLst>
                <a:ext uri="{FF2B5EF4-FFF2-40B4-BE49-F238E27FC236}">
                  <a16:creationId xmlns:a16="http://schemas.microsoft.com/office/drawing/2014/main" id="{672D96DD-3C3F-C8C2-C627-0E7824E7481F}"/>
                </a:ext>
              </a:extLst>
            </p:cNvPr>
            <p:cNvSpPr/>
            <p:nvPr/>
          </p:nvSpPr>
          <p:spPr>
            <a:xfrm>
              <a:off x="436513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2" name="object 732">
              <a:extLst>
                <a:ext uri="{FF2B5EF4-FFF2-40B4-BE49-F238E27FC236}">
                  <a16:creationId xmlns:a16="http://schemas.microsoft.com/office/drawing/2014/main" id="{5D67FA71-D01C-23FC-A3AD-50CAEDB786EB}"/>
                </a:ext>
              </a:extLst>
            </p:cNvPr>
            <p:cNvSpPr/>
            <p:nvPr/>
          </p:nvSpPr>
          <p:spPr>
            <a:xfrm>
              <a:off x="4190164" y="493233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3" name="object 733">
              <a:extLst>
                <a:ext uri="{FF2B5EF4-FFF2-40B4-BE49-F238E27FC236}">
                  <a16:creationId xmlns:a16="http://schemas.microsoft.com/office/drawing/2014/main" id="{F139B8CA-727B-4434-6A0F-7A37FD2767F1}"/>
                </a:ext>
              </a:extLst>
            </p:cNvPr>
            <p:cNvSpPr/>
            <p:nvPr/>
          </p:nvSpPr>
          <p:spPr>
            <a:xfrm>
              <a:off x="4645033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4" name="object 734">
              <a:extLst>
                <a:ext uri="{FF2B5EF4-FFF2-40B4-BE49-F238E27FC236}">
                  <a16:creationId xmlns:a16="http://schemas.microsoft.com/office/drawing/2014/main" id="{937F99DB-B413-76A2-D118-F8A21FFA6BCF}"/>
                </a:ext>
              </a:extLst>
            </p:cNvPr>
            <p:cNvSpPr/>
            <p:nvPr/>
          </p:nvSpPr>
          <p:spPr>
            <a:xfrm>
              <a:off x="4680054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5" name="object 735">
              <a:extLst>
                <a:ext uri="{FF2B5EF4-FFF2-40B4-BE49-F238E27FC236}">
                  <a16:creationId xmlns:a16="http://schemas.microsoft.com/office/drawing/2014/main" id="{C5F4CC6E-DCB2-26A3-7537-9294F8A151E8}"/>
                </a:ext>
              </a:extLst>
            </p:cNvPr>
            <p:cNvSpPr/>
            <p:nvPr/>
          </p:nvSpPr>
          <p:spPr>
            <a:xfrm>
              <a:off x="4574990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6" name="object 736">
              <a:extLst>
                <a:ext uri="{FF2B5EF4-FFF2-40B4-BE49-F238E27FC236}">
                  <a16:creationId xmlns:a16="http://schemas.microsoft.com/office/drawing/2014/main" id="{2DCE8496-7084-B4EB-D8FE-B6A45EE7D8F2}"/>
                </a:ext>
              </a:extLst>
            </p:cNvPr>
            <p:cNvSpPr/>
            <p:nvPr/>
          </p:nvSpPr>
          <p:spPr>
            <a:xfrm>
              <a:off x="4610011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7" name="object 737">
              <a:extLst>
                <a:ext uri="{FF2B5EF4-FFF2-40B4-BE49-F238E27FC236}">
                  <a16:creationId xmlns:a16="http://schemas.microsoft.com/office/drawing/2014/main" id="{8BC52B48-A065-11E9-6E2A-9EBB37E55671}"/>
                </a:ext>
              </a:extLst>
            </p:cNvPr>
            <p:cNvSpPr/>
            <p:nvPr/>
          </p:nvSpPr>
          <p:spPr>
            <a:xfrm>
              <a:off x="471508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8" name="object 738">
              <a:extLst>
                <a:ext uri="{FF2B5EF4-FFF2-40B4-BE49-F238E27FC236}">
                  <a16:creationId xmlns:a16="http://schemas.microsoft.com/office/drawing/2014/main" id="{3D1F9446-EC61-028C-7BFE-4A5D7BF0EC48}"/>
                </a:ext>
              </a:extLst>
            </p:cNvPr>
            <p:cNvSpPr/>
            <p:nvPr/>
          </p:nvSpPr>
          <p:spPr>
            <a:xfrm>
              <a:off x="4540105" y="4932337"/>
              <a:ext cx="17520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75204"/>
                <a:gd name="f5" fmla="val 87490"/>
                <a:gd name="f6" fmla="val 174974"/>
                <a:gd name="f7" fmla="abs f0"/>
                <a:gd name="f8" fmla="abs f1"/>
                <a:gd name="f9" fmla="abs f2"/>
                <a:gd name="f10" fmla="*/ f0 1 17520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175204"/>
                <a:gd name="f17" fmla="*/ f11 1 0"/>
                <a:gd name="f18" fmla="*/ f13 1 175204"/>
                <a:gd name="f19" fmla="*/ f14 1 21600"/>
                <a:gd name="f20" fmla="*/ 21600 f14 1"/>
                <a:gd name="f21" fmla="*/ 0 1 f16"/>
                <a:gd name="f22" fmla="*/ 17520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17520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9" name="object 739">
              <a:extLst>
                <a:ext uri="{FF2B5EF4-FFF2-40B4-BE49-F238E27FC236}">
                  <a16:creationId xmlns:a16="http://schemas.microsoft.com/office/drawing/2014/main" id="{402175D8-83BF-1B54-76FF-F78B81137BF0}"/>
                </a:ext>
              </a:extLst>
            </p:cNvPr>
            <p:cNvSpPr/>
            <p:nvPr/>
          </p:nvSpPr>
          <p:spPr>
            <a:xfrm>
              <a:off x="4189991" y="1084780"/>
              <a:ext cx="500972" cy="38725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826134"/>
                <a:gd name="f4" fmla="val 6386195"/>
                <a:gd name="f5" fmla="val 357466"/>
                <a:gd name="f6" fmla="val 84112"/>
                <a:gd name="f7" fmla="val 825690"/>
                <a:gd name="f8" fmla="val 6301448"/>
                <a:gd name="f9" fmla="val 469"/>
                <a:gd name="f10" fmla="val 6385585"/>
                <a:gd name="f11" fmla="*/ f0 1 826134"/>
                <a:gd name="f12" fmla="*/ f1 1 6386195"/>
                <a:gd name="f13" fmla="+- f4 0 f2"/>
                <a:gd name="f14" fmla="+- f3 0 f2"/>
                <a:gd name="f15" fmla="*/ f14 1 826134"/>
                <a:gd name="f16" fmla="*/ f13 1 6386195"/>
                <a:gd name="f17" fmla="*/ f2 1 f15"/>
                <a:gd name="f18" fmla="*/ f3 1 f15"/>
                <a:gd name="f19" fmla="*/ f2 1 f16"/>
                <a:gd name="f20" fmla="*/ f4 1 f16"/>
                <a:gd name="f21" fmla="*/ f17 f11 1"/>
                <a:gd name="f22" fmla="*/ f18 f11 1"/>
                <a:gd name="f23" fmla="*/ f20 f12 1"/>
                <a:gd name="f24" fmla="*/ f1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1" t="f24" r="f22" b="f23"/>
              <a:pathLst>
                <a:path w="826134" h="638619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  <a:path w="826134" h="6386195">
                  <a:moveTo>
                    <a:pt x="f7" y="f8"/>
                  </a:moveTo>
                  <a:lnTo>
                    <a:pt x="f9" y="f8"/>
                  </a:lnTo>
                  <a:lnTo>
                    <a:pt x="f9" y="f10"/>
                  </a:lnTo>
                  <a:lnTo>
                    <a:pt x="f7" y="f10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0" name="object 740">
              <a:extLst>
                <a:ext uri="{FF2B5EF4-FFF2-40B4-BE49-F238E27FC236}">
                  <a16:creationId xmlns:a16="http://schemas.microsoft.com/office/drawing/2014/main" id="{A4C50154-67C4-D48B-59AF-072F56A154CA}"/>
                </a:ext>
              </a:extLst>
            </p:cNvPr>
            <p:cNvSpPr/>
            <p:nvPr/>
          </p:nvSpPr>
          <p:spPr>
            <a:xfrm>
              <a:off x="4469907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1" name="object 741">
              <a:extLst>
                <a:ext uri="{FF2B5EF4-FFF2-40B4-BE49-F238E27FC236}">
                  <a16:creationId xmlns:a16="http://schemas.microsoft.com/office/drawing/2014/main" id="{E01DE29B-CCB4-AFA9-4EF9-96C1C85BA01B}"/>
                </a:ext>
              </a:extLst>
            </p:cNvPr>
            <p:cNvSpPr/>
            <p:nvPr/>
          </p:nvSpPr>
          <p:spPr>
            <a:xfrm>
              <a:off x="4504928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2" name="object 742">
              <a:extLst>
                <a:ext uri="{FF2B5EF4-FFF2-40B4-BE49-F238E27FC236}">
                  <a16:creationId xmlns:a16="http://schemas.microsoft.com/office/drawing/2014/main" id="{BEBED2F3-3AE1-6968-28F8-41272A7B070D}"/>
                </a:ext>
              </a:extLst>
            </p:cNvPr>
            <p:cNvSpPr/>
            <p:nvPr/>
          </p:nvSpPr>
          <p:spPr>
            <a:xfrm>
              <a:off x="4399864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3" name="object 743">
              <a:extLst>
                <a:ext uri="{FF2B5EF4-FFF2-40B4-BE49-F238E27FC236}">
                  <a16:creationId xmlns:a16="http://schemas.microsoft.com/office/drawing/2014/main" id="{48573B40-7078-2947-790D-F44943B87B85}"/>
                </a:ext>
              </a:extLst>
            </p:cNvPr>
            <p:cNvSpPr/>
            <p:nvPr/>
          </p:nvSpPr>
          <p:spPr>
            <a:xfrm>
              <a:off x="4294790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4" name="object 744">
              <a:extLst>
                <a:ext uri="{FF2B5EF4-FFF2-40B4-BE49-F238E27FC236}">
                  <a16:creationId xmlns:a16="http://schemas.microsoft.com/office/drawing/2014/main" id="{A9FF8311-C9AB-9630-917E-213364D93AF2}"/>
                </a:ext>
              </a:extLst>
            </p:cNvPr>
            <p:cNvSpPr/>
            <p:nvPr/>
          </p:nvSpPr>
          <p:spPr>
            <a:xfrm>
              <a:off x="4329885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5" name="object 745">
              <a:extLst>
                <a:ext uri="{FF2B5EF4-FFF2-40B4-BE49-F238E27FC236}">
                  <a16:creationId xmlns:a16="http://schemas.microsoft.com/office/drawing/2014/main" id="{9AABDB06-159A-51E6-4EF8-24D51EFE2193}"/>
                </a:ext>
              </a:extLst>
            </p:cNvPr>
            <p:cNvSpPr/>
            <p:nvPr/>
          </p:nvSpPr>
          <p:spPr>
            <a:xfrm>
              <a:off x="4224747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6" name="object 746">
              <a:extLst>
                <a:ext uri="{FF2B5EF4-FFF2-40B4-BE49-F238E27FC236}">
                  <a16:creationId xmlns:a16="http://schemas.microsoft.com/office/drawing/2014/main" id="{84D8E173-D800-6A0A-5D92-3EC7CF0CE21F}"/>
                </a:ext>
              </a:extLst>
            </p:cNvPr>
            <p:cNvSpPr/>
            <p:nvPr/>
          </p:nvSpPr>
          <p:spPr>
            <a:xfrm>
              <a:off x="4434876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7" name="object 747">
              <a:extLst>
                <a:ext uri="{FF2B5EF4-FFF2-40B4-BE49-F238E27FC236}">
                  <a16:creationId xmlns:a16="http://schemas.microsoft.com/office/drawing/2014/main" id="{A3C6ADC6-24B7-B7B4-EBAA-934F84A4864B}"/>
                </a:ext>
              </a:extLst>
            </p:cNvPr>
            <p:cNvSpPr/>
            <p:nvPr/>
          </p:nvSpPr>
          <p:spPr>
            <a:xfrm>
              <a:off x="4259768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8" name="object 748">
              <a:extLst>
                <a:ext uri="{FF2B5EF4-FFF2-40B4-BE49-F238E27FC236}">
                  <a16:creationId xmlns:a16="http://schemas.microsoft.com/office/drawing/2014/main" id="{0C7ACA02-0F67-B174-1D35-118ECC3B0C06}"/>
                </a:ext>
              </a:extLst>
            </p:cNvPr>
            <p:cNvSpPr/>
            <p:nvPr/>
          </p:nvSpPr>
          <p:spPr>
            <a:xfrm>
              <a:off x="4539950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49" name="object 749">
              <a:extLst>
                <a:ext uri="{FF2B5EF4-FFF2-40B4-BE49-F238E27FC236}">
                  <a16:creationId xmlns:a16="http://schemas.microsoft.com/office/drawing/2014/main" id="{A1B9A11F-BF02-B919-ABE3-E45FDB3ACDCB}"/>
                </a:ext>
              </a:extLst>
            </p:cNvPr>
            <p:cNvSpPr/>
            <p:nvPr/>
          </p:nvSpPr>
          <p:spPr>
            <a:xfrm>
              <a:off x="4364979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0" name="object 750">
              <a:extLst>
                <a:ext uri="{FF2B5EF4-FFF2-40B4-BE49-F238E27FC236}">
                  <a16:creationId xmlns:a16="http://schemas.microsoft.com/office/drawing/2014/main" id="{49815184-6191-6AE4-BE7B-B150DE8CC3BB}"/>
                </a:ext>
              </a:extLst>
            </p:cNvPr>
            <p:cNvSpPr/>
            <p:nvPr/>
          </p:nvSpPr>
          <p:spPr>
            <a:xfrm>
              <a:off x="4190000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1" name="object 751">
              <a:extLst>
                <a:ext uri="{FF2B5EF4-FFF2-40B4-BE49-F238E27FC236}">
                  <a16:creationId xmlns:a16="http://schemas.microsoft.com/office/drawing/2014/main" id="{DC6ED4F8-6EAA-AF81-A030-7ED2ABDEA6CF}"/>
                </a:ext>
              </a:extLst>
            </p:cNvPr>
            <p:cNvSpPr/>
            <p:nvPr/>
          </p:nvSpPr>
          <p:spPr>
            <a:xfrm>
              <a:off x="4364979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2" name="object 752">
              <a:extLst>
                <a:ext uri="{FF2B5EF4-FFF2-40B4-BE49-F238E27FC236}">
                  <a16:creationId xmlns:a16="http://schemas.microsoft.com/office/drawing/2014/main" id="{EB6837BC-C63D-A762-73C6-63E13B6846DB}"/>
                </a:ext>
              </a:extLst>
            </p:cNvPr>
            <p:cNvSpPr/>
            <p:nvPr/>
          </p:nvSpPr>
          <p:spPr>
            <a:xfrm>
              <a:off x="4190000" y="111029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3" name="object 753">
              <a:extLst>
                <a:ext uri="{FF2B5EF4-FFF2-40B4-BE49-F238E27FC236}">
                  <a16:creationId xmlns:a16="http://schemas.microsoft.com/office/drawing/2014/main" id="{91A8DDA8-0E80-5B5D-8223-765D3829D145}"/>
                </a:ext>
              </a:extLst>
            </p:cNvPr>
            <p:cNvSpPr/>
            <p:nvPr/>
          </p:nvSpPr>
          <p:spPr>
            <a:xfrm>
              <a:off x="4190475" y="1157804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5"/>
                <a:gd name="f5" fmla="val 576307"/>
                <a:gd name="f6" fmla="val 84112"/>
                <a:gd name="f7" fmla="*/ f0 1 576579"/>
                <a:gd name="f8" fmla="*/ f1 1 84455"/>
                <a:gd name="f9" fmla="+- f4 0 f2"/>
                <a:gd name="f10" fmla="+- f3 0 f2"/>
                <a:gd name="f11" fmla="*/ f10 1 57657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4" name="object 754">
              <a:extLst>
                <a:ext uri="{FF2B5EF4-FFF2-40B4-BE49-F238E27FC236}">
                  <a16:creationId xmlns:a16="http://schemas.microsoft.com/office/drawing/2014/main" id="{A76AE7A2-5A89-96E8-464C-038ECB2B5B91}"/>
                </a:ext>
              </a:extLst>
            </p:cNvPr>
            <p:cNvSpPr/>
            <p:nvPr/>
          </p:nvSpPr>
          <p:spPr>
            <a:xfrm>
              <a:off x="446990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5" name="object 755">
              <a:extLst>
                <a:ext uri="{FF2B5EF4-FFF2-40B4-BE49-F238E27FC236}">
                  <a16:creationId xmlns:a16="http://schemas.microsoft.com/office/drawing/2014/main" id="{EAA67B5E-CC9E-352E-104B-1A660732C74D}"/>
                </a:ext>
              </a:extLst>
            </p:cNvPr>
            <p:cNvSpPr/>
            <p:nvPr/>
          </p:nvSpPr>
          <p:spPr>
            <a:xfrm>
              <a:off x="45049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6" name="object 756">
              <a:extLst>
                <a:ext uri="{FF2B5EF4-FFF2-40B4-BE49-F238E27FC236}">
                  <a16:creationId xmlns:a16="http://schemas.microsoft.com/office/drawing/2014/main" id="{1D9849E0-CD3C-A5B3-6F05-4E34E9DDE1CE}"/>
                </a:ext>
              </a:extLst>
            </p:cNvPr>
            <p:cNvSpPr/>
            <p:nvPr/>
          </p:nvSpPr>
          <p:spPr>
            <a:xfrm>
              <a:off x="439986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7" name="object 757">
              <a:extLst>
                <a:ext uri="{FF2B5EF4-FFF2-40B4-BE49-F238E27FC236}">
                  <a16:creationId xmlns:a16="http://schemas.microsoft.com/office/drawing/2014/main" id="{0CEE4E61-694E-B099-EF77-6EAF643596F3}"/>
                </a:ext>
              </a:extLst>
            </p:cNvPr>
            <p:cNvSpPr/>
            <p:nvPr/>
          </p:nvSpPr>
          <p:spPr>
            <a:xfrm>
              <a:off x="429479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8" name="object 758">
              <a:extLst>
                <a:ext uri="{FF2B5EF4-FFF2-40B4-BE49-F238E27FC236}">
                  <a16:creationId xmlns:a16="http://schemas.microsoft.com/office/drawing/2014/main" id="{C278472E-910A-EF86-3E60-BE67E5296E28}"/>
                </a:ext>
              </a:extLst>
            </p:cNvPr>
            <p:cNvSpPr/>
            <p:nvPr/>
          </p:nvSpPr>
          <p:spPr>
            <a:xfrm>
              <a:off x="432988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9" name="object 759">
              <a:extLst>
                <a:ext uri="{FF2B5EF4-FFF2-40B4-BE49-F238E27FC236}">
                  <a16:creationId xmlns:a16="http://schemas.microsoft.com/office/drawing/2014/main" id="{208445D0-2F6B-F42F-89D7-050A85F202C4}"/>
                </a:ext>
              </a:extLst>
            </p:cNvPr>
            <p:cNvSpPr/>
            <p:nvPr/>
          </p:nvSpPr>
          <p:spPr>
            <a:xfrm>
              <a:off x="422474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0" name="object 760">
              <a:extLst>
                <a:ext uri="{FF2B5EF4-FFF2-40B4-BE49-F238E27FC236}">
                  <a16:creationId xmlns:a16="http://schemas.microsoft.com/office/drawing/2014/main" id="{E5B5C523-557A-3FA0-E060-8FCBE390BACD}"/>
                </a:ext>
              </a:extLst>
            </p:cNvPr>
            <p:cNvSpPr/>
            <p:nvPr/>
          </p:nvSpPr>
          <p:spPr>
            <a:xfrm>
              <a:off x="443487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1" name="object 761">
              <a:extLst>
                <a:ext uri="{FF2B5EF4-FFF2-40B4-BE49-F238E27FC236}">
                  <a16:creationId xmlns:a16="http://schemas.microsoft.com/office/drawing/2014/main" id="{45F4268E-D870-94CC-54FA-87C6ED5A4430}"/>
                </a:ext>
              </a:extLst>
            </p:cNvPr>
            <p:cNvSpPr/>
            <p:nvPr/>
          </p:nvSpPr>
          <p:spPr>
            <a:xfrm>
              <a:off x="425976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2" name="object 762">
              <a:extLst>
                <a:ext uri="{FF2B5EF4-FFF2-40B4-BE49-F238E27FC236}">
                  <a16:creationId xmlns:a16="http://schemas.microsoft.com/office/drawing/2014/main" id="{A3BD622F-FB58-B02C-CD5A-CA8A61498837}"/>
                </a:ext>
              </a:extLst>
            </p:cNvPr>
            <p:cNvSpPr/>
            <p:nvPr/>
          </p:nvSpPr>
          <p:spPr>
            <a:xfrm>
              <a:off x="4539950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3" name="object 763">
              <a:extLst>
                <a:ext uri="{FF2B5EF4-FFF2-40B4-BE49-F238E27FC236}">
                  <a16:creationId xmlns:a16="http://schemas.microsoft.com/office/drawing/2014/main" id="{79C2D043-3083-3D76-4F01-B32E2DD08323}"/>
                </a:ext>
              </a:extLst>
            </p:cNvPr>
            <p:cNvSpPr/>
            <p:nvPr/>
          </p:nvSpPr>
          <p:spPr>
            <a:xfrm>
              <a:off x="436497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4" name="object 764">
              <a:extLst>
                <a:ext uri="{FF2B5EF4-FFF2-40B4-BE49-F238E27FC236}">
                  <a16:creationId xmlns:a16="http://schemas.microsoft.com/office/drawing/2014/main" id="{DAE09F0F-12F2-7EE2-D83F-5DB2D8C31ECB}"/>
                </a:ext>
              </a:extLst>
            </p:cNvPr>
            <p:cNvSpPr/>
            <p:nvPr/>
          </p:nvSpPr>
          <p:spPr>
            <a:xfrm>
              <a:off x="4190000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5" name="object 765">
              <a:extLst>
                <a:ext uri="{FF2B5EF4-FFF2-40B4-BE49-F238E27FC236}">
                  <a16:creationId xmlns:a16="http://schemas.microsoft.com/office/drawing/2014/main" id="{0172099C-848C-7A60-79BE-EF53F958CF88}"/>
                </a:ext>
              </a:extLst>
            </p:cNvPr>
            <p:cNvSpPr/>
            <p:nvPr/>
          </p:nvSpPr>
          <p:spPr>
            <a:xfrm>
              <a:off x="436497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6" name="object 766">
              <a:extLst>
                <a:ext uri="{FF2B5EF4-FFF2-40B4-BE49-F238E27FC236}">
                  <a16:creationId xmlns:a16="http://schemas.microsoft.com/office/drawing/2014/main" id="{AAE837A8-28FF-B692-0DCA-54217F1B8B34}"/>
                </a:ext>
              </a:extLst>
            </p:cNvPr>
            <p:cNvSpPr/>
            <p:nvPr/>
          </p:nvSpPr>
          <p:spPr>
            <a:xfrm>
              <a:off x="4190000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7" name="object 767">
              <a:extLst>
                <a:ext uri="{FF2B5EF4-FFF2-40B4-BE49-F238E27FC236}">
                  <a16:creationId xmlns:a16="http://schemas.microsoft.com/office/drawing/2014/main" id="{BAA81E7E-FA1F-E0C5-DFAB-AA7D59F46931}"/>
                </a:ext>
              </a:extLst>
            </p:cNvPr>
            <p:cNvSpPr/>
            <p:nvPr/>
          </p:nvSpPr>
          <p:spPr>
            <a:xfrm>
              <a:off x="4190000" y="1847792"/>
              <a:ext cx="25876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6720"/>
                <a:gd name="f4" fmla="val 84455"/>
                <a:gd name="f5" fmla="val 426395"/>
                <a:gd name="f6" fmla="val 84123"/>
                <a:gd name="f7" fmla="*/ f0 1 426720"/>
                <a:gd name="f8" fmla="*/ f1 1 84455"/>
                <a:gd name="f9" fmla="+- f4 0 f2"/>
                <a:gd name="f10" fmla="+- f3 0 f2"/>
                <a:gd name="f11" fmla="*/ f10 1 42672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672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8" name="object 768">
              <a:extLst>
                <a:ext uri="{FF2B5EF4-FFF2-40B4-BE49-F238E27FC236}">
                  <a16:creationId xmlns:a16="http://schemas.microsoft.com/office/drawing/2014/main" id="{AA6B0E34-5DFC-97EC-54C7-01F05875E880}"/>
                </a:ext>
              </a:extLst>
            </p:cNvPr>
            <p:cNvSpPr/>
            <p:nvPr/>
          </p:nvSpPr>
          <p:spPr>
            <a:xfrm>
              <a:off x="4469907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9" name="object 769">
              <a:extLst>
                <a:ext uri="{FF2B5EF4-FFF2-40B4-BE49-F238E27FC236}">
                  <a16:creationId xmlns:a16="http://schemas.microsoft.com/office/drawing/2014/main" id="{9B15DF5C-0088-4920-B6BC-53FDCA4A81CC}"/>
                </a:ext>
              </a:extLst>
            </p:cNvPr>
            <p:cNvSpPr/>
            <p:nvPr/>
          </p:nvSpPr>
          <p:spPr>
            <a:xfrm>
              <a:off x="4504928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0" name="object 770">
              <a:extLst>
                <a:ext uri="{FF2B5EF4-FFF2-40B4-BE49-F238E27FC236}">
                  <a16:creationId xmlns:a16="http://schemas.microsoft.com/office/drawing/2014/main" id="{F90A560F-AF27-77C9-3014-62FA751697BF}"/>
                </a:ext>
              </a:extLst>
            </p:cNvPr>
            <p:cNvSpPr/>
            <p:nvPr/>
          </p:nvSpPr>
          <p:spPr>
            <a:xfrm>
              <a:off x="4399864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1" name="object 771">
              <a:extLst>
                <a:ext uri="{FF2B5EF4-FFF2-40B4-BE49-F238E27FC236}">
                  <a16:creationId xmlns:a16="http://schemas.microsoft.com/office/drawing/2014/main" id="{A4A45817-3052-8F3A-AFCB-037E68D90067}"/>
                </a:ext>
              </a:extLst>
            </p:cNvPr>
            <p:cNvSpPr/>
            <p:nvPr/>
          </p:nvSpPr>
          <p:spPr>
            <a:xfrm>
              <a:off x="4294790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2" name="object 772">
              <a:extLst>
                <a:ext uri="{FF2B5EF4-FFF2-40B4-BE49-F238E27FC236}">
                  <a16:creationId xmlns:a16="http://schemas.microsoft.com/office/drawing/2014/main" id="{308056B1-C0AE-66BA-1E5F-BC92CF83591F}"/>
                </a:ext>
              </a:extLst>
            </p:cNvPr>
            <p:cNvSpPr/>
            <p:nvPr/>
          </p:nvSpPr>
          <p:spPr>
            <a:xfrm>
              <a:off x="4329885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3" name="object 773">
              <a:extLst>
                <a:ext uri="{FF2B5EF4-FFF2-40B4-BE49-F238E27FC236}">
                  <a16:creationId xmlns:a16="http://schemas.microsoft.com/office/drawing/2014/main" id="{8BC75435-5795-11A6-2882-590ABB367B5C}"/>
                </a:ext>
              </a:extLst>
            </p:cNvPr>
            <p:cNvSpPr/>
            <p:nvPr/>
          </p:nvSpPr>
          <p:spPr>
            <a:xfrm>
              <a:off x="4224747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4" name="object 774">
              <a:extLst>
                <a:ext uri="{FF2B5EF4-FFF2-40B4-BE49-F238E27FC236}">
                  <a16:creationId xmlns:a16="http://schemas.microsoft.com/office/drawing/2014/main" id="{21CFB984-7869-4F12-872B-C43E5EB26BCD}"/>
                </a:ext>
              </a:extLst>
            </p:cNvPr>
            <p:cNvSpPr/>
            <p:nvPr/>
          </p:nvSpPr>
          <p:spPr>
            <a:xfrm>
              <a:off x="4434876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5" name="object 775">
              <a:extLst>
                <a:ext uri="{FF2B5EF4-FFF2-40B4-BE49-F238E27FC236}">
                  <a16:creationId xmlns:a16="http://schemas.microsoft.com/office/drawing/2014/main" id="{2EA419BC-2BD2-A69B-EE80-D685F28A5CC9}"/>
                </a:ext>
              </a:extLst>
            </p:cNvPr>
            <p:cNvSpPr/>
            <p:nvPr/>
          </p:nvSpPr>
          <p:spPr>
            <a:xfrm>
              <a:off x="4259768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6" name="object 776">
              <a:extLst>
                <a:ext uri="{FF2B5EF4-FFF2-40B4-BE49-F238E27FC236}">
                  <a16:creationId xmlns:a16="http://schemas.microsoft.com/office/drawing/2014/main" id="{14A1A111-2264-064E-2435-171C1EA2B15B}"/>
                </a:ext>
              </a:extLst>
            </p:cNvPr>
            <p:cNvSpPr/>
            <p:nvPr/>
          </p:nvSpPr>
          <p:spPr>
            <a:xfrm>
              <a:off x="4539950" y="184778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7" name="object 777">
              <a:extLst>
                <a:ext uri="{FF2B5EF4-FFF2-40B4-BE49-F238E27FC236}">
                  <a16:creationId xmlns:a16="http://schemas.microsoft.com/office/drawing/2014/main" id="{A4CB601D-F450-2580-AFBF-EAC1FDC7DE98}"/>
                </a:ext>
              </a:extLst>
            </p:cNvPr>
            <p:cNvSpPr/>
            <p:nvPr/>
          </p:nvSpPr>
          <p:spPr>
            <a:xfrm>
              <a:off x="4364979" y="184778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8" name="object 778">
              <a:extLst>
                <a:ext uri="{FF2B5EF4-FFF2-40B4-BE49-F238E27FC236}">
                  <a16:creationId xmlns:a16="http://schemas.microsoft.com/office/drawing/2014/main" id="{3F0D4B64-7A20-3E2A-2AE3-4850AF1B874D}"/>
                </a:ext>
              </a:extLst>
            </p:cNvPr>
            <p:cNvSpPr/>
            <p:nvPr/>
          </p:nvSpPr>
          <p:spPr>
            <a:xfrm>
              <a:off x="4190000" y="184778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9" name="object 779">
              <a:extLst>
                <a:ext uri="{FF2B5EF4-FFF2-40B4-BE49-F238E27FC236}">
                  <a16:creationId xmlns:a16="http://schemas.microsoft.com/office/drawing/2014/main" id="{FA66866C-AA99-28F9-9DE9-0C7EE1B3491D}"/>
                </a:ext>
              </a:extLst>
            </p:cNvPr>
            <p:cNvSpPr/>
            <p:nvPr/>
          </p:nvSpPr>
          <p:spPr>
            <a:xfrm>
              <a:off x="4364979" y="184778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0" name="object 780">
              <a:extLst>
                <a:ext uri="{FF2B5EF4-FFF2-40B4-BE49-F238E27FC236}">
                  <a16:creationId xmlns:a16="http://schemas.microsoft.com/office/drawing/2014/main" id="{8D48EB81-605D-0386-A300-DE39593D080A}"/>
                </a:ext>
              </a:extLst>
            </p:cNvPr>
            <p:cNvSpPr/>
            <p:nvPr/>
          </p:nvSpPr>
          <p:spPr>
            <a:xfrm>
              <a:off x="4190000" y="187329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1" name="object 781">
              <a:extLst>
                <a:ext uri="{FF2B5EF4-FFF2-40B4-BE49-F238E27FC236}">
                  <a16:creationId xmlns:a16="http://schemas.microsoft.com/office/drawing/2014/main" id="{3505124D-1AB3-24D5-ED6D-A86D47D30ACB}"/>
                </a:ext>
              </a:extLst>
            </p:cNvPr>
            <p:cNvSpPr/>
            <p:nvPr/>
          </p:nvSpPr>
          <p:spPr>
            <a:xfrm>
              <a:off x="4190475" y="1920816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4"/>
                <a:gd name="f5" fmla="val 576307"/>
                <a:gd name="f6" fmla="val 84112"/>
                <a:gd name="f7" fmla="*/ f0 1 576579"/>
                <a:gd name="f8" fmla="*/ f1 1 84454"/>
                <a:gd name="f9" fmla="+- f4 0 f2"/>
                <a:gd name="f10" fmla="+- f3 0 f2"/>
                <a:gd name="f11" fmla="*/ f10 1 576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2" name="object 782">
              <a:extLst>
                <a:ext uri="{FF2B5EF4-FFF2-40B4-BE49-F238E27FC236}">
                  <a16:creationId xmlns:a16="http://schemas.microsoft.com/office/drawing/2014/main" id="{E7EA6201-2D6E-3103-3495-0F91BA6333F0}"/>
                </a:ext>
              </a:extLst>
            </p:cNvPr>
            <p:cNvSpPr/>
            <p:nvPr/>
          </p:nvSpPr>
          <p:spPr>
            <a:xfrm>
              <a:off x="4469907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3" name="object 783">
              <a:extLst>
                <a:ext uri="{FF2B5EF4-FFF2-40B4-BE49-F238E27FC236}">
                  <a16:creationId xmlns:a16="http://schemas.microsoft.com/office/drawing/2014/main" id="{BB7C858D-4AA6-348A-C7F6-38288A2EBDAC}"/>
                </a:ext>
              </a:extLst>
            </p:cNvPr>
            <p:cNvSpPr/>
            <p:nvPr/>
          </p:nvSpPr>
          <p:spPr>
            <a:xfrm>
              <a:off x="4504928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4" name="object 784">
              <a:extLst>
                <a:ext uri="{FF2B5EF4-FFF2-40B4-BE49-F238E27FC236}">
                  <a16:creationId xmlns:a16="http://schemas.microsoft.com/office/drawing/2014/main" id="{D8614C7B-402E-192A-3C2A-129E02D4F8E1}"/>
                </a:ext>
              </a:extLst>
            </p:cNvPr>
            <p:cNvSpPr/>
            <p:nvPr/>
          </p:nvSpPr>
          <p:spPr>
            <a:xfrm>
              <a:off x="4399864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5" name="object 785">
              <a:extLst>
                <a:ext uri="{FF2B5EF4-FFF2-40B4-BE49-F238E27FC236}">
                  <a16:creationId xmlns:a16="http://schemas.microsoft.com/office/drawing/2014/main" id="{17EFDF38-961C-733F-067E-DB48740CB392}"/>
                </a:ext>
              </a:extLst>
            </p:cNvPr>
            <p:cNvSpPr/>
            <p:nvPr/>
          </p:nvSpPr>
          <p:spPr>
            <a:xfrm>
              <a:off x="4294790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6" name="object 786">
              <a:extLst>
                <a:ext uri="{FF2B5EF4-FFF2-40B4-BE49-F238E27FC236}">
                  <a16:creationId xmlns:a16="http://schemas.microsoft.com/office/drawing/2014/main" id="{72EED28E-622C-F6A2-97D4-8D589A1FCCEC}"/>
                </a:ext>
              </a:extLst>
            </p:cNvPr>
            <p:cNvSpPr/>
            <p:nvPr/>
          </p:nvSpPr>
          <p:spPr>
            <a:xfrm>
              <a:off x="4329885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7" name="object 787">
              <a:extLst>
                <a:ext uri="{FF2B5EF4-FFF2-40B4-BE49-F238E27FC236}">
                  <a16:creationId xmlns:a16="http://schemas.microsoft.com/office/drawing/2014/main" id="{D5ADE4CC-04D7-646F-7E3D-4F1232F0403D}"/>
                </a:ext>
              </a:extLst>
            </p:cNvPr>
            <p:cNvSpPr/>
            <p:nvPr/>
          </p:nvSpPr>
          <p:spPr>
            <a:xfrm>
              <a:off x="4224747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8" name="object 788">
              <a:extLst>
                <a:ext uri="{FF2B5EF4-FFF2-40B4-BE49-F238E27FC236}">
                  <a16:creationId xmlns:a16="http://schemas.microsoft.com/office/drawing/2014/main" id="{E4892AB5-1531-2335-0516-4E19264B90C4}"/>
                </a:ext>
              </a:extLst>
            </p:cNvPr>
            <p:cNvSpPr/>
            <p:nvPr/>
          </p:nvSpPr>
          <p:spPr>
            <a:xfrm>
              <a:off x="4434876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9" name="object 789">
              <a:extLst>
                <a:ext uri="{FF2B5EF4-FFF2-40B4-BE49-F238E27FC236}">
                  <a16:creationId xmlns:a16="http://schemas.microsoft.com/office/drawing/2014/main" id="{2581060E-56C7-9B84-C491-832C8755BC08}"/>
                </a:ext>
              </a:extLst>
            </p:cNvPr>
            <p:cNvSpPr/>
            <p:nvPr/>
          </p:nvSpPr>
          <p:spPr>
            <a:xfrm>
              <a:off x="4259768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0" name="object 790">
              <a:extLst>
                <a:ext uri="{FF2B5EF4-FFF2-40B4-BE49-F238E27FC236}">
                  <a16:creationId xmlns:a16="http://schemas.microsoft.com/office/drawing/2014/main" id="{3C28C1F7-F4B2-C870-A5B2-69E559B196D8}"/>
                </a:ext>
              </a:extLst>
            </p:cNvPr>
            <p:cNvSpPr/>
            <p:nvPr/>
          </p:nvSpPr>
          <p:spPr>
            <a:xfrm>
              <a:off x="4539950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1" name="object 791">
              <a:extLst>
                <a:ext uri="{FF2B5EF4-FFF2-40B4-BE49-F238E27FC236}">
                  <a16:creationId xmlns:a16="http://schemas.microsoft.com/office/drawing/2014/main" id="{8D81C6F2-5A8B-4108-44B5-7BDB196AF2A5}"/>
                </a:ext>
              </a:extLst>
            </p:cNvPr>
            <p:cNvSpPr/>
            <p:nvPr/>
          </p:nvSpPr>
          <p:spPr>
            <a:xfrm>
              <a:off x="4364979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2" name="object 792">
              <a:extLst>
                <a:ext uri="{FF2B5EF4-FFF2-40B4-BE49-F238E27FC236}">
                  <a16:creationId xmlns:a16="http://schemas.microsoft.com/office/drawing/2014/main" id="{695F93BE-CAF5-52FE-E54D-96CAFF0040D8}"/>
                </a:ext>
              </a:extLst>
            </p:cNvPr>
            <p:cNvSpPr/>
            <p:nvPr/>
          </p:nvSpPr>
          <p:spPr>
            <a:xfrm>
              <a:off x="4190000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3" name="object 793">
              <a:extLst>
                <a:ext uri="{FF2B5EF4-FFF2-40B4-BE49-F238E27FC236}">
                  <a16:creationId xmlns:a16="http://schemas.microsoft.com/office/drawing/2014/main" id="{C32D32A1-2A05-A552-7A5A-CF0953A0A020}"/>
                </a:ext>
              </a:extLst>
            </p:cNvPr>
            <p:cNvSpPr/>
            <p:nvPr/>
          </p:nvSpPr>
          <p:spPr>
            <a:xfrm>
              <a:off x="4364979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4" name="object 794">
              <a:extLst>
                <a:ext uri="{FF2B5EF4-FFF2-40B4-BE49-F238E27FC236}">
                  <a16:creationId xmlns:a16="http://schemas.microsoft.com/office/drawing/2014/main" id="{A713EAAE-843F-A99A-7162-2AD95A99E716}"/>
                </a:ext>
              </a:extLst>
            </p:cNvPr>
            <p:cNvSpPr/>
            <p:nvPr/>
          </p:nvSpPr>
          <p:spPr>
            <a:xfrm>
              <a:off x="4190000" y="194630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5" name="object 795">
              <a:extLst>
                <a:ext uri="{FF2B5EF4-FFF2-40B4-BE49-F238E27FC236}">
                  <a16:creationId xmlns:a16="http://schemas.microsoft.com/office/drawing/2014/main" id="{45DC91E4-D007-0ECD-CD96-A4A250C6ADFC}"/>
                </a:ext>
              </a:extLst>
            </p:cNvPr>
            <p:cNvSpPr/>
            <p:nvPr/>
          </p:nvSpPr>
          <p:spPr>
            <a:xfrm>
              <a:off x="4190000" y="4145770"/>
              <a:ext cx="26569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8150"/>
                <a:gd name="f4" fmla="val 84454"/>
                <a:gd name="f5" fmla="val 437724"/>
                <a:gd name="f6" fmla="val 84133"/>
                <a:gd name="f7" fmla="*/ f0 1 438150"/>
                <a:gd name="f8" fmla="*/ f1 1 84454"/>
                <a:gd name="f9" fmla="+- f4 0 f2"/>
                <a:gd name="f10" fmla="+- f3 0 f2"/>
                <a:gd name="f11" fmla="*/ f10 1 4381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81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6" name="object 796">
              <a:extLst>
                <a:ext uri="{FF2B5EF4-FFF2-40B4-BE49-F238E27FC236}">
                  <a16:creationId xmlns:a16="http://schemas.microsoft.com/office/drawing/2014/main" id="{E4074F51-2ED2-2246-BD5B-2AC13ADA5595}"/>
                </a:ext>
              </a:extLst>
            </p:cNvPr>
            <p:cNvSpPr/>
            <p:nvPr/>
          </p:nvSpPr>
          <p:spPr>
            <a:xfrm>
              <a:off x="4469907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7" name="object 797">
              <a:extLst>
                <a:ext uri="{FF2B5EF4-FFF2-40B4-BE49-F238E27FC236}">
                  <a16:creationId xmlns:a16="http://schemas.microsoft.com/office/drawing/2014/main" id="{C4F2CB19-6FAD-04A6-81B2-817AB1297A5E}"/>
                </a:ext>
              </a:extLst>
            </p:cNvPr>
            <p:cNvSpPr/>
            <p:nvPr/>
          </p:nvSpPr>
          <p:spPr>
            <a:xfrm>
              <a:off x="4504928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8" name="object 798">
              <a:extLst>
                <a:ext uri="{FF2B5EF4-FFF2-40B4-BE49-F238E27FC236}">
                  <a16:creationId xmlns:a16="http://schemas.microsoft.com/office/drawing/2014/main" id="{F79BCCC2-5DE7-5D47-6FCC-792F6483C0F3}"/>
                </a:ext>
              </a:extLst>
            </p:cNvPr>
            <p:cNvSpPr/>
            <p:nvPr/>
          </p:nvSpPr>
          <p:spPr>
            <a:xfrm>
              <a:off x="4399864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9" name="object 799">
              <a:extLst>
                <a:ext uri="{FF2B5EF4-FFF2-40B4-BE49-F238E27FC236}">
                  <a16:creationId xmlns:a16="http://schemas.microsoft.com/office/drawing/2014/main" id="{61E40E68-873E-6373-7594-9418BBFE596A}"/>
                </a:ext>
              </a:extLst>
            </p:cNvPr>
            <p:cNvSpPr/>
            <p:nvPr/>
          </p:nvSpPr>
          <p:spPr>
            <a:xfrm>
              <a:off x="4294790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0" name="object 800">
              <a:extLst>
                <a:ext uri="{FF2B5EF4-FFF2-40B4-BE49-F238E27FC236}">
                  <a16:creationId xmlns:a16="http://schemas.microsoft.com/office/drawing/2014/main" id="{2E26BA30-7AE2-87A6-3A73-4352B7B534BD}"/>
                </a:ext>
              </a:extLst>
            </p:cNvPr>
            <p:cNvSpPr/>
            <p:nvPr/>
          </p:nvSpPr>
          <p:spPr>
            <a:xfrm>
              <a:off x="4329885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1" name="object 801">
              <a:extLst>
                <a:ext uri="{FF2B5EF4-FFF2-40B4-BE49-F238E27FC236}">
                  <a16:creationId xmlns:a16="http://schemas.microsoft.com/office/drawing/2014/main" id="{8DA3AE1E-5AC3-ADA1-25E3-8A7570755FFC}"/>
                </a:ext>
              </a:extLst>
            </p:cNvPr>
            <p:cNvSpPr/>
            <p:nvPr/>
          </p:nvSpPr>
          <p:spPr>
            <a:xfrm>
              <a:off x="4224747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2" name="object 802">
              <a:extLst>
                <a:ext uri="{FF2B5EF4-FFF2-40B4-BE49-F238E27FC236}">
                  <a16:creationId xmlns:a16="http://schemas.microsoft.com/office/drawing/2014/main" id="{819298EE-5E65-8A2F-0774-758AC478892D}"/>
                </a:ext>
              </a:extLst>
            </p:cNvPr>
            <p:cNvSpPr/>
            <p:nvPr/>
          </p:nvSpPr>
          <p:spPr>
            <a:xfrm>
              <a:off x="4434876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3" name="object 803">
              <a:extLst>
                <a:ext uri="{FF2B5EF4-FFF2-40B4-BE49-F238E27FC236}">
                  <a16:creationId xmlns:a16="http://schemas.microsoft.com/office/drawing/2014/main" id="{A217E76C-4F74-6DB9-DADA-543432551F3C}"/>
                </a:ext>
              </a:extLst>
            </p:cNvPr>
            <p:cNvSpPr/>
            <p:nvPr/>
          </p:nvSpPr>
          <p:spPr>
            <a:xfrm>
              <a:off x="4259768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4" name="object 804">
              <a:extLst>
                <a:ext uri="{FF2B5EF4-FFF2-40B4-BE49-F238E27FC236}">
                  <a16:creationId xmlns:a16="http://schemas.microsoft.com/office/drawing/2014/main" id="{2F016B46-C4F1-4573-BB6D-924D9967D392}"/>
                </a:ext>
              </a:extLst>
            </p:cNvPr>
            <p:cNvSpPr/>
            <p:nvPr/>
          </p:nvSpPr>
          <p:spPr>
            <a:xfrm>
              <a:off x="4539950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5" name="object 805">
              <a:extLst>
                <a:ext uri="{FF2B5EF4-FFF2-40B4-BE49-F238E27FC236}">
                  <a16:creationId xmlns:a16="http://schemas.microsoft.com/office/drawing/2014/main" id="{E4AE8C81-2B7A-252D-A649-D22E55AB9498}"/>
                </a:ext>
              </a:extLst>
            </p:cNvPr>
            <p:cNvSpPr/>
            <p:nvPr/>
          </p:nvSpPr>
          <p:spPr>
            <a:xfrm>
              <a:off x="4364979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6" name="object 806">
              <a:extLst>
                <a:ext uri="{FF2B5EF4-FFF2-40B4-BE49-F238E27FC236}">
                  <a16:creationId xmlns:a16="http://schemas.microsoft.com/office/drawing/2014/main" id="{E0921F03-C23F-0797-27E1-E62F3F934BCB}"/>
                </a:ext>
              </a:extLst>
            </p:cNvPr>
            <p:cNvSpPr/>
            <p:nvPr/>
          </p:nvSpPr>
          <p:spPr>
            <a:xfrm>
              <a:off x="4190000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7" name="object 807">
              <a:extLst>
                <a:ext uri="{FF2B5EF4-FFF2-40B4-BE49-F238E27FC236}">
                  <a16:creationId xmlns:a16="http://schemas.microsoft.com/office/drawing/2014/main" id="{DABC4A54-EC7B-272F-2E90-C1588A329F14}"/>
                </a:ext>
              </a:extLst>
            </p:cNvPr>
            <p:cNvSpPr/>
            <p:nvPr/>
          </p:nvSpPr>
          <p:spPr>
            <a:xfrm>
              <a:off x="4364979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8" name="object 808">
              <a:extLst>
                <a:ext uri="{FF2B5EF4-FFF2-40B4-BE49-F238E27FC236}">
                  <a16:creationId xmlns:a16="http://schemas.microsoft.com/office/drawing/2014/main" id="{13DB2BBF-1CCD-8224-DEEF-A5566E74E102}"/>
                </a:ext>
              </a:extLst>
            </p:cNvPr>
            <p:cNvSpPr/>
            <p:nvPr/>
          </p:nvSpPr>
          <p:spPr>
            <a:xfrm>
              <a:off x="4190000" y="41712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9" name="object 809">
              <a:extLst>
                <a:ext uri="{FF2B5EF4-FFF2-40B4-BE49-F238E27FC236}">
                  <a16:creationId xmlns:a16="http://schemas.microsoft.com/office/drawing/2014/main" id="{1AB11B86-373D-2055-AEA1-DD3992D64329}"/>
                </a:ext>
              </a:extLst>
            </p:cNvPr>
            <p:cNvSpPr/>
            <p:nvPr/>
          </p:nvSpPr>
          <p:spPr>
            <a:xfrm>
              <a:off x="4469907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0" name="object 810">
              <a:extLst>
                <a:ext uri="{FF2B5EF4-FFF2-40B4-BE49-F238E27FC236}">
                  <a16:creationId xmlns:a16="http://schemas.microsoft.com/office/drawing/2014/main" id="{C78DB4A0-A124-F02B-6D00-DDF6F816FD27}"/>
                </a:ext>
              </a:extLst>
            </p:cNvPr>
            <p:cNvSpPr/>
            <p:nvPr/>
          </p:nvSpPr>
          <p:spPr>
            <a:xfrm>
              <a:off x="4504928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1" name="object 811">
              <a:extLst>
                <a:ext uri="{FF2B5EF4-FFF2-40B4-BE49-F238E27FC236}">
                  <a16:creationId xmlns:a16="http://schemas.microsoft.com/office/drawing/2014/main" id="{A6D5A83A-2F76-C984-6959-A9DE580A6E3B}"/>
                </a:ext>
              </a:extLst>
            </p:cNvPr>
            <p:cNvSpPr/>
            <p:nvPr/>
          </p:nvSpPr>
          <p:spPr>
            <a:xfrm>
              <a:off x="4399864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2" name="object 812">
              <a:extLst>
                <a:ext uri="{FF2B5EF4-FFF2-40B4-BE49-F238E27FC236}">
                  <a16:creationId xmlns:a16="http://schemas.microsoft.com/office/drawing/2014/main" id="{2030BD2B-D2A3-B39C-973A-AE66DB5ECB67}"/>
                </a:ext>
              </a:extLst>
            </p:cNvPr>
            <p:cNvSpPr/>
            <p:nvPr/>
          </p:nvSpPr>
          <p:spPr>
            <a:xfrm>
              <a:off x="4294790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3" name="object 813">
              <a:extLst>
                <a:ext uri="{FF2B5EF4-FFF2-40B4-BE49-F238E27FC236}">
                  <a16:creationId xmlns:a16="http://schemas.microsoft.com/office/drawing/2014/main" id="{EC27761C-3F74-1C35-7DFA-C09C38CBF31E}"/>
                </a:ext>
              </a:extLst>
            </p:cNvPr>
            <p:cNvSpPr/>
            <p:nvPr/>
          </p:nvSpPr>
          <p:spPr>
            <a:xfrm>
              <a:off x="4329885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4" name="object 814">
              <a:extLst>
                <a:ext uri="{FF2B5EF4-FFF2-40B4-BE49-F238E27FC236}">
                  <a16:creationId xmlns:a16="http://schemas.microsoft.com/office/drawing/2014/main" id="{1191B8A5-6C9D-B4CC-D1DA-2ED196216C00}"/>
                </a:ext>
              </a:extLst>
            </p:cNvPr>
            <p:cNvSpPr/>
            <p:nvPr/>
          </p:nvSpPr>
          <p:spPr>
            <a:xfrm>
              <a:off x="4224747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5" name="object 815">
              <a:extLst>
                <a:ext uri="{FF2B5EF4-FFF2-40B4-BE49-F238E27FC236}">
                  <a16:creationId xmlns:a16="http://schemas.microsoft.com/office/drawing/2014/main" id="{9A3605F1-2033-983F-D572-6E2F9DD70BD0}"/>
                </a:ext>
              </a:extLst>
            </p:cNvPr>
            <p:cNvSpPr/>
            <p:nvPr/>
          </p:nvSpPr>
          <p:spPr>
            <a:xfrm>
              <a:off x="4434876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6" name="object 816">
              <a:extLst>
                <a:ext uri="{FF2B5EF4-FFF2-40B4-BE49-F238E27FC236}">
                  <a16:creationId xmlns:a16="http://schemas.microsoft.com/office/drawing/2014/main" id="{3DE1C9C3-E4D0-F044-DDD2-3D8315400EB5}"/>
                </a:ext>
              </a:extLst>
            </p:cNvPr>
            <p:cNvSpPr/>
            <p:nvPr/>
          </p:nvSpPr>
          <p:spPr>
            <a:xfrm>
              <a:off x="4259768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7" name="object 817">
              <a:extLst>
                <a:ext uri="{FF2B5EF4-FFF2-40B4-BE49-F238E27FC236}">
                  <a16:creationId xmlns:a16="http://schemas.microsoft.com/office/drawing/2014/main" id="{7C85338E-286D-A222-ED8C-0C3E3B9B6F9C}"/>
                </a:ext>
              </a:extLst>
            </p:cNvPr>
            <p:cNvSpPr/>
            <p:nvPr/>
          </p:nvSpPr>
          <p:spPr>
            <a:xfrm>
              <a:off x="4539950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8" name="object 818">
              <a:extLst>
                <a:ext uri="{FF2B5EF4-FFF2-40B4-BE49-F238E27FC236}">
                  <a16:creationId xmlns:a16="http://schemas.microsoft.com/office/drawing/2014/main" id="{56CF6666-B500-7DF1-EC56-3098CB5B1582}"/>
                </a:ext>
              </a:extLst>
            </p:cNvPr>
            <p:cNvSpPr/>
            <p:nvPr/>
          </p:nvSpPr>
          <p:spPr>
            <a:xfrm>
              <a:off x="4364979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9" name="object 819">
              <a:extLst>
                <a:ext uri="{FF2B5EF4-FFF2-40B4-BE49-F238E27FC236}">
                  <a16:creationId xmlns:a16="http://schemas.microsoft.com/office/drawing/2014/main" id="{F236FF83-8DF8-5589-5FAD-E1D4EA3B12E2}"/>
                </a:ext>
              </a:extLst>
            </p:cNvPr>
            <p:cNvSpPr/>
            <p:nvPr/>
          </p:nvSpPr>
          <p:spPr>
            <a:xfrm>
              <a:off x="4190000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0" name="object 820">
              <a:extLst>
                <a:ext uri="{FF2B5EF4-FFF2-40B4-BE49-F238E27FC236}">
                  <a16:creationId xmlns:a16="http://schemas.microsoft.com/office/drawing/2014/main" id="{B947757A-BFAB-5290-C564-5979BD09A7A0}"/>
                </a:ext>
              </a:extLst>
            </p:cNvPr>
            <p:cNvSpPr/>
            <p:nvPr/>
          </p:nvSpPr>
          <p:spPr>
            <a:xfrm>
              <a:off x="4364979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1" name="object 821">
              <a:extLst>
                <a:ext uri="{FF2B5EF4-FFF2-40B4-BE49-F238E27FC236}">
                  <a16:creationId xmlns:a16="http://schemas.microsoft.com/office/drawing/2014/main" id="{A9A76739-5D2A-B8EE-AEC4-FDEB6EFCA876}"/>
                </a:ext>
              </a:extLst>
            </p:cNvPr>
            <p:cNvSpPr/>
            <p:nvPr/>
          </p:nvSpPr>
          <p:spPr>
            <a:xfrm>
              <a:off x="4190000" y="424429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2" name="object 822">
              <a:extLst>
                <a:ext uri="{FF2B5EF4-FFF2-40B4-BE49-F238E27FC236}">
                  <a16:creationId xmlns:a16="http://schemas.microsoft.com/office/drawing/2014/main" id="{7B8D0B7F-42CA-D62D-FE42-A786C0BB5A72}"/>
                </a:ext>
              </a:extLst>
            </p:cNvPr>
            <p:cNvSpPr/>
            <p:nvPr/>
          </p:nvSpPr>
          <p:spPr>
            <a:xfrm>
              <a:off x="4190000" y="2612559"/>
              <a:ext cx="16403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70509"/>
                <a:gd name="f4" fmla="val 84454"/>
                <a:gd name="f5" fmla="val 270494"/>
                <a:gd name="f6" fmla="val 84112"/>
                <a:gd name="f7" fmla="*/ f0 1 270509"/>
                <a:gd name="f8" fmla="*/ f1 1 84454"/>
                <a:gd name="f9" fmla="+- f4 0 f2"/>
                <a:gd name="f10" fmla="+- f3 0 f2"/>
                <a:gd name="f11" fmla="*/ f10 1 2705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705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3" name="object 823">
              <a:extLst>
                <a:ext uri="{FF2B5EF4-FFF2-40B4-BE49-F238E27FC236}">
                  <a16:creationId xmlns:a16="http://schemas.microsoft.com/office/drawing/2014/main" id="{CBD52975-7CA6-DE1D-5DB7-506A20AF8040}"/>
                </a:ext>
              </a:extLst>
            </p:cNvPr>
            <p:cNvSpPr/>
            <p:nvPr/>
          </p:nvSpPr>
          <p:spPr>
            <a:xfrm>
              <a:off x="4469907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4" name="object 824">
              <a:extLst>
                <a:ext uri="{FF2B5EF4-FFF2-40B4-BE49-F238E27FC236}">
                  <a16:creationId xmlns:a16="http://schemas.microsoft.com/office/drawing/2014/main" id="{598E77CD-433F-A639-9CB4-E37FB072D9D7}"/>
                </a:ext>
              </a:extLst>
            </p:cNvPr>
            <p:cNvSpPr/>
            <p:nvPr/>
          </p:nvSpPr>
          <p:spPr>
            <a:xfrm>
              <a:off x="4504928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5" name="object 825">
              <a:extLst>
                <a:ext uri="{FF2B5EF4-FFF2-40B4-BE49-F238E27FC236}">
                  <a16:creationId xmlns:a16="http://schemas.microsoft.com/office/drawing/2014/main" id="{9DE73707-2E3F-46E9-D0F8-048FDB6B3DCA}"/>
                </a:ext>
              </a:extLst>
            </p:cNvPr>
            <p:cNvSpPr/>
            <p:nvPr/>
          </p:nvSpPr>
          <p:spPr>
            <a:xfrm>
              <a:off x="4399864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6" name="object 826">
              <a:extLst>
                <a:ext uri="{FF2B5EF4-FFF2-40B4-BE49-F238E27FC236}">
                  <a16:creationId xmlns:a16="http://schemas.microsoft.com/office/drawing/2014/main" id="{EB4E3BBC-0371-906C-5B55-EA69A847EAB3}"/>
                </a:ext>
              </a:extLst>
            </p:cNvPr>
            <p:cNvSpPr/>
            <p:nvPr/>
          </p:nvSpPr>
          <p:spPr>
            <a:xfrm>
              <a:off x="4294790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7" name="object 827">
              <a:extLst>
                <a:ext uri="{FF2B5EF4-FFF2-40B4-BE49-F238E27FC236}">
                  <a16:creationId xmlns:a16="http://schemas.microsoft.com/office/drawing/2014/main" id="{687D2504-8CC7-B145-AD27-6CF3A4243E86}"/>
                </a:ext>
              </a:extLst>
            </p:cNvPr>
            <p:cNvSpPr/>
            <p:nvPr/>
          </p:nvSpPr>
          <p:spPr>
            <a:xfrm>
              <a:off x="4329885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8" name="object 828">
              <a:extLst>
                <a:ext uri="{FF2B5EF4-FFF2-40B4-BE49-F238E27FC236}">
                  <a16:creationId xmlns:a16="http://schemas.microsoft.com/office/drawing/2014/main" id="{63D25386-1C53-72F7-6CFF-CF1B195C44F6}"/>
                </a:ext>
              </a:extLst>
            </p:cNvPr>
            <p:cNvSpPr/>
            <p:nvPr/>
          </p:nvSpPr>
          <p:spPr>
            <a:xfrm>
              <a:off x="4224747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9" name="object 829">
              <a:extLst>
                <a:ext uri="{FF2B5EF4-FFF2-40B4-BE49-F238E27FC236}">
                  <a16:creationId xmlns:a16="http://schemas.microsoft.com/office/drawing/2014/main" id="{8CCCF90B-F523-CBE1-8649-C340AF8F4D7B}"/>
                </a:ext>
              </a:extLst>
            </p:cNvPr>
            <p:cNvSpPr/>
            <p:nvPr/>
          </p:nvSpPr>
          <p:spPr>
            <a:xfrm>
              <a:off x="4434876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0" name="object 830">
              <a:extLst>
                <a:ext uri="{FF2B5EF4-FFF2-40B4-BE49-F238E27FC236}">
                  <a16:creationId xmlns:a16="http://schemas.microsoft.com/office/drawing/2014/main" id="{67B053C2-E354-9241-8380-D099FB84516E}"/>
                </a:ext>
              </a:extLst>
            </p:cNvPr>
            <p:cNvSpPr/>
            <p:nvPr/>
          </p:nvSpPr>
          <p:spPr>
            <a:xfrm>
              <a:off x="4259768" y="26253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1" name="object 831">
              <a:extLst>
                <a:ext uri="{FF2B5EF4-FFF2-40B4-BE49-F238E27FC236}">
                  <a16:creationId xmlns:a16="http://schemas.microsoft.com/office/drawing/2014/main" id="{45F8DBB4-8CA2-7080-4F8C-C2F7C8A749A0}"/>
                </a:ext>
              </a:extLst>
            </p:cNvPr>
            <p:cNvSpPr/>
            <p:nvPr/>
          </p:nvSpPr>
          <p:spPr>
            <a:xfrm>
              <a:off x="4539950" y="261255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2" name="object 832">
              <a:extLst>
                <a:ext uri="{FF2B5EF4-FFF2-40B4-BE49-F238E27FC236}">
                  <a16:creationId xmlns:a16="http://schemas.microsoft.com/office/drawing/2014/main" id="{DB388E4D-778F-D3DE-F936-1414B64585AC}"/>
                </a:ext>
              </a:extLst>
            </p:cNvPr>
            <p:cNvSpPr/>
            <p:nvPr/>
          </p:nvSpPr>
          <p:spPr>
            <a:xfrm>
              <a:off x="4364979" y="261255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3" name="object 833">
              <a:extLst>
                <a:ext uri="{FF2B5EF4-FFF2-40B4-BE49-F238E27FC236}">
                  <a16:creationId xmlns:a16="http://schemas.microsoft.com/office/drawing/2014/main" id="{712A4499-D1D5-458C-2691-6FB7D39E9968}"/>
                </a:ext>
              </a:extLst>
            </p:cNvPr>
            <p:cNvSpPr/>
            <p:nvPr/>
          </p:nvSpPr>
          <p:spPr>
            <a:xfrm>
              <a:off x="4190000" y="261255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4" name="object 834">
              <a:extLst>
                <a:ext uri="{FF2B5EF4-FFF2-40B4-BE49-F238E27FC236}">
                  <a16:creationId xmlns:a16="http://schemas.microsoft.com/office/drawing/2014/main" id="{7A06EDC2-89BA-C4F9-0887-07F68786F823}"/>
                </a:ext>
              </a:extLst>
            </p:cNvPr>
            <p:cNvSpPr/>
            <p:nvPr/>
          </p:nvSpPr>
          <p:spPr>
            <a:xfrm>
              <a:off x="4364979" y="261255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5" name="object 835">
              <a:extLst>
                <a:ext uri="{FF2B5EF4-FFF2-40B4-BE49-F238E27FC236}">
                  <a16:creationId xmlns:a16="http://schemas.microsoft.com/office/drawing/2014/main" id="{4C099D02-7284-5C55-5234-719FDF7BE70B}"/>
                </a:ext>
              </a:extLst>
            </p:cNvPr>
            <p:cNvSpPr/>
            <p:nvPr/>
          </p:nvSpPr>
          <p:spPr>
            <a:xfrm>
              <a:off x="4190000" y="263806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6" name="object 836">
              <a:extLst>
                <a:ext uri="{FF2B5EF4-FFF2-40B4-BE49-F238E27FC236}">
                  <a16:creationId xmlns:a16="http://schemas.microsoft.com/office/drawing/2014/main" id="{2E7570EF-0EA9-BE8E-65A8-8CAE2106EA63}"/>
                </a:ext>
              </a:extLst>
            </p:cNvPr>
            <p:cNvSpPr/>
            <p:nvPr/>
          </p:nvSpPr>
          <p:spPr>
            <a:xfrm>
              <a:off x="4469907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7" name="object 837">
              <a:extLst>
                <a:ext uri="{FF2B5EF4-FFF2-40B4-BE49-F238E27FC236}">
                  <a16:creationId xmlns:a16="http://schemas.microsoft.com/office/drawing/2014/main" id="{87866019-C679-F47E-96BA-A771DE73583F}"/>
                </a:ext>
              </a:extLst>
            </p:cNvPr>
            <p:cNvSpPr/>
            <p:nvPr/>
          </p:nvSpPr>
          <p:spPr>
            <a:xfrm>
              <a:off x="4504928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8" name="object 838">
              <a:extLst>
                <a:ext uri="{FF2B5EF4-FFF2-40B4-BE49-F238E27FC236}">
                  <a16:creationId xmlns:a16="http://schemas.microsoft.com/office/drawing/2014/main" id="{30C5C326-5743-CDDD-AF0B-322942BA1347}"/>
                </a:ext>
              </a:extLst>
            </p:cNvPr>
            <p:cNvSpPr/>
            <p:nvPr/>
          </p:nvSpPr>
          <p:spPr>
            <a:xfrm>
              <a:off x="4399864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9" name="object 839">
              <a:extLst>
                <a:ext uri="{FF2B5EF4-FFF2-40B4-BE49-F238E27FC236}">
                  <a16:creationId xmlns:a16="http://schemas.microsoft.com/office/drawing/2014/main" id="{1A7731EA-5DB5-217A-B23D-254EBED73A0E}"/>
                </a:ext>
              </a:extLst>
            </p:cNvPr>
            <p:cNvSpPr/>
            <p:nvPr/>
          </p:nvSpPr>
          <p:spPr>
            <a:xfrm>
              <a:off x="4294790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0" name="object 840">
              <a:extLst>
                <a:ext uri="{FF2B5EF4-FFF2-40B4-BE49-F238E27FC236}">
                  <a16:creationId xmlns:a16="http://schemas.microsoft.com/office/drawing/2014/main" id="{E22196E0-78F8-36C6-0A02-F6D1661E3774}"/>
                </a:ext>
              </a:extLst>
            </p:cNvPr>
            <p:cNvSpPr/>
            <p:nvPr/>
          </p:nvSpPr>
          <p:spPr>
            <a:xfrm>
              <a:off x="4329885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1" name="object 841">
              <a:extLst>
                <a:ext uri="{FF2B5EF4-FFF2-40B4-BE49-F238E27FC236}">
                  <a16:creationId xmlns:a16="http://schemas.microsoft.com/office/drawing/2014/main" id="{C699AF28-C799-F613-3AC4-C325513FAC85}"/>
                </a:ext>
              </a:extLst>
            </p:cNvPr>
            <p:cNvSpPr/>
            <p:nvPr/>
          </p:nvSpPr>
          <p:spPr>
            <a:xfrm>
              <a:off x="4224747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2" name="object 842">
              <a:extLst>
                <a:ext uri="{FF2B5EF4-FFF2-40B4-BE49-F238E27FC236}">
                  <a16:creationId xmlns:a16="http://schemas.microsoft.com/office/drawing/2014/main" id="{611C80F0-31CF-55DB-3662-75003D5E5F58}"/>
                </a:ext>
              </a:extLst>
            </p:cNvPr>
            <p:cNvSpPr/>
            <p:nvPr/>
          </p:nvSpPr>
          <p:spPr>
            <a:xfrm>
              <a:off x="4434876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3" name="object 843">
              <a:extLst>
                <a:ext uri="{FF2B5EF4-FFF2-40B4-BE49-F238E27FC236}">
                  <a16:creationId xmlns:a16="http://schemas.microsoft.com/office/drawing/2014/main" id="{369EB9B4-ED60-6F79-7956-381DDD0124A8}"/>
                </a:ext>
              </a:extLst>
            </p:cNvPr>
            <p:cNvSpPr/>
            <p:nvPr/>
          </p:nvSpPr>
          <p:spPr>
            <a:xfrm>
              <a:off x="4259768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4" name="object 844">
              <a:extLst>
                <a:ext uri="{FF2B5EF4-FFF2-40B4-BE49-F238E27FC236}">
                  <a16:creationId xmlns:a16="http://schemas.microsoft.com/office/drawing/2014/main" id="{46A318AF-ED3A-A1F2-D943-083C7DB2874D}"/>
                </a:ext>
              </a:extLst>
            </p:cNvPr>
            <p:cNvSpPr/>
            <p:nvPr/>
          </p:nvSpPr>
          <p:spPr>
            <a:xfrm>
              <a:off x="4539950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5" name="object 845">
              <a:extLst>
                <a:ext uri="{FF2B5EF4-FFF2-40B4-BE49-F238E27FC236}">
                  <a16:creationId xmlns:a16="http://schemas.microsoft.com/office/drawing/2014/main" id="{72136E2A-050F-DCCE-E639-A2812CC2D9AE}"/>
                </a:ext>
              </a:extLst>
            </p:cNvPr>
            <p:cNvSpPr/>
            <p:nvPr/>
          </p:nvSpPr>
          <p:spPr>
            <a:xfrm>
              <a:off x="4364979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6" name="object 846">
              <a:extLst>
                <a:ext uri="{FF2B5EF4-FFF2-40B4-BE49-F238E27FC236}">
                  <a16:creationId xmlns:a16="http://schemas.microsoft.com/office/drawing/2014/main" id="{C59B62DF-4DEC-0F4D-D066-5B1534D25F62}"/>
                </a:ext>
              </a:extLst>
            </p:cNvPr>
            <p:cNvSpPr/>
            <p:nvPr/>
          </p:nvSpPr>
          <p:spPr>
            <a:xfrm>
              <a:off x="4190000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7" name="object 847">
              <a:extLst>
                <a:ext uri="{FF2B5EF4-FFF2-40B4-BE49-F238E27FC236}">
                  <a16:creationId xmlns:a16="http://schemas.microsoft.com/office/drawing/2014/main" id="{BB3EE3D7-B13F-923A-214C-C603C11E54E8}"/>
                </a:ext>
              </a:extLst>
            </p:cNvPr>
            <p:cNvSpPr/>
            <p:nvPr/>
          </p:nvSpPr>
          <p:spPr>
            <a:xfrm>
              <a:off x="4364979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8" name="object 848">
              <a:extLst>
                <a:ext uri="{FF2B5EF4-FFF2-40B4-BE49-F238E27FC236}">
                  <a16:creationId xmlns:a16="http://schemas.microsoft.com/office/drawing/2014/main" id="{15CB41E1-E4E4-AD66-9893-FF05CD3FBC86}"/>
                </a:ext>
              </a:extLst>
            </p:cNvPr>
            <p:cNvSpPr/>
            <p:nvPr/>
          </p:nvSpPr>
          <p:spPr>
            <a:xfrm>
              <a:off x="4190000" y="271108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9" name="object 849">
              <a:extLst>
                <a:ext uri="{FF2B5EF4-FFF2-40B4-BE49-F238E27FC236}">
                  <a16:creationId xmlns:a16="http://schemas.microsoft.com/office/drawing/2014/main" id="{E966635A-D81F-07F5-B96A-7A42CDB81DED}"/>
                </a:ext>
              </a:extLst>
            </p:cNvPr>
            <p:cNvSpPr/>
            <p:nvPr/>
          </p:nvSpPr>
          <p:spPr>
            <a:xfrm>
              <a:off x="4190000" y="3376623"/>
              <a:ext cx="6546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7950"/>
                <a:gd name="f4" fmla="val 84454"/>
                <a:gd name="f5" fmla="val 107892"/>
                <a:gd name="f6" fmla="val 84112"/>
                <a:gd name="f7" fmla="*/ f0 1 107950"/>
                <a:gd name="f8" fmla="*/ f1 1 84454"/>
                <a:gd name="f9" fmla="+- f4 0 f2"/>
                <a:gd name="f10" fmla="+- f3 0 f2"/>
                <a:gd name="f11" fmla="*/ f10 1 1079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79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0" name="object 850">
              <a:extLst>
                <a:ext uri="{FF2B5EF4-FFF2-40B4-BE49-F238E27FC236}">
                  <a16:creationId xmlns:a16="http://schemas.microsoft.com/office/drawing/2014/main" id="{3C0805E6-817E-207C-C06C-1586408F4B28}"/>
                </a:ext>
              </a:extLst>
            </p:cNvPr>
            <p:cNvSpPr/>
            <p:nvPr/>
          </p:nvSpPr>
          <p:spPr>
            <a:xfrm>
              <a:off x="4469907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1" name="object 851">
              <a:extLst>
                <a:ext uri="{FF2B5EF4-FFF2-40B4-BE49-F238E27FC236}">
                  <a16:creationId xmlns:a16="http://schemas.microsoft.com/office/drawing/2014/main" id="{9670165E-8ABC-E52F-39AD-5B42F9A01068}"/>
                </a:ext>
              </a:extLst>
            </p:cNvPr>
            <p:cNvSpPr/>
            <p:nvPr/>
          </p:nvSpPr>
          <p:spPr>
            <a:xfrm>
              <a:off x="4504928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2" name="object 852">
              <a:extLst>
                <a:ext uri="{FF2B5EF4-FFF2-40B4-BE49-F238E27FC236}">
                  <a16:creationId xmlns:a16="http://schemas.microsoft.com/office/drawing/2014/main" id="{A91FBCA2-39D0-D077-C48C-8D7216AE6A96}"/>
                </a:ext>
              </a:extLst>
            </p:cNvPr>
            <p:cNvSpPr/>
            <p:nvPr/>
          </p:nvSpPr>
          <p:spPr>
            <a:xfrm>
              <a:off x="4399864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3" name="object 853">
              <a:extLst>
                <a:ext uri="{FF2B5EF4-FFF2-40B4-BE49-F238E27FC236}">
                  <a16:creationId xmlns:a16="http://schemas.microsoft.com/office/drawing/2014/main" id="{2CF5B0BE-5248-A1E5-1288-2D320F68EA6C}"/>
                </a:ext>
              </a:extLst>
            </p:cNvPr>
            <p:cNvSpPr/>
            <p:nvPr/>
          </p:nvSpPr>
          <p:spPr>
            <a:xfrm>
              <a:off x="4294790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4" name="object 854">
              <a:extLst>
                <a:ext uri="{FF2B5EF4-FFF2-40B4-BE49-F238E27FC236}">
                  <a16:creationId xmlns:a16="http://schemas.microsoft.com/office/drawing/2014/main" id="{FB7F6120-AE05-E0AF-A389-41EFE647EEAB}"/>
                </a:ext>
              </a:extLst>
            </p:cNvPr>
            <p:cNvSpPr/>
            <p:nvPr/>
          </p:nvSpPr>
          <p:spPr>
            <a:xfrm>
              <a:off x="4329885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5" name="object 855">
              <a:extLst>
                <a:ext uri="{FF2B5EF4-FFF2-40B4-BE49-F238E27FC236}">
                  <a16:creationId xmlns:a16="http://schemas.microsoft.com/office/drawing/2014/main" id="{EAD609A2-BB65-56D3-EBC8-32019A1F69A7}"/>
                </a:ext>
              </a:extLst>
            </p:cNvPr>
            <p:cNvSpPr/>
            <p:nvPr/>
          </p:nvSpPr>
          <p:spPr>
            <a:xfrm>
              <a:off x="4224747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6" name="object 856">
              <a:extLst>
                <a:ext uri="{FF2B5EF4-FFF2-40B4-BE49-F238E27FC236}">
                  <a16:creationId xmlns:a16="http://schemas.microsoft.com/office/drawing/2014/main" id="{68A2C6F7-4CF1-3931-02EB-50D0F0177742}"/>
                </a:ext>
              </a:extLst>
            </p:cNvPr>
            <p:cNvSpPr/>
            <p:nvPr/>
          </p:nvSpPr>
          <p:spPr>
            <a:xfrm>
              <a:off x="4434876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7" name="object 857">
              <a:extLst>
                <a:ext uri="{FF2B5EF4-FFF2-40B4-BE49-F238E27FC236}">
                  <a16:creationId xmlns:a16="http://schemas.microsoft.com/office/drawing/2014/main" id="{CC5950AF-D38E-1C42-A012-7BB674E617E2}"/>
                </a:ext>
              </a:extLst>
            </p:cNvPr>
            <p:cNvSpPr/>
            <p:nvPr/>
          </p:nvSpPr>
          <p:spPr>
            <a:xfrm>
              <a:off x="4259768" y="338936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8" name="object 858">
              <a:extLst>
                <a:ext uri="{FF2B5EF4-FFF2-40B4-BE49-F238E27FC236}">
                  <a16:creationId xmlns:a16="http://schemas.microsoft.com/office/drawing/2014/main" id="{56D59026-B858-7A14-93BA-9D4CEC85BBF9}"/>
                </a:ext>
              </a:extLst>
            </p:cNvPr>
            <p:cNvSpPr/>
            <p:nvPr/>
          </p:nvSpPr>
          <p:spPr>
            <a:xfrm>
              <a:off x="4539950" y="33766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9" name="object 859">
              <a:extLst>
                <a:ext uri="{FF2B5EF4-FFF2-40B4-BE49-F238E27FC236}">
                  <a16:creationId xmlns:a16="http://schemas.microsoft.com/office/drawing/2014/main" id="{33948DAC-9CAA-84F8-6D19-DABA3EE36D87}"/>
                </a:ext>
              </a:extLst>
            </p:cNvPr>
            <p:cNvSpPr/>
            <p:nvPr/>
          </p:nvSpPr>
          <p:spPr>
            <a:xfrm>
              <a:off x="4364979" y="33766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0" name="object 860">
              <a:extLst>
                <a:ext uri="{FF2B5EF4-FFF2-40B4-BE49-F238E27FC236}">
                  <a16:creationId xmlns:a16="http://schemas.microsoft.com/office/drawing/2014/main" id="{55D345BA-9E53-7A99-7D58-57C5FA583E5E}"/>
                </a:ext>
              </a:extLst>
            </p:cNvPr>
            <p:cNvSpPr/>
            <p:nvPr/>
          </p:nvSpPr>
          <p:spPr>
            <a:xfrm>
              <a:off x="4190000" y="33766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1" name="object 861">
              <a:extLst>
                <a:ext uri="{FF2B5EF4-FFF2-40B4-BE49-F238E27FC236}">
                  <a16:creationId xmlns:a16="http://schemas.microsoft.com/office/drawing/2014/main" id="{85B763D7-14B3-563C-230C-311272F0BF89}"/>
                </a:ext>
              </a:extLst>
            </p:cNvPr>
            <p:cNvSpPr/>
            <p:nvPr/>
          </p:nvSpPr>
          <p:spPr>
            <a:xfrm>
              <a:off x="4364979" y="33766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2" name="object 862">
              <a:extLst>
                <a:ext uri="{FF2B5EF4-FFF2-40B4-BE49-F238E27FC236}">
                  <a16:creationId xmlns:a16="http://schemas.microsoft.com/office/drawing/2014/main" id="{8479BFFA-8CFC-565D-BE58-BDD6F254AC68}"/>
                </a:ext>
              </a:extLst>
            </p:cNvPr>
            <p:cNvSpPr/>
            <p:nvPr/>
          </p:nvSpPr>
          <p:spPr>
            <a:xfrm>
              <a:off x="4190000" y="340212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3" name="object 863">
              <a:extLst>
                <a:ext uri="{FF2B5EF4-FFF2-40B4-BE49-F238E27FC236}">
                  <a16:creationId xmlns:a16="http://schemas.microsoft.com/office/drawing/2014/main" id="{FDFA3915-CC39-8238-7251-8E25D2AD04EB}"/>
                </a:ext>
              </a:extLst>
            </p:cNvPr>
            <p:cNvSpPr/>
            <p:nvPr/>
          </p:nvSpPr>
          <p:spPr>
            <a:xfrm>
              <a:off x="4469907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4" name="object 864">
              <a:extLst>
                <a:ext uri="{FF2B5EF4-FFF2-40B4-BE49-F238E27FC236}">
                  <a16:creationId xmlns:a16="http://schemas.microsoft.com/office/drawing/2014/main" id="{F3A82A0C-31BE-0610-27AA-59E53E0618A5}"/>
                </a:ext>
              </a:extLst>
            </p:cNvPr>
            <p:cNvSpPr/>
            <p:nvPr/>
          </p:nvSpPr>
          <p:spPr>
            <a:xfrm>
              <a:off x="4504928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5" name="object 865">
              <a:extLst>
                <a:ext uri="{FF2B5EF4-FFF2-40B4-BE49-F238E27FC236}">
                  <a16:creationId xmlns:a16="http://schemas.microsoft.com/office/drawing/2014/main" id="{E48DAFD4-A45A-480C-B0D0-EE98BA421956}"/>
                </a:ext>
              </a:extLst>
            </p:cNvPr>
            <p:cNvSpPr/>
            <p:nvPr/>
          </p:nvSpPr>
          <p:spPr>
            <a:xfrm>
              <a:off x="4399864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6" name="object 866">
              <a:extLst>
                <a:ext uri="{FF2B5EF4-FFF2-40B4-BE49-F238E27FC236}">
                  <a16:creationId xmlns:a16="http://schemas.microsoft.com/office/drawing/2014/main" id="{8C12CA09-F351-8F20-F58B-A0EE063FAA58}"/>
                </a:ext>
              </a:extLst>
            </p:cNvPr>
            <p:cNvSpPr/>
            <p:nvPr/>
          </p:nvSpPr>
          <p:spPr>
            <a:xfrm>
              <a:off x="4294790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7" name="object 867">
              <a:extLst>
                <a:ext uri="{FF2B5EF4-FFF2-40B4-BE49-F238E27FC236}">
                  <a16:creationId xmlns:a16="http://schemas.microsoft.com/office/drawing/2014/main" id="{FE6B27A8-874F-0C06-CF88-CA1EBC4587DC}"/>
                </a:ext>
              </a:extLst>
            </p:cNvPr>
            <p:cNvSpPr/>
            <p:nvPr/>
          </p:nvSpPr>
          <p:spPr>
            <a:xfrm>
              <a:off x="4329885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8" name="object 868">
              <a:extLst>
                <a:ext uri="{FF2B5EF4-FFF2-40B4-BE49-F238E27FC236}">
                  <a16:creationId xmlns:a16="http://schemas.microsoft.com/office/drawing/2014/main" id="{CEAA63D4-9E1F-5332-DB76-CDCBD1C5E85D}"/>
                </a:ext>
              </a:extLst>
            </p:cNvPr>
            <p:cNvSpPr/>
            <p:nvPr/>
          </p:nvSpPr>
          <p:spPr>
            <a:xfrm>
              <a:off x="4224747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9" name="object 869">
              <a:extLst>
                <a:ext uri="{FF2B5EF4-FFF2-40B4-BE49-F238E27FC236}">
                  <a16:creationId xmlns:a16="http://schemas.microsoft.com/office/drawing/2014/main" id="{E9715D44-CAD4-451D-CBEF-646D864AEE23}"/>
                </a:ext>
              </a:extLst>
            </p:cNvPr>
            <p:cNvSpPr/>
            <p:nvPr/>
          </p:nvSpPr>
          <p:spPr>
            <a:xfrm>
              <a:off x="4434876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0" name="object 870">
              <a:extLst>
                <a:ext uri="{FF2B5EF4-FFF2-40B4-BE49-F238E27FC236}">
                  <a16:creationId xmlns:a16="http://schemas.microsoft.com/office/drawing/2014/main" id="{A8FC975C-237F-716D-D653-348306B1F196}"/>
                </a:ext>
              </a:extLst>
            </p:cNvPr>
            <p:cNvSpPr/>
            <p:nvPr/>
          </p:nvSpPr>
          <p:spPr>
            <a:xfrm>
              <a:off x="4259768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1" name="object 871">
              <a:extLst>
                <a:ext uri="{FF2B5EF4-FFF2-40B4-BE49-F238E27FC236}">
                  <a16:creationId xmlns:a16="http://schemas.microsoft.com/office/drawing/2014/main" id="{15B00BAF-3C3A-15E6-FAC3-A5BE3D3F830E}"/>
                </a:ext>
              </a:extLst>
            </p:cNvPr>
            <p:cNvSpPr/>
            <p:nvPr/>
          </p:nvSpPr>
          <p:spPr>
            <a:xfrm>
              <a:off x="4539950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2" name="object 872">
              <a:extLst>
                <a:ext uri="{FF2B5EF4-FFF2-40B4-BE49-F238E27FC236}">
                  <a16:creationId xmlns:a16="http://schemas.microsoft.com/office/drawing/2014/main" id="{E9979BD5-731F-11C5-08F1-E5CE4A5EDDAD}"/>
                </a:ext>
              </a:extLst>
            </p:cNvPr>
            <p:cNvSpPr/>
            <p:nvPr/>
          </p:nvSpPr>
          <p:spPr>
            <a:xfrm>
              <a:off x="4364979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3" name="object 873">
              <a:extLst>
                <a:ext uri="{FF2B5EF4-FFF2-40B4-BE49-F238E27FC236}">
                  <a16:creationId xmlns:a16="http://schemas.microsoft.com/office/drawing/2014/main" id="{C3E635CA-5F24-7F5D-A294-B114EDEDC6A7}"/>
                </a:ext>
              </a:extLst>
            </p:cNvPr>
            <p:cNvSpPr/>
            <p:nvPr/>
          </p:nvSpPr>
          <p:spPr>
            <a:xfrm>
              <a:off x="4190000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4" name="object 874">
              <a:extLst>
                <a:ext uri="{FF2B5EF4-FFF2-40B4-BE49-F238E27FC236}">
                  <a16:creationId xmlns:a16="http://schemas.microsoft.com/office/drawing/2014/main" id="{A1D7BCF6-C161-11BA-6831-8A1028EE370F}"/>
                </a:ext>
              </a:extLst>
            </p:cNvPr>
            <p:cNvSpPr/>
            <p:nvPr/>
          </p:nvSpPr>
          <p:spPr>
            <a:xfrm>
              <a:off x="4364979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5" name="object 875">
              <a:extLst>
                <a:ext uri="{FF2B5EF4-FFF2-40B4-BE49-F238E27FC236}">
                  <a16:creationId xmlns:a16="http://schemas.microsoft.com/office/drawing/2014/main" id="{968C41DA-5666-471A-87D6-538D19441D21}"/>
                </a:ext>
              </a:extLst>
            </p:cNvPr>
            <p:cNvSpPr/>
            <p:nvPr/>
          </p:nvSpPr>
          <p:spPr>
            <a:xfrm>
              <a:off x="4190000" y="347514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876" name="object 876">
              <a:extLst>
                <a:ext uri="{FF2B5EF4-FFF2-40B4-BE49-F238E27FC236}">
                  <a16:creationId xmlns:a16="http://schemas.microsoft.com/office/drawing/2014/main" id="{C6EAC730-6A44-9515-EE03-E9BEA30F9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191344" y="363679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77" name="object 877">
              <a:extLst>
                <a:ext uri="{FF2B5EF4-FFF2-40B4-BE49-F238E27FC236}">
                  <a16:creationId xmlns:a16="http://schemas.microsoft.com/office/drawing/2014/main" id="{D1654C62-E267-D08D-CC36-7A05306948C6}"/>
                </a:ext>
              </a:extLst>
            </p:cNvPr>
            <p:cNvSpPr/>
            <p:nvPr/>
          </p:nvSpPr>
          <p:spPr>
            <a:xfrm>
              <a:off x="4332811" y="3983199"/>
              <a:ext cx="6699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67001"/>
                <a:gd name="f5" fmla="val 66993"/>
                <a:gd name="f6" fmla="abs f0"/>
                <a:gd name="f7" fmla="abs f1"/>
                <a:gd name="f8" fmla="abs f2"/>
                <a:gd name="f9" fmla="*/ f0 1 67001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67001"/>
                <a:gd name="f16" fmla="*/ f10 1 0"/>
                <a:gd name="f17" fmla="*/ f12 1 67001"/>
                <a:gd name="f18" fmla="*/ f13 1 21600"/>
                <a:gd name="f19" fmla="*/ 21600 f13 1"/>
                <a:gd name="f20" fmla="*/ 0 1 f15"/>
                <a:gd name="f21" fmla="*/ 67001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67001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8" name="object 878">
              <a:extLst>
                <a:ext uri="{FF2B5EF4-FFF2-40B4-BE49-F238E27FC236}">
                  <a16:creationId xmlns:a16="http://schemas.microsoft.com/office/drawing/2014/main" id="{6232EBBF-E7ED-418A-0C8D-77537EDC2DB2}"/>
                </a:ext>
              </a:extLst>
            </p:cNvPr>
            <p:cNvSpPr/>
            <p:nvPr/>
          </p:nvSpPr>
          <p:spPr>
            <a:xfrm>
              <a:off x="4191344" y="363680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879" name="object 879">
              <a:extLst>
                <a:ext uri="{FF2B5EF4-FFF2-40B4-BE49-F238E27FC236}">
                  <a16:creationId xmlns:a16="http://schemas.microsoft.com/office/drawing/2014/main" id="{DE05C9A8-3AD8-1F31-2246-D1EAE93EC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88994" y="4396672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80" name="object 880">
              <a:extLst>
                <a:ext uri="{FF2B5EF4-FFF2-40B4-BE49-F238E27FC236}">
                  <a16:creationId xmlns:a16="http://schemas.microsoft.com/office/drawing/2014/main" id="{2D316CD0-F030-11FF-0712-3BC24148BEE5}"/>
                </a:ext>
              </a:extLst>
            </p:cNvPr>
            <p:cNvSpPr/>
            <p:nvPr/>
          </p:nvSpPr>
          <p:spPr>
            <a:xfrm>
              <a:off x="4188994" y="439667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881" name="object 881">
              <a:extLst>
                <a:ext uri="{FF2B5EF4-FFF2-40B4-BE49-F238E27FC236}">
                  <a16:creationId xmlns:a16="http://schemas.microsoft.com/office/drawing/2014/main" id="{006D17CD-D6A9-C54E-80D4-C5CC54F1AE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190512" y="569250"/>
              <a:ext cx="348011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82" name="object 882">
              <a:extLst>
                <a:ext uri="{FF2B5EF4-FFF2-40B4-BE49-F238E27FC236}">
                  <a16:creationId xmlns:a16="http://schemas.microsoft.com/office/drawing/2014/main" id="{B0347840-2B66-FBBF-F68C-3BC4D0095B74}"/>
                </a:ext>
              </a:extLst>
            </p:cNvPr>
            <p:cNvSpPr/>
            <p:nvPr/>
          </p:nvSpPr>
          <p:spPr>
            <a:xfrm>
              <a:off x="4190512" y="5692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883" name="object 883">
              <a:extLst>
                <a:ext uri="{FF2B5EF4-FFF2-40B4-BE49-F238E27FC236}">
                  <a16:creationId xmlns:a16="http://schemas.microsoft.com/office/drawing/2014/main" id="{437B339F-3299-DD6F-0E88-AEF4F4E20E2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190512" y="1330488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84" name="object 884">
              <a:extLst>
                <a:ext uri="{FF2B5EF4-FFF2-40B4-BE49-F238E27FC236}">
                  <a16:creationId xmlns:a16="http://schemas.microsoft.com/office/drawing/2014/main" id="{58FDA888-0D25-4D60-9E6A-7BD32E4A1A70}"/>
                </a:ext>
              </a:extLst>
            </p:cNvPr>
            <p:cNvSpPr/>
            <p:nvPr/>
          </p:nvSpPr>
          <p:spPr>
            <a:xfrm>
              <a:off x="4190512" y="133048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885" name="object 885">
              <a:extLst>
                <a:ext uri="{FF2B5EF4-FFF2-40B4-BE49-F238E27FC236}">
                  <a16:creationId xmlns:a16="http://schemas.microsoft.com/office/drawing/2014/main" id="{5D55A9B4-5047-2695-5F9A-1488913ED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4190512" y="2864604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86" name="object 886">
              <a:extLst>
                <a:ext uri="{FF2B5EF4-FFF2-40B4-BE49-F238E27FC236}">
                  <a16:creationId xmlns:a16="http://schemas.microsoft.com/office/drawing/2014/main" id="{F4FFDF0E-BF95-E6EC-BFFC-767787AF5FCE}"/>
                </a:ext>
              </a:extLst>
            </p:cNvPr>
            <p:cNvSpPr/>
            <p:nvPr/>
          </p:nvSpPr>
          <p:spPr>
            <a:xfrm>
              <a:off x="4190512" y="286461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887" name="object 887">
              <a:extLst>
                <a:ext uri="{FF2B5EF4-FFF2-40B4-BE49-F238E27FC236}">
                  <a16:creationId xmlns:a16="http://schemas.microsoft.com/office/drawing/2014/main" id="{99A3B34C-66DB-5AF4-71C3-C3C7A11D8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188994" y="5159108"/>
              <a:ext cx="348935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88" name="object 888">
              <a:extLst>
                <a:ext uri="{FF2B5EF4-FFF2-40B4-BE49-F238E27FC236}">
                  <a16:creationId xmlns:a16="http://schemas.microsoft.com/office/drawing/2014/main" id="{83969339-2411-0650-0E4A-B254EA5A4E5E}"/>
                </a:ext>
              </a:extLst>
            </p:cNvPr>
            <p:cNvSpPr/>
            <p:nvPr/>
          </p:nvSpPr>
          <p:spPr>
            <a:xfrm>
              <a:off x="4188994" y="515911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889" name="object 889">
              <a:extLst>
                <a:ext uri="{FF2B5EF4-FFF2-40B4-BE49-F238E27FC236}">
                  <a16:creationId xmlns:a16="http://schemas.microsoft.com/office/drawing/2014/main" id="{11A167F0-11DC-DE70-86C3-E84A992D68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4190695" y="5922065"/>
              <a:ext cx="3482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90" name="object 890">
              <a:extLst>
                <a:ext uri="{FF2B5EF4-FFF2-40B4-BE49-F238E27FC236}">
                  <a16:creationId xmlns:a16="http://schemas.microsoft.com/office/drawing/2014/main" id="{EFEC5B5C-63D8-FF9B-C862-6D37831CFB1D}"/>
                </a:ext>
              </a:extLst>
            </p:cNvPr>
            <p:cNvSpPr/>
            <p:nvPr/>
          </p:nvSpPr>
          <p:spPr>
            <a:xfrm>
              <a:off x="4188994" y="592206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1" name="object 891">
              <a:extLst>
                <a:ext uri="{FF2B5EF4-FFF2-40B4-BE49-F238E27FC236}">
                  <a16:creationId xmlns:a16="http://schemas.microsoft.com/office/drawing/2014/main" id="{ACFFD214-6A30-C58A-B1F7-11B957C29E14}"/>
                </a:ext>
              </a:extLst>
            </p:cNvPr>
            <p:cNvSpPr/>
            <p:nvPr/>
          </p:nvSpPr>
          <p:spPr>
            <a:xfrm>
              <a:off x="3380545" y="3451055"/>
              <a:ext cx="8047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714"/>
                <a:gd name="f4" fmla="val 84454"/>
                <a:gd name="f5" fmla="val 132153"/>
                <a:gd name="f6" fmla="val 84112"/>
                <a:gd name="f7" fmla="*/ f0 1 132714"/>
                <a:gd name="f8" fmla="*/ f1 1 84454"/>
                <a:gd name="f9" fmla="+- f4 0 f2"/>
                <a:gd name="f10" fmla="+- f3 0 f2"/>
                <a:gd name="f11" fmla="*/ f10 1 13271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71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2" name="object 892">
              <a:extLst>
                <a:ext uri="{FF2B5EF4-FFF2-40B4-BE49-F238E27FC236}">
                  <a16:creationId xmlns:a16="http://schemas.microsoft.com/office/drawing/2014/main" id="{A474E9A5-7DC4-010A-1938-99284EB627AC}"/>
                </a:ext>
              </a:extLst>
            </p:cNvPr>
            <p:cNvSpPr/>
            <p:nvPr/>
          </p:nvSpPr>
          <p:spPr>
            <a:xfrm>
              <a:off x="3369692" y="1084240"/>
              <a:ext cx="770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7000"/>
                <a:gd name="f4" fmla="val 84455"/>
                <a:gd name="f5" fmla="val 126833"/>
                <a:gd name="f6" fmla="val 84112"/>
                <a:gd name="f7" fmla="*/ f0 1 127000"/>
                <a:gd name="f8" fmla="*/ f1 1 84455"/>
                <a:gd name="f9" fmla="+- f4 0 f2"/>
                <a:gd name="f10" fmla="+- f3 0 f2"/>
                <a:gd name="f11" fmla="*/ f10 1 12700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700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3" name="object 893">
              <a:extLst>
                <a:ext uri="{FF2B5EF4-FFF2-40B4-BE49-F238E27FC236}">
                  <a16:creationId xmlns:a16="http://schemas.microsoft.com/office/drawing/2014/main" id="{1D6B6C19-E9DD-F015-00F6-B3C904F80DC2}"/>
                </a:ext>
              </a:extLst>
            </p:cNvPr>
            <p:cNvSpPr/>
            <p:nvPr/>
          </p:nvSpPr>
          <p:spPr>
            <a:xfrm>
              <a:off x="3404439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4" name="object 894">
              <a:extLst>
                <a:ext uri="{FF2B5EF4-FFF2-40B4-BE49-F238E27FC236}">
                  <a16:creationId xmlns:a16="http://schemas.microsoft.com/office/drawing/2014/main" id="{DC8BB3A8-87F6-7B10-478A-DD6B4B125AF3}"/>
                </a:ext>
              </a:extLst>
            </p:cNvPr>
            <p:cNvSpPr/>
            <p:nvPr/>
          </p:nvSpPr>
          <p:spPr>
            <a:xfrm>
              <a:off x="3439460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5" name="object 895">
              <a:extLst>
                <a:ext uri="{FF2B5EF4-FFF2-40B4-BE49-F238E27FC236}">
                  <a16:creationId xmlns:a16="http://schemas.microsoft.com/office/drawing/2014/main" id="{05BF3DE8-A3DE-01D0-35C9-21CD0B3BA1A5}"/>
                </a:ext>
              </a:extLst>
            </p:cNvPr>
            <p:cNvSpPr/>
            <p:nvPr/>
          </p:nvSpPr>
          <p:spPr>
            <a:xfrm>
              <a:off x="3369692" y="10842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6" name="object 896">
              <a:extLst>
                <a:ext uri="{FF2B5EF4-FFF2-40B4-BE49-F238E27FC236}">
                  <a16:creationId xmlns:a16="http://schemas.microsoft.com/office/drawing/2014/main" id="{0E1C2EB4-E566-E1B8-0B71-11201C9DECEF}"/>
                </a:ext>
              </a:extLst>
            </p:cNvPr>
            <p:cNvSpPr/>
            <p:nvPr/>
          </p:nvSpPr>
          <p:spPr>
            <a:xfrm>
              <a:off x="3649589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7" name="object 897">
              <a:extLst>
                <a:ext uri="{FF2B5EF4-FFF2-40B4-BE49-F238E27FC236}">
                  <a16:creationId xmlns:a16="http://schemas.microsoft.com/office/drawing/2014/main" id="{8DA7830C-A48B-D545-83E7-95A5FA022D0E}"/>
                </a:ext>
              </a:extLst>
            </p:cNvPr>
            <p:cNvSpPr/>
            <p:nvPr/>
          </p:nvSpPr>
          <p:spPr>
            <a:xfrm>
              <a:off x="3684611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8" name="object 898">
              <a:extLst>
                <a:ext uri="{FF2B5EF4-FFF2-40B4-BE49-F238E27FC236}">
                  <a16:creationId xmlns:a16="http://schemas.microsoft.com/office/drawing/2014/main" id="{696D6026-0647-FB69-5A8F-2393EC2C4B60}"/>
                </a:ext>
              </a:extLst>
            </p:cNvPr>
            <p:cNvSpPr/>
            <p:nvPr/>
          </p:nvSpPr>
          <p:spPr>
            <a:xfrm>
              <a:off x="3579546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9" name="object 899">
              <a:extLst>
                <a:ext uri="{FF2B5EF4-FFF2-40B4-BE49-F238E27FC236}">
                  <a16:creationId xmlns:a16="http://schemas.microsoft.com/office/drawing/2014/main" id="{34DC8A3A-CD06-EFB7-8893-5C5BCD22BB62}"/>
                </a:ext>
              </a:extLst>
            </p:cNvPr>
            <p:cNvSpPr/>
            <p:nvPr/>
          </p:nvSpPr>
          <p:spPr>
            <a:xfrm>
              <a:off x="3474482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0" name="object 900">
              <a:extLst>
                <a:ext uri="{FF2B5EF4-FFF2-40B4-BE49-F238E27FC236}">
                  <a16:creationId xmlns:a16="http://schemas.microsoft.com/office/drawing/2014/main" id="{E38562E0-8BEC-D48D-1013-2CAD404EE06C}"/>
                </a:ext>
              </a:extLst>
            </p:cNvPr>
            <p:cNvSpPr/>
            <p:nvPr/>
          </p:nvSpPr>
          <p:spPr>
            <a:xfrm>
              <a:off x="3509576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1" name="object 901">
              <a:extLst>
                <a:ext uri="{FF2B5EF4-FFF2-40B4-BE49-F238E27FC236}">
                  <a16:creationId xmlns:a16="http://schemas.microsoft.com/office/drawing/2014/main" id="{7E43A4F9-060E-8419-B51B-952CA1CB1F7F}"/>
                </a:ext>
              </a:extLst>
            </p:cNvPr>
            <p:cNvSpPr/>
            <p:nvPr/>
          </p:nvSpPr>
          <p:spPr>
            <a:xfrm>
              <a:off x="3614568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2" name="object 902">
              <a:extLst>
                <a:ext uri="{FF2B5EF4-FFF2-40B4-BE49-F238E27FC236}">
                  <a16:creationId xmlns:a16="http://schemas.microsoft.com/office/drawing/2014/main" id="{874EB913-D41B-AEDC-2F43-3F7439446D51}"/>
                </a:ext>
              </a:extLst>
            </p:cNvPr>
            <p:cNvSpPr/>
            <p:nvPr/>
          </p:nvSpPr>
          <p:spPr>
            <a:xfrm>
              <a:off x="3719632" y="10842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3" name="object 903">
              <a:extLst>
                <a:ext uri="{FF2B5EF4-FFF2-40B4-BE49-F238E27FC236}">
                  <a16:creationId xmlns:a16="http://schemas.microsoft.com/office/drawing/2014/main" id="{987621A1-574E-6EBD-9624-01F908C28F09}"/>
                </a:ext>
              </a:extLst>
            </p:cNvPr>
            <p:cNvSpPr/>
            <p:nvPr/>
          </p:nvSpPr>
          <p:spPr>
            <a:xfrm>
              <a:off x="3544662" y="10842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4" name="object 904">
              <a:extLst>
                <a:ext uri="{FF2B5EF4-FFF2-40B4-BE49-F238E27FC236}">
                  <a16:creationId xmlns:a16="http://schemas.microsoft.com/office/drawing/2014/main" id="{C5B362D8-EC67-6B45-4837-7C07752B6751}"/>
                </a:ext>
              </a:extLst>
            </p:cNvPr>
            <p:cNvSpPr/>
            <p:nvPr/>
          </p:nvSpPr>
          <p:spPr>
            <a:xfrm>
              <a:off x="3369692" y="110975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5" name="object 905">
              <a:extLst>
                <a:ext uri="{FF2B5EF4-FFF2-40B4-BE49-F238E27FC236}">
                  <a16:creationId xmlns:a16="http://schemas.microsoft.com/office/drawing/2014/main" id="{D115978C-3647-F161-9A2F-84693574A541}"/>
                </a:ext>
              </a:extLst>
            </p:cNvPr>
            <p:cNvSpPr/>
            <p:nvPr/>
          </p:nvSpPr>
          <p:spPr>
            <a:xfrm>
              <a:off x="3370158" y="1157264"/>
              <a:ext cx="13362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0345"/>
                <a:gd name="f4" fmla="val 84455"/>
                <a:gd name="f5" fmla="val 220286"/>
                <a:gd name="f6" fmla="val 84102"/>
                <a:gd name="f7" fmla="*/ f0 1 220345"/>
                <a:gd name="f8" fmla="*/ f1 1 84455"/>
                <a:gd name="f9" fmla="+- f4 0 f2"/>
                <a:gd name="f10" fmla="+- f3 0 f2"/>
                <a:gd name="f11" fmla="*/ f10 1 22034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2034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6" name="object 906">
              <a:extLst>
                <a:ext uri="{FF2B5EF4-FFF2-40B4-BE49-F238E27FC236}">
                  <a16:creationId xmlns:a16="http://schemas.microsoft.com/office/drawing/2014/main" id="{5292A4D8-17FC-FBFD-86C5-1224331A18E2}"/>
                </a:ext>
              </a:extLst>
            </p:cNvPr>
            <p:cNvSpPr/>
            <p:nvPr/>
          </p:nvSpPr>
          <p:spPr>
            <a:xfrm>
              <a:off x="3649589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7" name="object 907">
              <a:extLst>
                <a:ext uri="{FF2B5EF4-FFF2-40B4-BE49-F238E27FC236}">
                  <a16:creationId xmlns:a16="http://schemas.microsoft.com/office/drawing/2014/main" id="{A580B919-E6C5-2FB2-1CFC-6BEF7CB86AA6}"/>
                </a:ext>
              </a:extLst>
            </p:cNvPr>
            <p:cNvSpPr/>
            <p:nvPr/>
          </p:nvSpPr>
          <p:spPr>
            <a:xfrm>
              <a:off x="3684611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8" name="object 908">
              <a:extLst>
                <a:ext uri="{FF2B5EF4-FFF2-40B4-BE49-F238E27FC236}">
                  <a16:creationId xmlns:a16="http://schemas.microsoft.com/office/drawing/2014/main" id="{4241B803-2F5A-B5CF-6524-3DA7398C3210}"/>
                </a:ext>
              </a:extLst>
            </p:cNvPr>
            <p:cNvSpPr/>
            <p:nvPr/>
          </p:nvSpPr>
          <p:spPr>
            <a:xfrm>
              <a:off x="3579546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9" name="object 909">
              <a:extLst>
                <a:ext uri="{FF2B5EF4-FFF2-40B4-BE49-F238E27FC236}">
                  <a16:creationId xmlns:a16="http://schemas.microsoft.com/office/drawing/2014/main" id="{C7461066-735F-A705-8B44-681E6D238530}"/>
                </a:ext>
              </a:extLst>
            </p:cNvPr>
            <p:cNvSpPr/>
            <p:nvPr/>
          </p:nvSpPr>
          <p:spPr>
            <a:xfrm>
              <a:off x="3474482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0" name="object 910">
              <a:extLst>
                <a:ext uri="{FF2B5EF4-FFF2-40B4-BE49-F238E27FC236}">
                  <a16:creationId xmlns:a16="http://schemas.microsoft.com/office/drawing/2014/main" id="{9D390B6A-FEB6-D008-29F9-AF7C4A05A1A2}"/>
                </a:ext>
              </a:extLst>
            </p:cNvPr>
            <p:cNvSpPr/>
            <p:nvPr/>
          </p:nvSpPr>
          <p:spPr>
            <a:xfrm>
              <a:off x="3509576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1" name="object 911">
              <a:extLst>
                <a:ext uri="{FF2B5EF4-FFF2-40B4-BE49-F238E27FC236}">
                  <a16:creationId xmlns:a16="http://schemas.microsoft.com/office/drawing/2014/main" id="{551B6906-8993-4CFC-3D22-14363EA6AA92}"/>
                </a:ext>
              </a:extLst>
            </p:cNvPr>
            <p:cNvSpPr/>
            <p:nvPr/>
          </p:nvSpPr>
          <p:spPr>
            <a:xfrm>
              <a:off x="3404439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2" name="object 912">
              <a:extLst>
                <a:ext uri="{FF2B5EF4-FFF2-40B4-BE49-F238E27FC236}">
                  <a16:creationId xmlns:a16="http://schemas.microsoft.com/office/drawing/2014/main" id="{0C0737D9-376F-8E43-A7AA-982FAEDFB090}"/>
                </a:ext>
              </a:extLst>
            </p:cNvPr>
            <p:cNvSpPr/>
            <p:nvPr/>
          </p:nvSpPr>
          <p:spPr>
            <a:xfrm>
              <a:off x="3614568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3" name="object 913">
              <a:extLst>
                <a:ext uri="{FF2B5EF4-FFF2-40B4-BE49-F238E27FC236}">
                  <a16:creationId xmlns:a16="http://schemas.microsoft.com/office/drawing/2014/main" id="{853F4843-A0D1-4E54-7705-BDB6D261404D}"/>
                </a:ext>
              </a:extLst>
            </p:cNvPr>
            <p:cNvSpPr/>
            <p:nvPr/>
          </p:nvSpPr>
          <p:spPr>
            <a:xfrm>
              <a:off x="3439460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4" name="object 914">
              <a:extLst>
                <a:ext uri="{FF2B5EF4-FFF2-40B4-BE49-F238E27FC236}">
                  <a16:creationId xmlns:a16="http://schemas.microsoft.com/office/drawing/2014/main" id="{E7AF9DFC-0878-A1B7-2432-2629EFF8A433}"/>
                </a:ext>
              </a:extLst>
            </p:cNvPr>
            <p:cNvSpPr/>
            <p:nvPr/>
          </p:nvSpPr>
          <p:spPr>
            <a:xfrm>
              <a:off x="371963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5" name="object 915">
              <a:extLst>
                <a:ext uri="{FF2B5EF4-FFF2-40B4-BE49-F238E27FC236}">
                  <a16:creationId xmlns:a16="http://schemas.microsoft.com/office/drawing/2014/main" id="{641E1837-42C9-379F-DCF2-5BCC0077C60B}"/>
                </a:ext>
              </a:extLst>
            </p:cNvPr>
            <p:cNvSpPr/>
            <p:nvPr/>
          </p:nvSpPr>
          <p:spPr>
            <a:xfrm>
              <a:off x="354466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6" name="object 916">
              <a:extLst>
                <a:ext uri="{FF2B5EF4-FFF2-40B4-BE49-F238E27FC236}">
                  <a16:creationId xmlns:a16="http://schemas.microsoft.com/office/drawing/2014/main" id="{4BB54275-EB3D-7652-8E0E-038980919E8D}"/>
                </a:ext>
              </a:extLst>
            </p:cNvPr>
            <p:cNvSpPr/>
            <p:nvPr/>
          </p:nvSpPr>
          <p:spPr>
            <a:xfrm>
              <a:off x="336969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7" name="object 917">
              <a:extLst>
                <a:ext uri="{FF2B5EF4-FFF2-40B4-BE49-F238E27FC236}">
                  <a16:creationId xmlns:a16="http://schemas.microsoft.com/office/drawing/2014/main" id="{E8D6429A-C5B0-3AFC-D05A-1CFB7F0B2875}"/>
                </a:ext>
              </a:extLst>
            </p:cNvPr>
            <p:cNvSpPr/>
            <p:nvPr/>
          </p:nvSpPr>
          <p:spPr>
            <a:xfrm>
              <a:off x="354466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8" name="object 918">
              <a:extLst>
                <a:ext uri="{FF2B5EF4-FFF2-40B4-BE49-F238E27FC236}">
                  <a16:creationId xmlns:a16="http://schemas.microsoft.com/office/drawing/2014/main" id="{F1DE5C98-B5DC-3EE6-E8DF-7C6920903DC6}"/>
                </a:ext>
              </a:extLst>
            </p:cNvPr>
            <p:cNvSpPr/>
            <p:nvPr/>
          </p:nvSpPr>
          <p:spPr>
            <a:xfrm>
              <a:off x="3369692" y="118277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9" name="object 919">
              <a:extLst>
                <a:ext uri="{FF2B5EF4-FFF2-40B4-BE49-F238E27FC236}">
                  <a16:creationId xmlns:a16="http://schemas.microsoft.com/office/drawing/2014/main" id="{786809C0-3794-A7A3-9050-7FC2D2613B88}"/>
                </a:ext>
              </a:extLst>
            </p:cNvPr>
            <p:cNvSpPr/>
            <p:nvPr/>
          </p:nvSpPr>
          <p:spPr>
            <a:xfrm>
              <a:off x="3369692" y="1847609"/>
              <a:ext cx="146706" cy="8163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5"/>
                <a:gd name="f4" fmla="val 1346200"/>
                <a:gd name="f5" fmla="val 148628"/>
                <a:gd name="f6" fmla="val 1261732"/>
                <a:gd name="f7" fmla="val 1345857"/>
                <a:gd name="f8" fmla="val 241401"/>
                <a:gd name="f9" fmla="val 84112"/>
                <a:gd name="f10" fmla="*/ f0 1 241935"/>
                <a:gd name="f11" fmla="*/ f1 1 1346200"/>
                <a:gd name="f12" fmla="+- f4 0 f2"/>
                <a:gd name="f13" fmla="+- f3 0 f2"/>
                <a:gd name="f14" fmla="*/ f13 1 241935"/>
                <a:gd name="f15" fmla="*/ f12 1 1346200"/>
                <a:gd name="f16" fmla="*/ f2 1 f14"/>
                <a:gd name="f17" fmla="*/ f3 1 f14"/>
                <a:gd name="f18" fmla="*/ f2 1 f15"/>
                <a:gd name="f19" fmla="*/ f4 1 f15"/>
                <a:gd name="f20" fmla="*/ f16 f10 1"/>
                <a:gd name="f21" fmla="*/ f17 f10 1"/>
                <a:gd name="f22" fmla="*/ f19 f11 1"/>
                <a:gd name="f23" fmla="*/ f18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0" t="f23" r="f21" b="f22"/>
              <a:pathLst>
                <a:path w="241935" h="1346200">
                  <a:moveTo>
                    <a:pt x="f5" y="f6"/>
                  </a:moveTo>
                  <a:lnTo>
                    <a:pt x="f2" y="f6"/>
                  </a:lnTo>
                  <a:lnTo>
                    <a:pt x="f2" y="f7"/>
                  </a:lnTo>
                  <a:lnTo>
                    <a:pt x="f5" y="f7"/>
                  </a:lnTo>
                  <a:lnTo>
                    <a:pt x="f5" y="f6"/>
                  </a:lnTo>
                  <a:close/>
                </a:path>
                <a:path w="241935" h="1346200">
                  <a:moveTo>
                    <a:pt x="f8" y="f2"/>
                  </a:moveTo>
                  <a:lnTo>
                    <a:pt x="f2" y="f2"/>
                  </a:lnTo>
                  <a:lnTo>
                    <a:pt x="f2" y="f9"/>
                  </a:lnTo>
                  <a:lnTo>
                    <a:pt x="f8" y="f9"/>
                  </a:lnTo>
                  <a:lnTo>
                    <a:pt x="f8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0" name="object 920">
              <a:extLst>
                <a:ext uri="{FF2B5EF4-FFF2-40B4-BE49-F238E27FC236}">
                  <a16:creationId xmlns:a16="http://schemas.microsoft.com/office/drawing/2014/main" id="{2BBBACF3-44B0-2DC3-92E0-C09E138C1EA8}"/>
                </a:ext>
              </a:extLst>
            </p:cNvPr>
            <p:cNvSpPr/>
            <p:nvPr/>
          </p:nvSpPr>
          <p:spPr>
            <a:xfrm>
              <a:off x="2827736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1" name="object 921">
              <a:extLst>
                <a:ext uri="{FF2B5EF4-FFF2-40B4-BE49-F238E27FC236}">
                  <a16:creationId xmlns:a16="http://schemas.microsoft.com/office/drawing/2014/main" id="{86118DA5-A754-1D01-2DA5-37B402870A77}"/>
                </a:ext>
              </a:extLst>
            </p:cNvPr>
            <p:cNvSpPr/>
            <p:nvPr/>
          </p:nvSpPr>
          <p:spPr>
            <a:xfrm>
              <a:off x="2862757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2" name="object 922">
              <a:extLst>
                <a:ext uri="{FF2B5EF4-FFF2-40B4-BE49-F238E27FC236}">
                  <a16:creationId xmlns:a16="http://schemas.microsoft.com/office/drawing/2014/main" id="{A7E08F23-D912-6B79-8526-90716DBB3113}"/>
                </a:ext>
              </a:extLst>
            </p:cNvPr>
            <p:cNvSpPr/>
            <p:nvPr/>
          </p:nvSpPr>
          <p:spPr>
            <a:xfrm>
              <a:off x="2757693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3" name="object 923">
              <a:extLst>
                <a:ext uri="{FF2B5EF4-FFF2-40B4-BE49-F238E27FC236}">
                  <a16:creationId xmlns:a16="http://schemas.microsoft.com/office/drawing/2014/main" id="{C31422C8-37F7-FD25-2E5C-CF613C20DFAD}"/>
                </a:ext>
              </a:extLst>
            </p:cNvPr>
            <p:cNvSpPr/>
            <p:nvPr/>
          </p:nvSpPr>
          <p:spPr>
            <a:xfrm>
              <a:off x="2652619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4" name="object 924">
              <a:extLst>
                <a:ext uri="{FF2B5EF4-FFF2-40B4-BE49-F238E27FC236}">
                  <a16:creationId xmlns:a16="http://schemas.microsoft.com/office/drawing/2014/main" id="{6C0A141A-2B5D-1550-F185-4D27D1D1521B}"/>
                </a:ext>
              </a:extLst>
            </p:cNvPr>
            <p:cNvSpPr/>
            <p:nvPr/>
          </p:nvSpPr>
          <p:spPr>
            <a:xfrm>
              <a:off x="2687714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5" name="object 925">
              <a:extLst>
                <a:ext uri="{FF2B5EF4-FFF2-40B4-BE49-F238E27FC236}">
                  <a16:creationId xmlns:a16="http://schemas.microsoft.com/office/drawing/2014/main" id="{07F4F9D0-CD0F-C794-0FA7-1C0ABD060F2B}"/>
                </a:ext>
              </a:extLst>
            </p:cNvPr>
            <p:cNvSpPr/>
            <p:nvPr/>
          </p:nvSpPr>
          <p:spPr>
            <a:xfrm>
              <a:off x="2582576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6" name="object 926">
              <a:extLst>
                <a:ext uri="{FF2B5EF4-FFF2-40B4-BE49-F238E27FC236}">
                  <a16:creationId xmlns:a16="http://schemas.microsoft.com/office/drawing/2014/main" id="{953C9EC6-6C88-799D-22C9-A562218D42DD}"/>
                </a:ext>
              </a:extLst>
            </p:cNvPr>
            <p:cNvSpPr/>
            <p:nvPr/>
          </p:nvSpPr>
          <p:spPr>
            <a:xfrm>
              <a:off x="2792714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7" name="object 927">
              <a:extLst>
                <a:ext uri="{FF2B5EF4-FFF2-40B4-BE49-F238E27FC236}">
                  <a16:creationId xmlns:a16="http://schemas.microsoft.com/office/drawing/2014/main" id="{451E8D69-CB60-1804-93BB-2FA4405A873E}"/>
                </a:ext>
              </a:extLst>
            </p:cNvPr>
            <p:cNvSpPr/>
            <p:nvPr/>
          </p:nvSpPr>
          <p:spPr>
            <a:xfrm>
              <a:off x="2617598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8" name="object 928">
              <a:extLst>
                <a:ext uri="{FF2B5EF4-FFF2-40B4-BE49-F238E27FC236}">
                  <a16:creationId xmlns:a16="http://schemas.microsoft.com/office/drawing/2014/main" id="{D828CFCF-1769-11E4-3E15-3508FE4E6910}"/>
                </a:ext>
              </a:extLst>
            </p:cNvPr>
            <p:cNvSpPr/>
            <p:nvPr/>
          </p:nvSpPr>
          <p:spPr>
            <a:xfrm>
              <a:off x="2897779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9" name="object 929">
              <a:extLst>
                <a:ext uri="{FF2B5EF4-FFF2-40B4-BE49-F238E27FC236}">
                  <a16:creationId xmlns:a16="http://schemas.microsoft.com/office/drawing/2014/main" id="{7234371E-A464-D52B-E33F-661A7E8DEEE7}"/>
                </a:ext>
              </a:extLst>
            </p:cNvPr>
            <p:cNvSpPr/>
            <p:nvPr/>
          </p:nvSpPr>
          <p:spPr>
            <a:xfrm>
              <a:off x="2722808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0" name="object 930">
              <a:extLst>
                <a:ext uri="{FF2B5EF4-FFF2-40B4-BE49-F238E27FC236}">
                  <a16:creationId xmlns:a16="http://schemas.microsoft.com/office/drawing/2014/main" id="{6318070E-6035-863D-6E12-6BCE65278ECB}"/>
                </a:ext>
              </a:extLst>
            </p:cNvPr>
            <p:cNvSpPr/>
            <p:nvPr/>
          </p:nvSpPr>
          <p:spPr>
            <a:xfrm>
              <a:off x="2547838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1" name="object 931">
              <a:extLst>
                <a:ext uri="{FF2B5EF4-FFF2-40B4-BE49-F238E27FC236}">
                  <a16:creationId xmlns:a16="http://schemas.microsoft.com/office/drawing/2014/main" id="{AD01CF5E-9721-AB62-404F-38904FF7BFD1}"/>
                </a:ext>
              </a:extLst>
            </p:cNvPr>
            <p:cNvSpPr/>
            <p:nvPr/>
          </p:nvSpPr>
          <p:spPr>
            <a:xfrm>
              <a:off x="2547829" y="111029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2" name="object 932">
              <a:extLst>
                <a:ext uri="{FF2B5EF4-FFF2-40B4-BE49-F238E27FC236}">
                  <a16:creationId xmlns:a16="http://schemas.microsoft.com/office/drawing/2014/main" id="{4B8F4491-0FBC-87AB-E6CF-EC8A2CE83655}"/>
                </a:ext>
              </a:extLst>
            </p:cNvPr>
            <p:cNvSpPr/>
            <p:nvPr/>
          </p:nvSpPr>
          <p:spPr>
            <a:xfrm>
              <a:off x="2547838" y="1084780"/>
              <a:ext cx="14401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7489"/>
                <a:gd name="f4" fmla="val 84455"/>
                <a:gd name="f5" fmla="val 236924"/>
                <a:gd name="f6" fmla="val 84112"/>
                <a:gd name="f7" fmla="*/ f0 1 237489"/>
                <a:gd name="f8" fmla="*/ f1 1 84455"/>
                <a:gd name="f9" fmla="+- f4 0 f2"/>
                <a:gd name="f10" fmla="+- f3 0 f2"/>
                <a:gd name="f11" fmla="*/ f10 1 23748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748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3" name="object 933">
              <a:extLst>
                <a:ext uri="{FF2B5EF4-FFF2-40B4-BE49-F238E27FC236}">
                  <a16:creationId xmlns:a16="http://schemas.microsoft.com/office/drawing/2014/main" id="{6E6C0800-A714-E33D-67D9-3F73946B877E}"/>
                </a:ext>
              </a:extLst>
            </p:cNvPr>
            <p:cNvSpPr/>
            <p:nvPr/>
          </p:nvSpPr>
          <p:spPr>
            <a:xfrm>
              <a:off x="289777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4" name="object 934">
              <a:extLst>
                <a:ext uri="{FF2B5EF4-FFF2-40B4-BE49-F238E27FC236}">
                  <a16:creationId xmlns:a16="http://schemas.microsoft.com/office/drawing/2014/main" id="{A051F4BA-1C3A-18C3-09C0-C109B2D0B2D8}"/>
                </a:ext>
              </a:extLst>
            </p:cNvPr>
            <p:cNvSpPr/>
            <p:nvPr/>
          </p:nvSpPr>
          <p:spPr>
            <a:xfrm>
              <a:off x="272280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5" name="object 935">
              <a:extLst>
                <a:ext uri="{FF2B5EF4-FFF2-40B4-BE49-F238E27FC236}">
                  <a16:creationId xmlns:a16="http://schemas.microsoft.com/office/drawing/2014/main" id="{82FC59B2-A679-74D2-5DCE-ECFCCD057EBE}"/>
                </a:ext>
              </a:extLst>
            </p:cNvPr>
            <p:cNvSpPr/>
            <p:nvPr/>
          </p:nvSpPr>
          <p:spPr>
            <a:xfrm>
              <a:off x="254783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6" name="object 936">
              <a:extLst>
                <a:ext uri="{FF2B5EF4-FFF2-40B4-BE49-F238E27FC236}">
                  <a16:creationId xmlns:a16="http://schemas.microsoft.com/office/drawing/2014/main" id="{A85E59B8-D112-D24B-4A2E-F41D698698D9}"/>
                </a:ext>
              </a:extLst>
            </p:cNvPr>
            <p:cNvSpPr/>
            <p:nvPr/>
          </p:nvSpPr>
          <p:spPr>
            <a:xfrm>
              <a:off x="272280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7" name="object 937">
              <a:extLst>
                <a:ext uri="{FF2B5EF4-FFF2-40B4-BE49-F238E27FC236}">
                  <a16:creationId xmlns:a16="http://schemas.microsoft.com/office/drawing/2014/main" id="{2E15FD84-935A-D21C-0054-99C6B56C7B7D}"/>
                </a:ext>
              </a:extLst>
            </p:cNvPr>
            <p:cNvSpPr/>
            <p:nvPr/>
          </p:nvSpPr>
          <p:spPr>
            <a:xfrm>
              <a:off x="282773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8" name="object 938">
              <a:extLst>
                <a:ext uri="{FF2B5EF4-FFF2-40B4-BE49-F238E27FC236}">
                  <a16:creationId xmlns:a16="http://schemas.microsoft.com/office/drawing/2014/main" id="{39C3DBBF-1E7D-8CAE-0D13-9D3ABD65CA8B}"/>
                </a:ext>
              </a:extLst>
            </p:cNvPr>
            <p:cNvSpPr/>
            <p:nvPr/>
          </p:nvSpPr>
          <p:spPr>
            <a:xfrm>
              <a:off x="286275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9" name="object 939">
              <a:extLst>
                <a:ext uri="{FF2B5EF4-FFF2-40B4-BE49-F238E27FC236}">
                  <a16:creationId xmlns:a16="http://schemas.microsoft.com/office/drawing/2014/main" id="{33811E77-D464-2899-2E23-C47C325B15EE}"/>
                </a:ext>
              </a:extLst>
            </p:cNvPr>
            <p:cNvSpPr/>
            <p:nvPr/>
          </p:nvSpPr>
          <p:spPr>
            <a:xfrm>
              <a:off x="275769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0" name="object 940">
              <a:extLst>
                <a:ext uri="{FF2B5EF4-FFF2-40B4-BE49-F238E27FC236}">
                  <a16:creationId xmlns:a16="http://schemas.microsoft.com/office/drawing/2014/main" id="{D0E098FC-67C9-6CEE-D340-08211C11FBB9}"/>
                </a:ext>
              </a:extLst>
            </p:cNvPr>
            <p:cNvSpPr/>
            <p:nvPr/>
          </p:nvSpPr>
          <p:spPr>
            <a:xfrm>
              <a:off x="265261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1" name="object 941">
              <a:extLst>
                <a:ext uri="{FF2B5EF4-FFF2-40B4-BE49-F238E27FC236}">
                  <a16:creationId xmlns:a16="http://schemas.microsoft.com/office/drawing/2014/main" id="{3DA867A1-E52F-BB34-E3D1-B884465B6530}"/>
                </a:ext>
              </a:extLst>
            </p:cNvPr>
            <p:cNvSpPr/>
            <p:nvPr/>
          </p:nvSpPr>
          <p:spPr>
            <a:xfrm>
              <a:off x="268771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2" name="object 942">
              <a:extLst>
                <a:ext uri="{FF2B5EF4-FFF2-40B4-BE49-F238E27FC236}">
                  <a16:creationId xmlns:a16="http://schemas.microsoft.com/office/drawing/2014/main" id="{FC2F22BC-F638-6D1D-3B0E-B72FA59E6C77}"/>
                </a:ext>
              </a:extLst>
            </p:cNvPr>
            <p:cNvSpPr/>
            <p:nvPr/>
          </p:nvSpPr>
          <p:spPr>
            <a:xfrm>
              <a:off x="258257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3" name="object 943">
              <a:extLst>
                <a:ext uri="{FF2B5EF4-FFF2-40B4-BE49-F238E27FC236}">
                  <a16:creationId xmlns:a16="http://schemas.microsoft.com/office/drawing/2014/main" id="{22F63FCD-C019-E50A-42AD-4E8A83CA315E}"/>
                </a:ext>
              </a:extLst>
            </p:cNvPr>
            <p:cNvSpPr/>
            <p:nvPr/>
          </p:nvSpPr>
          <p:spPr>
            <a:xfrm>
              <a:off x="279271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4" name="object 944">
              <a:extLst>
                <a:ext uri="{FF2B5EF4-FFF2-40B4-BE49-F238E27FC236}">
                  <a16:creationId xmlns:a16="http://schemas.microsoft.com/office/drawing/2014/main" id="{91D4B8A0-6D6D-B4B9-888E-BC16CE8AF604}"/>
                </a:ext>
              </a:extLst>
            </p:cNvPr>
            <p:cNvSpPr/>
            <p:nvPr/>
          </p:nvSpPr>
          <p:spPr>
            <a:xfrm>
              <a:off x="261759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5" name="object 945">
              <a:extLst>
                <a:ext uri="{FF2B5EF4-FFF2-40B4-BE49-F238E27FC236}">
                  <a16:creationId xmlns:a16="http://schemas.microsoft.com/office/drawing/2014/main" id="{66A95008-F3D9-DC56-5DC7-92EA174A77E0}"/>
                </a:ext>
              </a:extLst>
            </p:cNvPr>
            <p:cNvSpPr/>
            <p:nvPr/>
          </p:nvSpPr>
          <p:spPr>
            <a:xfrm>
              <a:off x="2547829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6" name="object 946">
              <a:extLst>
                <a:ext uri="{FF2B5EF4-FFF2-40B4-BE49-F238E27FC236}">
                  <a16:creationId xmlns:a16="http://schemas.microsoft.com/office/drawing/2014/main" id="{01790C25-2D5B-5B07-C0ED-E3FCB3FBD515}"/>
                </a:ext>
              </a:extLst>
            </p:cNvPr>
            <p:cNvSpPr/>
            <p:nvPr/>
          </p:nvSpPr>
          <p:spPr>
            <a:xfrm>
              <a:off x="2547838" y="1157804"/>
              <a:ext cx="7662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6364"/>
                <a:gd name="f4" fmla="val 84455"/>
                <a:gd name="f5" fmla="val 125818"/>
                <a:gd name="f6" fmla="val 84112"/>
                <a:gd name="f7" fmla="*/ f0 1 126364"/>
                <a:gd name="f8" fmla="*/ f1 1 84455"/>
                <a:gd name="f9" fmla="+- f4 0 f2"/>
                <a:gd name="f10" fmla="+- f3 0 f2"/>
                <a:gd name="f11" fmla="*/ f10 1 12636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636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7" name="object 947">
              <a:extLst>
                <a:ext uri="{FF2B5EF4-FFF2-40B4-BE49-F238E27FC236}">
                  <a16:creationId xmlns:a16="http://schemas.microsoft.com/office/drawing/2014/main" id="{291ADCD9-7FD9-B8BC-9B71-3367547C2863}"/>
                </a:ext>
              </a:extLst>
            </p:cNvPr>
            <p:cNvSpPr/>
            <p:nvPr/>
          </p:nvSpPr>
          <p:spPr>
            <a:xfrm>
              <a:off x="2547838" y="2613199"/>
              <a:ext cx="7354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285"/>
                <a:gd name="f4" fmla="val 84454"/>
                <a:gd name="f5" fmla="val 120823"/>
                <a:gd name="f6" fmla="val 84112"/>
                <a:gd name="f7" fmla="*/ f0 1 121285"/>
                <a:gd name="f8" fmla="*/ f1 1 84454"/>
                <a:gd name="f9" fmla="+- f4 0 f2"/>
                <a:gd name="f10" fmla="+- f3 0 f2"/>
                <a:gd name="f11" fmla="*/ f10 1 12128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128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48" name="object 948">
              <a:extLst>
                <a:ext uri="{FF2B5EF4-FFF2-40B4-BE49-F238E27FC236}">
                  <a16:creationId xmlns:a16="http://schemas.microsoft.com/office/drawing/2014/main" id="{EC4269F5-C56F-F418-9B83-7C1CFAF19C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545707" y="2103376"/>
              <a:ext cx="349959" cy="349959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49" name="object 949">
              <a:extLst>
                <a:ext uri="{FF2B5EF4-FFF2-40B4-BE49-F238E27FC236}">
                  <a16:creationId xmlns:a16="http://schemas.microsoft.com/office/drawing/2014/main" id="{8CCAA2A6-A50C-CE6C-E08B-FB6381410201}"/>
                </a:ext>
              </a:extLst>
            </p:cNvPr>
            <p:cNvSpPr/>
            <p:nvPr/>
          </p:nvSpPr>
          <p:spPr>
            <a:xfrm>
              <a:off x="2545707" y="210337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288546"/>
                <a:gd name="f5" fmla="val 3776"/>
                <a:gd name="f6" fmla="val 335351"/>
                <a:gd name="f7" fmla="val 14710"/>
                <a:gd name="f8" fmla="val 379752"/>
                <a:gd name="f9" fmla="val 32207"/>
                <a:gd name="f10" fmla="val 421155"/>
                <a:gd name="f11" fmla="val 55674"/>
                <a:gd name="f12" fmla="val 458964"/>
                <a:gd name="f13" fmla="val 84515"/>
                <a:gd name="f14" fmla="val 492587"/>
                <a:gd name="f15" fmla="val 118138"/>
                <a:gd name="f16" fmla="val 521428"/>
                <a:gd name="f17" fmla="val 155947"/>
                <a:gd name="f18" fmla="val 544894"/>
                <a:gd name="f19" fmla="val 197349"/>
                <a:gd name="f20" fmla="val 562392"/>
                <a:gd name="f21" fmla="val 241750"/>
                <a:gd name="f22" fmla="val 573326"/>
                <a:gd name="f23" fmla="val 288556"/>
                <a:gd name="f24" fmla="val 577102"/>
                <a:gd name="f25" fmla="val 335359"/>
                <a:gd name="f26" fmla="val 379758"/>
                <a:gd name="f27" fmla="val 421158"/>
                <a:gd name="f28" fmla="val 458966"/>
                <a:gd name="f29" fmla="val 492588"/>
                <a:gd name="f30" fmla="val 521429"/>
                <a:gd name="f31" fmla="val 544895"/>
                <a:gd name="f32" fmla="val 241743"/>
                <a:gd name="f33" fmla="val 197344"/>
                <a:gd name="f34" fmla="val 155944"/>
                <a:gd name="f35" fmla="val 118135"/>
                <a:gd name="f36" fmla="val 84514"/>
                <a:gd name="f37" fmla="val 55673"/>
                <a:gd name="f38" fmla="*/ f0 1 577214"/>
                <a:gd name="f39" fmla="*/ f1 1 577214"/>
                <a:gd name="f40" fmla="+- f3 0 f2"/>
                <a:gd name="f41" fmla="*/ f40 1 577214"/>
                <a:gd name="f42" fmla="*/ f2 1 f41"/>
                <a:gd name="f43" fmla="*/ f3 1 f41"/>
                <a:gd name="f44" fmla="*/ f42 f38 1"/>
                <a:gd name="f45" fmla="*/ f43 f38 1"/>
                <a:gd name="f46" fmla="*/ f43 f39 1"/>
                <a:gd name="f47" fmla="*/ f42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4" t="f47" r="f45" b="f46"/>
              <a:pathLst>
                <a:path w="577214" h="577214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2"/>
                  </a:lnTo>
                  <a:lnTo>
                    <a:pt x="f26" y="f20"/>
                  </a:lnTo>
                  <a:lnTo>
                    <a:pt x="f27" y="f18"/>
                  </a:lnTo>
                  <a:lnTo>
                    <a:pt x="f28" y="f16"/>
                  </a:lnTo>
                  <a:lnTo>
                    <a:pt x="f29" y="f14"/>
                  </a:lnTo>
                  <a:lnTo>
                    <a:pt x="f30" y="f12"/>
                  </a:lnTo>
                  <a:lnTo>
                    <a:pt x="f31" y="f10"/>
                  </a:lnTo>
                  <a:lnTo>
                    <a:pt x="f20" y="f8"/>
                  </a:lnTo>
                  <a:lnTo>
                    <a:pt x="f22" y="f6"/>
                  </a:lnTo>
                  <a:lnTo>
                    <a:pt x="f24" y="f4"/>
                  </a:lnTo>
                  <a:lnTo>
                    <a:pt x="f22" y="f32"/>
                  </a:lnTo>
                  <a:lnTo>
                    <a:pt x="f20" y="f33"/>
                  </a:lnTo>
                  <a:lnTo>
                    <a:pt x="f31" y="f34"/>
                  </a:lnTo>
                  <a:lnTo>
                    <a:pt x="f30" y="f35"/>
                  </a:lnTo>
                  <a:lnTo>
                    <a:pt x="f29" y="f36"/>
                  </a:lnTo>
                  <a:lnTo>
                    <a:pt x="f28" y="f37"/>
                  </a:lnTo>
                  <a:lnTo>
                    <a:pt x="f27" y="f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2"/>
                  </a:lnTo>
                  <a:lnTo>
                    <a:pt x="f21" y="f5"/>
                  </a:lnTo>
                  <a:lnTo>
                    <a:pt x="f19" y="f7"/>
                  </a:lnTo>
                  <a:lnTo>
                    <a:pt x="f17" y="f9"/>
                  </a:lnTo>
                  <a:lnTo>
                    <a:pt x="f15" y="f37"/>
                  </a:lnTo>
                  <a:lnTo>
                    <a:pt x="f13" y="f36"/>
                  </a:lnTo>
                  <a:lnTo>
                    <a:pt x="f11" y="f35"/>
                  </a:lnTo>
                  <a:lnTo>
                    <a:pt x="f9" y="f34"/>
                  </a:lnTo>
                  <a:lnTo>
                    <a:pt x="f7" y="f33"/>
                  </a:lnTo>
                  <a:lnTo>
                    <a:pt x="f5" y="f32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50" name="object 950">
              <a:extLst>
                <a:ext uri="{FF2B5EF4-FFF2-40B4-BE49-F238E27FC236}">
                  <a16:creationId xmlns:a16="http://schemas.microsoft.com/office/drawing/2014/main" id="{D22E26BE-E3A8-217D-843F-CB9B3FDE46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3373395" y="570091"/>
              <a:ext cx="348048" cy="34804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51" name="object 951">
              <a:extLst>
                <a:ext uri="{FF2B5EF4-FFF2-40B4-BE49-F238E27FC236}">
                  <a16:creationId xmlns:a16="http://schemas.microsoft.com/office/drawing/2014/main" id="{5AA14213-F053-83EA-586E-F3F4E7262E8C}"/>
                </a:ext>
              </a:extLst>
            </p:cNvPr>
            <p:cNvSpPr/>
            <p:nvPr/>
          </p:nvSpPr>
          <p:spPr>
            <a:xfrm>
              <a:off x="3373404" y="570082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39"/>
                <a:gd name="f4" fmla="val 574040"/>
                <a:gd name="f5" fmla="val 286975"/>
                <a:gd name="f6" fmla="val 3755"/>
                <a:gd name="f7" fmla="val 333523"/>
                <a:gd name="f8" fmla="val 14629"/>
                <a:gd name="f9" fmla="val 377680"/>
                <a:gd name="f10" fmla="val 32030"/>
                <a:gd name="f11" fmla="val 418855"/>
                <a:gd name="f12" fmla="val 55368"/>
                <a:gd name="f13" fmla="val 456457"/>
                <a:gd name="f14" fmla="val 84051"/>
                <a:gd name="f15" fmla="val 489896"/>
                <a:gd name="f16" fmla="val 117489"/>
                <a:gd name="f17" fmla="val 518580"/>
                <a:gd name="f18" fmla="val 155091"/>
                <a:gd name="f19" fmla="val 541918"/>
                <a:gd name="f20" fmla="val 196266"/>
                <a:gd name="f21" fmla="val 559320"/>
                <a:gd name="f22" fmla="val 240425"/>
                <a:gd name="f23" fmla="val 570194"/>
                <a:gd name="f24" fmla="val 573951"/>
                <a:gd name="f25" fmla="val 333522"/>
                <a:gd name="f26" fmla="val 377679"/>
                <a:gd name="f27" fmla="val 418852"/>
                <a:gd name="f28" fmla="val 456453"/>
                <a:gd name="f29" fmla="val 489890"/>
                <a:gd name="f30" fmla="val 518573"/>
                <a:gd name="f31" fmla="val 541910"/>
                <a:gd name="f32" fmla="val 559311"/>
                <a:gd name="f33" fmla="val 570184"/>
                <a:gd name="f34" fmla="val 573940"/>
                <a:gd name="f35" fmla="val 240427"/>
                <a:gd name="f36" fmla="val 196270"/>
                <a:gd name="f37" fmla="val 155095"/>
                <a:gd name="f38" fmla="val 117493"/>
                <a:gd name="f39" fmla="val 84055"/>
                <a:gd name="f40" fmla="val 55371"/>
                <a:gd name="f41" fmla="val 32032"/>
                <a:gd name="f42" fmla="val 14630"/>
                <a:gd name="f43" fmla="val 3756"/>
                <a:gd name="f44" fmla="*/ f0 1 574039"/>
                <a:gd name="f45" fmla="*/ f1 1 574040"/>
                <a:gd name="f46" fmla="+- f4 0 f2"/>
                <a:gd name="f47" fmla="+- f3 0 f2"/>
                <a:gd name="f48" fmla="*/ f47 1 574039"/>
                <a:gd name="f49" fmla="*/ f46 1 574040"/>
                <a:gd name="f50" fmla="*/ f2 1 f48"/>
                <a:gd name="f51" fmla="*/ f3 1 f48"/>
                <a:gd name="f52" fmla="*/ f2 1 f49"/>
                <a:gd name="f53" fmla="*/ f4 1 f49"/>
                <a:gd name="f54" fmla="*/ f50 f44 1"/>
                <a:gd name="f55" fmla="*/ f51 f44 1"/>
                <a:gd name="f56" fmla="*/ f53 f45 1"/>
                <a:gd name="f57" fmla="*/ f52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4" t="f57" r="f55" b="f56"/>
              <a:pathLst>
                <a:path w="574039" h="574040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4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33" y="f7"/>
                  </a:lnTo>
                  <a:lnTo>
                    <a:pt x="f34" y="f5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42"/>
                  </a:lnTo>
                  <a:lnTo>
                    <a:pt x="f25" y="f43"/>
                  </a:lnTo>
                  <a:lnTo>
                    <a:pt x="f5" y="f2"/>
                  </a:lnTo>
                  <a:lnTo>
                    <a:pt x="f22" y="f43"/>
                  </a:lnTo>
                  <a:lnTo>
                    <a:pt x="f20" y="f42"/>
                  </a:lnTo>
                  <a:lnTo>
                    <a:pt x="f18" y="f41"/>
                  </a:lnTo>
                  <a:lnTo>
                    <a:pt x="f16" y="f40"/>
                  </a:lnTo>
                  <a:lnTo>
                    <a:pt x="f14" y="f39"/>
                  </a:lnTo>
                  <a:lnTo>
                    <a:pt x="f12" y="f38"/>
                  </a:lnTo>
                  <a:lnTo>
                    <a:pt x="f10" y="f37"/>
                  </a:lnTo>
                  <a:lnTo>
                    <a:pt x="f8" y="f36"/>
                  </a:lnTo>
                  <a:lnTo>
                    <a:pt x="f6" y="f35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52" name="object 952">
              <a:extLst>
                <a:ext uri="{FF2B5EF4-FFF2-40B4-BE49-F238E27FC236}">
                  <a16:creationId xmlns:a16="http://schemas.microsoft.com/office/drawing/2014/main" id="{1190618D-FD96-3DFA-76C3-1F9B1CC96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2548890" y="1329967"/>
              <a:ext cx="34995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53" name="object 953">
              <a:extLst>
                <a:ext uri="{FF2B5EF4-FFF2-40B4-BE49-F238E27FC236}">
                  <a16:creationId xmlns:a16="http://schemas.microsoft.com/office/drawing/2014/main" id="{61DAB9E2-7E09-F95B-C7D6-EA290E93C7DE}"/>
                </a:ext>
              </a:extLst>
            </p:cNvPr>
            <p:cNvSpPr/>
            <p:nvPr/>
          </p:nvSpPr>
          <p:spPr>
            <a:xfrm>
              <a:off x="2548890" y="132996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54" name="object 954">
              <a:extLst>
                <a:ext uri="{FF2B5EF4-FFF2-40B4-BE49-F238E27FC236}">
                  <a16:creationId xmlns:a16="http://schemas.microsoft.com/office/drawing/2014/main" id="{5AA7D052-1A49-6344-243B-CE126CF203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373441" y="2102150"/>
              <a:ext cx="349940" cy="34978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55" name="object 955">
              <a:extLst>
                <a:ext uri="{FF2B5EF4-FFF2-40B4-BE49-F238E27FC236}">
                  <a16:creationId xmlns:a16="http://schemas.microsoft.com/office/drawing/2014/main" id="{75BF8351-0400-98E5-B413-6B75CF432BFC}"/>
                </a:ext>
              </a:extLst>
            </p:cNvPr>
            <p:cNvSpPr/>
            <p:nvPr/>
          </p:nvSpPr>
          <p:spPr>
            <a:xfrm>
              <a:off x="3373431" y="21021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56" name="object 956">
              <a:extLst>
                <a:ext uri="{FF2B5EF4-FFF2-40B4-BE49-F238E27FC236}">
                  <a16:creationId xmlns:a16="http://schemas.microsoft.com/office/drawing/2014/main" id="{492759BA-AF27-F500-F865-B7A31BFA22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3373441" y="1334420"/>
              <a:ext cx="349940" cy="34498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57" name="object 957">
              <a:extLst>
                <a:ext uri="{FF2B5EF4-FFF2-40B4-BE49-F238E27FC236}">
                  <a16:creationId xmlns:a16="http://schemas.microsoft.com/office/drawing/2014/main" id="{2373D75B-0D4D-229D-9FB5-626B4D4311A9}"/>
                </a:ext>
              </a:extLst>
            </p:cNvPr>
            <p:cNvSpPr/>
            <p:nvPr/>
          </p:nvSpPr>
          <p:spPr>
            <a:xfrm>
              <a:off x="3373431" y="132961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58" name="object 958">
              <a:extLst>
                <a:ext uri="{FF2B5EF4-FFF2-40B4-BE49-F238E27FC236}">
                  <a16:creationId xmlns:a16="http://schemas.microsoft.com/office/drawing/2014/main" id="{87391017-9F95-974C-8A3E-C47206079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3373441" y="2865153"/>
              <a:ext cx="349940" cy="34909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59" name="object 959">
              <a:extLst>
                <a:ext uri="{FF2B5EF4-FFF2-40B4-BE49-F238E27FC236}">
                  <a16:creationId xmlns:a16="http://schemas.microsoft.com/office/drawing/2014/main" id="{7EF6ED23-D656-7020-9CA2-64108C4B909E}"/>
                </a:ext>
              </a:extLst>
            </p:cNvPr>
            <p:cNvSpPr/>
            <p:nvPr/>
          </p:nvSpPr>
          <p:spPr>
            <a:xfrm>
              <a:off x="3373431" y="286515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60" name="object 960">
              <a:extLst>
                <a:ext uri="{FF2B5EF4-FFF2-40B4-BE49-F238E27FC236}">
                  <a16:creationId xmlns:a16="http://schemas.microsoft.com/office/drawing/2014/main" id="{A6D9607B-C2BA-A670-137C-3DF64C2D51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3370560" y="3636971"/>
              <a:ext cx="349931" cy="34413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61" name="object 961">
              <a:extLst>
                <a:ext uri="{FF2B5EF4-FFF2-40B4-BE49-F238E27FC236}">
                  <a16:creationId xmlns:a16="http://schemas.microsoft.com/office/drawing/2014/main" id="{3D2E010E-B163-9343-B024-929ECED01C58}"/>
                </a:ext>
              </a:extLst>
            </p:cNvPr>
            <p:cNvSpPr/>
            <p:nvPr/>
          </p:nvSpPr>
          <p:spPr>
            <a:xfrm>
              <a:off x="3370560" y="363697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62" name="object 962">
              <a:extLst>
                <a:ext uri="{FF2B5EF4-FFF2-40B4-BE49-F238E27FC236}">
                  <a16:creationId xmlns:a16="http://schemas.microsoft.com/office/drawing/2014/main" id="{2D278FC5-748F-B6B9-E286-0245C5C87E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3373395" y="4396298"/>
              <a:ext cx="348048" cy="34804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63" name="object 963">
              <a:extLst>
                <a:ext uri="{FF2B5EF4-FFF2-40B4-BE49-F238E27FC236}">
                  <a16:creationId xmlns:a16="http://schemas.microsoft.com/office/drawing/2014/main" id="{CFC27D14-DCD4-5F69-6943-FEECD4C0B613}"/>
                </a:ext>
              </a:extLst>
            </p:cNvPr>
            <p:cNvSpPr/>
            <p:nvPr/>
          </p:nvSpPr>
          <p:spPr>
            <a:xfrm>
              <a:off x="3373404" y="4396298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39"/>
                <a:gd name="f4" fmla="val 574040"/>
                <a:gd name="f5" fmla="val 286986"/>
                <a:gd name="f6" fmla="val 3755"/>
                <a:gd name="f7" fmla="val 333533"/>
                <a:gd name="f8" fmla="val 14629"/>
                <a:gd name="f9" fmla="val 377689"/>
                <a:gd name="f10" fmla="val 32030"/>
                <a:gd name="f11" fmla="val 418863"/>
                <a:gd name="f12" fmla="val 55368"/>
                <a:gd name="f13" fmla="val 456464"/>
                <a:gd name="f14" fmla="val 84051"/>
                <a:gd name="f15" fmla="val 489901"/>
                <a:gd name="f16" fmla="val 117489"/>
                <a:gd name="f17" fmla="val 518583"/>
                <a:gd name="f18" fmla="val 155091"/>
                <a:gd name="f19" fmla="val 541920"/>
                <a:gd name="f20" fmla="val 196266"/>
                <a:gd name="f21" fmla="val 559321"/>
                <a:gd name="f22" fmla="val 240425"/>
                <a:gd name="f23" fmla="val 570195"/>
                <a:gd name="f24" fmla="val 286975"/>
                <a:gd name="f25" fmla="val 573951"/>
                <a:gd name="f26" fmla="val 333522"/>
                <a:gd name="f27" fmla="val 377679"/>
                <a:gd name="f28" fmla="val 418852"/>
                <a:gd name="f29" fmla="val 456453"/>
                <a:gd name="f30" fmla="val 489890"/>
                <a:gd name="f31" fmla="val 518573"/>
                <a:gd name="f32" fmla="val 541910"/>
                <a:gd name="f33" fmla="val 559311"/>
                <a:gd name="f34" fmla="val 570184"/>
                <a:gd name="f35" fmla="val 573940"/>
                <a:gd name="f36" fmla="val 240435"/>
                <a:gd name="f37" fmla="val 196276"/>
                <a:gd name="f38" fmla="val 155099"/>
                <a:gd name="f39" fmla="val 117495"/>
                <a:gd name="f40" fmla="val 84056"/>
                <a:gd name="f41" fmla="val 55371"/>
                <a:gd name="f42" fmla="val 32032"/>
                <a:gd name="f43" fmla="val 14630"/>
                <a:gd name="f44" fmla="val 3756"/>
                <a:gd name="f45" fmla="*/ f0 1 574039"/>
                <a:gd name="f46" fmla="*/ f1 1 574040"/>
                <a:gd name="f47" fmla="+- f4 0 f2"/>
                <a:gd name="f48" fmla="+- f3 0 f2"/>
                <a:gd name="f49" fmla="*/ f48 1 574039"/>
                <a:gd name="f50" fmla="*/ f47 1 574040"/>
                <a:gd name="f51" fmla="*/ f2 1 f49"/>
                <a:gd name="f52" fmla="*/ f3 1 f49"/>
                <a:gd name="f53" fmla="*/ f2 1 f50"/>
                <a:gd name="f54" fmla="*/ f4 1 f50"/>
                <a:gd name="f55" fmla="*/ f51 f45 1"/>
                <a:gd name="f56" fmla="*/ f52 f45 1"/>
                <a:gd name="f57" fmla="*/ f54 f46 1"/>
                <a:gd name="f58" fmla="*/ f53 f4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5" t="f58" r="f56" b="f57"/>
              <a:pathLst>
                <a:path w="574039" h="574040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3"/>
                  </a:lnTo>
                  <a:lnTo>
                    <a:pt x="f27" y="f21"/>
                  </a:lnTo>
                  <a:lnTo>
                    <a:pt x="f28" y="f19"/>
                  </a:lnTo>
                  <a:lnTo>
                    <a:pt x="f29" y="f17"/>
                  </a:lnTo>
                  <a:lnTo>
                    <a:pt x="f30" y="f15"/>
                  </a:lnTo>
                  <a:lnTo>
                    <a:pt x="f31" y="f13"/>
                  </a:lnTo>
                  <a:lnTo>
                    <a:pt x="f32" y="f11"/>
                  </a:lnTo>
                  <a:lnTo>
                    <a:pt x="f33" y="f9"/>
                  </a:lnTo>
                  <a:lnTo>
                    <a:pt x="f34" y="f7"/>
                  </a:lnTo>
                  <a:lnTo>
                    <a:pt x="f35" y="f5"/>
                  </a:lnTo>
                  <a:lnTo>
                    <a:pt x="f34" y="f36"/>
                  </a:lnTo>
                  <a:lnTo>
                    <a:pt x="f33" y="f37"/>
                  </a:lnTo>
                  <a:lnTo>
                    <a:pt x="f32" y="f38"/>
                  </a:lnTo>
                  <a:lnTo>
                    <a:pt x="f31" y="f39"/>
                  </a:lnTo>
                  <a:lnTo>
                    <a:pt x="f30" y="f40"/>
                  </a:lnTo>
                  <a:lnTo>
                    <a:pt x="f29" y="f41"/>
                  </a:lnTo>
                  <a:lnTo>
                    <a:pt x="f28" y="f42"/>
                  </a:lnTo>
                  <a:lnTo>
                    <a:pt x="f27" y="f43"/>
                  </a:lnTo>
                  <a:lnTo>
                    <a:pt x="f26" y="f44"/>
                  </a:lnTo>
                  <a:lnTo>
                    <a:pt x="f24" y="f2"/>
                  </a:lnTo>
                  <a:lnTo>
                    <a:pt x="f22" y="f44"/>
                  </a:lnTo>
                  <a:lnTo>
                    <a:pt x="f20" y="f43"/>
                  </a:lnTo>
                  <a:lnTo>
                    <a:pt x="f18" y="f42"/>
                  </a:lnTo>
                  <a:lnTo>
                    <a:pt x="f16" y="f41"/>
                  </a:lnTo>
                  <a:lnTo>
                    <a:pt x="f14" y="f40"/>
                  </a:lnTo>
                  <a:lnTo>
                    <a:pt x="f12" y="f39"/>
                  </a:lnTo>
                  <a:lnTo>
                    <a:pt x="f10" y="f38"/>
                  </a:lnTo>
                  <a:lnTo>
                    <a:pt x="f8" y="f37"/>
                  </a:lnTo>
                  <a:lnTo>
                    <a:pt x="f6" y="f36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64" name="object 964">
              <a:extLst>
                <a:ext uri="{FF2B5EF4-FFF2-40B4-BE49-F238E27FC236}">
                  <a16:creationId xmlns:a16="http://schemas.microsoft.com/office/drawing/2014/main" id="{E5C84AFD-BF3C-99C9-56D0-D244F3A5FB89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5011680" y="4382115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65" name="object 965">
              <a:extLst>
                <a:ext uri="{FF2B5EF4-FFF2-40B4-BE49-F238E27FC236}">
                  <a16:creationId xmlns:a16="http://schemas.microsoft.com/office/drawing/2014/main" id="{3C98A559-C681-C0DE-4737-507023A3E4F5}"/>
                </a:ext>
              </a:extLst>
            </p:cNvPr>
            <p:cNvSpPr/>
            <p:nvPr/>
          </p:nvSpPr>
          <p:spPr>
            <a:xfrm>
              <a:off x="5011680" y="438211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66" name="object 966">
              <a:extLst>
                <a:ext uri="{FF2B5EF4-FFF2-40B4-BE49-F238E27FC236}">
                  <a16:creationId xmlns:a16="http://schemas.microsoft.com/office/drawing/2014/main" id="{85C9697A-0F77-CE48-25C7-B1E61DE2E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5012128" y="3634575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67" name="object 967">
              <a:extLst>
                <a:ext uri="{FF2B5EF4-FFF2-40B4-BE49-F238E27FC236}">
                  <a16:creationId xmlns:a16="http://schemas.microsoft.com/office/drawing/2014/main" id="{F25C7226-E5AB-E32C-D49F-81B724F35376}"/>
                </a:ext>
              </a:extLst>
            </p:cNvPr>
            <p:cNvSpPr/>
            <p:nvPr/>
          </p:nvSpPr>
          <p:spPr>
            <a:xfrm>
              <a:off x="5012128" y="36361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8" name="object 968">
              <a:extLst>
                <a:ext uri="{FF2B5EF4-FFF2-40B4-BE49-F238E27FC236}">
                  <a16:creationId xmlns:a16="http://schemas.microsoft.com/office/drawing/2014/main" id="{4D3D988A-F7CD-BF6C-23E4-A57C60A9E07E}"/>
                </a:ext>
              </a:extLst>
            </p:cNvPr>
            <p:cNvSpPr/>
            <p:nvPr/>
          </p:nvSpPr>
          <p:spPr>
            <a:xfrm>
              <a:off x="5012128" y="36373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9" name="object 969">
              <a:extLst>
                <a:ext uri="{FF2B5EF4-FFF2-40B4-BE49-F238E27FC236}">
                  <a16:creationId xmlns:a16="http://schemas.microsoft.com/office/drawing/2014/main" id="{CE3D01A4-03BD-CD9C-D246-69DECD6E589B}"/>
                </a:ext>
              </a:extLst>
            </p:cNvPr>
            <p:cNvSpPr/>
            <p:nvPr/>
          </p:nvSpPr>
          <p:spPr>
            <a:xfrm>
              <a:off x="5012128" y="36361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0" name="object 970">
              <a:extLst>
                <a:ext uri="{FF2B5EF4-FFF2-40B4-BE49-F238E27FC236}">
                  <a16:creationId xmlns:a16="http://schemas.microsoft.com/office/drawing/2014/main" id="{34782CFF-10FA-20E1-97CF-B380468479D4}"/>
                </a:ext>
              </a:extLst>
            </p:cNvPr>
            <p:cNvSpPr/>
            <p:nvPr/>
          </p:nvSpPr>
          <p:spPr>
            <a:xfrm>
              <a:off x="5012128" y="36373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1" name="object 971">
              <a:extLst>
                <a:ext uri="{FF2B5EF4-FFF2-40B4-BE49-F238E27FC236}">
                  <a16:creationId xmlns:a16="http://schemas.microsoft.com/office/drawing/2014/main" id="{DBDB5056-7C39-BA0F-B6C4-2C32A1243636}"/>
                </a:ext>
              </a:extLst>
            </p:cNvPr>
            <p:cNvSpPr/>
            <p:nvPr/>
          </p:nvSpPr>
          <p:spPr>
            <a:xfrm>
              <a:off x="5012128" y="36361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2" name="object 972">
              <a:extLst>
                <a:ext uri="{FF2B5EF4-FFF2-40B4-BE49-F238E27FC236}">
                  <a16:creationId xmlns:a16="http://schemas.microsoft.com/office/drawing/2014/main" id="{01E1335C-2421-C48B-198F-A36F2A8F42E1}"/>
                </a:ext>
              </a:extLst>
            </p:cNvPr>
            <p:cNvSpPr/>
            <p:nvPr/>
          </p:nvSpPr>
          <p:spPr>
            <a:xfrm>
              <a:off x="5012128" y="36373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3" name="object 973">
              <a:extLst>
                <a:ext uri="{FF2B5EF4-FFF2-40B4-BE49-F238E27FC236}">
                  <a16:creationId xmlns:a16="http://schemas.microsoft.com/office/drawing/2014/main" id="{485BE5B6-449F-C60D-F305-1063F467969D}"/>
                </a:ext>
              </a:extLst>
            </p:cNvPr>
            <p:cNvSpPr/>
            <p:nvPr/>
          </p:nvSpPr>
          <p:spPr>
            <a:xfrm>
              <a:off x="5292656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4" name="object 974">
              <a:extLst>
                <a:ext uri="{FF2B5EF4-FFF2-40B4-BE49-F238E27FC236}">
                  <a16:creationId xmlns:a16="http://schemas.microsoft.com/office/drawing/2014/main" id="{DE1B81F2-7582-6855-AE6C-B094693DF10B}"/>
                </a:ext>
              </a:extLst>
            </p:cNvPr>
            <p:cNvSpPr/>
            <p:nvPr/>
          </p:nvSpPr>
          <p:spPr>
            <a:xfrm>
              <a:off x="5327678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5" name="object 975">
              <a:extLst>
                <a:ext uri="{FF2B5EF4-FFF2-40B4-BE49-F238E27FC236}">
                  <a16:creationId xmlns:a16="http://schemas.microsoft.com/office/drawing/2014/main" id="{4A76D016-9B66-C9BF-DD6F-8946F00CC821}"/>
                </a:ext>
              </a:extLst>
            </p:cNvPr>
            <p:cNvSpPr/>
            <p:nvPr/>
          </p:nvSpPr>
          <p:spPr>
            <a:xfrm>
              <a:off x="5222613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6" name="object 976">
              <a:extLst>
                <a:ext uri="{FF2B5EF4-FFF2-40B4-BE49-F238E27FC236}">
                  <a16:creationId xmlns:a16="http://schemas.microsoft.com/office/drawing/2014/main" id="{2E6BF050-B162-13BF-6CA1-D38653239357}"/>
                </a:ext>
              </a:extLst>
            </p:cNvPr>
            <p:cNvSpPr/>
            <p:nvPr/>
          </p:nvSpPr>
          <p:spPr>
            <a:xfrm>
              <a:off x="5117549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7" name="object 977">
              <a:extLst>
                <a:ext uri="{FF2B5EF4-FFF2-40B4-BE49-F238E27FC236}">
                  <a16:creationId xmlns:a16="http://schemas.microsoft.com/office/drawing/2014/main" id="{D7C7604B-69A2-CCEC-CFE6-9AB0D7D98F12}"/>
                </a:ext>
              </a:extLst>
            </p:cNvPr>
            <p:cNvSpPr/>
            <p:nvPr/>
          </p:nvSpPr>
          <p:spPr>
            <a:xfrm>
              <a:off x="5152634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8" name="object 978">
              <a:extLst>
                <a:ext uri="{FF2B5EF4-FFF2-40B4-BE49-F238E27FC236}">
                  <a16:creationId xmlns:a16="http://schemas.microsoft.com/office/drawing/2014/main" id="{8A5AA2A3-BA07-33D6-C0A8-0A8AC8FE38EA}"/>
                </a:ext>
              </a:extLst>
            </p:cNvPr>
            <p:cNvSpPr/>
            <p:nvPr/>
          </p:nvSpPr>
          <p:spPr>
            <a:xfrm>
              <a:off x="5047506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9" name="object 979">
              <a:extLst>
                <a:ext uri="{FF2B5EF4-FFF2-40B4-BE49-F238E27FC236}">
                  <a16:creationId xmlns:a16="http://schemas.microsoft.com/office/drawing/2014/main" id="{7FD1DD9D-BE84-1FDB-8925-A8FA0D59726E}"/>
                </a:ext>
              </a:extLst>
            </p:cNvPr>
            <p:cNvSpPr/>
            <p:nvPr/>
          </p:nvSpPr>
          <p:spPr>
            <a:xfrm>
              <a:off x="5257635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0" name="object 980">
              <a:extLst>
                <a:ext uri="{FF2B5EF4-FFF2-40B4-BE49-F238E27FC236}">
                  <a16:creationId xmlns:a16="http://schemas.microsoft.com/office/drawing/2014/main" id="{EEF8495F-52CE-EC83-12B2-E476EA86CA1F}"/>
                </a:ext>
              </a:extLst>
            </p:cNvPr>
            <p:cNvSpPr/>
            <p:nvPr/>
          </p:nvSpPr>
          <p:spPr>
            <a:xfrm>
              <a:off x="5082527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1" name="object 981">
              <a:extLst>
                <a:ext uri="{FF2B5EF4-FFF2-40B4-BE49-F238E27FC236}">
                  <a16:creationId xmlns:a16="http://schemas.microsoft.com/office/drawing/2014/main" id="{308A6920-37AF-26A8-5991-B2CCC3DB0614}"/>
                </a:ext>
              </a:extLst>
            </p:cNvPr>
            <p:cNvSpPr/>
            <p:nvPr/>
          </p:nvSpPr>
          <p:spPr>
            <a:xfrm>
              <a:off x="5362699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2" name="object 982">
              <a:extLst>
                <a:ext uri="{FF2B5EF4-FFF2-40B4-BE49-F238E27FC236}">
                  <a16:creationId xmlns:a16="http://schemas.microsoft.com/office/drawing/2014/main" id="{845A9ACA-FB0A-1C42-BC0E-B42E1A033CC8}"/>
                </a:ext>
              </a:extLst>
            </p:cNvPr>
            <p:cNvSpPr/>
            <p:nvPr/>
          </p:nvSpPr>
          <p:spPr>
            <a:xfrm>
              <a:off x="5187729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3" name="object 983">
              <a:extLst>
                <a:ext uri="{FF2B5EF4-FFF2-40B4-BE49-F238E27FC236}">
                  <a16:creationId xmlns:a16="http://schemas.microsoft.com/office/drawing/2014/main" id="{4C1E9A7D-D5AB-CE1A-CE3F-7DBEF3080925}"/>
                </a:ext>
              </a:extLst>
            </p:cNvPr>
            <p:cNvSpPr/>
            <p:nvPr/>
          </p:nvSpPr>
          <p:spPr>
            <a:xfrm>
              <a:off x="5012759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4" name="object 984">
              <a:extLst>
                <a:ext uri="{FF2B5EF4-FFF2-40B4-BE49-F238E27FC236}">
                  <a16:creationId xmlns:a16="http://schemas.microsoft.com/office/drawing/2014/main" id="{61F2203A-8C37-6240-041A-5223F1706981}"/>
                </a:ext>
              </a:extLst>
            </p:cNvPr>
            <p:cNvSpPr/>
            <p:nvPr/>
          </p:nvSpPr>
          <p:spPr>
            <a:xfrm>
              <a:off x="5012749" y="417163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5" name="object 985">
              <a:extLst>
                <a:ext uri="{FF2B5EF4-FFF2-40B4-BE49-F238E27FC236}">
                  <a16:creationId xmlns:a16="http://schemas.microsoft.com/office/drawing/2014/main" id="{A3F555CB-7F8B-FDA6-EC2D-98430FEEBD1B}"/>
                </a:ext>
              </a:extLst>
            </p:cNvPr>
            <p:cNvSpPr/>
            <p:nvPr/>
          </p:nvSpPr>
          <p:spPr>
            <a:xfrm>
              <a:off x="5012877" y="4146136"/>
              <a:ext cx="26646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9420"/>
                <a:gd name="f4" fmla="val 84454"/>
                <a:gd name="f5" fmla="val 438970"/>
                <a:gd name="f6" fmla="val 84123"/>
                <a:gd name="f7" fmla="*/ f0 1 439420"/>
                <a:gd name="f8" fmla="*/ f1 1 84454"/>
                <a:gd name="f9" fmla="+- f4 0 f2"/>
                <a:gd name="f10" fmla="+- f3 0 f2"/>
                <a:gd name="f11" fmla="*/ f10 1 4394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94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6" name="object 986">
              <a:extLst>
                <a:ext uri="{FF2B5EF4-FFF2-40B4-BE49-F238E27FC236}">
                  <a16:creationId xmlns:a16="http://schemas.microsoft.com/office/drawing/2014/main" id="{F58F628A-0281-61B4-D3C9-BA8FC04A437D}"/>
                </a:ext>
              </a:extLst>
            </p:cNvPr>
            <p:cNvSpPr/>
            <p:nvPr/>
          </p:nvSpPr>
          <p:spPr>
            <a:xfrm>
              <a:off x="5012877" y="4218428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4"/>
                <a:gd name="f5" fmla="val 291163"/>
                <a:gd name="f6" fmla="val 84123"/>
                <a:gd name="f7" fmla="*/ f0 1 291465"/>
                <a:gd name="f8" fmla="*/ f1 1 84454"/>
                <a:gd name="f9" fmla="+- f4 0 f2"/>
                <a:gd name="f10" fmla="+- f3 0 f2"/>
                <a:gd name="f11" fmla="*/ f10 1 2914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7" name="object 987">
              <a:extLst>
                <a:ext uri="{FF2B5EF4-FFF2-40B4-BE49-F238E27FC236}">
                  <a16:creationId xmlns:a16="http://schemas.microsoft.com/office/drawing/2014/main" id="{04AF52D9-B5F8-6B26-F7CD-A617F87C1133}"/>
                </a:ext>
              </a:extLst>
            </p:cNvPr>
            <p:cNvSpPr/>
            <p:nvPr/>
          </p:nvSpPr>
          <p:spPr>
            <a:xfrm>
              <a:off x="5292309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8" name="object 988">
              <a:extLst>
                <a:ext uri="{FF2B5EF4-FFF2-40B4-BE49-F238E27FC236}">
                  <a16:creationId xmlns:a16="http://schemas.microsoft.com/office/drawing/2014/main" id="{4CD0C653-CCAE-E4B9-C37F-B3CD2502A410}"/>
                </a:ext>
              </a:extLst>
            </p:cNvPr>
            <p:cNvSpPr/>
            <p:nvPr/>
          </p:nvSpPr>
          <p:spPr>
            <a:xfrm>
              <a:off x="532733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9" name="object 989">
              <a:extLst>
                <a:ext uri="{FF2B5EF4-FFF2-40B4-BE49-F238E27FC236}">
                  <a16:creationId xmlns:a16="http://schemas.microsoft.com/office/drawing/2014/main" id="{355DEDAA-9872-74C2-7C4C-E5640C9DF913}"/>
                </a:ext>
              </a:extLst>
            </p:cNvPr>
            <p:cNvSpPr/>
            <p:nvPr/>
          </p:nvSpPr>
          <p:spPr>
            <a:xfrm>
              <a:off x="5222266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0" name="object 990">
              <a:extLst>
                <a:ext uri="{FF2B5EF4-FFF2-40B4-BE49-F238E27FC236}">
                  <a16:creationId xmlns:a16="http://schemas.microsoft.com/office/drawing/2014/main" id="{5A17286C-23AF-4507-1C8F-DA68C06EE191}"/>
                </a:ext>
              </a:extLst>
            </p:cNvPr>
            <p:cNvSpPr/>
            <p:nvPr/>
          </p:nvSpPr>
          <p:spPr>
            <a:xfrm>
              <a:off x="5117201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1" name="object 991">
              <a:extLst>
                <a:ext uri="{FF2B5EF4-FFF2-40B4-BE49-F238E27FC236}">
                  <a16:creationId xmlns:a16="http://schemas.microsoft.com/office/drawing/2014/main" id="{D42C6F9F-F107-7A88-0296-8EE87B03C574}"/>
                </a:ext>
              </a:extLst>
            </p:cNvPr>
            <p:cNvSpPr/>
            <p:nvPr/>
          </p:nvSpPr>
          <p:spPr>
            <a:xfrm>
              <a:off x="5152296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2" name="object 992">
              <a:extLst>
                <a:ext uri="{FF2B5EF4-FFF2-40B4-BE49-F238E27FC236}">
                  <a16:creationId xmlns:a16="http://schemas.microsoft.com/office/drawing/2014/main" id="{942F485C-DDF8-F6CE-9A14-24AD60EC055D}"/>
                </a:ext>
              </a:extLst>
            </p:cNvPr>
            <p:cNvSpPr/>
            <p:nvPr/>
          </p:nvSpPr>
          <p:spPr>
            <a:xfrm>
              <a:off x="5047158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3" name="object 993">
              <a:extLst>
                <a:ext uri="{FF2B5EF4-FFF2-40B4-BE49-F238E27FC236}">
                  <a16:creationId xmlns:a16="http://schemas.microsoft.com/office/drawing/2014/main" id="{1F62028C-D696-FC4A-9769-5F29C6096342}"/>
                </a:ext>
              </a:extLst>
            </p:cNvPr>
            <p:cNvSpPr/>
            <p:nvPr/>
          </p:nvSpPr>
          <p:spPr>
            <a:xfrm>
              <a:off x="5257287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4" name="object 994">
              <a:extLst>
                <a:ext uri="{FF2B5EF4-FFF2-40B4-BE49-F238E27FC236}">
                  <a16:creationId xmlns:a16="http://schemas.microsoft.com/office/drawing/2014/main" id="{B8E9E8CA-AE39-61E7-BFED-25A12610375A}"/>
                </a:ext>
              </a:extLst>
            </p:cNvPr>
            <p:cNvSpPr/>
            <p:nvPr/>
          </p:nvSpPr>
          <p:spPr>
            <a:xfrm>
              <a:off x="508218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5" name="object 995">
              <a:extLst>
                <a:ext uri="{FF2B5EF4-FFF2-40B4-BE49-F238E27FC236}">
                  <a16:creationId xmlns:a16="http://schemas.microsoft.com/office/drawing/2014/main" id="{F5B4BA31-6B10-92DF-23F3-0573BDB7A27A}"/>
                </a:ext>
              </a:extLst>
            </p:cNvPr>
            <p:cNvSpPr/>
            <p:nvPr/>
          </p:nvSpPr>
          <p:spPr>
            <a:xfrm>
              <a:off x="5362352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6" name="object 996">
              <a:extLst>
                <a:ext uri="{FF2B5EF4-FFF2-40B4-BE49-F238E27FC236}">
                  <a16:creationId xmlns:a16="http://schemas.microsoft.com/office/drawing/2014/main" id="{75C28CA7-11E2-E3A2-E5BA-D8D6E59D8DE5}"/>
                </a:ext>
              </a:extLst>
            </p:cNvPr>
            <p:cNvSpPr/>
            <p:nvPr/>
          </p:nvSpPr>
          <p:spPr>
            <a:xfrm>
              <a:off x="5187382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7" name="object 997">
              <a:extLst>
                <a:ext uri="{FF2B5EF4-FFF2-40B4-BE49-F238E27FC236}">
                  <a16:creationId xmlns:a16="http://schemas.microsoft.com/office/drawing/2014/main" id="{95677920-6BA2-F075-8BB8-BCAFEA8EE1D5}"/>
                </a:ext>
              </a:extLst>
            </p:cNvPr>
            <p:cNvSpPr/>
            <p:nvPr/>
          </p:nvSpPr>
          <p:spPr>
            <a:xfrm>
              <a:off x="5012411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8" name="object 998">
              <a:extLst>
                <a:ext uri="{FF2B5EF4-FFF2-40B4-BE49-F238E27FC236}">
                  <a16:creationId xmlns:a16="http://schemas.microsoft.com/office/drawing/2014/main" id="{FC2F6021-86F6-B742-6CFD-D4FBD37DDD4F}"/>
                </a:ext>
              </a:extLst>
            </p:cNvPr>
            <p:cNvSpPr/>
            <p:nvPr/>
          </p:nvSpPr>
          <p:spPr>
            <a:xfrm>
              <a:off x="5187382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9" name="object 999">
              <a:extLst>
                <a:ext uri="{FF2B5EF4-FFF2-40B4-BE49-F238E27FC236}">
                  <a16:creationId xmlns:a16="http://schemas.microsoft.com/office/drawing/2014/main" id="{32EE20B4-16CA-7250-15AD-94AE0B179E15}"/>
                </a:ext>
              </a:extLst>
            </p:cNvPr>
            <p:cNvSpPr/>
            <p:nvPr/>
          </p:nvSpPr>
          <p:spPr>
            <a:xfrm>
              <a:off x="5012411" y="42439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00" name="object 1000">
              <a:extLst>
                <a:ext uri="{FF2B5EF4-FFF2-40B4-BE49-F238E27FC236}">
                  <a16:creationId xmlns:a16="http://schemas.microsoft.com/office/drawing/2014/main" id="{C5AF95DE-474C-F1A8-E048-C251AD0D15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6656228" y="2852735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01" name="object 1001">
              <a:extLst>
                <a:ext uri="{FF2B5EF4-FFF2-40B4-BE49-F238E27FC236}">
                  <a16:creationId xmlns:a16="http://schemas.microsoft.com/office/drawing/2014/main" id="{BA03866C-7F38-F1A7-16D7-0841010C8EA3}"/>
                </a:ext>
              </a:extLst>
            </p:cNvPr>
            <p:cNvSpPr/>
            <p:nvPr/>
          </p:nvSpPr>
          <p:spPr>
            <a:xfrm>
              <a:off x="6656228" y="285273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02" name="object 1002">
              <a:extLst>
                <a:ext uri="{FF2B5EF4-FFF2-40B4-BE49-F238E27FC236}">
                  <a16:creationId xmlns:a16="http://schemas.microsoft.com/office/drawing/2014/main" id="{91EEBB83-D42B-E5AE-8280-883BFC6DF8EC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6654820" y="2100340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03" name="object 1003">
              <a:extLst>
                <a:ext uri="{FF2B5EF4-FFF2-40B4-BE49-F238E27FC236}">
                  <a16:creationId xmlns:a16="http://schemas.microsoft.com/office/drawing/2014/main" id="{618C2BE3-ADE0-6BA2-6FDC-74C3266AB853}"/>
                </a:ext>
              </a:extLst>
            </p:cNvPr>
            <p:cNvSpPr/>
            <p:nvPr/>
          </p:nvSpPr>
          <p:spPr>
            <a:xfrm>
              <a:off x="6654820" y="210034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04" name="object 1004">
              <a:extLst>
                <a:ext uri="{FF2B5EF4-FFF2-40B4-BE49-F238E27FC236}">
                  <a16:creationId xmlns:a16="http://schemas.microsoft.com/office/drawing/2014/main" id="{AD2FB00D-1DBA-4E23-6167-0CA3372BD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7481465" y="210041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05" name="object 1005">
              <a:extLst>
                <a:ext uri="{FF2B5EF4-FFF2-40B4-BE49-F238E27FC236}">
                  <a16:creationId xmlns:a16="http://schemas.microsoft.com/office/drawing/2014/main" id="{6B112539-C2E9-5821-6EA0-90F084F555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7476710" y="2095658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006" name="object 1006">
              <a:extLst>
                <a:ext uri="{FF2B5EF4-FFF2-40B4-BE49-F238E27FC236}">
                  <a16:creationId xmlns:a16="http://schemas.microsoft.com/office/drawing/2014/main" id="{F71461F6-5723-355E-EFB0-032EB25363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7476710" y="2095658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07" name="object 1007">
              <a:extLst>
                <a:ext uri="{FF2B5EF4-FFF2-40B4-BE49-F238E27FC236}">
                  <a16:creationId xmlns:a16="http://schemas.microsoft.com/office/drawing/2014/main" id="{5B458A97-2EB4-1793-5835-E9C6D047AFA6}"/>
                </a:ext>
              </a:extLst>
            </p:cNvPr>
            <p:cNvSpPr/>
            <p:nvPr/>
          </p:nvSpPr>
          <p:spPr>
            <a:xfrm>
              <a:off x="7481465" y="210041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8" name="object 1008">
              <a:extLst>
                <a:ext uri="{FF2B5EF4-FFF2-40B4-BE49-F238E27FC236}">
                  <a16:creationId xmlns:a16="http://schemas.microsoft.com/office/drawing/2014/main" id="{4E2E4E5E-F727-CC84-63EE-DA833B27E6AE}"/>
                </a:ext>
              </a:extLst>
            </p:cNvPr>
            <p:cNvSpPr/>
            <p:nvPr/>
          </p:nvSpPr>
          <p:spPr>
            <a:xfrm>
              <a:off x="775819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9" name="object 1009">
              <a:extLst>
                <a:ext uri="{FF2B5EF4-FFF2-40B4-BE49-F238E27FC236}">
                  <a16:creationId xmlns:a16="http://schemas.microsoft.com/office/drawing/2014/main" id="{1FCF88F7-4B83-31F0-651A-A22DE0A475E4}"/>
                </a:ext>
              </a:extLst>
            </p:cNvPr>
            <p:cNvSpPr/>
            <p:nvPr/>
          </p:nvSpPr>
          <p:spPr>
            <a:xfrm>
              <a:off x="779322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0" name="object 1010">
              <a:extLst>
                <a:ext uri="{FF2B5EF4-FFF2-40B4-BE49-F238E27FC236}">
                  <a16:creationId xmlns:a16="http://schemas.microsoft.com/office/drawing/2014/main" id="{19241B02-F719-32D5-344A-E7C40332B0A7}"/>
                </a:ext>
              </a:extLst>
            </p:cNvPr>
            <p:cNvSpPr/>
            <p:nvPr/>
          </p:nvSpPr>
          <p:spPr>
            <a:xfrm>
              <a:off x="768815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1" name="object 1011">
              <a:extLst>
                <a:ext uri="{FF2B5EF4-FFF2-40B4-BE49-F238E27FC236}">
                  <a16:creationId xmlns:a16="http://schemas.microsoft.com/office/drawing/2014/main" id="{30B23F82-88E9-DBB8-E1E8-4C0C9D10695F}"/>
                </a:ext>
              </a:extLst>
            </p:cNvPr>
            <p:cNvSpPr/>
            <p:nvPr/>
          </p:nvSpPr>
          <p:spPr>
            <a:xfrm>
              <a:off x="758309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2" name="object 1012">
              <a:extLst>
                <a:ext uri="{FF2B5EF4-FFF2-40B4-BE49-F238E27FC236}">
                  <a16:creationId xmlns:a16="http://schemas.microsoft.com/office/drawing/2014/main" id="{1B10BFCA-CB96-4BB5-4561-C9165AA23092}"/>
                </a:ext>
              </a:extLst>
            </p:cNvPr>
            <p:cNvSpPr/>
            <p:nvPr/>
          </p:nvSpPr>
          <p:spPr>
            <a:xfrm>
              <a:off x="761817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3" name="object 1013">
              <a:extLst>
                <a:ext uri="{FF2B5EF4-FFF2-40B4-BE49-F238E27FC236}">
                  <a16:creationId xmlns:a16="http://schemas.microsoft.com/office/drawing/2014/main" id="{01B2E5F8-99C1-40C9-B1C5-EEDD2C3E9E1B}"/>
                </a:ext>
              </a:extLst>
            </p:cNvPr>
            <p:cNvSpPr/>
            <p:nvPr/>
          </p:nvSpPr>
          <p:spPr>
            <a:xfrm>
              <a:off x="751304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4" name="object 1014">
              <a:extLst>
                <a:ext uri="{FF2B5EF4-FFF2-40B4-BE49-F238E27FC236}">
                  <a16:creationId xmlns:a16="http://schemas.microsoft.com/office/drawing/2014/main" id="{DF06B972-C13D-EE65-4002-46A4EA415DC4}"/>
                </a:ext>
              </a:extLst>
            </p:cNvPr>
            <p:cNvSpPr/>
            <p:nvPr/>
          </p:nvSpPr>
          <p:spPr>
            <a:xfrm>
              <a:off x="772317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5" name="object 1015">
              <a:extLst>
                <a:ext uri="{FF2B5EF4-FFF2-40B4-BE49-F238E27FC236}">
                  <a16:creationId xmlns:a16="http://schemas.microsoft.com/office/drawing/2014/main" id="{459E3D73-33EE-6EBC-7DFA-58D8D4D63147}"/>
                </a:ext>
              </a:extLst>
            </p:cNvPr>
            <p:cNvSpPr/>
            <p:nvPr/>
          </p:nvSpPr>
          <p:spPr>
            <a:xfrm>
              <a:off x="754807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6" name="object 1016">
              <a:extLst>
                <a:ext uri="{FF2B5EF4-FFF2-40B4-BE49-F238E27FC236}">
                  <a16:creationId xmlns:a16="http://schemas.microsoft.com/office/drawing/2014/main" id="{A06D4AC2-FCDA-8912-C094-0DB33E6533D7}"/>
                </a:ext>
              </a:extLst>
            </p:cNvPr>
            <p:cNvSpPr/>
            <p:nvPr/>
          </p:nvSpPr>
          <p:spPr>
            <a:xfrm>
              <a:off x="782824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7" name="object 1017">
              <a:extLst>
                <a:ext uri="{FF2B5EF4-FFF2-40B4-BE49-F238E27FC236}">
                  <a16:creationId xmlns:a16="http://schemas.microsoft.com/office/drawing/2014/main" id="{B69928E9-A098-7B5A-11AD-E31B6C324129}"/>
                </a:ext>
              </a:extLst>
            </p:cNvPr>
            <p:cNvSpPr/>
            <p:nvPr/>
          </p:nvSpPr>
          <p:spPr>
            <a:xfrm>
              <a:off x="765327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8" name="object 1018">
              <a:extLst>
                <a:ext uri="{FF2B5EF4-FFF2-40B4-BE49-F238E27FC236}">
                  <a16:creationId xmlns:a16="http://schemas.microsoft.com/office/drawing/2014/main" id="{5400DF18-7BC2-8D09-6B5E-ABCE808CECBC}"/>
                </a:ext>
              </a:extLst>
            </p:cNvPr>
            <p:cNvSpPr/>
            <p:nvPr/>
          </p:nvSpPr>
          <p:spPr>
            <a:xfrm>
              <a:off x="747830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9" name="object 1019">
              <a:extLst>
                <a:ext uri="{FF2B5EF4-FFF2-40B4-BE49-F238E27FC236}">
                  <a16:creationId xmlns:a16="http://schemas.microsoft.com/office/drawing/2014/main" id="{08E83749-757E-7145-871D-35633299064D}"/>
                </a:ext>
              </a:extLst>
            </p:cNvPr>
            <p:cNvSpPr/>
            <p:nvPr/>
          </p:nvSpPr>
          <p:spPr>
            <a:xfrm>
              <a:off x="7478301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0" name="object 1020">
              <a:extLst>
                <a:ext uri="{FF2B5EF4-FFF2-40B4-BE49-F238E27FC236}">
                  <a16:creationId xmlns:a16="http://schemas.microsoft.com/office/drawing/2014/main" id="{9E377E3F-B4B5-A2F7-D7DE-303A886F8F16}"/>
                </a:ext>
              </a:extLst>
            </p:cNvPr>
            <p:cNvSpPr/>
            <p:nvPr/>
          </p:nvSpPr>
          <p:spPr>
            <a:xfrm>
              <a:off x="7478429" y="2613318"/>
              <a:ext cx="34232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64515"/>
                <a:gd name="f4" fmla="val 84454"/>
                <a:gd name="f5" fmla="val 564359"/>
                <a:gd name="f6" fmla="val 84102"/>
                <a:gd name="f7" fmla="*/ f0 1 564515"/>
                <a:gd name="f8" fmla="*/ f1 1 84454"/>
                <a:gd name="f9" fmla="+- f4 0 f2"/>
                <a:gd name="f10" fmla="+- f3 0 f2"/>
                <a:gd name="f11" fmla="*/ f10 1 56451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6451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1" name="object 1021">
              <a:extLst>
                <a:ext uri="{FF2B5EF4-FFF2-40B4-BE49-F238E27FC236}">
                  <a16:creationId xmlns:a16="http://schemas.microsoft.com/office/drawing/2014/main" id="{27221FD1-6BDF-2195-96D1-56EC9A7EDDA6}"/>
                </a:ext>
              </a:extLst>
            </p:cNvPr>
            <p:cNvSpPr/>
            <p:nvPr/>
          </p:nvSpPr>
          <p:spPr>
            <a:xfrm>
              <a:off x="782789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2" name="object 1022">
              <a:extLst>
                <a:ext uri="{FF2B5EF4-FFF2-40B4-BE49-F238E27FC236}">
                  <a16:creationId xmlns:a16="http://schemas.microsoft.com/office/drawing/2014/main" id="{57D9A47F-EF97-CB86-96D2-BCC566C1910A}"/>
                </a:ext>
              </a:extLst>
            </p:cNvPr>
            <p:cNvSpPr/>
            <p:nvPr/>
          </p:nvSpPr>
          <p:spPr>
            <a:xfrm>
              <a:off x="765292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3" name="object 1023">
              <a:extLst>
                <a:ext uri="{FF2B5EF4-FFF2-40B4-BE49-F238E27FC236}">
                  <a16:creationId xmlns:a16="http://schemas.microsoft.com/office/drawing/2014/main" id="{060A08FF-0326-44BF-2B1F-02A5A02D9F9E}"/>
                </a:ext>
              </a:extLst>
            </p:cNvPr>
            <p:cNvSpPr/>
            <p:nvPr/>
          </p:nvSpPr>
          <p:spPr>
            <a:xfrm>
              <a:off x="747795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4" name="object 1024">
              <a:extLst>
                <a:ext uri="{FF2B5EF4-FFF2-40B4-BE49-F238E27FC236}">
                  <a16:creationId xmlns:a16="http://schemas.microsoft.com/office/drawing/2014/main" id="{3F08ABB2-DFDB-8151-9C47-B6AF0C18EEB6}"/>
                </a:ext>
              </a:extLst>
            </p:cNvPr>
            <p:cNvSpPr/>
            <p:nvPr/>
          </p:nvSpPr>
          <p:spPr>
            <a:xfrm>
              <a:off x="765292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5" name="object 1025">
              <a:extLst>
                <a:ext uri="{FF2B5EF4-FFF2-40B4-BE49-F238E27FC236}">
                  <a16:creationId xmlns:a16="http://schemas.microsoft.com/office/drawing/2014/main" id="{8F265119-AAE6-4917-643A-CED5FFE57955}"/>
                </a:ext>
              </a:extLst>
            </p:cNvPr>
            <p:cNvSpPr/>
            <p:nvPr/>
          </p:nvSpPr>
          <p:spPr>
            <a:xfrm>
              <a:off x="775785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6" name="object 1026">
              <a:extLst>
                <a:ext uri="{FF2B5EF4-FFF2-40B4-BE49-F238E27FC236}">
                  <a16:creationId xmlns:a16="http://schemas.microsoft.com/office/drawing/2014/main" id="{1EA0F4FC-584D-7CE9-684C-293C552C0409}"/>
                </a:ext>
              </a:extLst>
            </p:cNvPr>
            <p:cNvSpPr/>
            <p:nvPr/>
          </p:nvSpPr>
          <p:spPr>
            <a:xfrm>
              <a:off x="779287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7" name="object 1027">
              <a:extLst>
                <a:ext uri="{FF2B5EF4-FFF2-40B4-BE49-F238E27FC236}">
                  <a16:creationId xmlns:a16="http://schemas.microsoft.com/office/drawing/2014/main" id="{ADA5BD6C-58D0-80D2-508C-3565ABF649B6}"/>
                </a:ext>
              </a:extLst>
            </p:cNvPr>
            <p:cNvSpPr/>
            <p:nvPr/>
          </p:nvSpPr>
          <p:spPr>
            <a:xfrm>
              <a:off x="768780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8" name="object 1028">
              <a:extLst>
                <a:ext uri="{FF2B5EF4-FFF2-40B4-BE49-F238E27FC236}">
                  <a16:creationId xmlns:a16="http://schemas.microsoft.com/office/drawing/2014/main" id="{E70D5B90-4768-8208-4DD3-B2EA25EAA408}"/>
                </a:ext>
              </a:extLst>
            </p:cNvPr>
            <p:cNvSpPr/>
            <p:nvPr/>
          </p:nvSpPr>
          <p:spPr>
            <a:xfrm>
              <a:off x="758274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9" name="object 1029">
              <a:extLst>
                <a:ext uri="{FF2B5EF4-FFF2-40B4-BE49-F238E27FC236}">
                  <a16:creationId xmlns:a16="http://schemas.microsoft.com/office/drawing/2014/main" id="{848832EE-DB59-1408-4856-E8316E31E399}"/>
                </a:ext>
              </a:extLst>
            </p:cNvPr>
            <p:cNvSpPr/>
            <p:nvPr/>
          </p:nvSpPr>
          <p:spPr>
            <a:xfrm>
              <a:off x="761783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0" name="object 1030">
              <a:extLst>
                <a:ext uri="{FF2B5EF4-FFF2-40B4-BE49-F238E27FC236}">
                  <a16:creationId xmlns:a16="http://schemas.microsoft.com/office/drawing/2014/main" id="{54BFAA89-4465-B92C-12C3-42298D560CFE}"/>
                </a:ext>
              </a:extLst>
            </p:cNvPr>
            <p:cNvSpPr/>
            <p:nvPr/>
          </p:nvSpPr>
          <p:spPr>
            <a:xfrm>
              <a:off x="751270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1" name="object 1031">
              <a:extLst>
                <a:ext uri="{FF2B5EF4-FFF2-40B4-BE49-F238E27FC236}">
                  <a16:creationId xmlns:a16="http://schemas.microsoft.com/office/drawing/2014/main" id="{D77E71DB-0D5C-8B25-0AF2-51FA594B3873}"/>
                </a:ext>
              </a:extLst>
            </p:cNvPr>
            <p:cNvSpPr/>
            <p:nvPr/>
          </p:nvSpPr>
          <p:spPr>
            <a:xfrm>
              <a:off x="772283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2" name="object 1032">
              <a:extLst>
                <a:ext uri="{FF2B5EF4-FFF2-40B4-BE49-F238E27FC236}">
                  <a16:creationId xmlns:a16="http://schemas.microsoft.com/office/drawing/2014/main" id="{C55C0AD0-022B-62A1-A608-0A40F6BF15F6}"/>
                </a:ext>
              </a:extLst>
            </p:cNvPr>
            <p:cNvSpPr/>
            <p:nvPr/>
          </p:nvSpPr>
          <p:spPr>
            <a:xfrm>
              <a:off x="754772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3" name="object 1033">
              <a:extLst>
                <a:ext uri="{FF2B5EF4-FFF2-40B4-BE49-F238E27FC236}">
                  <a16:creationId xmlns:a16="http://schemas.microsoft.com/office/drawing/2014/main" id="{7647E2FB-456C-C30D-6EAE-8EB476061A7D}"/>
                </a:ext>
              </a:extLst>
            </p:cNvPr>
            <p:cNvSpPr/>
            <p:nvPr/>
          </p:nvSpPr>
          <p:spPr>
            <a:xfrm>
              <a:off x="7477954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4" name="object 1034">
              <a:extLst>
                <a:ext uri="{FF2B5EF4-FFF2-40B4-BE49-F238E27FC236}">
                  <a16:creationId xmlns:a16="http://schemas.microsoft.com/office/drawing/2014/main" id="{B3B6B8F0-762D-A8FC-3184-C349746C981B}"/>
                </a:ext>
              </a:extLst>
            </p:cNvPr>
            <p:cNvSpPr/>
            <p:nvPr/>
          </p:nvSpPr>
          <p:spPr>
            <a:xfrm>
              <a:off x="693630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5" name="object 1035">
              <a:extLst>
                <a:ext uri="{FF2B5EF4-FFF2-40B4-BE49-F238E27FC236}">
                  <a16:creationId xmlns:a16="http://schemas.microsoft.com/office/drawing/2014/main" id="{F2C06CC4-D6FD-57E3-1B2D-AD57F9F65976}"/>
                </a:ext>
              </a:extLst>
            </p:cNvPr>
            <p:cNvSpPr/>
            <p:nvPr/>
          </p:nvSpPr>
          <p:spPr>
            <a:xfrm>
              <a:off x="697133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6" name="object 1036">
              <a:extLst>
                <a:ext uri="{FF2B5EF4-FFF2-40B4-BE49-F238E27FC236}">
                  <a16:creationId xmlns:a16="http://schemas.microsoft.com/office/drawing/2014/main" id="{DFFCE266-1BD3-9A5F-AABE-8F0A9C1A1E85}"/>
                </a:ext>
              </a:extLst>
            </p:cNvPr>
            <p:cNvSpPr/>
            <p:nvPr/>
          </p:nvSpPr>
          <p:spPr>
            <a:xfrm>
              <a:off x="686625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7" name="object 1037">
              <a:extLst>
                <a:ext uri="{FF2B5EF4-FFF2-40B4-BE49-F238E27FC236}">
                  <a16:creationId xmlns:a16="http://schemas.microsoft.com/office/drawing/2014/main" id="{56B435F2-A162-F3E6-A400-227F65370465}"/>
                </a:ext>
              </a:extLst>
            </p:cNvPr>
            <p:cNvSpPr/>
            <p:nvPr/>
          </p:nvSpPr>
          <p:spPr>
            <a:xfrm>
              <a:off x="6761192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8" name="object 1038">
              <a:extLst>
                <a:ext uri="{FF2B5EF4-FFF2-40B4-BE49-F238E27FC236}">
                  <a16:creationId xmlns:a16="http://schemas.microsoft.com/office/drawing/2014/main" id="{8F3F622A-4048-A815-3BD9-0B505662DD5A}"/>
                </a:ext>
              </a:extLst>
            </p:cNvPr>
            <p:cNvSpPr/>
            <p:nvPr/>
          </p:nvSpPr>
          <p:spPr>
            <a:xfrm>
              <a:off x="679628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9" name="object 1039">
              <a:extLst>
                <a:ext uri="{FF2B5EF4-FFF2-40B4-BE49-F238E27FC236}">
                  <a16:creationId xmlns:a16="http://schemas.microsoft.com/office/drawing/2014/main" id="{A4861927-82E9-139C-C90E-FCE479989160}"/>
                </a:ext>
              </a:extLst>
            </p:cNvPr>
            <p:cNvSpPr/>
            <p:nvPr/>
          </p:nvSpPr>
          <p:spPr>
            <a:xfrm>
              <a:off x="669114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0" name="object 1040">
              <a:extLst>
                <a:ext uri="{FF2B5EF4-FFF2-40B4-BE49-F238E27FC236}">
                  <a16:creationId xmlns:a16="http://schemas.microsoft.com/office/drawing/2014/main" id="{1FCDFF9B-F1F7-A9D4-276B-D259D9940FFE}"/>
                </a:ext>
              </a:extLst>
            </p:cNvPr>
            <p:cNvSpPr/>
            <p:nvPr/>
          </p:nvSpPr>
          <p:spPr>
            <a:xfrm>
              <a:off x="690127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1" name="object 1041">
              <a:extLst>
                <a:ext uri="{FF2B5EF4-FFF2-40B4-BE49-F238E27FC236}">
                  <a16:creationId xmlns:a16="http://schemas.microsoft.com/office/drawing/2014/main" id="{B13E4D83-AECA-0DC0-2703-1756D06411B3}"/>
                </a:ext>
              </a:extLst>
            </p:cNvPr>
            <p:cNvSpPr/>
            <p:nvPr/>
          </p:nvSpPr>
          <p:spPr>
            <a:xfrm>
              <a:off x="672617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2" name="object 1042">
              <a:extLst>
                <a:ext uri="{FF2B5EF4-FFF2-40B4-BE49-F238E27FC236}">
                  <a16:creationId xmlns:a16="http://schemas.microsoft.com/office/drawing/2014/main" id="{643C4B52-8D1E-03FD-72C0-344914196B86}"/>
                </a:ext>
              </a:extLst>
            </p:cNvPr>
            <p:cNvSpPr/>
            <p:nvPr/>
          </p:nvSpPr>
          <p:spPr>
            <a:xfrm>
              <a:off x="700635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3" name="object 1043">
              <a:extLst>
                <a:ext uri="{FF2B5EF4-FFF2-40B4-BE49-F238E27FC236}">
                  <a16:creationId xmlns:a16="http://schemas.microsoft.com/office/drawing/2014/main" id="{0C298360-9AF5-0E3C-3D8B-E45078BF2AAB}"/>
                </a:ext>
              </a:extLst>
            </p:cNvPr>
            <p:cNvSpPr/>
            <p:nvPr/>
          </p:nvSpPr>
          <p:spPr>
            <a:xfrm>
              <a:off x="683137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4" name="object 1044">
              <a:extLst>
                <a:ext uri="{FF2B5EF4-FFF2-40B4-BE49-F238E27FC236}">
                  <a16:creationId xmlns:a16="http://schemas.microsoft.com/office/drawing/2014/main" id="{4FB673D7-1E2E-3DB3-55A1-8987E751F7A7}"/>
                </a:ext>
              </a:extLst>
            </p:cNvPr>
            <p:cNvSpPr/>
            <p:nvPr/>
          </p:nvSpPr>
          <p:spPr>
            <a:xfrm>
              <a:off x="665640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5" name="object 1045">
              <a:extLst>
                <a:ext uri="{FF2B5EF4-FFF2-40B4-BE49-F238E27FC236}">
                  <a16:creationId xmlns:a16="http://schemas.microsoft.com/office/drawing/2014/main" id="{EB4E9BB1-2BED-7A05-C719-4803EB2AA1BB}"/>
                </a:ext>
              </a:extLst>
            </p:cNvPr>
            <p:cNvSpPr/>
            <p:nvPr/>
          </p:nvSpPr>
          <p:spPr>
            <a:xfrm>
              <a:off x="6656402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6" name="object 1046">
              <a:extLst>
                <a:ext uri="{FF2B5EF4-FFF2-40B4-BE49-F238E27FC236}">
                  <a16:creationId xmlns:a16="http://schemas.microsoft.com/office/drawing/2014/main" id="{7015514F-6E96-EBD3-C7CD-37561B965FC6}"/>
                </a:ext>
              </a:extLst>
            </p:cNvPr>
            <p:cNvSpPr/>
            <p:nvPr/>
          </p:nvSpPr>
          <p:spPr>
            <a:xfrm>
              <a:off x="6656539" y="2613318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20"/>
                <a:gd name="f4" fmla="val 84454"/>
                <a:gd name="f5" fmla="val 172560"/>
                <a:gd name="f6" fmla="val 84102"/>
                <a:gd name="f7" fmla="*/ f0 1 172720"/>
                <a:gd name="f8" fmla="*/ f1 1 84454"/>
                <a:gd name="f9" fmla="+- f4 0 f2"/>
                <a:gd name="f10" fmla="+- f3 0 f2"/>
                <a:gd name="f11" fmla="*/ f10 1 1727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7" name="object 1047">
              <a:extLst>
                <a:ext uri="{FF2B5EF4-FFF2-40B4-BE49-F238E27FC236}">
                  <a16:creationId xmlns:a16="http://schemas.microsoft.com/office/drawing/2014/main" id="{3E7D6F22-4135-0B67-1873-6BFF06A45CDF}"/>
                </a:ext>
              </a:extLst>
            </p:cNvPr>
            <p:cNvSpPr/>
            <p:nvPr/>
          </p:nvSpPr>
          <p:spPr>
            <a:xfrm>
              <a:off x="6656539" y="2685629"/>
              <a:ext cx="26184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1800"/>
                <a:gd name="f4" fmla="val 84454"/>
                <a:gd name="f5" fmla="val 431285"/>
                <a:gd name="f6" fmla="val 84102"/>
                <a:gd name="f7" fmla="*/ f0 1 431800"/>
                <a:gd name="f8" fmla="*/ f1 1 84454"/>
                <a:gd name="f9" fmla="+- f4 0 f2"/>
                <a:gd name="f10" fmla="+- f3 0 f2"/>
                <a:gd name="f11" fmla="*/ f10 1 43180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180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8" name="object 1048">
              <a:extLst>
                <a:ext uri="{FF2B5EF4-FFF2-40B4-BE49-F238E27FC236}">
                  <a16:creationId xmlns:a16="http://schemas.microsoft.com/office/drawing/2014/main" id="{6BD7B0EE-FCA4-8F54-478C-230D1B086324}"/>
                </a:ext>
              </a:extLst>
            </p:cNvPr>
            <p:cNvSpPr/>
            <p:nvPr/>
          </p:nvSpPr>
          <p:spPr>
            <a:xfrm>
              <a:off x="693596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9" name="object 1049">
              <a:extLst>
                <a:ext uri="{FF2B5EF4-FFF2-40B4-BE49-F238E27FC236}">
                  <a16:creationId xmlns:a16="http://schemas.microsoft.com/office/drawing/2014/main" id="{3018161C-2B38-74B3-65FC-1822DEED6239}"/>
                </a:ext>
              </a:extLst>
            </p:cNvPr>
            <p:cNvSpPr/>
            <p:nvPr/>
          </p:nvSpPr>
          <p:spPr>
            <a:xfrm>
              <a:off x="697098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0" name="object 1050">
              <a:extLst>
                <a:ext uri="{FF2B5EF4-FFF2-40B4-BE49-F238E27FC236}">
                  <a16:creationId xmlns:a16="http://schemas.microsoft.com/office/drawing/2014/main" id="{9B464DB1-52D3-5329-3580-8EEDC6F5F2CE}"/>
                </a:ext>
              </a:extLst>
            </p:cNvPr>
            <p:cNvSpPr/>
            <p:nvPr/>
          </p:nvSpPr>
          <p:spPr>
            <a:xfrm>
              <a:off x="686591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1" name="object 1051">
              <a:extLst>
                <a:ext uri="{FF2B5EF4-FFF2-40B4-BE49-F238E27FC236}">
                  <a16:creationId xmlns:a16="http://schemas.microsoft.com/office/drawing/2014/main" id="{A29ADC0D-E26C-014E-E2DE-E8A9BF35DBED}"/>
                </a:ext>
              </a:extLst>
            </p:cNvPr>
            <p:cNvSpPr/>
            <p:nvPr/>
          </p:nvSpPr>
          <p:spPr>
            <a:xfrm>
              <a:off x="6760845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2" name="object 1052">
              <a:extLst>
                <a:ext uri="{FF2B5EF4-FFF2-40B4-BE49-F238E27FC236}">
                  <a16:creationId xmlns:a16="http://schemas.microsoft.com/office/drawing/2014/main" id="{E42DAC91-07F6-4063-EDF2-E36D8BA79A2A}"/>
                </a:ext>
              </a:extLst>
            </p:cNvPr>
            <p:cNvSpPr/>
            <p:nvPr/>
          </p:nvSpPr>
          <p:spPr>
            <a:xfrm>
              <a:off x="6795939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3" name="object 1053">
              <a:extLst>
                <a:ext uri="{FF2B5EF4-FFF2-40B4-BE49-F238E27FC236}">
                  <a16:creationId xmlns:a16="http://schemas.microsoft.com/office/drawing/2014/main" id="{9EC38A8B-227F-F9AF-20C6-9CE54CA76631}"/>
                </a:ext>
              </a:extLst>
            </p:cNvPr>
            <p:cNvSpPr/>
            <p:nvPr/>
          </p:nvSpPr>
          <p:spPr>
            <a:xfrm>
              <a:off x="669080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4" name="object 1054">
              <a:extLst>
                <a:ext uri="{FF2B5EF4-FFF2-40B4-BE49-F238E27FC236}">
                  <a16:creationId xmlns:a16="http://schemas.microsoft.com/office/drawing/2014/main" id="{15A1ABB6-1BF0-C199-1578-6BA0F521B08B}"/>
                </a:ext>
              </a:extLst>
            </p:cNvPr>
            <p:cNvSpPr/>
            <p:nvPr/>
          </p:nvSpPr>
          <p:spPr>
            <a:xfrm>
              <a:off x="690094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5" name="object 1055">
              <a:extLst>
                <a:ext uri="{FF2B5EF4-FFF2-40B4-BE49-F238E27FC236}">
                  <a16:creationId xmlns:a16="http://schemas.microsoft.com/office/drawing/2014/main" id="{439B1993-7FD4-C5AA-4921-C7A8CC88A44E}"/>
                </a:ext>
              </a:extLst>
            </p:cNvPr>
            <p:cNvSpPr/>
            <p:nvPr/>
          </p:nvSpPr>
          <p:spPr>
            <a:xfrm>
              <a:off x="672582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6" name="object 1056">
              <a:extLst>
                <a:ext uri="{FF2B5EF4-FFF2-40B4-BE49-F238E27FC236}">
                  <a16:creationId xmlns:a16="http://schemas.microsoft.com/office/drawing/2014/main" id="{40427292-E47E-5A69-9D13-CA9E47F47216}"/>
                </a:ext>
              </a:extLst>
            </p:cNvPr>
            <p:cNvSpPr/>
            <p:nvPr/>
          </p:nvSpPr>
          <p:spPr>
            <a:xfrm>
              <a:off x="700600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7" name="object 1057">
              <a:extLst>
                <a:ext uri="{FF2B5EF4-FFF2-40B4-BE49-F238E27FC236}">
                  <a16:creationId xmlns:a16="http://schemas.microsoft.com/office/drawing/2014/main" id="{8D5E32C2-E6BA-8F62-BCB5-62DD5CDBB098}"/>
                </a:ext>
              </a:extLst>
            </p:cNvPr>
            <p:cNvSpPr/>
            <p:nvPr/>
          </p:nvSpPr>
          <p:spPr>
            <a:xfrm>
              <a:off x="683103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8" name="object 1058">
              <a:extLst>
                <a:ext uri="{FF2B5EF4-FFF2-40B4-BE49-F238E27FC236}">
                  <a16:creationId xmlns:a16="http://schemas.microsoft.com/office/drawing/2014/main" id="{957532FC-0311-2529-30BB-72DA2F4263E6}"/>
                </a:ext>
              </a:extLst>
            </p:cNvPr>
            <p:cNvSpPr/>
            <p:nvPr/>
          </p:nvSpPr>
          <p:spPr>
            <a:xfrm>
              <a:off x="665606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9" name="object 1059">
              <a:extLst>
                <a:ext uri="{FF2B5EF4-FFF2-40B4-BE49-F238E27FC236}">
                  <a16:creationId xmlns:a16="http://schemas.microsoft.com/office/drawing/2014/main" id="{3AD11BBA-BCC4-1FD1-0815-0A27EC37F923}"/>
                </a:ext>
              </a:extLst>
            </p:cNvPr>
            <p:cNvSpPr/>
            <p:nvPr/>
          </p:nvSpPr>
          <p:spPr>
            <a:xfrm>
              <a:off x="683103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0" name="object 1060">
              <a:extLst>
                <a:ext uri="{FF2B5EF4-FFF2-40B4-BE49-F238E27FC236}">
                  <a16:creationId xmlns:a16="http://schemas.microsoft.com/office/drawing/2014/main" id="{D942F9F4-6F95-4B69-1F64-F7CF4AAC4E8C}"/>
                </a:ext>
              </a:extLst>
            </p:cNvPr>
            <p:cNvSpPr/>
            <p:nvPr/>
          </p:nvSpPr>
          <p:spPr>
            <a:xfrm>
              <a:off x="6656054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1" name="object 1061">
              <a:extLst>
                <a:ext uri="{FF2B5EF4-FFF2-40B4-BE49-F238E27FC236}">
                  <a16:creationId xmlns:a16="http://schemas.microsoft.com/office/drawing/2014/main" id="{6AC333F5-7B02-7064-B92B-70B15BA0694D}"/>
                </a:ext>
              </a:extLst>
            </p:cNvPr>
            <p:cNvSpPr/>
            <p:nvPr/>
          </p:nvSpPr>
          <p:spPr>
            <a:xfrm>
              <a:off x="693630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2" name="object 1062">
              <a:extLst>
                <a:ext uri="{FF2B5EF4-FFF2-40B4-BE49-F238E27FC236}">
                  <a16:creationId xmlns:a16="http://schemas.microsoft.com/office/drawing/2014/main" id="{A0A1F2FF-7A7C-4C24-7E00-440F859F5577}"/>
                </a:ext>
              </a:extLst>
            </p:cNvPr>
            <p:cNvSpPr/>
            <p:nvPr/>
          </p:nvSpPr>
          <p:spPr>
            <a:xfrm>
              <a:off x="697133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3" name="object 1063">
              <a:extLst>
                <a:ext uri="{FF2B5EF4-FFF2-40B4-BE49-F238E27FC236}">
                  <a16:creationId xmlns:a16="http://schemas.microsoft.com/office/drawing/2014/main" id="{605B9195-7681-87DF-991F-C6D7756ADB73}"/>
                </a:ext>
              </a:extLst>
            </p:cNvPr>
            <p:cNvSpPr/>
            <p:nvPr/>
          </p:nvSpPr>
          <p:spPr>
            <a:xfrm>
              <a:off x="686625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4" name="object 1064">
              <a:extLst>
                <a:ext uri="{FF2B5EF4-FFF2-40B4-BE49-F238E27FC236}">
                  <a16:creationId xmlns:a16="http://schemas.microsoft.com/office/drawing/2014/main" id="{8A19EC92-FD0B-E297-F5A7-3765CE89FB6F}"/>
                </a:ext>
              </a:extLst>
            </p:cNvPr>
            <p:cNvSpPr/>
            <p:nvPr/>
          </p:nvSpPr>
          <p:spPr>
            <a:xfrm>
              <a:off x="6761192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5" name="object 1065">
              <a:extLst>
                <a:ext uri="{FF2B5EF4-FFF2-40B4-BE49-F238E27FC236}">
                  <a16:creationId xmlns:a16="http://schemas.microsoft.com/office/drawing/2014/main" id="{04DE7A28-BEDB-C89D-CB2D-CD4E5756A5A0}"/>
                </a:ext>
              </a:extLst>
            </p:cNvPr>
            <p:cNvSpPr/>
            <p:nvPr/>
          </p:nvSpPr>
          <p:spPr>
            <a:xfrm>
              <a:off x="679628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6" name="object 1066">
              <a:extLst>
                <a:ext uri="{FF2B5EF4-FFF2-40B4-BE49-F238E27FC236}">
                  <a16:creationId xmlns:a16="http://schemas.microsoft.com/office/drawing/2014/main" id="{E0B18029-840A-E94A-3548-63AC5F4E34BB}"/>
                </a:ext>
              </a:extLst>
            </p:cNvPr>
            <p:cNvSpPr/>
            <p:nvPr/>
          </p:nvSpPr>
          <p:spPr>
            <a:xfrm>
              <a:off x="669114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7" name="object 1067">
              <a:extLst>
                <a:ext uri="{FF2B5EF4-FFF2-40B4-BE49-F238E27FC236}">
                  <a16:creationId xmlns:a16="http://schemas.microsoft.com/office/drawing/2014/main" id="{7514CF1E-2000-9C46-2E39-C81B354759D8}"/>
                </a:ext>
              </a:extLst>
            </p:cNvPr>
            <p:cNvSpPr/>
            <p:nvPr/>
          </p:nvSpPr>
          <p:spPr>
            <a:xfrm>
              <a:off x="690127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8" name="object 1068">
              <a:extLst>
                <a:ext uri="{FF2B5EF4-FFF2-40B4-BE49-F238E27FC236}">
                  <a16:creationId xmlns:a16="http://schemas.microsoft.com/office/drawing/2014/main" id="{E05CF478-77D2-0991-4A4F-0CE92C4FD625}"/>
                </a:ext>
              </a:extLst>
            </p:cNvPr>
            <p:cNvSpPr/>
            <p:nvPr/>
          </p:nvSpPr>
          <p:spPr>
            <a:xfrm>
              <a:off x="672617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9" name="object 1069">
              <a:extLst>
                <a:ext uri="{FF2B5EF4-FFF2-40B4-BE49-F238E27FC236}">
                  <a16:creationId xmlns:a16="http://schemas.microsoft.com/office/drawing/2014/main" id="{697AF3AE-1E9E-2762-E3EF-9F1A9F777A4F}"/>
                </a:ext>
              </a:extLst>
            </p:cNvPr>
            <p:cNvSpPr/>
            <p:nvPr/>
          </p:nvSpPr>
          <p:spPr>
            <a:xfrm>
              <a:off x="7006352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0" name="object 1070">
              <a:extLst>
                <a:ext uri="{FF2B5EF4-FFF2-40B4-BE49-F238E27FC236}">
                  <a16:creationId xmlns:a16="http://schemas.microsoft.com/office/drawing/2014/main" id="{C5602464-B5FD-2D7F-918D-6B6B5EFC035F}"/>
                </a:ext>
              </a:extLst>
            </p:cNvPr>
            <p:cNvSpPr/>
            <p:nvPr/>
          </p:nvSpPr>
          <p:spPr>
            <a:xfrm>
              <a:off x="6831372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1" name="object 1071">
              <a:extLst>
                <a:ext uri="{FF2B5EF4-FFF2-40B4-BE49-F238E27FC236}">
                  <a16:creationId xmlns:a16="http://schemas.microsoft.com/office/drawing/2014/main" id="{AB66AD66-C2C0-AC17-1D3E-CFB122504C7D}"/>
                </a:ext>
              </a:extLst>
            </p:cNvPr>
            <p:cNvSpPr/>
            <p:nvPr/>
          </p:nvSpPr>
          <p:spPr>
            <a:xfrm>
              <a:off x="6656402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2" name="object 1072">
              <a:extLst>
                <a:ext uri="{FF2B5EF4-FFF2-40B4-BE49-F238E27FC236}">
                  <a16:creationId xmlns:a16="http://schemas.microsoft.com/office/drawing/2014/main" id="{21A2BE5F-8717-85BD-F6BC-FEFD641CD1F4}"/>
                </a:ext>
              </a:extLst>
            </p:cNvPr>
            <p:cNvSpPr/>
            <p:nvPr/>
          </p:nvSpPr>
          <p:spPr>
            <a:xfrm>
              <a:off x="6656402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3" name="object 1073">
              <a:extLst>
                <a:ext uri="{FF2B5EF4-FFF2-40B4-BE49-F238E27FC236}">
                  <a16:creationId xmlns:a16="http://schemas.microsoft.com/office/drawing/2014/main" id="{DDAC4116-9A70-1575-67DC-52CDFDC46F74}"/>
                </a:ext>
              </a:extLst>
            </p:cNvPr>
            <p:cNvSpPr/>
            <p:nvPr/>
          </p:nvSpPr>
          <p:spPr>
            <a:xfrm>
              <a:off x="6656539" y="3378086"/>
              <a:ext cx="800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079"/>
                <a:gd name="f4" fmla="val 84454"/>
                <a:gd name="f5" fmla="val 131807"/>
                <a:gd name="f6" fmla="val 84112"/>
                <a:gd name="f7" fmla="*/ f0 1 132079"/>
                <a:gd name="f8" fmla="*/ f1 1 84454"/>
                <a:gd name="f9" fmla="+- f4 0 f2"/>
                <a:gd name="f10" fmla="+- f3 0 f2"/>
                <a:gd name="f11" fmla="*/ f10 1 1320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0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4" name="object 1074">
              <a:extLst>
                <a:ext uri="{FF2B5EF4-FFF2-40B4-BE49-F238E27FC236}">
                  <a16:creationId xmlns:a16="http://schemas.microsoft.com/office/drawing/2014/main" id="{33D92254-B74A-5668-1C54-BDEFCC4C79A3}"/>
                </a:ext>
              </a:extLst>
            </p:cNvPr>
            <p:cNvSpPr/>
            <p:nvPr/>
          </p:nvSpPr>
          <p:spPr>
            <a:xfrm>
              <a:off x="700600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5" name="object 1075">
              <a:extLst>
                <a:ext uri="{FF2B5EF4-FFF2-40B4-BE49-F238E27FC236}">
                  <a16:creationId xmlns:a16="http://schemas.microsoft.com/office/drawing/2014/main" id="{EA2FDD21-B2E5-6627-AD23-D276954344ED}"/>
                </a:ext>
              </a:extLst>
            </p:cNvPr>
            <p:cNvSpPr/>
            <p:nvPr/>
          </p:nvSpPr>
          <p:spPr>
            <a:xfrm>
              <a:off x="683103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6" name="object 1076">
              <a:extLst>
                <a:ext uri="{FF2B5EF4-FFF2-40B4-BE49-F238E27FC236}">
                  <a16:creationId xmlns:a16="http://schemas.microsoft.com/office/drawing/2014/main" id="{1AE1B14A-A682-C47A-2FBC-F0A1DD101E7E}"/>
                </a:ext>
              </a:extLst>
            </p:cNvPr>
            <p:cNvSpPr/>
            <p:nvPr/>
          </p:nvSpPr>
          <p:spPr>
            <a:xfrm>
              <a:off x="665606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7" name="object 1077">
              <a:extLst>
                <a:ext uri="{FF2B5EF4-FFF2-40B4-BE49-F238E27FC236}">
                  <a16:creationId xmlns:a16="http://schemas.microsoft.com/office/drawing/2014/main" id="{91EF62DE-78FE-EB99-AFA8-F6AB0D877ECE}"/>
                </a:ext>
              </a:extLst>
            </p:cNvPr>
            <p:cNvSpPr/>
            <p:nvPr/>
          </p:nvSpPr>
          <p:spPr>
            <a:xfrm>
              <a:off x="683103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8" name="object 1078">
              <a:extLst>
                <a:ext uri="{FF2B5EF4-FFF2-40B4-BE49-F238E27FC236}">
                  <a16:creationId xmlns:a16="http://schemas.microsoft.com/office/drawing/2014/main" id="{DC5EF375-08BE-7B82-D9AD-CA85CC364BE5}"/>
                </a:ext>
              </a:extLst>
            </p:cNvPr>
            <p:cNvSpPr/>
            <p:nvPr/>
          </p:nvSpPr>
          <p:spPr>
            <a:xfrm>
              <a:off x="693596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9" name="object 1079">
              <a:extLst>
                <a:ext uri="{FF2B5EF4-FFF2-40B4-BE49-F238E27FC236}">
                  <a16:creationId xmlns:a16="http://schemas.microsoft.com/office/drawing/2014/main" id="{9FB2B85C-361D-D8F9-48BB-178BAD80E9A3}"/>
                </a:ext>
              </a:extLst>
            </p:cNvPr>
            <p:cNvSpPr/>
            <p:nvPr/>
          </p:nvSpPr>
          <p:spPr>
            <a:xfrm>
              <a:off x="697098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0" name="object 1080">
              <a:extLst>
                <a:ext uri="{FF2B5EF4-FFF2-40B4-BE49-F238E27FC236}">
                  <a16:creationId xmlns:a16="http://schemas.microsoft.com/office/drawing/2014/main" id="{D513F874-65A3-2336-9D63-994A7155F915}"/>
                </a:ext>
              </a:extLst>
            </p:cNvPr>
            <p:cNvSpPr/>
            <p:nvPr/>
          </p:nvSpPr>
          <p:spPr>
            <a:xfrm>
              <a:off x="686591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1" name="object 1081">
              <a:extLst>
                <a:ext uri="{FF2B5EF4-FFF2-40B4-BE49-F238E27FC236}">
                  <a16:creationId xmlns:a16="http://schemas.microsoft.com/office/drawing/2014/main" id="{7F684CB9-3FD3-C9DF-50B8-3C08A64B0FE8}"/>
                </a:ext>
              </a:extLst>
            </p:cNvPr>
            <p:cNvSpPr/>
            <p:nvPr/>
          </p:nvSpPr>
          <p:spPr>
            <a:xfrm>
              <a:off x="676084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2" name="object 1082">
              <a:extLst>
                <a:ext uri="{FF2B5EF4-FFF2-40B4-BE49-F238E27FC236}">
                  <a16:creationId xmlns:a16="http://schemas.microsoft.com/office/drawing/2014/main" id="{7738236D-9378-5888-8B55-B6DD5F3A0F2E}"/>
                </a:ext>
              </a:extLst>
            </p:cNvPr>
            <p:cNvSpPr/>
            <p:nvPr/>
          </p:nvSpPr>
          <p:spPr>
            <a:xfrm>
              <a:off x="6795939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3" name="object 1083">
              <a:extLst>
                <a:ext uri="{FF2B5EF4-FFF2-40B4-BE49-F238E27FC236}">
                  <a16:creationId xmlns:a16="http://schemas.microsoft.com/office/drawing/2014/main" id="{4372F430-1DE0-5EEE-7997-45EA2B4D5BAB}"/>
                </a:ext>
              </a:extLst>
            </p:cNvPr>
            <p:cNvSpPr/>
            <p:nvPr/>
          </p:nvSpPr>
          <p:spPr>
            <a:xfrm>
              <a:off x="669080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4" name="object 1084">
              <a:extLst>
                <a:ext uri="{FF2B5EF4-FFF2-40B4-BE49-F238E27FC236}">
                  <a16:creationId xmlns:a16="http://schemas.microsoft.com/office/drawing/2014/main" id="{EFCEF4C9-C04E-59DB-3099-6DDD7B4E8426}"/>
                </a:ext>
              </a:extLst>
            </p:cNvPr>
            <p:cNvSpPr/>
            <p:nvPr/>
          </p:nvSpPr>
          <p:spPr>
            <a:xfrm>
              <a:off x="690094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5" name="object 1085">
              <a:extLst>
                <a:ext uri="{FF2B5EF4-FFF2-40B4-BE49-F238E27FC236}">
                  <a16:creationId xmlns:a16="http://schemas.microsoft.com/office/drawing/2014/main" id="{CAE23712-7333-37FC-E79A-4703E999E9B4}"/>
                </a:ext>
              </a:extLst>
            </p:cNvPr>
            <p:cNvSpPr/>
            <p:nvPr/>
          </p:nvSpPr>
          <p:spPr>
            <a:xfrm>
              <a:off x="672582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6" name="object 1086">
              <a:extLst>
                <a:ext uri="{FF2B5EF4-FFF2-40B4-BE49-F238E27FC236}">
                  <a16:creationId xmlns:a16="http://schemas.microsoft.com/office/drawing/2014/main" id="{CC9198F1-7B08-168D-94DF-505DB0EF0EB2}"/>
                </a:ext>
              </a:extLst>
            </p:cNvPr>
            <p:cNvSpPr/>
            <p:nvPr/>
          </p:nvSpPr>
          <p:spPr>
            <a:xfrm>
              <a:off x="6656054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7" name="object 1087">
              <a:extLst>
                <a:ext uri="{FF2B5EF4-FFF2-40B4-BE49-F238E27FC236}">
                  <a16:creationId xmlns:a16="http://schemas.microsoft.com/office/drawing/2014/main" id="{A1B749E1-49A3-0BA3-3FEA-79D18F141873}"/>
                </a:ext>
              </a:extLst>
            </p:cNvPr>
            <p:cNvSpPr/>
            <p:nvPr/>
          </p:nvSpPr>
          <p:spPr>
            <a:xfrm>
              <a:off x="611397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8" name="object 1088">
              <a:extLst>
                <a:ext uri="{FF2B5EF4-FFF2-40B4-BE49-F238E27FC236}">
                  <a16:creationId xmlns:a16="http://schemas.microsoft.com/office/drawing/2014/main" id="{BCB69A39-465A-82D1-32DB-4279450D0CEB}"/>
                </a:ext>
              </a:extLst>
            </p:cNvPr>
            <p:cNvSpPr/>
            <p:nvPr/>
          </p:nvSpPr>
          <p:spPr>
            <a:xfrm>
              <a:off x="6148992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9" name="object 1089">
              <a:extLst>
                <a:ext uri="{FF2B5EF4-FFF2-40B4-BE49-F238E27FC236}">
                  <a16:creationId xmlns:a16="http://schemas.microsoft.com/office/drawing/2014/main" id="{046044DE-F673-B796-FD41-4B0C29CC8EDD}"/>
                </a:ext>
              </a:extLst>
            </p:cNvPr>
            <p:cNvSpPr/>
            <p:nvPr/>
          </p:nvSpPr>
          <p:spPr>
            <a:xfrm>
              <a:off x="604392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0" name="object 1090">
              <a:extLst>
                <a:ext uri="{FF2B5EF4-FFF2-40B4-BE49-F238E27FC236}">
                  <a16:creationId xmlns:a16="http://schemas.microsoft.com/office/drawing/2014/main" id="{B7D5EFC0-9931-EF35-13AB-DF9D776044D3}"/>
                </a:ext>
              </a:extLst>
            </p:cNvPr>
            <p:cNvSpPr/>
            <p:nvPr/>
          </p:nvSpPr>
          <p:spPr>
            <a:xfrm>
              <a:off x="593886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1" name="object 1091">
              <a:extLst>
                <a:ext uri="{FF2B5EF4-FFF2-40B4-BE49-F238E27FC236}">
                  <a16:creationId xmlns:a16="http://schemas.microsoft.com/office/drawing/2014/main" id="{03CF9C20-2EE2-4B51-AB76-80112B726799}"/>
                </a:ext>
              </a:extLst>
            </p:cNvPr>
            <p:cNvSpPr/>
            <p:nvPr/>
          </p:nvSpPr>
          <p:spPr>
            <a:xfrm>
              <a:off x="597394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2" name="object 1092">
              <a:extLst>
                <a:ext uri="{FF2B5EF4-FFF2-40B4-BE49-F238E27FC236}">
                  <a16:creationId xmlns:a16="http://schemas.microsoft.com/office/drawing/2014/main" id="{76FC21F2-55F9-8439-B0F8-327FBCB9C8D9}"/>
                </a:ext>
              </a:extLst>
            </p:cNvPr>
            <p:cNvSpPr/>
            <p:nvPr/>
          </p:nvSpPr>
          <p:spPr>
            <a:xfrm>
              <a:off x="586882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3" name="object 1093">
              <a:extLst>
                <a:ext uri="{FF2B5EF4-FFF2-40B4-BE49-F238E27FC236}">
                  <a16:creationId xmlns:a16="http://schemas.microsoft.com/office/drawing/2014/main" id="{9BA7049B-E193-3E0C-AF37-EF2D11905EDD}"/>
                </a:ext>
              </a:extLst>
            </p:cNvPr>
            <p:cNvSpPr/>
            <p:nvPr/>
          </p:nvSpPr>
          <p:spPr>
            <a:xfrm>
              <a:off x="607894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4" name="object 1094">
              <a:extLst>
                <a:ext uri="{FF2B5EF4-FFF2-40B4-BE49-F238E27FC236}">
                  <a16:creationId xmlns:a16="http://schemas.microsoft.com/office/drawing/2014/main" id="{0EE12AC3-AC9D-69A7-4AB9-D93319534B05}"/>
                </a:ext>
              </a:extLst>
            </p:cNvPr>
            <p:cNvSpPr/>
            <p:nvPr/>
          </p:nvSpPr>
          <p:spPr>
            <a:xfrm>
              <a:off x="590384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5" name="object 1095">
              <a:extLst>
                <a:ext uri="{FF2B5EF4-FFF2-40B4-BE49-F238E27FC236}">
                  <a16:creationId xmlns:a16="http://schemas.microsoft.com/office/drawing/2014/main" id="{E243E217-3DFF-7829-2E72-A1C51DE89AB0}"/>
                </a:ext>
              </a:extLst>
            </p:cNvPr>
            <p:cNvSpPr/>
            <p:nvPr/>
          </p:nvSpPr>
          <p:spPr>
            <a:xfrm>
              <a:off x="6184014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6" name="object 1096">
              <a:extLst>
                <a:ext uri="{FF2B5EF4-FFF2-40B4-BE49-F238E27FC236}">
                  <a16:creationId xmlns:a16="http://schemas.microsoft.com/office/drawing/2014/main" id="{34C71AB8-00B6-4433-200E-88B5549893A7}"/>
                </a:ext>
              </a:extLst>
            </p:cNvPr>
            <p:cNvSpPr/>
            <p:nvPr/>
          </p:nvSpPr>
          <p:spPr>
            <a:xfrm>
              <a:off x="6009043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7" name="object 1097">
              <a:extLst>
                <a:ext uri="{FF2B5EF4-FFF2-40B4-BE49-F238E27FC236}">
                  <a16:creationId xmlns:a16="http://schemas.microsoft.com/office/drawing/2014/main" id="{04E80BAE-8DFD-DACA-0CCC-C1816DB05D07}"/>
                </a:ext>
              </a:extLst>
            </p:cNvPr>
            <p:cNvSpPr/>
            <p:nvPr/>
          </p:nvSpPr>
          <p:spPr>
            <a:xfrm>
              <a:off x="5834073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8" name="object 1098">
              <a:extLst>
                <a:ext uri="{FF2B5EF4-FFF2-40B4-BE49-F238E27FC236}">
                  <a16:creationId xmlns:a16="http://schemas.microsoft.com/office/drawing/2014/main" id="{3182C951-D62B-EB9E-4A30-415BE9920A5C}"/>
                </a:ext>
              </a:extLst>
            </p:cNvPr>
            <p:cNvSpPr/>
            <p:nvPr/>
          </p:nvSpPr>
          <p:spPr>
            <a:xfrm>
              <a:off x="5834073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9" name="object 1099">
              <a:extLst>
                <a:ext uri="{FF2B5EF4-FFF2-40B4-BE49-F238E27FC236}">
                  <a16:creationId xmlns:a16="http://schemas.microsoft.com/office/drawing/2014/main" id="{B5AB7497-1EE7-B924-01AC-71087AC7079F}"/>
                </a:ext>
              </a:extLst>
            </p:cNvPr>
            <p:cNvSpPr/>
            <p:nvPr/>
          </p:nvSpPr>
          <p:spPr>
            <a:xfrm>
              <a:off x="5834192" y="2613318"/>
              <a:ext cx="13207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17804"/>
                <a:gd name="f4" fmla="val 84454"/>
                <a:gd name="f5" fmla="val 217647"/>
                <a:gd name="f6" fmla="val 84102"/>
                <a:gd name="f7" fmla="*/ f0 1 217804"/>
                <a:gd name="f8" fmla="*/ f1 1 84454"/>
                <a:gd name="f9" fmla="+- f4 0 f2"/>
                <a:gd name="f10" fmla="+- f3 0 f2"/>
                <a:gd name="f11" fmla="*/ f10 1 2178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178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0" name="object 1100">
              <a:extLst>
                <a:ext uri="{FF2B5EF4-FFF2-40B4-BE49-F238E27FC236}">
                  <a16:creationId xmlns:a16="http://schemas.microsoft.com/office/drawing/2014/main" id="{2735F5E2-C440-118A-B35F-4ED2315B6284}"/>
                </a:ext>
              </a:extLst>
            </p:cNvPr>
            <p:cNvSpPr/>
            <p:nvPr/>
          </p:nvSpPr>
          <p:spPr>
            <a:xfrm>
              <a:off x="5834192" y="2685629"/>
              <a:ext cx="2610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0529"/>
                <a:gd name="f4" fmla="val 84454"/>
                <a:gd name="f5" fmla="val 430206"/>
                <a:gd name="f6" fmla="val 84102"/>
                <a:gd name="f7" fmla="*/ f0 1 430529"/>
                <a:gd name="f8" fmla="*/ f1 1 84454"/>
                <a:gd name="f9" fmla="+- f4 0 f2"/>
                <a:gd name="f10" fmla="+- f3 0 f2"/>
                <a:gd name="f11" fmla="*/ f10 1 43052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052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1" name="object 1101">
              <a:extLst>
                <a:ext uri="{FF2B5EF4-FFF2-40B4-BE49-F238E27FC236}">
                  <a16:creationId xmlns:a16="http://schemas.microsoft.com/office/drawing/2014/main" id="{4AEDD09B-3143-58D8-4E21-C709498965F7}"/>
                </a:ext>
              </a:extLst>
            </p:cNvPr>
            <p:cNvSpPr/>
            <p:nvPr/>
          </p:nvSpPr>
          <p:spPr>
            <a:xfrm>
              <a:off x="611362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2" name="object 1102">
              <a:extLst>
                <a:ext uri="{FF2B5EF4-FFF2-40B4-BE49-F238E27FC236}">
                  <a16:creationId xmlns:a16="http://schemas.microsoft.com/office/drawing/2014/main" id="{FD3BEBE7-0871-185D-3437-5DD51D7755D9}"/>
                </a:ext>
              </a:extLst>
            </p:cNvPr>
            <p:cNvSpPr/>
            <p:nvPr/>
          </p:nvSpPr>
          <p:spPr>
            <a:xfrm>
              <a:off x="6148645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3" name="object 1103">
              <a:extLst>
                <a:ext uri="{FF2B5EF4-FFF2-40B4-BE49-F238E27FC236}">
                  <a16:creationId xmlns:a16="http://schemas.microsoft.com/office/drawing/2014/main" id="{9E162844-0D2B-AB09-36E8-7A2C28A43913}"/>
                </a:ext>
              </a:extLst>
            </p:cNvPr>
            <p:cNvSpPr/>
            <p:nvPr/>
          </p:nvSpPr>
          <p:spPr>
            <a:xfrm>
              <a:off x="604358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4" name="object 1104">
              <a:extLst>
                <a:ext uri="{FF2B5EF4-FFF2-40B4-BE49-F238E27FC236}">
                  <a16:creationId xmlns:a16="http://schemas.microsoft.com/office/drawing/2014/main" id="{782FBCA7-4DEE-9B17-3647-5A2319ACACEF}"/>
                </a:ext>
              </a:extLst>
            </p:cNvPr>
            <p:cNvSpPr/>
            <p:nvPr/>
          </p:nvSpPr>
          <p:spPr>
            <a:xfrm>
              <a:off x="5938515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5" name="object 1105">
              <a:extLst>
                <a:ext uri="{FF2B5EF4-FFF2-40B4-BE49-F238E27FC236}">
                  <a16:creationId xmlns:a16="http://schemas.microsoft.com/office/drawing/2014/main" id="{4A526BBE-DBDF-4E37-85F6-7B4708E91503}"/>
                </a:ext>
              </a:extLst>
            </p:cNvPr>
            <p:cNvSpPr/>
            <p:nvPr/>
          </p:nvSpPr>
          <p:spPr>
            <a:xfrm>
              <a:off x="597361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6" name="object 1106">
              <a:extLst>
                <a:ext uri="{FF2B5EF4-FFF2-40B4-BE49-F238E27FC236}">
                  <a16:creationId xmlns:a16="http://schemas.microsoft.com/office/drawing/2014/main" id="{B977A9F7-68A3-06C7-F538-60A6B32018E4}"/>
                </a:ext>
              </a:extLst>
            </p:cNvPr>
            <p:cNvSpPr/>
            <p:nvPr/>
          </p:nvSpPr>
          <p:spPr>
            <a:xfrm>
              <a:off x="586847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7" name="object 1107">
              <a:extLst>
                <a:ext uri="{FF2B5EF4-FFF2-40B4-BE49-F238E27FC236}">
                  <a16:creationId xmlns:a16="http://schemas.microsoft.com/office/drawing/2014/main" id="{646C2359-5380-FAF6-FB4D-0918A3D5891C}"/>
                </a:ext>
              </a:extLst>
            </p:cNvPr>
            <p:cNvSpPr/>
            <p:nvPr/>
          </p:nvSpPr>
          <p:spPr>
            <a:xfrm>
              <a:off x="607860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8" name="object 1108">
              <a:extLst>
                <a:ext uri="{FF2B5EF4-FFF2-40B4-BE49-F238E27FC236}">
                  <a16:creationId xmlns:a16="http://schemas.microsoft.com/office/drawing/2014/main" id="{0EDD7D0A-418A-1366-D3A3-86CAC4353B13}"/>
                </a:ext>
              </a:extLst>
            </p:cNvPr>
            <p:cNvSpPr/>
            <p:nvPr/>
          </p:nvSpPr>
          <p:spPr>
            <a:xfrm>
              <a:off x="590349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9" name="object 1109">
              <a:extLst>
                <a:ext uri="{FF2B5EF4-FFF2-40B4-BE49-F238E27FC236}">
                  <a16:creationId xmlns:a16="http://schemas.microsoft.com/office/drawing/2014/main" id="{22E67486-9CDB-80D8-8F12-81CE5A137875}"/>
                </a:ext>
              </a:extLst>
            </p:cNvPr>
            <p:cNvSpPr/>
            <p:nvPr/>
          </p:nvSpPr>
          <p:spPr>
            <a:xfrm>
              <a:off x="6183666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0" name="object 1110">
              <a:extLst>
                <a:ext uri="{FF2B5EF4-FFF2-40B4-BE49-F238E27FC236}">
                  <a16:creationId xmlns:a16="http://schemas.microsoft.com/office/drawing/2014/main" id="{6228A646-CD42-973B-2857-D7EA208DCD15}"/>
                </a:ext>
              </a:extLst>
            </p:cNvPr>
            <p:cNvSpPr/>
            <p:nvPr/>
          </p:nvSpPr>
          <p:spPr>
            <a:xfrm>
              <a:off x="6008696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1" name="object 1111">
              <a:extLst>
                <a:ext uri="{FF2B5EF4-FFF2-40B4-BE49-F238E27FC236}">
                  <a16:creationId xmlns:a16="http://schemas.microsoft.com/office/drawing/2014/main" id="{887F89D9-CC5B-5207-BBE4-994612FF1F82}"/>
                </a:ext>
              </a:extLst>
            </p:cNvPr>
            <p:cNvSpPr/>
            <p:nvPr/>
          </p:nvSpPr>
          <p:spPr>
            <a:xfrm>
              <a:off x="5833725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2" name="object 1112">
              <a:extLst>
                <a:ext uri="{FF2B5EF4-FFF2-40B4-BE49-F238E27FC236}">
                  <a16:creationId xmlns:a16="http://schemas.microsoft.com/office/drawing/2014/main" id="{5405263E-602E-5F0C-AE37-89A1301ED5BD}"/>
                </a:ext>
              </a:extLst>
            </p:cNvPr>
            <p:cNvSpPr/>
            <p:nvPr/>
          </p:nvSpPr>
          <p:spPr>
            <a:xfrm>
              <a:off x="6008696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3" name="object 1113">
              <a:extLst>
                <a:ext uri="{FF2B5EF4-FFF2-40B4-BE49-F238E27FC236}">
                  <a16:creationId xmlns:a16="http://schemas.microsoft.com/office/drawing/2014/main" id="{D037D893-8E33-5635-5D62-46BD65853ADD}"/>
                </a:ext>
              </a:extLst>
            </p:cNvPr>
            <p:cNvSpPr/>
            <p:nvPr/>
          </p:nvSpPr>
          <p:spPr>
            <a:xfrm>
              <a:off x="5833725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4" name="object 1114">
              <a:extLst>
                <a:ext uri="{FF2B5EF4-FFF2-40B4-BE49-F238E27FC236}">
                  <a16:creationId xmlns:a16="http://schemas.microsoft.com/office/drawing/2014/main" id="{E9EB5296-A24F-F6C0-2BC0-799B89DC3CE0}"/>
                </a:ext>
              </a:extLst>
            </p:cNvPr>
            <p:cNvSpPr/>
            <p:nvPr/>
          </p:nvSpPr>
          <p:spPr>
            <a:xfrm>
              <a:off x="6113971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5" name="object 1115">
              <a:extLst>
                <a:ext uri="{FF2B5EF4-FFF2-40B4-BE49-F238E27FC236}">
                  <a16:creationId xmlns:a16="http://schemas.microsoft.com/office/drawing/2014/main" id="{6D25B631-C475-0AF7-9261-D61703E41361}"/>
                </a:ext>
              </a:extLst>
            </p:cNvPr>
            <p:cNvSpPr/>
            <p:nvPr/>
          </p:nvSpPr>
          <p:spPr>
            <a:xfrm>
              <a:off x="6148992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6" name="object 1116">
              <a:extLst>
                <a:ext uri="{FF2B5EF4-FFF2-40B4-BE49-F238E27FC236}">
                  <a16:creationId xmlns:a16="http://schemas.microsoft.com/office/drawing/2014/main" id="{14638B50-E493-19FB-C845-45CBA6944F6C}"/>
                </a:ext>
              </a:extLst>
            </p:cNvPr>
            <p:cNvSpPr/>
            <p:nvPr/>
          </p:nvSpPr>
          <p:spPr>
            <a:xfrm>
              <a:off x="604392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7" name="object 1117">
              <a:extLst>
                <a:ext uri="{FF2B5EF4-FFF2-40B4-BE49-F238E27FC236}">
                  <a16:creationId xmlns:a16="http://schemas.microsoft.com/office/drawing/2014/main" id="{1C709A40-6A51-C639-59DA-E74275EAF2F6}"/>
                </a:ext>
              </a:extLst>
            </p:cNvPr>
            <p:cNvSpPr/>
            <p:nvPr/>
          </p:nvSpPr>
          <p:spPr>
            <a:xfrm>
              <a:off x="5938863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8" name="object 1118">
              <a:extLst>
                <a:ext uri="{FF2B5EF4-FFF2-40B4-BE49-F238E27FC236}">
                  <a16:creationId xmlns:a16="http://schemas.microsoft.com/office/drawing/2014/main" id="{336915D1-EE3C-EA1C-103B-FBBE97626636}"/>
                </a:ext>
              </a:extLst>
            </p:cNvPr>
            <p:cNvSpPr/>
            <p:nvPr/>
          </p:nvSpPr>
          <p:spPr>
            <a:xfrm>
              <a:off x="597394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9" name="object 1119">
              <a:extLst>
                <a:ext uri="{FF2B5EF4-FFF2-40B4-BE49-F238E27FC236}">
                  <a16:creationId xmlns:a16="http://schemas.microsoft.com/office/drawing/2014/main" id="{260378CF-BF5D-C269-209C-0246212AC519}"/>
                </a:ext>
              </a:extLst>
            </p:cNvPr>
            <p:cNvSpPr/>
            <p:nvPr/>
          </p:nvSpPr>
          <p:spPr>
            <a:xfrm>
              <a:off x="586882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0" name="object 1120">
              <a:extLst>
                <a:ext uri="{FF2B5EF4-FFF2-40B4-BE49-F238E27FC236}">
                  <a16:creationId xmlns:a16="http://schemas.microsoft.com/office/drawing/2014/main" id="{CC533B5B-007B-3316-B75E-86B15334A1CE}"/>
                </a:ext>
              </a:extLst>
            </p:cNvPr>
            <p:cNvSpPr/>
            <p:nvPr/>
          </p:nvSpPr>
          <p:spPr>
            <a:xfrm>
              <a:off x="607894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1" name="object 1121">
              <a:extLst>
                <a:ext uri="{FF2B5EF4-FFF2-40B4-BE49-F238E27FC236}">
                  <a16:creationId xmlns:a16="http://schemas.microsoft.com/office/drawing/2014/main" id="{132E7CB3-B971-A074-DB44-0496F886DF3C}"/>
                </a:ext>
              </a:extLst>
            </p:cNvPr>
            <p:cNvSpPr/>
            <p:nvPr/>
          </p:nvSpPr>
          <p:spPr>
            <a:xfrm>
              <a:off x="5903841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2" name="object 1122">
              <a:extLst>
                <a:ext uri="{FF2B5EF4-FFF2-40B4-BE49-F238E27FC236}">
                  <a16:creationId xmlns:a16="http://schemas.microsoft.com/office/drawing/2014/main" id="{6DF9BB2E-9880-DB72-70A1-463F4FD0258A}"/>
                </a:ext>
              </a:extLst>
            </p:cNvPr>
            <p:cNvSpPr/>
            <p:nvPr/>
          </p:nvSpPr>
          <p:spPr>
            <a:xfrm>
              <a:off x="6184014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3" name="object 1123">
              <a:extLst>
                <a:ext uri="{FF2B5EF4-FFF2-40B4-BE49-F238E27FC236}">
                  <a16:creationId xmlns:a16="http://schemas.microsoft.com/office/drawing/2014/main" id="{5248E73A-B4DC-F91A-ACB4-85DF7FEFAFCB}"/>
                </a:ext>
              </a:extLst>
            </p:cNvPr>
            <p:cNvSpPr/>
            <p:nvPr/>
          </p:nvSpPr>
          <p:spPr>
            <a:xfrm>
              <a:off x="6009043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4" name="object 1124">
              <a:extLst>
                <a:ext uri="{FF2B5EF4-FFF2-40B4-BE49-F238E27FC236}">
                  <a16:creationId xmlns:a16="http://schemas.microsoft.com/office/drawing/2014/main" id="{EFA196FC-428E-73DD-F8DE-2FF8A60AA102}"/>
                </a:ext>
              </a:extLst>
            </p:cNvPr>
            <p:cNvSpPr/>
            <p:nvPr/>
          </p:nvSpPr>
          <p:spPr>
            <a:xfrm>
              <a:off x="5834073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5" name="object 1125">
              <a:extLst>
                <a:ext uri="{FF2B5EF4-FFF2-40B4-BE49-F238E27FC236}">
                  <a16:creationId xmlns:a16="http://schemas.microsoft.com/office/drawing/2014/main" id="{530ACB7A-2E3A-D8D4-1093-6E5B4445914E}"/>
                </a:ext>
              </a:extLst>
            </p:cNvPr>
            <p:cNvSpPr/>
            <p:nvPr/>
          </p:nvSpPr>
          <p:spPr>
            <a:xfrm>
              <a:off x="5834073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6" name="object 1126">
              <a:extLst>
                <a:ext uri="{FF2B5EF4-FFF2-40B4-BE49-F238E27FC236}">
                  <a16:creationId xmlns:a16="http://schemas.microsoft.com/office/drawing/2014/main" id="{5BE51F41-2D61-9555-6B0A-A4A651C73D0D}"/>
                </a:ext>
              </a:extLst>
            </p:cNvPr>
            <p:cNvSpPr/>
            <p:nvPr/>
          </p:nvSpPr>
          <p:spPr>
            <a:xfrm>
              <a:off x="5834192" y="3378086"/>
              <a:ext cx="770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7000"/>
                <a:gd name="f4" fmla="val 84454"/>
                <a:gd name="f5" fmla="val 126613"/>
                <a:gd name="f6" fmla="val 84112"/>
                <a:gd name="f7" fmla="*/ f0 1 127000"/>
                <a:gd name="f8" fmla="*/ f1 1 84454"/>
                <a:gd name="f9" fmla="+- f4 0 f2"/>
                <a:gd name="f10" fmla="+- f3 0 f2"/>
                <a:gd name="f11" fmla="*/ f10 1 12700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700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7" name="object 1127">
              <a:extLst>
                <a:ext uri="{FF2B5EF4-FFF2-40B4-BE49-F238E27FC236}">
                  <a16:creationId xmlns:a16="http://schemas.microsoft.com/office/drawing/2014/main" id="{1715CC7A-D7B8-6A14-0B1B-4FD413E3928B}"/>
                </a:ext>
              </a:extLst>
            </p:cNvPr>
            <p:cNvSpPr/>
            <p:nvPr/>
          </p:nvSpPr>
          <p:spPr>
            <a:xfrm>
              <a:off x="5834192" y="3450387"/>
              <a:ext cx="1725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4479"/>
                <a:gd name="f4" fmla="val 84454"/>
                <a:gd name="f5" fmla="val 284054"/>
                <a:gd name="f6" fmla="val 84112"/>
                <a:gd name="f7" fmla="*/ f0 1 284479"/>
                <a:gd name="f8" fmla="*/ f1 1 84454"/>
                <a:gd name="f9" fmla="+- f4 0 f2"/>
                <a:gd name="f10" fmla="+- f3 0 f2"/>
                <a:gd name="f11" fmla="*/ f10 1 2844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844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8" name="object 1128">
              <a:extLst>
                <a:ext uri="{FF2B5EF4-FFF2-40B4-BE49-F238E27FC236}">
                  <a16:creationId xmlns:a16="http://schemas.microsoft.com/office/drawing/2014/main" id="{28913F61-BB5C-7D9C-0524-69FDEB66928C}"/>
                </a:ext>
              </a:extLst>
            </p:cNvPr>
            <p:cNvSpPr/>
            <p:nvPr/>
          </p:nvSpPr>
          <p:spPr>
            <a:xfrm>
              <a:off x="611362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9" name="object 1129">
              <a:extLst>
                <a:ext uri="{FF2B5EF4-FFF2-40B4-BE49-F238E27FC236}">
                  <a16:creationId xmlns:a16="http://schemas.microsoft.com/office/drawing/2014/main" id="{6FE62222-217E-9C04-E355-DAE424082532}"/>
                </a:ext>
              </a:extLst>
            </p:cNvPr>
            <p:cNvSpPr/>
            <p:nvPr/>
          </p:nvSpPr>
          <p:spPr>
            <a:xfrm>
              <a:off x="614864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0" name="object 1130">
              <a:extLst>
                <a:ext uri="{FF2B5EF4-FFF2-40B4-BE49-F238E27FC236}">
                  <a16:creationId xmlns:a16="http://schemas.microsoft.com/office/drawing/2014/main" id="{E8561070-A49F-BC40-75AD-0A4BC62E2B20}"/>
                </a:ext>
              </a:extLst>
            </p:cNvPr>
            <p:cNvSpPr/>
            <p:nvPr/>
          </p:nvSpPr>
          <p:spPr>
            <a:xfrm>
              <a:off x="604358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1" name="object 1131">
              <a:extLst>
                <a:ext uri="{FF2B5EF4-FFF2-40B4-BE49-F238E27FC236}">
                  <a16:creationId xmlns:a16="http://schemas.microsoft.com/office/drawing/2014/main" id="{AC561C2C-00E3-8DD6-4078-DD73E1E9B952}"/>
                </a:ext>
              </a:extLst>
            </p:cNvPr>
            <p:cNvSpPr/>
            <p:nvPr/>
          </p:nvSpPr>
          <p:spPr>
            <a:xfrm>
              <a:off x="593851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2" name="object 1132">
              <a:extLst>
                <a:ext uri="{FF2B5EF4-FFF2-40B4-BE49-F238E27FC236}">
                  <a16:creationId xmlns:a16="http://schemas.microsoft.com/office/drawing/2014/main" id="{7D41E1F3-4AA1-41D3-7DE0-12FC0E366B9B}"/>
                </a:ext>
              </a:extLst>
            </p:cNvPr>
            <p:cNvSpPr/>
            <p:nvPr/>
          </p:nvSpPr>
          <p:spPr>
            <a:xfrm>
              <a:off x="597361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3" name="object 1133">
              <a:extLst>
                <a:ext uri="{FF2B5EF4-FFF2-40B4-BE49-F238E27FC236}">
                  <a16:creationId xmlns:a16="http://schemas.microsoft.com/office/drawing/2014/main" id="{126BCC83-CBA8-2410-084F-EF20E318354D}"/>
                </a:ext>
              </a:extLst>
            </p:cNvPr>
            <p:cNvSpPr/>
            <p:nvPr/>
          </p:nvSpPr>
          <p:spPr>
            <a:xfrm>
              <a:off x="586847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4" name="object 1134">
              <a:extLst>
                <a:ext uri="{FF2B5EF4-FFF2-40B4-BE49-F238E27FC236}">
                  <a16:creationId xmlns:a16="http://schemas.microsoft.com/office/drawing/2014/main" id="{E3AD3C64-DB84-DD86-7CE5-E9114D0928C0}"/>
                </a:ext>
              </a:extLst>
            </p:cNvPr>
            <p:cNvSpPr/>
            <p:nvPr/>
          </p:nvSpPr>
          <p:spPr>
            <a:xfrm>
              <a:off x="607860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5" name="object 1135">
              <a:extLst>
                <a:ext uri="{FF2B5EF4-FFF2-40B4-BE49-F238E27FC236}">
                  <a16:creationId xmlns:a16="http://schemas.microsoft.com/office/drawing/2014/main" id="{76D760DA-7615-41E3-5216-3E6D8913C6FA}"/>
                </a:ext>
              </a:extLst>
            </p:cNvPr>
            <p:cNvSpPr/>
            <p:nvPr/>
          </p:nvSpPr>
          <p:spPr>
            <a:xfrm>
              <a:off x="5903494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6" name="object 1136">
              <a:extLst>
                <a:ext uri="{FF2B5EF4-FFF2-40B4-BE49-F238E27FC236}">
                  <a16:creationId xmlns:a16="http://schemas.microsoft.com/office/drawing/2014/main" id="{FA62A976-4451-170E-D01A-C0762BE8789C}"/>
                </a:ext>
              </a:extLst>
            </p:cNvPr>
            <p:cNvSpPr/>
            <p:nvPr/>
          </p:nvSpPr>
          <p:spPr>
            <a:xfrm>
              <a:off x="6183666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7" name="object 1137">
              <a:extLst>
                <a:ext uri="{FF2B5EF4-FFF2-40B4-BE49-F238E27FC236}">
                  <a16:creationId xmlns:a16="http://schemas.microsoft.com/office/drawing/2014/main" id="{057669A6-4B32-6200-0E29-4685B7740AC1}"/>
                </a:ext>
              </a:extLst>
            </p:cNvPr>
            <p:cNvSpPr/>
            <p:nvPr/>
          </p:nvSpPr>
          <p:spPr>
            <a:xfrm>
              <a:off x="6008696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8" name="object 1138">
              <a:extLst>
                <a:ext uri="{FF2B5EF4-FFF2-40B4-BE49-F238E27FC236}">
                  <a16:creationId xmlns:a16="http://schemas.microsoft.com/office/drawing/2014/main" id="{45FAF8BC-68C2-45E1-4A50-3BFB64ED161D}"/>
                </a:ext>
              </a:extLst>
            </p:cNvPr>
            <p:cNvSpPr/>
            <p:nvPr/>
          </p:nvSpPr>
          <p:spPr>
            <a:xfrm>
              <a:off x="5833725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9" name="object 1139">
              <a:extLst>
                <a:ext uri="{FF2B5EF4-FFF2-40B4-BE49-F238E27FC236}">
                  <a16:creationId xmlns:a16="http://schemas.microsoft.com/office/drawing/2014/main" id="{5A165ABC-21B2-C748-B383-19540DBCC481}"/>
                </a:ext>
              </a:extLst>
            </p:cNvPr>
            <p:cNvSpPr/>
            <p:nvPr/>
          </p:nvSpPr>
          <p:spPr>
            <a:xfrm>
              <a:off x="6008696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0" name="object 1140">
              <a:extLst>
                <a:ext uri="{FF2B5EF4-FFF2-40B4-BE49-F238E27FC236}">
                  <a16:creationId xmlns:a16="http://schemas.microsoft.com/office/drawing/2014/main" id="{6D566484-011C-37B4-1469-19B5E3829E91}"/>
                </a:ext>
              </a:extLst>
            </p:cNvPr>
            <p:cNvSpPr/>
            <p:nvPr/>
          </p:nvSpPr>
          <p:spPr>
            <a:xfrm>
              <a:off x="5833725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1" name="object 1141">
              <a:extLst>
                <a:ext uri="{FF2B5EF4-FFF2-40B4-BE49-F238E27FC236}">
                  <a16:creationId xmlns:a16="http://schemas.microsoft.com/office/drawing/2014/main" id="{FD262A28-5003-8C8E-AAA2-AB4D0A1D44C2}"/>
                </a:ext>
              </a:extLst>
            </p:cNvPr>
            <p:cNvSpPr/>
            <p:nvPr/>
          </p:nvSpPr>
          <p:spPr>
            <a:xfrm>
              <a:off x="6113971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2" name="object 1142">
              <a:extLst>
                <a:ext uri="{FF2B5EF4-FFF2-40B4-BE49-F238E27FC236}">
                  <a16:creationId xmlns:a16="http://schemas.microsoft.com/office/drawing/2014/main" id="{BFFF199E-90A2-F645-0768-018F84E42583}"/>
                </a:ext>
              </a:extLst>
            </p:cNvPr>
            <p:cNvSpPr/>
            <p:nvPr/>
          </p:nvSpPr>
          <p:spPr>
            <a:xfrm>
              <a:off x="6148992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3" name="object 1143">
              <a:extLst>
                <a:ext uri="{FF2B5EF4-FFF2-40B4-BE49-F238E27FC236}">
                  <a16:creationId xmlns:a16="http://schemas.microsoft.com/office/drawing/2014/main" id="{74E47EA7-8677-6DC2-F74D-4626CDE1E95D}"/>
                </a:ext>
              </a:extLst>
            </p:cNvPr>
            <p:cNvSpPr/>
            <p:nvPr/>
          </p:nvSpPr>
          <p:spPr>
            <a:xfrm>
              <a:off x="6043927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4" name="object 1144">
              <a:extLst>
                <a:ext uri="{FF2B5EF4-FFF2-40B4-BE49-F238E27FC236}">
                  <a16:creationId xmlns:a16="http://schemas.microsoft.com/office/drawing/2014/main" id="{FDDBDA4E-F24A-0900-EAE5-03A6091E1F9F}"/>
                </a:ext>
              </a:extLst>
            </p:cNvPr>
            <p:cNvSpPr/>
            <p:nvPr/>
          </p:nvSpPr>
          <p:spPr>
            <a:xfrm>
              <a:off x="5938863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5" name="object 1145">
              <a:extLst>
                <a:ext uri="{FF2B5EF4-FFF2-40B4-BE49-F238E27FC236}">
                  <a16:creationId xmlns:a16="http://schemas.microsoft.com/office/drawing/2014/main" id="{7ACF643F-33E9-873B-C2C3-1EDE0928BDF2}"/>
                </a:ext>
              </a:extLst>
            </p:cNvPr>
            <p:cNvSpPr/>
            <p:nvPr/>
          </p:nvSpPr>
          <p:spPr>
            <a:xfrm>
              <a:off x="5973948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6" name="object 1146">
              <a:extLst>
                <a:ext uri="{FF2B5EF4-FFF2-40B4-BE49-F238E27FC236}">
                  <a16:creationId xmlns:a16="http://schemas.microsoft.com/office/drawing/2014/main" id="{6BECF0F3-872E-A200-A238-7A7313CB20AC}"/>
                </a:ext>
              </a:extLst>
            </p:cNvPr>
            <p:cNvSpPr/>
            <p:nvPr/>
          </p:nvSpPr>
          <p:spPr>
            <a:xfrm>
              <a:off x="5868820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7" name="object 1147">
              <a:extLst>
                <a:ext uri="{FF2B5EF4-FFF2-40B4-BE49-F238E27FC236}">
                  <a16:creationId xmlns:a16="http://schemas.microsoft.com/office/drawing/2014/main" id="{A500C120-6572-3EA6-6595-59C8328A52BB}"/>
                </a:ext>
              </a:extLst>
            </p:cNvPr>
            <p:cNvSpPr/>
            <p:nvPr/>
          </p:nvSpPr>
          <p:spPr>
            <a:xfrm>
              <a:off x="6078949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8" name="object 1148">
              <a:extLst>
                <a:ext uri="{FF2B5EF4-FFF2-40B4-BE49-F238E27FC236}">
                  <a16:creationId xmlns:a16="http://schemas.microsoft.com/office/drawing/2014/main" id="{8A86DEB5-26E8-896B-698D-7E2FCA2618DE}"/>
                </a:ext>
              </a:extLst>
            </p:cNvPr>
            <p:cNvSpPr/>
            <p:nvPr/>
          </p:nvSpPr>
          <p:spPr>
            <a:xfrm>
              <a:off x="5903841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9" name="object 1149">
              <a:extLst>
                <a:ext uri="{FF2B5EF4-FFF2-40B4-BE49-F238E27FC236}">
                  <a16:creationId xmlns:a16="http://schemas.microsoft.com/office/drawing/2014/main" id="{0A2D964F-FB45-E5BA-926D-B25580B94F93}"/>
                </a:ext>
              </a:extLst>
            </p:cNvPr>
            <p:cNvSpPr/>
            <p:nvPr/>
          </p:nvSpPr>
          <p:spPr>
            <a:xfrm>
              <a:off x="6184014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0" name="object 1150">
              <a:extLst>
                <a:ext uri="{FF2B5EF4-FFF2-40B4-BE49-F238E27FC236}">
                  <a16:creationId xmlns:a16="http://schemas.microsoft.com/office/drawing/2014/main" id="{A616E5B0-A1CD-F845-4B97-4EAD133F21F3}"/>
                </a:ext>
              </a:extLst>
            </p:cNvPr>
            <p:cNvSpPr/>
            <p:nvPr/>
          </p:nvSpPr>
          <p:spPr>
            <a:xfrm>
              <a:off x="6009043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1" name="object 1151">
              <a:extLst>
                <a:ext uri="{FF2B5EF4-FFF2-40B4-BE49-F238E27FC236}">
                  <a16:creationId xmlns:a16="http://schemas.microsoft.com/office/drawing/2014/main" id="{F4D474F4-6C59-2B41-1D04-B804A9F1A452}"/>
                </a:ext>
              </a:extLst>
            </p:cNvPr>
            <p:cNvSpPr/>
            <p:nvPr/>
          </p:nvSpPr>
          <p:spPr>
            <a:xfrm>
              <a:off x="5834073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2" name="object 1152">
              <a:extLst>
                <a:ext uri="{FF2B5EF4-FFF2-40B4-BE49-F238E27FC236}">
                  <a16:creationId xmlns:a16="http://schemas.microsoft.com/office/drawing/2014/main" id="{D0432CBE-CC1C-2F5F-5E3B-533E15B1DAC6}"/>
                </a:ext>
              </a:extLst>
            </p:cNvPr>
            <p:cNvSpPr/>
            <p:nvPr/>
          </p:nvSpPr>
          <p:spPr>
            <a:xfrm>
              <a:off x="5834073" y="417163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3" name="object 1153">
              <a:extLst>
                <a:ext uri="{FF2B5EF4-FFF2-40B4-BE49-F238E27FC236}">
                  <a16:creationId xmlns:a16="http://schemas.microsoft.com/office/drawing/2014/main" id="{2920F963-F5BD-38D3-DBE0-3875BA735C8C}"/>
                </a:ext>
              </a:extLst>
            </p:cNvPr>
            <p:cNvSpPr/>
            <p:nvPr/>
          </p:nvSpPr>
          <p:spPr>
            <a:xfrm>
              <a:off x="5834192" y="4146136"/>
              <a:ext cx="2425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0004"/>
                <a:gd name="f4" fmla="val 84454"/>
                <a:gd name="f5" fmla="val 39716"/>
                <a:gd name="f6" fmla="val 84123"/>
                <a:gd name="f7" fmla="*/ f0 1 40004"/>
                <a:gd name="f8" fmla="*/ f1 1 84454"/>
                <a:gd name="f9" fmla="+- f4 0 f2"/>
                <a:gd name="f10" fmla="+- f3 0 f2"/>
                <a:gd name="f11" fmla="*/ f10 1 400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00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4" name="object 1154">
              <a:extLst>
                <a:ext uri="{FF2B5EF4-FFF2-40B4-BE49-F238E27FC236}">
                  <a16:creationId xmlns:a16="http://schemas.microsoft.com/office/drawing/2014/main" id="{87249C20-BE0D-315B-0332-7DC2F57C95D7}"/>
                </a:ext>
              </a:extLst>
            </p:cNvPr>
            <p:cNvSpPr/>
            <p:nvPr/>
          </p:nvSpPr>
          <p:spPr>
            <a:xfrm>
              <a:off x="5834192" y="4218428"/>
              <a:ext cx="26223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2434"/>
                <a:gd name="f4" fmla="val 84454"/>
                <a:gd name="f5" fmla="val 431892"/>
                <a:gd name="f6" fmla="val 84123"/>
                <a:gd name="f7" fmla="*/ f0 1 432434"/>
                <a:gd name="f8" fmla="*/ f1 1 84454"/>
                <a:gd name="f9" fmla="+- f4 0 f2"/>
                <a:gd name="f10" fmla="+- f3 0 f2"/>
                <a:gd name="f11" fmla="*/ f10 1 4324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24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5" name="object 1155">
              <a:extLst>
                <a:ext uri="{FF2B5EF4-FFF2-40B4-BE49-F238E27FC236}">
                  <a16:creationId xmlns:a16="http://schemas.microsoft.com/office/drawing/2014/main" id="{C72B3785-B718-77F7-39FF-D9586C305B52}"/>
                </a:ext>
              </a:extLst>
            </p:cNvPr>
            <p:cNvSpPr/>
            <p:nvPr/>
          </p:nvSpPr>
          <p:spPr>
            <a:xfrm>
              <a:off x="6113623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6" name="object 1156">
              <a:extLst>
                <a:ext uri="{FF2B5EF4-FFF2-40B4-BE49-F238E27FC236}">
                  <a16:creationId xmlns:a16="http://schemas.microsoft.com/office/drawing/2014/main" id="{DE7F220C-3677-6C48-169F-AC6091CD1DFC}"/>
                </a:ext>
              </a:extLst>
            </p:cNvPr>
            <p:cNvSpPr/>
            <p:nvPr/>
          </p:nvSpPr>
          <p:spPr>
            <a:xfrm>
              <a:off x="6148645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7" name="object 1157">
              <a:extLst>
                <a:ext uri="{FF2B5EF4-FFF2-40B4-BE49-F238E27FC236}">
                  <a16:creationId xmlns:a16="http://schemas.microsoft.com/office/drawing/2014/main" id="{CAA2D6EB-7F2D-8A1A-FAE7-45309C3AAEDE}"/>
                </a:ext>
              </a:extLst>
            </p:cNvPr>
            <p:cNvSpPr/>
            <p:nvPr/>
          </p:nvSpPr>
          <p:spPr>
            <a:xfrm>
              <a:off x="604358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8" name="object 1158">
              <a:extLst>
                <a:ext uri="{FF2B5EF4-FFF2-40B4-BE49-F238E27FC236}">
                  <a16:creationId xmlns:a16="http://schemas.microsoft.com/office/drawing/2014/main" id="{21E61070-B163-CB53-CA93-E698D503E30F}"/>
                </a:ext>
              </a:extLst>
            </p:cNvPr>
            <p:cNvSpPr/>
            <p:nvPr/>
          </p:nvSpPr>
          <p:spPr>
            <a:xfrm>
              <a:off x="5938515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9" name="object 1159">
              <a:extLst>
                <a:ext uri="{FF2B5EF4-FFF2-40B4-BE49-F238E27FC236}">
                  <a16:creationId xmlns:a16="http://schemas.microsoft.com/office/drawing/2014/main" id="{61BF67C9-72B4-D381-0A51-8EF7A2DE6B42}"/>
                </a:ext>
              </a:extLst>
            </p:cNvPr>
            <p:cNvSpPr/>
            <p:nvPr/>
          </p:nvSpPr>
          <p:spPr>
            <a:xfrm>
              <a:off x="597361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0" name="object 1160">
              <a:extLst>
                <a:ext uri="{FF2B5EF4-FFF2-40B4-BE49-F238E27FC236}">
                  <a16:creationId xmlns:a16="http://schemas.microsoft.com/office/drawing/2014/main" id="{E7AA7DD2-55CA-F3E6-F9A5-90E4A2145BE8}"/>
                </a:ext>
              </a:extLst>
            </p:cNvPr>
            <p:cNvSpPr/>
            <p:nvPr/>
          </p:nvSpPr>
          <p:spPr>
            <a:xfrm>
              <a:off x="5868472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1" name="object 1161">
              <a:extLst>
                <a:ext uri="{FF2B5EF4-FFF2-40B4-BE49-F238E27FC236}">
                  <a16:creationId xmlns:a16="http://schemas.microsoft.com/office/drawing/2014/main" id="{28EDC3D4-CED6-A581-376B-13E9D906575B}"/>
                </a:ext>
              </a:extLst>
            </p:cNvPr>
            <p:cNvSpPr/>
            <p:nvPr/>
          </p:nvSpPr>
          <p:spPr>
            <a:xfrm>
              <a:off x="6078602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2" name="object 1162">
              <a:extLst>
                <a:ext uri="{FF2B5EF4-FFF2-40B4-BE49-F238E27FC236}">
                  <a16:creationId xmlns:a16="http://schemas.microsoft.com/office/drawing/2014/main" id="{91061084-A882-1834-E5F7-0769FB03EF50}"/>
                </a:ext>
              </a:extLst>
            </p:cNvPr>
            <p:cNvSpPr/>
            <p:nvPr/>
          </p:nvSpPr>
          <p:spPr>
            <a:xfrm>
              <a:off x="5903494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3" name="object 1163">
              <a:extLst>
                <a:ext uri="{FF2B5EF4-FFF2-40B4-BE49-F238E27FC236}">
                  <a16:creationId xmlns:a16="http://schemas.microsoft.com/office/drawing/2014/main" id="{BFC84DE5-406C-3C50-0CD6-D7789F462738}"/>
                </a:ext>
              </a:extLst>
            </p:cNvPr>
            <p:cNvSpPr/>
            <p:nvPr/>
          </p:nvSpPr>
          <p:spPr>
            <a:xfrm>
              <a:off x="6183666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4" name="object 1164">
              <a:extLst>
                <a:ext uri="{FF2B5EF4-FFF2-40B4-BE49-F238E27FC236}">
                  <a16:creationId xmlns:a16="http://schemas.microsoft.com/office/drawing/2014/main" id="{BD6E5E59-87EB-99CE-4DAF-1D3C285583D0}"/>
                </a:ext>
              </a:extLst>
            </p:cNvPr>
            <p:cNvSpPr/>
            <p:nvPr/>
          </p:nvSpPr>
          <p:spPr>
            <a:xfrm>
              <a:off x="6008696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5" name="object 1165">
              <a:extLst>
                <a:ext uri="{FF2B5EF4-FFF2-40B4-BE49-F238E27FC236}">
                  <a16:creationId xmlns:a16="http://schemas.microsoft.com/office/drawing/2014/main" id="{648B85F6-3587-5B68-EB46-81C342B58A81}"/>
                </a:ext>
              </a:extLst>
            </p:cNvPr>
            <p:cNvSpPr/>
            <p:nvPr/>
          </p:nvSpPr>
          <p:spPr>
            <a:xfrm>
              <a:off x="5833725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6" name="object 1166">
              <a:extLst>
                <a:ext uri="{FF2B5EF4-FFF2-40B4-BE49-F238E27FC236}">
                  <a16:creationId xmlns:a16="http://schemas.microsoft.com/office/drawing/2014/main" id="{F05484A9-D9B1-4D7F-E844-C63396125D14}"/>
                </a:ext>
              </a:extLst>
            </p:cNvPr>
            <p:cNvSpPr/>
            <p:nvPr/>
          </p:nvSpPr>
          <p:spPr>
            <a:xfrm>
              <a:off x="6008696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7" name="object 1167">
              <a:extLst>
                <a:ext uri="{FF2B5EF4-FFF2-40B4-BE49-F238E27FC236}">
                  <a16:creationId xmlns:a16="http://schemas.microsoft.com/office/drawing/2014/main" id="{0F982D0E-8D5D-DB19-98F2-18C665B10638}"/>
                </a:ext>
              </a:extLst>
            </p:cNvPr>
            <p:cNvSpPr/>
            <p:nvPr/>
          </p:nvSpPr>
          <p:spPr>
            <a:xfrm>
              <a:off x="5833725" y="42439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8" name="object 1168">
              <a:extLst>
                <a:ext uri="{FF2B5EF4-FFF2-40B4-BE49-F238E27FC236}">
                  <a16:creationId xmlns:a16="http://schemas.microsoft.com/office/drawing/2014/main" id="{E12314A1-5C93-C925-A1D6-E26C24550D98}"/>
                </a:ext>
              </a:extLst>
            </p:cNvPr>
            <p:cNvSpPr/>
            <p:nvPr/>
          </p:nvSpPr>
          <p:spPr>
            <a:xfrm>
              <a:off x="6113971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9" name="object 1169">
              <a:extLst>
                <a:ext uri="{FF2B5EF4-FFF2-40B4-BE49-F238E27FC236}">
                  <a16:creationId xmlns:a16="http://schemas.microsoft.com/office/drawing/2014/main" id="{B59BE1CA-1402-F1C2-FA8E-166B721DE422}"/>
                </a:ext>
              </a:extLst>
            </p:cNvPr>
            <p:cNvSpPr/>
            <p:nvPr/>
          </p:nvSpPr>
          <p:spPr>
            <a:xfrm>
              <a:off x="6148992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0" name="object 1170">
              <a:extLst>
                <a:ext uri="{FF2B5EF4-FFF2-40B4-BE49-F238E27FC236}">
                  <a16:creationId xmlns:a16="http://schemas.microsoft.com/office/drawing/2014/main" id="{3D831063-54AB-2063-DC84-8E6040FF6891}"/>
                </a:ext>
              </a:extLst>
            </p:cNvPr>
            <p:cNvSpPr/>
            <p:nvPr/>
          </p:nvSpPr>
          <p:spPr>
            <a:xfrm>
              <a:off x="604392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1" name="object 1171">
              <a:extLst>
                <a:ext uri="{FF2B5EF4-FFF2-40B4-BE49-F238E27FC236}">
                  <a16:creationId xmlns:a16="http://schemas.microsoft.com/office/drawing/2014/main" id="{14F326E1-D998-ED6B-2FB4-E8C3168990B3}"/>
                </a:ext>
              </a:extLst>
            </p:cNvPr>
            <p:cNvSpPr/>
            <p:nvPr/>
          </p:nvSpPr>
          <p:spPr>
            <a:xfrm>
              <a:off x="5938863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2" name="object 1172">
              <a:extLst>
                <a:ext uri="{FF2B5EF4-FFF2-40B4-BE49-F238E27FC236}">
                  <a16:creationId xmlns:a16="http://schemas.microsoft.com/office/drawing/2014/main" id="{E76B4C25-1214-0CD0-9EF0-D62A31F5056E}"/>
                </a:ext>
              </a:extLst>
            </p:cNvPr>
            <p:cNvSpPr/>
            <p:nvPr/>
          </p:nvSpPr>
          <p:spPr>
            <a:xfrm>
              <a:off x="5973948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3" name="object 1173">
              <a:extLst>
                <a:ext uri="{FF2B5EF4-FFF2-40B4-BE49-F238E27FC236}">
                  <a16:creationId xmlns:a16="http://schemas.microsoft.com/office/drawing/2014/main" id="{39628062-48E5-991D-F644-770533C4CEBA}"/>
                </a:ext>
              </a:extLst>
            </p:cNvPr>
            <p:cNvSpPr/>
            <p:nvPr/>
          </p:nvSpPr>
          <p:spPr>
            <a:xfrm>
              <a:off x="5868820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4" name="object 1174">
              <a:extLst>
                <a:ext uri="{FF2B5EF4-FFF2-40B4-BE49-F238E27FC236}">
                  <a16:creationId xmlns:a16="http://schemas.microsoft.com/office/drawing/2014/main" id="{E45E99B7-16F4-4B0D-6290-DB79FEA3D751}"/>
                </a:ext>
              </a:extLst>
            </p:cNvPr>
            <p:cNvSpPr/>
            <p:nvPr/>
          </p:nvSpPr>
          <p:spPr>
            <a:xfrm>
              <a:off x="6078949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5" name="object 1175">
              <a:extLst>
                <a:ext uri="{FF2B5EF4-FFF2-40B4-BE49-F238E27FC236}">
                  <a16:creationId xmlns:a16="http://schemas.microsoft.com/office/drawing/2014/main" id="{A97168EC-23A4-A7AC-B3BB-CF4A68E9709A}"/>
                </a:ext>
              </a:extLst>
            </p:cNvPr>
            <p:cNvSpPr/>
            <p:nvPr/>
          </p:nvSpPr>
          <p:spPr>
            <a:xfrm>
              <a:off x="5903841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6" name="object 1176">
              <a:extLst>
                <a:ext uri="{FF2B5EF4-FFF2-40B4-BE49-F238E27FC236}">
                  <a16:creationId xmlns:a16="http://schemas.microsoft.com/office/drawing/2014/main" id="{1E5528DC-22F7-EF8F-8AFF-B8DE0F921FA3}"/>
                </a:ext>
              </a:extLst>
            </p:cNvPr>
            <p:cNvSpPr/>
            <p:nvPr/>
          </p:nvSpPr>
          <p:spPr>
            <a:xfrm>
              <a:off x="6184014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7" name="object 1177">
              <a:extLst>
                <a:ext uri="{FF2B5EF4-FFF2-40B4-BE49-F238E27FC236}">
                  <a16:creationId xmlns:a16="http://schemas.microsoft.com/office/drawing/2014/main" id="{C045969F-13D8-3685-7EFD-C972B96307AF}"/>
                </a:ext>
              </a:extLst>
            </p:cNvPr>
            <p:cNvSpPr/>
            <p:nvPr/>
          </p:nvSpPr>
          <p:spPr>
            <a:xfrm>
              <a:off x="6009043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8" name="object 1178">
              <a:extLst>
                <a:ext uri="{FF2B5EF4-FFF2-40B4-BE49-F238E27FC236}">
                  <a16:creationId xmlns:a16="http://schemas.microsoft.com/office/drawing/2014/main" id="{1238CB42-C463-92BC-E84E-C12E7DB5059F}"/>
                </a:ext>
              </a:extLst>
            </p:cNvPr>
            <p:cNvSpPr/>
            <p:nvPr/>
          </p:nvSpPr>
          <p:spPr>
            <a:xfrm>
              <a:off x="5834073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9" name="object 1179">
              <a:extLst>
                <a:ext uri="{FF2B5EF4-FFF2-40B4-BE49-F238E27FC236}">
                  <a16:creationId xmlns:a16="http://schemas.microsoft.com/office/drawing/2014/main" id="{00C3E74A-1F30-88A6-40C4-E9E7CE1CE620}"/>
                </a:ext>
              </a:extLst>
            </p:cNvPr>
            <p:cNvSpPr/>
            <p:nvPr/>
          </p:nvSpPr>
          <p:spPr>
            <a:xfrm>
              <a:off x="5834073" y="49321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0" name="object 1180">
              <a:extLst>
                <a:ext uri="{FF2B5EF4-FFF2-40B4-BE49-F238E27FC236}">
                  <a16:creationId xmlns:a16="http://schemas.microsoft.com/office/drawing/2014/main" id="{CAAE5A23-3F7C-7C04-4E58-271C0FB1635D}"/>
                </a:ext>
              </a:extLst>
            </p:cNvPr>
            <p:cNvSpPr/>
            <p:nvPr/>
          </p:nvSpPr>
          <p:spPr>
            <a:xfrm>
              <a:off x="5834192" y="4906670"/>
              <a:ext cx="18598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6704"/>
                <a:gd name="f4" fmla="val 84454"/>
                <a:gd name="f5" fmla="val 306545"/>
                <a:gd name="f6" fmla="val 84133"/>
                <a:gd name="f7" fmla="*/ f0 1 306704"/>
                <a:gd name="f8" fmla="*/ f1 1 84454"/>
                <a:gd name="f9" fmla="+- f4 0 f2"/>
                <a:gd name="f10" fmla="+- f3 0 f2"/>
                <a:gd name="f11" fmla="*/ f10 1 3067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67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1" name="object 1181">
              <a:extLst>
                <a:ext uri="{FF2B5EF4-FFF2-40B4-BE49-F238E27FC236}">
                  <a16:creationId xmlns:a16="http://schemas.microsoft.com/office/drawing/2014/main" id="{63026D1F-2F75-A982-E0AD-90A34EAE4885}"/>
                </a:ext>
              </a:extLst>
            </p:cNvPr>
            <p:cNvSpPr/>
            <p:nvPr/>
          </p:nvSpPr>
          <p:spPr>
            <a:xfrm>
              <a:off x="5834192" y="4978962"/>
              <a:ext cx="20100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1470"/>
                <a:gd name="f4" fmla="val 84454"/>
                <a:gd name="f5" fmla="val 331047"/>
                <a:gd name="f6" fmla="val 84133"/>
                <a:gd name="f7" fmla="*/ f0 1 331470"/>
                <a:gd name="f8" fmla="*/ f1 1 84454"/>
                <a:gd name="f9" fmla="+- f4 0 f2"/>
                <a:gd name="f10" fmla="+- f3 0 f2"/>
                <a:gd name="f11" fmla="*/ f10 1 33147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3147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2" name="object 1182">
              <a:extLst>
                <a:ext uri="{FF2B5EF4-FFF2-40B4-BE49-F238E27FC236}">
                  <a16:creationId xmlns:a16="http://schemas.microsoft.com/office/drawing/2014/main" id="{D3A1230A-9246-64D0-56BC-45BAAD4E47E0}"/>
                </a:ext>
              </a:extLst>
            </p:cNvPr>
            <p:cNvSpPr/>
            <p:nvPr/>
          </p:nvSpPr>
          <p:spPr>
            <a:xfrm>
              <a:off x="6113623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3" name="object 1183">
              <a:extLst>
                <a:ext uri="{FF2B5EF4-FFF2-40B4-BE49-F238E27FC236}">
                  <a16:creationId xmlns:a16="http://schemas.microsoft.com/office/drawing/2014/main" id="{42F8E30C-C7FE-FAF9-C950-9B2AA05E6C14}"/>
                </a:ext>
              </a:extLst>
            </p:cNvPr>
            <p:cNvSpPr/>
            <p:nvPr/>
          </p:nvSpPr>
          <p:spPr>
            <a:xfrm>
              <a:off x="614864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4" name="object 1184">
              <a:extLst>
                <a:ext uri="{FF2B5EF4-FFF2-40B4-BE49-F238E27FC236}">
                  <a16:creationId xmlns:a16="http://schemas.microsoft.com/office/drawing/2014/main" id="{53230888-BCF1-53CF-AA71-6E0D1C302380}"/>
                </a:ext>
              </a:extLst>
            </p:cNvPr>
            <p:cNvSpPr/>
            <p:nvPr/>
          </p:nvSpPr>
          <p:spPr>
            <a:xfrm>
              <a:off x="604358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5" name="object 1185">
              <a:extLst>
                <a:ext uri="{FF2B5EF4-FFF2-40B4-BE49-F238E27FC236}">
                  <a16:creationId xmlns:a16="http://schemas.microsoft.com/office/drawing/2014/main" id="{646E5F51-0922-3824-7799-2FB172D290CC}"/>
                </a:ext>
              </a:extLst>
            </p:cNvPr>
            <p:cNvSpPr/>
            <p:nvPr/>
          </p:nvSpPr>
          <p:spPr>
            <a:xfrm>
              <a:off x="593851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6" name="object 1186">
              <a:extLst>
                <a:ext uri="{FF2B5EF4-FFF2-40B4-BE49-F238E27FC236}">
                  <a16:creationId xmlns:a16="http://schemas.microsoft.com/office/drawing/2014/main" id="{D4F30870-6BFF-8BAE-5940-6838B1CDA071}"/>
                </a:ext>
              </a:extLst>
            </p:cNvPr>
            <p:cNvSpPr/>
            <p:nvPr/>
          </p:nvSpPr>
          <p:spPr>
            <a:xfrm>
              <a:off x="597361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7" name="object 1187">
              <a:extLst>
                <a:ext uri="{FF2B5EF4-FFF2-40B4-BE49-F238E27FC236}">
                  <a16:creationId xmlns:a16="http://schemas.microsoft.com/office/drawing/2014/main" id="{D6EA4934-9829-AF90-7957-E13059B04D80}"/>
                </a:ext>
              </a:extLst>
            </p:cNvPr>
            <p:cNvSpPr/>
            <p:nvPr/>
          </p:nvSpPr>
          <p:spPr>
            <a:xfrm>
              <a:off x="5868472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8" name="object 1188">
              <a:extLst>
                <a:ext uri="{FF2B5EF4-FFF2-40B4-BE49-F238E27FC236}">
                  <a16:creationId xmlns:a16="http://schemas.microsoft.com/office/drawing/2014/main" id="{34BC9E58-7DE7-A5BD-4089-4FE53BB147DD}"/>
                </a:ext>
              </a:extLst>
            </p:cNvPr>
            <p:cNvSpPr/>
            <p:nvPr/>
          </p:nvSpPr>
          <p:spPr>
            <a:xfrm>
              <a:off x="6078602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9" name="object 1189">
              <a:extLst>
                <a:ext uri="{FF2B5EF4-FFF2-40B4-BE49-F238E27FC236}">
                  <a16:creationId xmlns:a16="http://schemas.microsoft.com/office/drawing/2014/main" id="{14B088D9-5991-FF24-5957-6B68921EFFEE}"/>
                </a:ext>
              </a:extLst>
            </p:cNvPr>
            <p:cNvSpPr/>
            <p:nvPr/>
          </p:nvSpPr>
          <p:spPr>
            <a:xfrm>
              <a:off x="5903494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0" name="object 1190">
              <a:extLst>
                <a:ext uri="{FF2B5EF4-FFF2-40B4-BE49-F238E27FC236}">
                  <a16:creationId xmlns:a16="http://schemas.microsoft.com/office/drawing/2014/main" id="{CA217344-0E30-C6AD-F3A3-8EE829CC7CFB}"/>
                </a:ext>
              </a:extLst>
            </p:cNvPr>
            <p:cNvSpPr/>
            <p:nvPr/>
          </p:nvSpPr>
          <p:spPr>
            <a:xfrm>
              <a:off x="6183666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1" name="object 1191">
              <a:extLst>
                <a:ext uri="{FF2B5EF4-FFF2-40B4-BE49-F238E27FC236}">
                  <a16:creationId xmlns:a16="http://schemas.microsoft.com/office/drawing/2014/main" id="{C63B5FEE-4D9C-C9B2-2FA6-B7F9B382277A}"/>
                </a:ext>
              </a:extLst>
            </p:cNvPr>
            <p:cNvSpPr/>
            <p:nvPr/>
          </p:nvSpPr>
          <p:spPr>
            <a:xfrm>
              <a:off x="6008696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2" name="object 1192">
              <a:extLst>
                <a:ext uri="{FF2B5EF4-FFF2-40B4-BE49-F238E27FC236}">
                  <a16:creationId xmlns:a16="http://schemas.microsoft.com/office/drawing/2014/main" id="{6612E668-6394-F093-9222-8B7F33FD3DB1}"/>
                </a:ext>
              </a:extLst>
            </p:cNvPr>
            <p:cNvSpPr/>
            <p:nvPr/>
          </p:nvSpPr>
          <p:spPr>
            <a:xfrm>
              <a:off x="5833725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3" name="object 1193">
              <a:extLst>
                <a:ext uri="{FF2B5EF4-FFF2-40B4-BE49-F238E27FC236}">
                  <a16:creationId xmlns:a16="http://schemas.microsoft.com/office/drawing/2014/main" id="{FFD608DC-E5B8-CA3B-F284-30AD5A8810DF}"/>
                </a:ext>
              </a:extLst>
            </p:cNvPr>
            <p:cNvSpPr/>
            <p:nvPr/>
          </p:nvSpPr>
          <p:spPr>
            <a:xfrm>
              <a:off x="6008696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4" name="object 1194">
              <a:extLst>
                <a:ext uri="{FF2B5EF4-FFF2-40B4-BE49-F238E27FC236}">
                  <a16:creationId xmlns:a16="http://schemas.microsoft.com/office/drawing/2014/main" id="{6C6CD76C-E7AF-EAB7-A9EB-56353AEF916C}"/>
                </a:ext>
              </a:extLst>
            </p:cNvPr>
            <p:cNvSpPr/>
            <p:nvPr/>
          </p:nvSpPr>
          <p:spPr>
            <a:xfrm>
              <a:off x="5833725" y="50044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195" name="object 1195">
              <a:extLst>
                <a:ext uri="{FF2B5EF4-FFF2-40B4-BE49-F238E27FC236}">
                  <a16:creationId xmlns:a16="http://schemas.microsoft.com/office/drawing/2014/main" id="{08F15BB6-DAA5-8630-967C-264D09E1F9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5833817" y="3633295"/>
              <a:ext cx="351074" cy="35110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96" name="object 1196">
              <a:extLst>
                <a:ext uri="{FF2B5EF4-FFF2-40B4-BE49-F238E27FC236}">
                  <a16:creationId xmlns:a16="http://schemas.microsoft.com/office/drawing/2014/main" id="{7C72B009-3A15-530D-9E7F-9173A31B84C2}"/>
                </a:ext>
              </a:extLst>
            </p:cNvPr>
            <p:cNvSpPr/>
            <p:nvPr/>
          </p:nvSpPr>
          <p:spPr>
            <a:xfrm>
              <a:off x="5833817" y="3633295"/>
              <a:ext cx="351175" cy="35117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9120"/>
                <a:gd name="f4" fmla="val 289488"/>
                <a:gd name="f5" fmla="val 3788"/>
                <a:gd name="f6" fmla="val 336445"/>
                <a:gd name="f7" fmla="val 14757"/>
                <a:gd name="f8" fmla="val 380989"/>
                <a:gd name="f9" fmla="val 32309"/>
                <a:gd name="f10" fmla="val 422525"/>
                <a:gd name="f11" fmla="val 55850"/>
                <a:gd name="f12" fmla="val 460456"/>
                <a:gd name="f13" fmla="val 84782"/>
                <a:gd name="f14" fmla="val 494187"/>
                <a:gd name="f15" fmla="val 118511"/>
                <a:gd name="f16" fmla="val 523122"/>
                <a:gd name="f17" fmla="val 156440"/>
                <a:gd name="f18" fmla="val 546664"/>
                <a:gd name="f19" fmla="val 197973"/>
                <a:gd name="f20" fmla="val 564218"/>
                <a:gd name="f21" fmla="val 242514"/>
                <a:gd name="f22" fmla="val 575188"/>
                <a:gd name="f23" fmla="val 289467"/>
                <a:gd name="f24" fmla="val 578977"/>
                <a:gd name="f25" fmla="val 336426"/>
                <a:gd name="f26" fmla="val 380972"/>
                <a:gd name="f27" fmla="val 422508"/>
                <a:gd name="f28" fmla="val 460440"/>
                <a:gd name="f29" fmla="val 494170"/>
                <a:gd name="f30" fmla="val 523104"/>
                <a:gd name="f31" fmla="val 546645"/>
                <a:gd name="f32" fmla="val 564198"/>
                <a:gd name="f33" fmla="val 575167"/>
                <a:gd name="f34" fmla="val 578956"/>
                <a:gd name="f35" fmla="val 242534"/>
                <a:gd name="f36" fmla="val 197991"/>
                <a:gd name="f37" fmla="val 156456"/>
                <a:gd name="f38" fmla="val 118524"/>
                <a:gd name="f39" fmla="val 84793"/>
                <a:gd name="f40" fmla="val 55857"/>
                <a:gd name="f41" fmla="val 32314"/>
                <a:gd name="f42" fmla="val 14759"/>
                <a:gd name="f43" fmla="val 3789"/>
                <a:gd name="f44" fmla="*/ f0 1 579120"/>
                <a:gd name="f45" fmla="*/ f1 1 579120"/>
                <a:gd name="f46" fmla="+- f3 0 f2"/>
                <a:gd name="f47" fmla="*/ f46 1 579120"/>
                <a:gd name="f48" fmla="*/ f2 1 f47"/>
                <a:gd name="f49" fmla="*/ f3 1 f47"/>
                <a:gd name="f50" fmla="*/ f48 f44 1"/>
                <a:gd name="f51" fmla="*/ f49 f44 1"/>
                <a:gd name="f52" fmla="*/ f49 f45 1"/>
                <a:gd name="f53" fmla="*/ f48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9120" h="579120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2"/>
                  </a:lnTo>
                  <a:lnTo>
                    <a:pt x="f26" y="f20"/>
                  </a:lnTo>
                  <a:lnTo>
                    <a:pt x="f27" y="f18"/>
                  </a:lnTo>
                  <a:lnTo>
                    <a:pt x="f28" y="f16"/>
                  </a:lnTo>
                  <a:lnTo>
                    <a:pt x="f29" y="f14"/>
                  </a:lnTo>
                  <a:lnTo>
                    <a:pt x="f30" y="f12"/>
                  </a:lnTo>
                  <a:lnTo>
                    <a:pt x="f31" y="f10"/>
                  </a:lnTo>
                  <a:lnTo>
                    <a:pt x="f32" y="f8"/>
                  </a:lnTo>
                  <a:lnTo>
                    <a:pt x="f33" y="f6"/>
                  </a:lnTo>
                  <a:lnTo>
                    <a:pt x="f34" y="f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42"/>
                  </a:lnTo>
                  <a:lnTo>
                    <a:pt x="f25" y="f43"/>
                  </a:lnTo>
                  <a:lnTo>
                    <a:pt x="f23" y="f2"/>
                  </a:lnTo>
                  <a:lnTo>
                    <a:pt x="f21" y="f43"/>
                  </a:lnTo>
                  <a:lnTo>
                    <a:pt x="f19" y="f42"/>
                  </a:lnTo>
                  <a:lnTo>
                    <a:pt x="f17" y="f41"/>
                  </a:lnTo>
                  <a:lnTo>
                    <a:pt x="f15" y="f40"/>
                  </a:lnTo>
                  <a:lnTo>
                    <a:pt x="f13" y="f39"/>
                  </a:lnTo>
                  <a:lnTo>
                    <a:pt x="f11" y="f38"/>
                  </a:lnTo>
                  <a:lnTo>
                    <a:pt x="f9" y="f37"/>
                  </a:lnTo>
                  <a:lnTo>
                    <a:pt x="f7" y="f36"/>
                  </a:lnTo>
                  <a:lnTo>
                    <a:pt x="f5" y="f35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197" name="object 1197">
              <a:extLst>
                <a:ext uri="{FF2B5EF4-FFF2-40B4-BE49-F238E27FC236}">
                  <a16:creationId xmlns:a16="http://schemas.microsoft.com/office/drawing/2014/main" id="{14480DDD-FE1D-E925-9C0A-A22096B2D3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5833734" y="4392046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98" name="object 1198">
              <a:extLst>
                <a:ext uri="{FF2B5EF4-FFF2-40B4-BE49-F238E27FC236}">
                  <a16:creationId xmlns:a16="http://schemas.microsoft.com/office/drawing/2014/main" id="{A9B8A71E-3400-9A65-70E0-4AE69A7CADC7}"/>
                </a:ext>
              </a:extLst>
            </p:cNvPr>
            <p:cNvSpPr/>
            <p:nvPr/>
          </p:nvSpPr>
          <p:spPr>
            <a:xfrm>
              <a:off x="5833725" y="439204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199" name="object 1199">
              <a:extLst>
                <a:ext uri="{FF2B5EF4-FFF2-40B4-BE49-F238E27FC236}">
                  <a16:creationId xmlns:a16="http://schemas.microsoft.com/office/drawing/2014/main" id="{E6E88A31-EBEF-AD91-32B7-FECF7C306E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830781" y="2098154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00" name="object 1200">
              <a:extLst>
                <a:ext uri="{FF2B5EF4-FFF2-40B4-BE49-F238E27FC236}">
                  <a16:creationId xmlns:a16="http://schemas.microsoft.com/office/drawing/2014/main" id="{27B13862-7033-E7BD-4F1F-E5F6FCC11545}"/>
                </a:ext>
              </a:extLst>
            </p:cNvPr>
            <p:cNvSpPr/>
            <p:nvPr/>
          </p:nvSpPr>
          <p:spPr>
            <a:xfrm>
              <a:off x="5834987" y="209703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01" name="object 1201">
              <a:extLst>
                <a:ext uri="{FF2B5EF4-FFF2-40B4-BE49-F238E27FC236}">
                  <a16:creationId xmlns:a16="http://schemas.microsoft.com/office/drawing/2014/main" id="{41B1BCFC-B7D6-6166-25C3-46CA0DDF29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830781" y="286414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02" name="object 1202">
              <a:extLst>
                <a:ext uri="{FF2B5EF4-FFF2-40B4-BE49-F238E27FC236}">
                  <a16:creationId xmlns:a16="http://schemas.microsoft.com/office/drawing/2014/main" id="{D6FC6C3F-C09B-3DB0-F8AE-A08FBE60FE36}"/>
                </a:ext>
              </a:extLst>
            </p:cNvPr>
            <p:cNvSpPr/>
            <p:nvPr/>
          </p:nvSpPr>
          <p:spPr>
            <a:xfrm>
              <a:off x="5834987" y="286008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03" name="object 1203">
              <a:extLst>
                <a:ext uri="{FF2B5EF4-FFF2-40B4-BE49-F238E27FC236}">
                  <a16:creationId xmlns:a16="http://schemas.microsoft.com/office/drawing/2014/main" id="{840B7B72-3E4C-6F66-5563-5F23167405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5831467" y="5157353"/>
              <a:ext cx="34995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04" name="object 1204">
              <a:extLst>
                <a:ext uri="{FF2B5EF4-FFF2-40B4-BE49-F238E27FC236}">
                  <a16:creationId xmlns:a16="http://schemas.microsoft.com/office/drawing/2014/main" id="{4CE3F0F5-A700-3D99-F59B-BFC96D13DD6E}"/>
                </a:ext>
              </a:extLst>
            </p:cNvPr>
            <p:cNvSpPr/>
            <p:nvPr/>
          </p:nvSpPr>
          <p:spPr>
            <a:xfrm>
              <a:off x="5831476" y="515736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05" name="object 1205">
              <a:extLst>
                <a:ext uri="{FF2B5EF4-FFF2-40B4-BE49-F238E27FC236}">
                  <a16:creationId xmlns:a16="http://schemas.microsoft.com/office/drawing/2014/main" id="{67C809A1-A971-722D-0440-A92EBDE60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/>
            <a:stretch>
              <a:fillRect/>
            </a:stretch>
          </p:blipFill>
          <p:spPr>
            <a:xfrm>
              <a:off x="5009549" y="5154929"/>
              <a:ext cx="349940" cy="34688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06" name="object 1206">
              <a:extLst>
                <a:ext uri="{FF2B5EF4-FFF2-40B4-BE49-F238E27FC236}">
                  <a16:creationId xmlns:a16="http://schemas.microsoft.com/office/drawing/2014/main" id="{30F2EA80-C273-482E-36D3-5D0794B7DE87}"/>
                </a:ext>
              </a:extLst>
            </p:cNvPr>
            <p:cNvSpPr/>
            <p:nvPr/>
          </p:nvSpPr>
          <p:spPr>
            <a:xfrm>
              <a:off x="5009549" y="515492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7" name="object 1207">
              <a:extLst>
                <a:ext uri="{FF2B5EF4-FFF2-40B4-BE49-F238E27FC236}">
                  <a16:creationId xmlns:a16="http://schemas.microsoft.com/office/drawing/2014/main" id="{F5E088E0-5D8A-17E0-3840-BC0A6F9F55A0}"/>
                </a:ext>
              </a:extLst>
            </p:cNvPr>
            <p:cNvSpPr/>
            <p:nvPr/>
          </p:nvSpPr>
          <p:spPr>
            <a:xfrm>
              <a:off x="5292656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8" name="object 1208">
              <a:extLst>
                <a:ext uri="{FF2B5EF4-FFF2-40B4-BE49-F238E27FC236}">
                  <a16:creationId xmlns:a16="http://schemas.microsoft.com/office/drawing/2014/main" id="{2122CD56-3461-52C3-2D76-63D61AE891AF}"/>
                </a:ext>
              </a:extLst>
            </p:cNvPr>
            <p:cNvSpPr/>
            <p:nvPr/>
          </p:nvSpPr>
          <p:spPr>
            <a:xfrm>
              <a:off x="5327678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9" name="object 1209">
              <a:extLst>
                <a:ext uri="{FF2B5EF4-FFF2-40B4-BE49-F238E27FC236}">
                  <a16:creationId xmlns:a16="http://schemas.microsoft.com/office/drawing/2014/main" id="{97F4EF4B-3EC3-6DEB-2BED-B4F9BD576888}"/>
                </a:ext>
              </a:extLst>
            </p:cNvPr>
            <p:cNvSpPr/>
            <p:nvPr/>
          </p:nvSpPr>
          <p:spPr>
            <a:xfrm>
              <a:off x="5222613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0" name="object 1210">
              <a:extLst>
                <a:ext uri="{FF2B5EF4-FFF2-40B4-BE49-F238E27FC236}">
                  <a16:creationId xmlns:a16="http://schemas.microsoft.com/office/drawing/2014/main" id="{36902E5E-745B-E615-235A-BBFA098C5A8C}"/>
                </a:ext>
              </a:extLst>
            </p:cNvPr>
            <p:cNvSpPr/>
            <p:nvPr/>
          </p:nvSpPr>
          <p:spPr>
            <a:xfrm>
              <a:off x="5117549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1" name="object 1211">
              <a:extLst>
                <a:ext uri="{FF2B5EF4-FFF2-40B4-BE49-F238E27FC236}">
                  <a16:creationId xmlns:a16="http://schemas.microsoft.com/office/drawing/2014/main" id="{F4038005-17A5-1836-078D-2A853E5EDBFD}"/>
                </a:ext>
              </a:extLst>
            </p:cNvPr>
            <p:cNvSpPr/>
            <p:nvPr/>
          </p:nvSpPr>
          <p:spPr>
            <a:xfrm>
              <a:off x="5152634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2" name="object 1212">
              <a:extLst>
                <a:ext uri="{FF2B5EF4-FFF2-40B4-BE49-F238E27FC236}">
                  <a16:creationId xmlns:a16="http://schemas.microsoft.com/office/drawing/2014/main" id="{8DCB06A3-DC0E-062E-CA39-E7271E486C44}"/>
                </a:ext>
              </a:extLst>
            </p:cNvPr>
            <p:cNvSpPr/>
            <p:nvPr/>
          </p:nvSpPr>
          <p:spPr>
            <a:xfrm>
              <a:off x="5047506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3" name="object 1213">
              <a:extLst>
                <a:ext uri="{FF2B5EF4-FFF2-40B4-BE49-F238E27FC236}">
                  <a16:creationId xmlns:a16="http://schemas.microsoft.com/office/drawing/2014/main" id="{B75E47FB-5325-BD38-513A-AB668B7987DF}"/>
                </a:ext>
              </a:extLst>
            </p:cNvPr>
            <p:cNvSpPr/>
            <p:nvPr/>
          </p:nvSpPr>
          <p:spPr>
            <a:xfrm>
              <a:off x="5257635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4" name="object 1214">
              <a:extLst>
                <a:ext uri="{FF2B5EF4-FFF2-40B4-BE49-F238E27FC236}">
                  <a16:creationId xmlns:a16="http://schemas.microsoft.com/office/drawing/2014/main" id="{ADB1AD2D-8FC9-4727-A58B-0D6BBF65A982}"/>
                </a:ext>
              </a:extLst>
            </p:cNvPr>
            <p:cNvSpPr/>
            <p:nvPr/>
          </p:nvSpPr>
          <p:spPr>
            <a:xfrm>
              <a:off x="508252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5" name="object 1215">
              <a:extLst>
                <a:ext uri="{FF2B5EF4-FFF2-40B4-BE49-F238E27FC236}">
                  <a16:creationId xmlns:a16="http://schemas.microsoft.com/office/drawing/2014/main" id="{6D718EA6-58D4-39F9-1421-197BEE47F6E8}"/>
                </a:ext>
              </a:extLst>
            </p:cNvPr>
            <p:cNvSpPr/>
            <p:nvPr/>
          </p:nvSpPr>
          <p:spPr>
            <a:xfrm>
              <a:off x="536269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6" name="object 1216">
              <a:extLst>
                <a:ext uri="{FF2B5EF4-FFF2-40B4-BE49-F238E27FC236}">
                  <a16:creationId xmlns:a16="http://schemas.microsoft.com/office/drawing/2014/main" id="{C0B5D6D5-C628-C061-3FFD-F02115AF7A0A}"/>
                </a:ext>
              </a:extLst>
            </p:cNvPr>
            <p:cNvSpPr/>
            <p:nvPr/>
          </p:nvSpPr>
          <p:spPr>
            <a:xfrm>
              <a:off x="518772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7" name="object 1217">
              <a:extLst>
                <a:ext uri="{FF2B5EF4-FFF2-40B4-BE49-F238E27FC236}">
                  <a16:creationId xmlns:a16="http://schemas.microsoft.com/office/drawing/2014/main" id="{30C75A29-97D4-F038-3371-82209F10F856}"/>
                </a:ext>
              </a:extLst>
            </p:cNvPr>
            <p:cNvSpPr/>
            <p:nvPr/>
          </p:nvSpPr>
          <p:spPr>
            <a:xfrm>
              <a:off x="501275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8" name="object 1218">
              <a:extLst>
                <a:ext uri="{FF2B5EF4-FFF2-40B4-BE49-F238E27FC236}">
                  <a16:creationId xmlns:a16="http://schemas.microsoft.com/office/drawing/2014/main" id="{5096BF67-A71E-D130-6311-A45C37ADD869}"/>
                </a:ext>
              </a:extLst>
            </p:cNvPr>
            <p:cNvSpPr/>
            <p:nvPr/>
          </p:nvSpPr>
          <p:spPr>
            <a:xfrm>
              <a:off x="5012749" y="49321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9" name="object 1219">
              <a:extLst>
                <a:ext uri="{FF2B5EF4-FFF2-40B4-BE49-F238E27FC236}">
                  <a16:creationId xmlns:a16="http://schemas.microsoft.com/office/drawing/2014/main" id="{BC94F885-F58E-5474-1A2D-B61CDD4D5AD0}"/>
                </a:ext>
              </a:extLst>
            </p:cNvPr>
            <p:cNvSpPr/>
            <p:nvPr/>
          </p:nvSpPr>
          <p:spPr>
            <a:xfrm>
              <a:off x="5012877" y="4906670"/>
              <a:ext cx="978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1290"/>
                <a:gd name="f4" fmla="val 84454"/>
                <a:gd name="f5" fmla="val 161220"/>
                <a:gd name="f6" fmla="val 84133"/>
                <a:gd name="f7" fmla="*/ f0 1 161290"/>
                <a:gd name="f8" fmla="*/ f1 1 84454"/>
                <a:gd name="f9" fmla="+- f4 0 f2"/>
                <a:gd name="f10" fmla="+- f3 0 f2"/>
                <a:gd name="f11" fmla="*/ f10 1 161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1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0" name="object 1220">
              <a:extLst>
                <a:ext uri="{FF2B5EF4-FFF2-40B4-BE49-F238E27FC236}">
                  <a16:creationId xmlns:a16="http://schemas.microsoft.com/office/drawing/2014/main" id="{58F6E80B-F408-710B-41FB-44CEB7F97FC3}"/>
                </a:ext>
              </a:extLst>
            </p:cNvPr>
            <p:cNvSpPr/>
            <p:nvPr/>
          </p:nvSpPr>
          <p:spPr>
            <a:xfrm>
              <a:off x="5362352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1" name="object 1221">
              <a:extLst>
                <a:ext uri="{FF2B5EF4-FFF2-40B4-BE49-F238E27FC236}">
                  <a16:creationId xmlns:a16="http://schemas.microsoft.com/office/drawing/2014/main" id="{AC3D18A1-AA62-FDBB-6EB9-CC0CB4377070}"/>
                </a:ext>
              </a:extLst>
            </p:cNvPr>
            <p:cNvSpPr/>
            <p:nvPr/>
          </p:nvSpPr>
          <p:spPr>
            <a:xfrm>
              <a:off x="5187382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2" name="object 1222">
              <a:extLst>
                <a:ext uri="{FF2B5EF4-FFF2-40B4-BE49-F238E27FC236}">
                  <a16:creationId xmlns:a16="http://schemas.microsoft.com/office/drawing/2014/main" id="{944EC954-EF5C-11B5-D039-A73F7194DA28}"/>
                </a:ext>
              </a:extLst>
            </p:cNvPr>
            <p:cNvSpPr/>
            <p:nvPr/>
          </p:nvSpPr>
          <p:spPr>
            <a:xfrm>
              <a:off x="501241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3" name="object 1223">
              <a:extLst>
                <a:ext uri="{FF2B5EF4-FFF2-40B4-BE49-F238E27FC236}">
                  <a16:creationId xmlns:a16="http://schemas.microsoft.com/office/drawing/2014/main" id="{1B70B4FC-2584-6717-A149-7B270F1E3CED}"/>
                </a:ext>
              </a:extLst>
            </p:cNvPr>
            <p:cNvSpPr/>
            <p:nvPr/>
          </p:nvSpPr>
          <p:spPr>
            <a:xfrm>
              <a:off x="5187382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4" name="object 1224">
              <a:extLst>
                <a:ext uri="{FF2B5EF4-FFF2-40B4-BE49-F238E27FC236}">
                  <a16:creationId xmlns:a16="http://schemas.microsoft.com/office/drawing/2014/main" id="{A85134AC-7675-7CDD-9AAB-9A46810DF83E}"/>
                </a:ext>
              </a:extLst>
            </p:cNvPr>
            <p:cNvSpPr/>
            <p:nvPr/>
          </p:nvSpPr>
          <p:spPr>
            <a:xfrm>
              <a:off x="5292309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5" name="object 1225">
              <a:extLst>
                <a:ext uri="{FF2B5EF4-FFF2-40B4-BE49-F238E27FC236}">
                  <a16:creationId xmlns:a16="http://schemas.microsoft.com/office/drawing/2014/main" id="{0955CE0B-E046-C9E1-E023-19DA74AC7A5F}"/>
                </a:ext>
              </a:extLst>
            </p:cNvPr>
            <p:cNvSpPr/>
            <p:nvPr/>
          </p:nvSpPr>
          <p:spPr>
            <a:xfrm>
              <a:off x="532733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6" name="object 1226">
              <a:extLst>
                <a:ext uri="{FF2B5EF4-FFF2-40B4-BE49-F238E27FC236}">
                  <a16:creationId xmlns:a16="http://schemas.microsoft.com/office/drawing/2014/main" id="{5DBC150E-DBA0-B9B7-3EBB-258763CF93E3}"/>
                </a:ext>
              </a:extLst>
            </p:cNvPr>
            <p:cNvSpPr/>
            <p:nvPr/>
          </p:nvSpPr>
          <p:spPr>
            <a:xfrm>
              <a:off x="5222266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7" name="object 1227">
              <a:extLst>
                <a:ext uri="{FF2B5EF4-FFF2-40B4-BE49-F238E27FC236}">
                  <a16:creationId xmlns:a16="http://schemas.microsoft.com/office/drawing/2014/main" id="{2927A6CF-E05C-597F-D159-A2A0EE531F08}"/>
                </a:ext>
              </a:extLst>
            </p:cNvPr>
            <p:cNvSpPr/>
            <p:nvPr/>
          </p:nvSpPr>
          <p:spPr>
            <a:xfrm>
              <a:off x="5117201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8" name="object 1228">
              <a:extLst>
                <a:ext uri="{FF2B5EF4-FFF2-40B4-BE49-F238E27FC236}">
                  <a16:creationId xmlns:a16="http://schemas.microsoft.com/office/drawing/2014/main" id="{9DD7E4B0-8410-FDC2-BBF8-661E9822E474}"/>
                </a:ext>
              </a:extLst>
            </p:cNvPr>
            <p:cNvSpPr/>
            <p:nvPr/>
          </p:nvSpPr>
          <p:spPr>
            <a:xfrm>
              <a:off x="5152296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9" name="object 1229">
              <a:extLst>
                <a:ext uri="{FF2B5EF4-FFF2-40B4-BE49-F238E27FC236}">
                  <a16:creationId xmlns:a16="http://schemas.microsoft.com/office/drawing/2014/main" id="{E814C0A8-964A-0C13-DE9B-F62DA9576B2B}"/>
                </a:ext>
              </a:extLst>
            </p:cNvPr>
            <p:cNvSpPr/>
            <p:nvPr/>
          </p:nvSpPr>
          <p:spPr>
            <a:xfrm>
              <a:off x="5047158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0" name="object 1230">
              <a:extLst>
                <a:ext uri="{FF2B5EF4-FFF2-40B4-BE49-F238E27FC236}">
                  <a16:creationId xmlns:a16="http://schemas.microsoft.com/office/drawing/2014/main" id="{12292628-147A-EA3B-2DAF-411B0F6914CA}"/>
                </a:ext>
              </a:extLst>
            </p:cNvPr>
            <p:cNvSpPr/>
            <p:nvPr/>
          </p:nvSpPr>
          <p:spPr>
            <a:xfrm>
              <a:off x="5257287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1" name="object 1231">
              <a:extLst>
                <a:ext uri="{FF2B5EF4-FFF2-40B4-BE49-F238E27FC236}">
                  <a16:creationId xmlns:a16="http://schemas.microsoft.com/office/drawing/2014/main" id="{22617891-8F3D-4129-35B5-5873252B5A82}"/>
                </a:ext>
              </a:extLst>
            </p:cNvPr>
            <p:cNvSpPr/>
            <p:nvPr/>
          </p:nvSpPr>
          <p:spPr>
            <a:xfrm>
              <a:off x="508218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2" name="object 1232">
              <a:extLst>
                <a:ext uri="{FF2B5EF4-FFF2-40B4-BE49-F238E27FC236}">
                  <a16:creationId xmlns:a16="http://schemas.microsoft.com/office/drawing/2014/main" id="{EF7D0172-5772-97A7-EAB1-5F1900198D08}"/>
                </a:ext>
              </a:extLst>
            </p:cNvPr>
            <p:cNvSpPr/>
            <p:nvPr/>
          </p:nvSpPr>
          <p:spPr>
            <a:xfrm>
              <a:off x="5012411" y="50044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33" name="object 1233">
              <a:extLst>
                <a:ext uri="{FF2B5EF4-FFF2-40B4-BE49-F238E27FC236}">
                  <a16:creationId xmlns:a16="http://schemas.microsoft.com/office/drawing/2014/main" id="{45AEB88B-C7CB-B20A-F537-9CD19404E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8301014" y="1325642"/>
              <a:ext cx="347956" cy="34796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34" name="object 1234">
              <a:extLst>
                <a:ext uri="{FF2B5EF4-FFF2-40B4-BE49-F238E27FC236}">
                  <a16:creationId xmlns:a16="http://schemas.microsoft.com/office/drawing/2014/main" id="{A44D89D6-112A-3F59-7363-853D1259AC7A}"/>
                </a:ext>
              </a:extLst>
            </p:cNvPr>
            <p:cNvSpPr/>
            <p:nvPr/>
          </p:nvSpPr>
          <p:spPr>
            <a:xfrm>
              <a:off x="8301014" y="1325633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40"/>
                <a:gd name="f4" fmla="val 574039"/>
                <a:gd name="f5" fmla="val 286912"/>
                <a:gd name="f6" fmla="val 3754"/>
                <a:gd name="f7" fmla="val 333451"/>
                <a:gd name="f8" fmla="val 14626"/>
                <a:gd name="f9" fmla="val 377599"/>
                <a:gd name="f10" fmla="val 32023"/>
                <a:gd name="f11" fmla="val 418767"/>
                <a:gd name="f12" fmla="val 55354"/>
                <a:gd name="f13" fmla="val 456362"/>
                <a:gd name="f14" fmla="val 84031"/>
                <a:gd name="f15" fmla="val 489795"/>
                <a:gd name="f16" fmla="val 117461"/>
                <a:gd name="f17" fmla="val 518474"/>
                <a:gd name="f18" fmla="val 155055"/>
                <a:gd name="f19" fmla="val 541808"/>
                <a:gd name="f20" fmla="val 196222"/>
                <a:gd name="f21" fmla="val 559207"/>
                <a:gd name="f22" fmla="val 240371"/>
                <a:gd name="f23" fmla="val 570080"/>
                <a:gd name="f24" fmla="val 573835"/>
                <a:gd name="f25" fmla="val 377598"/>
                <a:gd name="f26" fmla="val 418764"/>
                <a:gd name="f27" fmla="val 456358"/>
                <a:gd name="f28" fmla="val 489790"/>
                <a:gd name="f29" fmla="val 518467"/>
                <a:gd name="f30" fmla="val 541800"/>
                <a:gd name="f31" fmla="val 559198"/>
                <a:gd name="f32" fmla="val 570070"/>
                <a:gd name="f33" fmla="val 573825"/>
                <a:gd name="f34" fmla="val 240374"/>
                <a:gd name="f35" fmla="val 196226"/>
                <a:gd name="f36" fmla="val 155060"/>
                <a:gd name="f37" fmla="val 117466"/>
                <a:gd name="f38" fmla="val 84035"/>
                <a:gd name="f39" fmla="val 55357"/>
                <a:gd name="f40" fmla="val 32024"/>
                <a:gd name="f41" fmla="val 14627"/>
                <a:gd name="f42" fmla="val 3755"/>
                <a:gd name="f43" fmla="*/ f0 1 574040"/>
                <a:gd name="f44" fmla="*/ f1 1 574039"/>
                <a:gd name="f45" fmla="+- f4 0 f2"/>
                <a:gd name="f46" fmla="+- f3 0 f2"/>
                <a:gd name="f47" fmla="*/ f46 1 574040"/>
                <a:gd name="f48" fmla="*/ f45 1 574039"/>
                <a:gd name="f49" fmla="*/ f2 1 f47"/>
                <a:gd name="f50" fmla="*/ f3 1 f47"/>
                <a:gd name="f51" fmla="*/ f2 1 f48"/>
                <a:gd name="f52" fmla="*/ f4 1 f48"/>
                <a:gd name="f53" fmla="*/ f49 f43 1"/>
                <a:gd name="f54" fmla="*/ f50 f43 1"/>
                <a:gd name="f55" fmla="*/ f52 f44 1"/>
                <a:gd name="f56" fmla="*/ f51 f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3" t="f56" r="f54" b="f55"/>
              <a:pathLst>
                <a:path w="574040" h="574039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4"/>
                  </a:lnTo>
                  <a:lnTo>
                    <a:pt x="f7" y="f23"/>
                  </a:lnTo>
                  <a:lnTo>
                    <a:pt x="f25" y="f21"/>
                  </a:lnTo>
                  <a:lnTo>
                    <a:pt x="f26" y="f19"/>
                  </a:lnTo>
                  <a:lnTo>
                    <a:pt x="f27" y="f17"/>
                  </a:lnTo>
                  <a:lnTo>
                    <a:pt x="f28" y="f15"/>
                  </a:lnTo>
                  <a:lnTo>
                    <a:pt x="f29" y="f13"/>
                  </a:lnTo>
                  <a:lnTo>
                    <a:pt x="f30" y="f11"/>
                  </a:lnTo>
                  <a:lnTo>
                    <a:pt x="f31" y="f9"/>
                  </a:lnTo>
                  <a:lnTo>
                    <a:pt x="f32" y="f7"/>
                  </a:lnTo>
                  <a:lnTo>
                    <a:pt x="f33" y="f5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41"/>
                  </a:lnTo>
                  <a:lnTo>
                    <a:pt x="f7" y="f42"/>
                  </a:lnTo>
                  <a:lnTo>
                    <a:pt x="f5" y="f2"/>
                  </a:lnTo>
                  <a:lnTo>
                    <a:pt x="f22" y="f42"/>
                  </a:lnTo>
                  <a:lnTo>
                    <a:pt x="f20" y="f41"/>
                  </a:lnTo>
                  <a:lnTo>
                    <a:pt x="f18" y="f40"/>
                  </a:lnTo>
                  <a:lnTo>
                    <a:pt x="f16" y="f39"/>
                  </a:lnTo>
                  <a:lnTo>
                    <a:pt x="f14" y="f38"/>
                  </a:lnTo>
                  <a:lnTo>
                    <a:pt x="f12" y="f37"/>
                  </a:lnTo>
                  <a:lnTo>
                    <a:pt x="f10" y="f36"/>
                  </a:lnTo>
                  <a:lnTo>
                    <a:pt x="f8" y="f35"/>
                  </a:lnTo>
                  <a:lnTo>
                    <a:pt x="f6" y="f34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5" name="object 1235">
              <a:extLst>
                <a:ext uri="{FF2B5EF4-FFF2-40B4-BE49-F238E27FC236}">
                  <a16:creationId xmlns:a16="http://schemas.microsoft.com/office/drawing/2014/main" id="{404502D7-80E6-BC30-88E1-308B308C4C5A}"/>
                </a:ext>
              </a:extLst>
            </p:cNvPr>
            <p:cNvSpPr/>
            <p:nvPr/>
          </p:nvSpPr>
          <p:spPr>
            <a:xfrm>
              <a:off x="8579376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6" name="object 1236">
              <a:extLst>
                <a:ext uri="{FF2B5EF4-FFF2-40B4-BE49-F238E27FC236}">
                  <a16:creationId xmlns:a16="http://schemas.microsoft.com/office/drawing/2014/main" id="{BAC863EE-6433-6EA7-FBC6-EAB5764FB63C}"/>
                </a:ext>
              </a:extLst>
            </p:cNvPr>
            <p:cNvSpPr/>
            <p:nvPr/>
          </p:nvSpPr>
          <p:spPr>
            <a:xfrm>
              <a:off x="8614397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7" name="object 1237">
              <a:extLst>
                <a:ext uri="{FF2B5EF4-FFF2-40B4-BE49-F238E27FC236}">
                  <a16:creationId xmlns:a16="http://schemas.microsoft.com/office/drawing/2014/main" id="{AA874DC3-3C89-6F90-EFE2-9DB69E80002D}"/>
                </a:ext>
              </a:extLst>
            </p:cNvPr>
            <p:cNvSpPr/>
            <p:nvPr/>
          </p:nvSpPr>
          <p:spPr>
            <a:xfrm>
              <a:off x="8509333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8" name="object 1238">
              <a:extLst>
                <a:ext uri="{FF2B5EF4-FFF2-40B4-BE49-F238E27FC236}">
                  <a16:creationId xmlns:a16="http://schemas.microsoft.com/office/drawing/2014/main" id="{CD430688-8102-AA13-54E6-D6AC7876E59F}"/>
                </a:ext>
              </a:extLst>
            </p:cNvPr>
            <p:cNvSpPr/>
            <p:nvPr/>
          </p:nvSpPr>
          <p:spPr>
            <a:xfrm>
              <a:off x="8404268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9" name="object 1239">
              <a:extLst>
                <a:ext uri="{FF2B5EF4-FFF2-40B4-BE49-F238E27FC236}">
                  <a16:creationId xmlns:a16="http://schemas.microsoft.com/office/drawing/2014/main" id="{9696AD33-5C9B-702E-5472-C546D54E7C2E}"/>
                </a:ext>
              </a:extLst>
            </p:cNvPr>
            <p:cNvSpPr/>
            <p:nvPr/>
          </p:nvSpPr>
          <p:spPr>
            <a:xfrm>
              <a:off x="8439363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0" name="object 1240">
              <a:extLst>
                <a:ext uri="{FF2B5EF4-FFF2-40B4-BE49-F238E27FC236}">
                  <a16:creationId xmlns:a16="http://schemas.microsoft.com/office/drawing/2014/main" id="{4548B4E4-8897-F99C-5DD4-DE9B91125E57}"/>
                </a:ext>
              </a:extLst>
            </p:cNvPr>
            <p:cNvSpPr/>
            <p:nvPr/>
          </p:nvSpPr>
          <p:spPr>
            <a:xfrm>
              <a:off x="8334225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1" name="object 1241">
              <a:extLst>
                <a:ext uri="{FF2B5EF4-FFF2-40B4-BE49-F238E27FC236}">
                  <a16:creationId xmlns:a16="http://schemas.microsoft.com/office/drawing/2014/main" id="{B8DE336A-D820-5B2C-EEB4-AED0D83C14C9}"/>
                </a:ext>
              </a:extLst>
            </p:cNvPr>
            <p:cNvSpPr/>
            <p:nvPr/>
          </p:nvSpPr>
          <p:spPr>
            <a:xfrm>
              <a:off x="8544354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2" name="object 1242">
              <a:extLst>
                <a:ext uri="{FF2B5EF4-FFF2-40B4-BE49-F238E27FC236}">
                  <a16:creationId xmlns:a16="http://schemas.microsoft.com/office/drawing/2014/main" id="{515D8FCC-D7D3-AF8C-03E9-00473752FA99}"/>
                </a:ext>
              </a:extLst>
            </p:cNvPr>
            <p:cNvSpPr/>
            <p:nvPr/>
          </p:nvSpPr>
          <p:spPr>
            <a:xfrm>
              <a:off x="8369247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3" name="object 1243">
              <a:extLst>
                <a:ext uri="{FF2B5EF4-FFF2-40B4-BE49-F238E27FC236}">
                  <a16:creationId xmlns:a16="http://schemas.microsoft.com/office/drawing/2014/main" id="{F8759C77-1E8C-721D-4607-108CD724A5DD}"/>
                </a:ext>
              </a:extLst>
            </p:cNvPr>
            <p:cNvSpPr/>
            <p:nvPr/>
          </p:nvSpPr>
          <p:spPr>
            <a:xfrm>
              <a:off x="864941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4" name="object 1244">
              <a:extLst>
                <a:ext uri="{FF2B5EF4-FFF2-40B4-BE49-F238E27FC236}">
                  <a16:creationId xmlns:a16="http://schemas.microsoft.com/office/drawing/2014/main" id="{5B897E9E-6C3B-0BA8-2FA4-618D4E779688}"/>
                </a:ext>
              </a:extLst>
            </p:cNvPr>
            <p:cNvSpPr/>
            <p:nvPr/>
          </p:nvSpPr>
          <p:spPr>
            <a:xfrm>
              <a:off x="8474448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5" name="object 1245">
              <a:extLst>
                <a:ext uri="{FF2B5EF4-FFF2-40B4-BE49-F238E27FC236}">
                  <a16:creationId xmlns:a16="http://schemas.microsoft.com/office/drawing/2014/main" id="{264009EB-0AF8-EA39-8039-C550C4B6DF9C}"/>
                </a:ext>
              </a:extLst>
            </p:cNvPr>
            <p:cNvSpPr/>
            <p:nvPr/>
          </p:nvSpPr>
          <p:spPr>
            <a:xfrm>
              <a:off x="8299478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6" name="object 1246">
              <a:extLst>
                <a:ext uri="{FF2B5EF4-FFF2-40B4-BE49-F238E27FC236}">
                  <a16:creationId xmlns:a16="http://schemas.microsoft.com/office/drawing/2014/main" id="{D01414B9-B37C-7230-B4D1-340F188356FF}"/>
                </a:ext>
              </a:extLst>
            </p:cNvPr>
            <p:cNvSpPr/>
            <p:nvPr/>
          </p:nvSpPr>
          <p:spPr>
            <a:xfrm>
              <a:off x="8299478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7" name="object 1247">
              <a:extLst>
                <a:ext uri="{FF2B5EF4-FFF2-40B4-BE49-F238E27FC236}">
                  <a16:creationId xmlns:a16="http://schemas.microsoft.com/office/drawing/2014/main" id="{4F3275C4-DB29-5AD0-1104-2EADF8B6C5EA}"/>
                </a:ext>
              </a:extLst>
            </p:cNvPr>
            <p:cNvSpPr/>
            <p:nvPr/>
          </p:nvSpPr>
          <p:spPr>
            <a:xfrm>
              <a:off x="8299597" y="1085502"/>
              <a:ext cx="1386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859"/>
                <a:gd name="f4" fmla="val 84455"/>
                <a:gd name="f5" fmla="val 22334"/>
                <a:gd name="f6" fmla="val 84123"/>
                <a:gd name="f7" fmla="*/ f0 1 22859"/>
                <a:gd name="f8" fmla="*/ f1 1 84455"/>
                <a:gd name="f9" fmla="+- f4 0 f2"/>
                <a:gd name="f10" fmla="+- f3 0 f2"/>
                <a:gd name="f11" fmla="*/ f10 1 2285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285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8" name="object 1248">
              <a:extLst>
                <a:ext uri="{FF2B5EF4-FFF2-40B4-BE49-F238E27FC236}">
                  <a16:creationId xmlns:a16="http://schemas.microsoft.com/office/drawing/2014/main" id="{4E17B318-F550-7DF5-8BF5-1EAFC96D7076}"/>
                </a:ext>
              </a:extLst>
            </p:cNvPr>
            <p:cNvSpPr/>
            <p:nvPr/>
          </p:nvSpPr>
          <p:spPr>
            <a:xfrm>
              <a:off x="8299597" y="1157804"/>
              <a:ext cx="119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684"/>
                <a:gd name="f4" fmla="val 84455"/>
                <a:gd name="f5" fmla="val 19392"/>
                <a:gd name="f6" fmla="val 84112"/>
                <a:gd name="f7" fmla="*/ f0 1 19684"/>
                <a:gd name="f8" fmla="*/ f1 1 84455"/>
                <a:gd name="f9" fmla="+- f4 0 f2"/>
                <a:gd name="f10" fmla="+- f3 0 f2"/>
                <a:gd name="f11" fmla="*/ f10 1 1968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68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9" name="object 1249">
              <a:extLst>
                <a:ext uri="{FF2B5EF4-FFF2-40B4-BE49-F238E27FC236}">
                  <a16:creationId xmlns:a16="http://schemas.microsoft.com/office/drawing/2014/main" id="{D94CB7C6-ADDE-9D6B-46FA-EBC520779106}"/>
                </a:ext>
              </a:extLst>
            </p:cNvPr>
            <p:cNvSpPr/>
            <p:nvPr/>
          </p:nvSpPr>
          <p:spPr>
            <a:xfrm>
              <a:off x="85790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0" name="object 1250">
              <a:extLst>
                <a:ext uri="{FF2B5EF4-FFF2-40B4-BE49-F238E27FC236}">
                  <a16:creationId xmlns:a16="http://schemas.microsoft.com/office/drawing/2014/main" id="{E1904EEA-6BCA-0DF9-1842-F05A26351DC9}"/>
                </a:ext>
              </a:extLst>
            </p:cNvPr>
            <p:cNvSpPr/>
            <p:nvPr/>
          </p:nvSpPr>
          <p:spPr>
            <a:xfrm>
              <a:off x="861405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1" name="object 1251">
              <a:extLst>
                <a:ext uri="{FF2B5EF4-FFF2-40B4-BE49-F238E27FC236}">
                  <a16:creationId xmlns:a16="http://schemas.microsoft.com/office/drawing/2014/main" id="{612CEBF8-23DA-CD16-9BB0-C83D71CB8292}"/>
                </a:ext>
              </a:extLst>
            </p:cNvPr>
            <p:cNvSpPr/>
            <p:nvPr/>
          </p:nvSpPr>
          <p:spPr>
            <a:xfrm>
              <a:off x="850898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2" name="object 1252">
              <a:extLst>
                <a:ext uri="{FF2B5EF4-FFF2-40B4-BE49-F238E27FC236}">
                  <a16:creationId xmlns:a16="http://schemas.microsoft.com/office/drawing/2014/main" id="{853A1B29-474C-88F0-9ED4-3B98A8CA3ED5}"/>
                </a:ext>
              </a:extLst>
            </p:cNvPr>
            <p:cNvSpPr/>
            <p:nvPr/>
          </p:nvSpPr>
          <p:spPr>
            <a:xfrm>
              <a:off x="840392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3" name="object 1253">
              <a:extLst>
                <a:ext uri="{FF2B5EF4-FFF2-40B4-BE49-F238E27FC236}">
                  <a16:creationId xmlns:a16="http://schemas.microsoft.com/office/drawing/2014/main" id="{D72C83D8-C1A9-632A-3550-2AAE8DE33E39}"/>
                </a:ext>
              </a:extLst>
            </p:cNvPr>
            <p:cNvSpPr/>
            <p:nvPr/>
          </p:nvSpPr>
          <p:spPr>
            <a:xfrm>
              <a:off x="843901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4" name="object 1254">
              <a:extLst>
                <a:ext uri="{FF2B5EF4-FFF2-40B4-BE49-F238E27FC236}">
                  <a16:creationId xmlns:a16="http://schemas.microsoft.com/office/drawing/2014/main" id="{555347E3-4319-07FE-AD24-F0F8BE414E18}"/>
                </a:ext>
              </a:extLst>
            </p:cNvPr>
            <p:cNvSpPr/>
            <p:nvPr/>
          </p:nvSpPr>
          <p:spPr>
            <a:xfrm>
              <a:off x="833387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5" name="object 1255">
              <a:extLst>
                <a:ext uri="{FF2B5EF4-FFF2-40B4-BE49-F238E27FC236}">
                  <a16:creationId xmlns:a16="http://schemas.microsoft.com/office/drawing/2014/main" id="{E81B8B31-94E9-D4FD-0608-4FB1F13D9241}"/>
                </a:ext>
              </a:extLst>
            </p:cNvPr>
            <p:cNvSpPr/>
            <p:nvPr/>
          </p:nvSpPr>
          <p:spPr>
            <a:xfrm>
              <a:off x="854400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6" name="object 1256">
              <a:extLst>
                <a:ext uri="{FF2B5EF4-FFF2-40B4-BE49-F238E27FC236}">
                  <a16:creationId xmlns:a16="http://schemas.microsoft.com/office/drawing/2014/main" id="{27498859-74BD-4422-59D6-25EA5BC1EDC0}"/>
                </a:ext>
              </a:extLst>
            </p:cNvPr>
            <p:cNvSpPr/>
            <p:nvPr/>
          </p:nvSpPr>
          <p:spPr>
            <a:xfrm>
              <a:off x="836889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7" name="object 1257">
              <a:extLst>
                <a:ext uri="{FF2B5EF4-FFF2-40B4-BE49-F238E27FC236}">
                  <a16:creationId xmlns:a16="http://schemas.microsoft.com/office/drawing/2014/main" id="{37BA2026-E3E0-B7B3-43F8-BDAEF50CA05E}"/>
                </a:ext>
              </a:extLst>
            </p:cNvPr>
            <p:cNvSpPr/>
            <p:nvPr/>
          </p:nvSpPr>
          <p:spPr>
            <a:xfrm>
              <a:off x="864907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8" name="object 1258">
              <a:extLst>
                <a:ext uri="{FF2B5EF4-FFF2-40B4-BE49-F238E27FC236}">
                  <a16:creationId xmlns:a16="http://schemas.microsoft.com/office/drawing/2014/main" id="{9969F4E0-E958-E32C-A1FC-6C92889D0C45}"/>
                </a:ext>
              </a:extLst>
            </p:cNvPr>
            <p:cNvSpPr/>
            <p:nvPr/>
          </p:nvSpPr>
          <p:spPr>
            <a:xfrm>
              <a:off x="847410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9" name="object 1259">
              <a:extLst>
                <a:ext uri="{FF2B5EF4-FFF2-40B4-BE49-F238E27FC236}">
                  <a16:creationId xmlns:a16="http://schemas.microsoft.com/office/drawing/2014/main" id="{FDDB19B5-A5A4-139F-A480-40CB90E336BF}"/>
                </a:ext>
              </a:extLst>
            </p:cNvPr>
            <p:cNvSpPr/>
            <p:nvPr/>
          </p:nvSpPr>
          <p:spPr>
            <a:xfrm>
              <a:off x="8299130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0" name="object 1260">
              <a:extLst>
                <a:ext uri="{FF2B5EF4-FFF2-40B4-BE49-F238E27FC236}">
                  <a16:creationId xmlns:a16="http://schemas.microsoft.com/office/drawing/2014/main" id="{CB6BD899-0922-3153-BCB0-217D7050B28F}"/>
                </a:ext>
              </a:extLst>
            </p:cNvPr>
            <p:cNvSpPr/>
            <p:nvPr/>
          </p:nvSpPr>
          <p:spPr>
            <a:xfrm>
              <a:off x="847410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1" name="object 1261">
              <a:extLst>
                <a:ext uri="{FF2B5EF4-FFF2-40B4-BE49-F238E27FC236}">
                  <a16:creationId xmlns:a16="http://schemas.microsoft.com/office/drawing/2014/main" id="{FD00B5CD-5369-5803-5FD9-49F9BA6CB192}"/>
                </a:ext>
              </a:extLst>
            </p:cNvPr>
            <p:cNvSpPr/>
            <p:nvPr/>
          </p:nvSpPr>
          <p:spPr>
            <a:xfrm>
              <a:off x="8299130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2" name="object 1262">
              <a:extLst>
                <a:ext uri="{FF2B5EF4-FFF2-40B4-BE49-F238E27FC236}">
                  <a16:creationId xmlns:a16="http://schemas.microsoft.com/office/drawing/2014/main" id="{90062C62-F8A7-0731-DED7-400C6F14DA85}"/>
                </a:ext>
              </a:extLst>
            </p:cNvPr>
            <p:cNvSpPr/>
            <p:nvPr/>
          </p:nvSpPr>
          <p:spPr>
            <a:xfrm>
              <a:off x="9401988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3" name="object 1263">
              <a:extLst>
                <a:ext uri="{FF2B5EF4-FFF2-40B4-BE49-F238E27FC236}">
                  <a16:creationId xmlns:a16="http://schemas.microsoft.com/office/drawing/2014/main" id="{7CEF2DB1-7B36-83A1-A50F-4F1BE6034672}"/>
                </a:ext>
              </a:extLst>
            </p:cNvPr>
            <p:cNvSpPr/>
            <p:nvPr/>
          </p:nvSpPr>
          <p:spPr>
            <a:xfrm>
              <a:off x="9437019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4" name="object 1264">
              <a:extLst>
                <a:ext uri="{FF2B5EF4-FFF2-40B4-BE49-F238E27FC236}">
                  <a16:creationId xmlns:a16="http://schemas.microsoft.com/office/drawing/2014/main" id="{6A87E115-963E-06AB-3080-A51803A1F5D1}"/>
                </a:ext>
              </a:extLst>
            </p:cNvPr>
            <p:cNvSpPr/>
            <p:nvPr/>
          </p:nvSpPr>
          <p:spPr>
            <a:xfrm>
              <a:off x="9331945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5" name="object 1265">
              <a:extLst>
                <a:ext uri="{FF2B5EF4-FFF2-40B4-BE49-F238E27FC236}">
                  <a16:creationId xmlns:a16="http://schemas.microsoft.com/office/drawing/2014/main" id="{C9CD2F48-53B5-41B9-D37D-22460C717562}"/>
                </a:ext>
              </a:extLst>
            </p:cNvPr>
            <p:cNvSpPr/>
            <p:nvPr/>
          </p:nvSpPr>
          <p:spPr>
            <a:xfrm>
              <a:off x="9226881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6" name="object 1266">
              <a:extLst>
                <a:ext uri="{FF2B5EF4-FFF2-40B4-BE49-F238E27FC236}">
                  <a16:creationId xmlns:a16="http://schemas.microsoft.com/office/drawing/2014/main" id="{DEB28DCB-239F-64E5-8FC9-2C710689680D}"/>
                </a:ext>
              </a:extLst>
            </p:cNvPr>
            <p:cNvSpPr/>
            <p:nvPr/>
          </p:nvSpPr>
          <p:spPr>
            <a:xfrm>
              <a:off x="9261975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7" name="object 1267">
              <a:extLst>
                <a:ext uri="{FF2B5EF4-FFF2-40B4-BE49-F238E27FC236}">
                  <a16:creationId xmlns:a16="http://schemas.microsoft.com/office/drawing/2014/main" id="{C048706A-3E8F-4AA2-9401-DC1D850375DF}"/>
                </a:ext>
              </a:extLst>
            </p:cNvPr>
            <p:cNvSpPr/>
            <p:nvPr/>
          </p:nvSpPr>
          <p:spPr>
            <a:xfrm>
              <a:off x="9156838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8" name="object 1268">
              <a:extLst>
                <a:ext uri="{FF2B5EF4-FFF2-40B4-BE49-F238E27FC236}">
                  <a16:creationId xmlns:a16="http://schemas.microsoft.com/office/drawing/2014/main" id="{7BD4AFF7-B717-9068-4EE8-705AC34CD4C8}"/>
                </a:ext>
              </a:extLst>
            </p:cNvPr>
            <p:cNvSpPr/>
            <p:nvPr/>
          </p:nvSpPr>
          <p:spPr>
            <a:xfrm>
              <a:off x="9366976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9" name="object 1269">
              <a:extLst>
                <a:ext uri="{FF2B5EF4-FFF2-40B4-BE49-F238E27FC236}">
                  <a16:creationId xmlns:a16="http://schemas.microsoft.com/office/drawing/2014/main" id="{C1D33E38-38AD-836C-717F-8111DF07E9BA}"/>
                </a:ext>
              </a:extLst>
            </p:cNvPr>
            <p:cNvSpPr/>
            <p:nvPr/>
          </p:nvSpPr>
          <p:spPr>
            <a:xfrm>
              <a:off x="9191859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0" name="object 1270">
              <a:extLst>
                <a:ext uri="{FF2B5EF4-FFF2-40B4-BE49-F238E27FC236}">
                  <a16:creationId xmlns:a16="http://schemas.microsoft.com/office/drawing/2014/main" id="{D612AC5B-EA1B-DC6B-5C29-9436510DC55B}"/>
                </a:ext>
              </a:extLst>
            </p:cNvPr>
            <p:cNvSpPr/>
            <p:nvPr/>
          </p:nvSpPr>
          <p:spPr>
            <a:xfrm>
              <a:off x="9472041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1" name="object 1271">
              <a:extLst>
                <a:ext uri="{FF2B5EF4-FFF2-40B4-BE49-F238E27FC236}">
                  <a16:creationId xmlns:a16="http://schemas.microsoft.com/office/drawing/2014/main" id="{1BD92E69-4FF2-1657-6972-2E94EF6BF41C}"/>
                </a:ext>
              </a:extLst>
            </p:cNvPr>
            <p:cNvSpPr/>
            <p:nvPr/>
          </p:nvSpPr>
          <p:spPr>
            <a:xfrm>
              <a:off x="9297070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2" name="object 1272">
              <a:extLst>
                <a:ext uri="{FF2B5EF4-FFF2-40B4-BE49-F238E27FC236}">
                  <a16:creationId xmlns:a16="http://schemas.microsoft.com/office/drawing/2014/main" id="{56752EC5-8E90-2578-F186-3135CA37E49A}"/>
                </a:ext>
              </a:extLst>
            </p:cNvPr>
            <p:cNvSpPr/>
            <p:nvPr/>
          </p:nvSpPr>
          <p:spPr>
            <a:xfrm>
              <a:off x="9122090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3" name="object 1273">
              <a:extLst>
                <a:ext uri="{FF2B5EF4-FFF2-40B4-BE49-F238E27FC236}">
                  <a16:creationId xmlns:a16="http://schemas.microsoft.com/office/drawing/2014/main" id="{8116D315-D2E2-D75C-09A0-E3FF38302937}"/>
                </a:ext>
              </a:extLst>
            </p:cNvPr>
            <p:cNvSpPr/>
            <p:nvPr/>
          </p:nvSpPr>
          <p:spPr>
            <a:xfrm>
              <a:off x="9122090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4" name="object 1274">
              <a:extLst>
                <a:ext uri="{FF2B5EF4-FFF2-40B4-BE49-F238E27FC236}">
                  <a16:creationId xmlns:a16="http://schemas.microsoft.com/office/drawing/2014/main" id="{05A1A20A-F5D4-C3A3-0BE4-8F50AE0DC69A}"/>
                </a:ext>
              </a:extLst>
            </p:cNvPr>
            <p:cNvSpPr/>
            <p:nvPr/>
          </p:nvSpPr>
          <p:spPr>
            <a:xfrm>
              <a:off x="9122228" y="1085502"/>
              <a:ext cx="26838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42594"/>
                <a:gd name="f4" fmla="val 84455"/>
                <a:gd name="f5" fmla="val 442593"/>
                <a:gd name="f6" fmla="val 84123"/>
                <a:gd name="f7" fmla="*/ f0 1 442594"/>
                <a:gd name="f8" fmla="*/ f1 1 84455"/>
                <a:gd name="f9" fmla="+- f4 0 f2"/>
                <a:gd name="f10" fmla="+- f3 0 f2"/>
                <a:gd name="f11" fmla="*/ f10 1 44259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4259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5" name="object 1275">
              <a:extLst>
                <a:ext uri="{FF2B5EF4-FFF2-40B4-BE49-F238E27FC236}">
                  <a16:creationId xmlns:a16="http://schemas.microsoft.com/office/drawing/2014/main" id="{B2F3819E-9876-E419-48A5-BEFA81961552}"/>
                </a:ext>
              </a:extLst>
            </p:cNvPr>
            <p:cNvSpPr/>
            <p:nvPr/>
          </p:nvSpPr>
          <p:spPr>
            <a:xfrm>
              <a:off x="9122228" y="1157804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19"/>
                <a:gd name="f4" fmla="val 84455"/>
                <a:gd name="f5" fmla="val 172560"/>
                <a:gd name="f6" fmla="val 84112"/>
                <a:gd name="f7" fmla="*/ f0 1 172719"/>
                <a:gd name="f8" fmla="*/ f1 1 84455"/>
                <a:gd name="f9" fmla="+- f4 0 f2"/>
                <a:gd name="f10" fmla="+- f3 0 f2"/>
                <a:gd name="f11" fmla="*/ f10 1 17271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1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6" name="object 1276">
              <a:extLst>
                <a:ext uri="{FF2B5EF4-FFF2-40B4-BE49-F238E27FC236}">
                  <a16:creationId xmlns:a16="http://schemas.microsoft.com/office/drawing/2014/main" id="{938897A1-47EB-1B76-5893-BA4CAC732DCB}"/>
                </a:ext>
              </a:extLst>
            </p:cNvPr>
            <p:cNvSpPr/>
            <p:nvPr/>
          </p:nvSpPr>
          <p:spPr>
            <a:xfrm>
              <a:off x="940165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7" name="object 1277">
              <a:extLst>
                <a:ext uri="{FF2B5EF4-FFF2-40B4-BE49-F238E27FC236}">
                  <a16:creationId xmlns:a16="http://schemas.microsoft.com/office/drawing/2014/main" id="{E70F4C3C-9CEE-7374-FF46-AAF04283DBF6}"/>
                </a:ext>
              </a:extLst>
            </p:cNvPr>
            <p:cNvSpPr/>
            <p:nvPr/>
          </p:nvSpPr>
          <p:spPr>
            <a:xfrm>
              <a:off x="943667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8" name="object 1278">
              <a:extLst>
                <a:ext uri="{FF2B5EF4-FFF2-40B4-BE49-F238E27FC236}">
                  <a16:creationId xmlns:a16="http://schemas.microsoft.com/office/drawing/2014/main" id="{20DFD977-CF6F-7A66-53D3-8E24DA3956F4}"/>
                </a:ext>
              </a:extLst>
            </p:cNvPr>
            <p:cNvSpPr/>
            <p:nvPr/>
          </p:nvSpPr>
          <p:spPr>
            <a:xfrm>
              <a:off x="933160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9" name="object 1279">
              <a:extLst>
                <a:ext uri="{FF2B5EF4-FFF2-40B4-BE49-F238E27FC236}">
                  <a16:creationId xmlns:a16="http://schemas.microsoft.com/office/drawing/2014/main" id="{A697B969-6757-8513-94B5-96A6F87713BC}"/>
                </a:ext>
              </a:extLst>
            </p:cNvPr>
            <p:cNvSpPr/>
            <p:nvPr/>
          </p:nvSpPr>
          <p:spPr>
            <a:xfrm>
              <a:off x="922653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0" name="object 1280">
              <a:extLst>
                <a:ext uri="{FF2B5EF4-FFF2-40B4-BE49-F238E27FC236}">
                  <a16:creationId xmlns:a16="http://schemas.microsoft.com/office/drawing/2014/main" id="{EF6A8B0B-DA13-03C9-0BD4-E27E3B25C50D}"/>
                </a:ext>
              </a:extLst>
            </p:cNvPr>
            <p:cNvSpPr/>
            <p:nvPr/>
          </p:nvSpPr>
          <p:spPr>
            <a:xfrm>
              <a:off x="92616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1" name="object 1281">
              <a:extLst>
                <a:ext uri="{FF2B5EF4-FFF2-40B4-BE49-F238E27FC236}">
                  <a16:creationId xmlns:a16="http://schemas.microsoft.com/office/drawing/2014/main" id="{74D4ED5B-65B7-F51F-4920-736983D8F267}"/>
                </a:ext>
              </a:extLst>
            </p:cNvPr>
            <p:cNvSpPr/>
            <p:nvPr/>
          </p:nvSpPr>
          <p:spPr>
            <a:xfrm>
              <a:off x="915649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2" name="object 1282">
              <a:extLst>
                <a:ext uri="{FF2B5EF4-FFF2-40B4-BE49-F238E27FC236}">
                  <a16:creationId xmlns:a16="http://schemas.microsoft.com/office/drawing/2014/main" id="{66E1A8BC-DFA0-F903-52B9-F3243D2830F2}"/>
                </a:ext>
              </a:extLst>
            </p:cNvPr>
            <p:cNvSpPr/>
            <p:nvPr/>
          </p:nvSpPr>
          <p:spPr>
            <a:xfrm>
              <a:off x="93666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3" name="object 1283">
              <a:extLst>
                <a:ext uri="{FF2B5EF4-FFF2-40B4-BE49-F238E27FC236}">
                  <a16:creationId xmlns:a16="http://schemas.microsoft.com/office/drawing/2014/main" id="{2D793616-226D-4637-8C6A-E684991092D9}"/>
                </a:ext>
              </a:extLst>
            </p:cNvPr>
            <p:cNvSpPr/>
            <p:nvPr/>
          </p:nvSpPr>
          <p:spPr>
            <a:xfrm>
              <a:off x="919151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4" name="object 1284">
              <a:extLst>
                <a:ext uri="{FF2B5EF4-FFF2-40B4-BE49-F238E27FC236}">
                  <a16:creationId xmlns:a16="http://schemas.microsoft.com/office/drawing/2014/main" id="{BD3A4A27-45FA-F2E2-9ABF-B53160F63522}"/>
                </a:ext>
              </a:extLst>
            </p:cNvPr>
            <p:cNvSpPr/>
            <p:nvPr/>
          </p:nvSpPr>
          <p:spPr>
            <a:xfrm>
              <a:off x="947169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5" name="object 1285">
              <a:extLst>
                <a:ext uri="{FF2B5EF4-FFF2-40B4-BE49-F238E27FC236}">
                  <a16:creationId xmlns:a16="http://schemas.microsoft.com/office/drawing/2014/main" id="{9C52FC99-CB6D-9B64-0B0E-0ED4201CA27F}"/>
                </a:ext>
              </a:extLst>
            </p:cNvPr>
            <p:cNvSpPr/>
            <p:nvPr/>
          </p:nvSpPr>
          <p:spPr>
            <a:xfrm>
              <a:off x="929672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6" name="object 1286">
              <a:extLst>
                <a:ext uri="{FF2B5EF4-FFF2-40B4-BE49-F238E27FC236}">
                  <a16:creationId xmlns:a16="http://schemas.microsoft.com/office/drawing/2014/main" id="{FCC16C72-A9F6-A847-9421-7FB0ED1BAB6C}"/>
                </a:ext>
              </a:extLst>
            </p:cNvPr>
            <p:cNvSpPr/>
            <p:nvPr/>
          </p:nvSpPr>
          <p:spPr>
            <a:xfrm>
              <a:off x="912174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7" name="object 1287">
              <a:extLst>
                <a:ext uri="{FF2B5EF4-FFF2-40B4-BE49-F238E27FC236}">
                  <a16:creationId xmlns:a16="http://schemas.microsoft.com/office/drawing/2014/main" id="{88CBC3F3-956B-048F-F71E-F70D50A99A99}"/>
                </a:ext>
              </a:extLst>
            </p:cNvPr>
            <p:cNvSpPr/>
            <p:nvPr/>
          </p:nvSpPr>
          <p:spPr>
            <a:xfrm>
              <a:off x="929672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8" name="object 1288">
              <a:extLst>
                <a:ext uri="{FF2B5EF4-FFF2-40B4-BE49-F238E27FC236}">
                  <a16:creationId xmlns:a16="http://schemas.microsoft.com/office/drawing/2014/main" id="{53A88376-8127-8431-9FCF-C2FB5837F446}"/>
                </a:ext>
              </a:extLst>
            </p:cNvPr>
            <p:cNvSpPr/>
            <p:nvPr/>
          </p:nvSpPr>
          <p:spPr>
            <a:xfrm>
              <a:off x="9121743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9" name="object 1289">
              <a:extLst>
                <a:ext uri="{FF2B5EF4-FFF2-40B4-BE49-F238E27FC236}">
                  <a16:creationId xmlns:a16="http://schemas.microsoft.com/office/drawing/2014/main" id="{253B4CCB-4DF9-1031-697F-558F062B5555}"/>
                </a:ext>
              </a:extLst>
            </p:cNvPr>
            <p:cNvSpPr/>
            <p:nvPr/>
          </p:nvSpPr>
          <p:spPr>
            <a:xfrm>
              <a:off x="9401988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0" name="object 1290">
              <a:extLst>
                <a:ext uri="{FF2B5EF4-FFF2-40B4-BE49-F238E27FC236}">
                  <a16:creationId xmlns:a16="http://schemas.microsoft.com/office/drawing/2014/main" id="{378CA046-FA25-D7DF-EC03-6576FF19448E}"/>
                </a:ext>
              </a:extLst>
            </p:cNvPr>
            <p:cNvSpPr/>
            <p:nvPr/>
          </p:nvSpPr>
          <p:spPr>
            <a:xfrm>
              <a:off x="9437019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1" name="object 1291">
              <a:extLst>
                <a:ext uri="{FF2B5EF4-FFF2-40B4-BE49-F238E27FC236}">
                  <a16:creationId xmlns:a16="http://schemas.microsoft.com/office/drawing/2014/main" id="{60EF08DA-767D-AC9F-8644-0BEA1A6EFDD1}"/>
                </a:ext>
              </a:extLst>
            </p:cNvPr>
            <p:cNvSpPr/>
            <p:nvPr/>
          </p:nvSpPr>
          <p:spPr>
            <a:xfrm>
              <a:off x="9331945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2" name="object 1292">
              <a:extLst>
                <a:ext uri="{FF2B5EF4-FFF2-40B4-BE49-F238E27FC236}">
                  <a16:creationId xmlns:a16="http://schemas.microsoft.com/office/drawing/2014/main" id="{9D44ADFF-E008-CA54-5835-EECD1B2B5E6F}"/>
                </a:ext>
              </a:extLst>
            </p:cNvPr>
            <p:cNvSpPr/>
            <p:nvPr/>
          </p:nvSpPr>
          <p:spPr>
            <a:xfrm>
              <a:off x="9226881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3" name="object 1293">
              <a:extLst>
                <a:ext uri="{FF2B5EF4-FFF2-40B4-BE49-F238E27FC236}">
                  <a16:creationId xmlns:a16="http://schemas.microsoft.com/office/drawing/2014/main" id="{58B8EE6A-CBE4-10D5-4BD7-CDAF3E787C65}"/>
                </a:ext>
              </a:extLst>
            </p:cNvPr>
            <p:cNvSpPr/>
            <p:nvPr/>
          </p:nvSpPr>
          <p:spPr>
            <a:xfrm>
              <a:off x="9261975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4" name="object 1294">
              <a:extLst>
                <a:ext uri="{FF2B5EF4-FFF2-40B4-BE49-F238E27FC236}">
                  <a16:creationId xmlns:a16="http://schemas.microsoft.com/office/drawing/2014/main" id="{CFD3358B-EC29-7A87-E0B6-409B8F439396}"/>
                </a:ext>
              </a:extLst>
            </p:cNvPr>
            <p:cNvSpPr/>
            <p:nvPr/>
          </p:nvSpPr>
          <p:spPr>
            <a:xfrm>
              <a:off x="9156838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5" name="object 1295">
              <a:extLst>
                <a:ext uri="{FF2B5EF4-FFF2-40B4-BE49-F238E27FC236}">
                  <a16:creationId xmlns:a16="http://schemas.microsoft.com/office/drawing/2014/main" id="{3F305D24-B299-529D-D870-AF7242215302}"/>
                </a:ext>
              </a:extLst>
            </p:cNvPr>
            <p:cNvSpPr/>
            <p:nvPr/>
          </p:nvSpPr>
          <p:spPr>
            <a:xfrm>
              <a:off x="9366976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6" name="object 1296">
              <a:extLst>
                <a:ext uri="{FF2B5EF4-FFF2-40B4-BE49-F238E27FC236}">
                  <a16:creationId xmlns:a16="http://schemas.microsoft.com/office/drawing/2014/main" id="{22E5E654-B18E-C887-75C0-46DB0B4050FD}"/>
                </a:ext>
              </a:extLst>
            </p:cNvPr>
            <p:cNvSpPr/>
            <p:nvPr/>
          </p:nvSpPr>
          <p:spPr>
            <a:xfrm>
              <a:off x="9191859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7" name="object 1297">
              <a:extLst>
                <a:ext uri="{FF2B5EF4-FFF2-40B4-BE49-F238E27FC236}">
                  <a16:creationId xmlns:a16="http://schemas.microsoft.com/office/drawing/2014/main" id="{D8AC5912-891C-28CC-9C66-28B61E22FB67}"/>
                </a:ext>
              </a:extLst>
            </p:cNvPr>
            <p:cNvSpPr/>
            <p:nvPr/>
          </p:nvSpPr>
          <p:spPr>
            <a:xfrm>
              <a:off x="9472041" y="18471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8" name="object 1298">
              <a:extLst>
                <a:ext uri="{FF2B5EF4-FFF2-40B4-BE49-F238E27FC236}">
                  <a16:creationId xmlns:a16="http://schemas.microsoft.com/office/drawing/2014/main" id="{C5F4C0CB-4850-18BD-4EFB-B38EEC9E44C3}"/>
                </a:ext>
              </a:extLst>
            </p:cNvPr>
            <p:cNvSpPr/>
            <p:nvPr/>
          </p:nvSpPr>
          <p:spPr>
            <a:xfrm>
              <a:off x="9297070" y="18471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9" name="object 1299">
              <a:extLst>
                <a:ext uri="{FF2B5EF4-FFF2-40B4-BE49-F238E27FC236}">
                  <a16:creationId xmlns:a16="http://schemas.microsoft.com/office/drawing/2014/main" id="{CFED07C8-C50D-86AE-3A94-9FEF13C1E504}"/>
                </a:ext>
              </a:extLst>
            </p:cNvPr>
            <p:cNvSpPr/>
            <p:nvPr/>
          </p:nvSpPr>
          <p:spPr>
            <a:xfrm>
              <a:off x="9122090" y="18471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0" name="object 1300">
              <a:extLst>
                <a:ext uri="{FF2B5EF4-FFF2-40B4-BE49-F238E27FC236}">
                  <a16:creationId xmlns:a16="http://schemas.microsoft.com/office/drawing/2014/main" id="{13CA4D7D-7F94-81B6-B63E-7E2594A535CB}"/>
                </a:ext>
              </a:extLst>
            </p:cNvPr>
            <p:cNvSpPr/>
            <p:nvPr/>
          </p:nvSpPr>
          <p:spPr>
            <a:xfrm>
              <a:off x="9122090" y="187263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1" name="object 1301">
              <a:extLst>
                <a:ext uri="{FF2B5EF4-FFF2-40B4-BE49-F238E27FC236}">
                  <a16:creationId xmlns:a16="http://schemas.microsoft.com/office/drawing/2014/main" id="{C5FAB2A3-C146-D4DF-A8E0-1770CB4010EE}"/>
                </a:ext>
              </a:extLst>
            </p:cNvPr>
            <p:cNvSpPr/>
            <p:nvPr/>
          </p:nvSpPr>
          <p:spPr>
            <a:xfrm>
              <a:off x="9122228" y="1847133"/>
              <a:ext cx="1952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1944"/>
                <a:gd name="f4" fmla="val 84455"/>
                <a:gd name="f5" fmla="val 321592"/>
                <a:gd name="f6" fmla="val 84123"/>
                <a:gd name="f7" fmla="*/ f0 1 321944"/>
                <a:gd name="f8" fmla="*/ f1 1 84455"/>
                <a:gd name="f9" fmla="+- f4 0 f2"/>
                <a:gd name="f10" fmla="+- f3 0 f2"/>
                <a:gd name="f11" fmla="*/ f10 1 32194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2194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2" name="object 1302">
              <a:extLst>
                <a:ext uri="{FF2B5EF4-FFF2-40B4-BE49-F238E27FC236}">
                  <a16:creationId xmlns:a16="http://schemas.microsoft.com/office/drawing/2014/main" id="{D2BD4CC8-2E36-704D-146C-BBA9A1D2FDDE}"/>
                </a:ext>
              </a:extLst>
            </p:cNvPr>
            <p:cNvSpPr/>
            <p:nvPr/>
          </p:nvSpPr>
          <p:spPr>
            <a:xfrm>
              <a:off x="9122228" y="1919426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19"/>
                <a:gd name="f4" fmla="val 84455"/>
                <a:gd name="f5" fmla="val 172560"/>
                <a:gd name="f6" fmla="val 84123"/>
                <a:gd name="f7" fmla="*/ f0 1 172719"/>
                <a:gd name="f8" fmla="*/ f1 1 84455"/>
                <a:gd name="f9" fmla="+- f4 0 f2"/>
                <a:gd name="f10" fmla="+- f3 0 f2"/>
                <a:gd name="f11" fmla="*/ f10 1 17271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1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3" name="object 1303">
              <a:extLst>
                <a:ext uri="{FF2B5EF4-FFF2-40B4-BE49-F238E27FC236}">
                  <a16:creationId xmlns:a16="http://schemas.microsoft.com/office/drawing/2014/main" id="{D8897EF4-1EBD-9D6B-9F6E-8EAE7DBD012E}"/>
                </a:ext>
              </a:extLst>
            </p:cNvPr>
            <p:cNvSpPr/>
            <p:nvPr/>
          </p:nvSpPr>
          <p:spPr>
            <a:xfrm>
              <a:off x="9401650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4" name="object 1304">
              <a:extLst>
                <a:ext uri="{FF2B5EF4-FFF2-40B4-BE49-F238E27FC236}">
                  <a16:creationId xmlns:a16="http://schemas.microsoft.com/office/drawing/2014/main" id="{B91A27E9-6BC1-906D-4AE9-3333BAD5FB2A}"/>
                </a:ext>
              </a:extLst>
            </p:cNvPr>
            <p:cNvSpPr/>
            <p:nvPr/>
          </p:nvSpPr>
          <p:spPr>
            <a:xfrm>
              <a:off x="9436672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5" name="object 1305">
              <a:extLst>
                <a:ext uri="{FF2B5EF4-FFF2-40B4-BE49-F238E27FC236}">
                  <a16:creationId xmlns:a16="http://schemas.microsoft.com/office/drawing/2014/main" id="{FA1A4E01-839B-937F-C852-B9616345A458}"/>
                </a:ext>
              </a:extLst>
            </p:cNvPr>
            <p:cNvSpPr/>
            <p:nvPr/>
          </p:nvSpPr>
          <p:spPr>
            <a:xfrm>
              <a:off x="9331607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6" name="object 1306">
              <a:extLst>
                <a:ext uri="{FF2B5EF4-FFF2-40B4-BE49-F238E27FC236}">
                  <a16:creationId xmlns:a16="http://schemas.microsoft.com/office/drawing/2014/main" id="{91378D01-A1AA-15DC-0DBB-B8C32D066185}"/>
                </a:ext>
              </a:extLst>
            </p:cNvPr>
            <p:cNvSpPr/>
            <p:nvPr/>
          </p:nvSpPr>
          <p:spPr>
            <a:xfrm>
              <a:off x="9226533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7" name="object 1307">
              <a:extLst>
                <a:ext uri="{FF2B5EF4-FFF2-40B4-BE49-F238E27FC236}">
                  <a16:creationId xmlns:a16="http://schemas.microsoft.com/office/drawing/2014/main" id="{52A9D820-22BA-8625-90EC-AFA9C675EA80}"/>
                </a:ext>
              </a:extLst>
            </p:cNvPr>
            <p:cNvSpPr/>
            <p:nvPr/>
          </p:nvSpPr>
          <p:spPr>
            <a:xfrm>
              <a:off x="9261628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8" name="object 1308">
              <a:extLst>
                <a:ext uri="{FF2B5EF4-FFF2-40B4-BE49-F238E27FC236}">
                  <a16:creationId xmlns:a16="http://schemas.microsoft.com/office/drawing/2014/main" id="{CDEB997F-8B46-170C-571B-248C81B68A11}"/>
                </a:ext>
              </a:extLst>
            </p:cNvPr>
            <p:cNvSpPr/>
            <p:nvPr/>
          </p:nvSpPr>
          <p:spPr>
            <a:xfrm>
              <a:off x="9156490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9" name="object 1309">
              <a:extLst>
                <a:ext uri="{FF2B5EF4-FFF2-40B4-BE49-F238E27FC236}">
                  <a16:creationId xmlns:a16="http://schemas.microsoft.com/office/drawing/2014/main" id="{8DB43F10-E80D-6E5F-D14A-FD2074B16751}"/>
                </a:ext>
              </a:extLst>
            </p:cNvPr>
            <p:cNvSpPr/>
            <p:nvPr/>
          </p:nvSpPr>
          <p:spPr>
            <a:xfrm>
              <a:off x="9366628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0" name="object 1310">
              <a:extLst>
                <a:ext uri="{FF2B5EF4-FFF2-40B4-BE49-F238E27FC236}">
                  <a16:creationId xmlns:a16="http://schemas.microsoft.com/office/drawing/2014/main" id="{B65F44C4-14C9-8603-0200-F22F4DABD766}"/>
                </a:ext>
              </a:extLst>
            </p:cNvPr>
            <p:cNvSpPr/>
            <p:nvPr/>
          </p:nvSpPr>
          <p:spPr>
            <a:xfrm>
              <a:off x="9191512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1" name="object 1311">
              <a:extLst>
                <a:ext uri="{FF2B5EF4-FFF2-40B4-BE49-F238E27FC236}">
                  <a16:creationId xmlns:a16="http://schemas.microsoft.com/office/drawing/2014/main" id="{86880749-520D-08D1-B859-A89C47B2E0C0}"/>
                </a:ext>
              </a:extLst>
            </p:cNvPr>
            <p:cNvSpPr/>
            <p:nvPr/>
          </p:nvSpPr>
          <p:spPr>
            <a:xfrm>
              <a:off x="947169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2" name="object 1312">
              <a:extLst>
                <a:ext uri="{FF2B5EF4-FFF2-40B4-BE49-F238E27FC236}">
                  <a16:creationId xmlns:a16="http://schemas.microsoft.com/office/drawing/2014/main" id="{EA663502-E2B8-EA54-63D2-00EE2A2FBED7}"/>
                </a:ext>
              </a:extLst>
            </p:cNvPr>
            <p:cNvSpPr/>
            <p:nvPr/>
          </p:nvSpPr>
          <p:spPr>
            <a:xfrm>
              <a:off x="929672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3" name="object 1313">
              <a:extLst>
                <a:ext uri="{FF2B5EF4-FFF2-40B4-BE49-F238E27FC236}">
                  <a16:creationId xmlns:a16="http://schemas.microsoft.com/office/drawing/2014/main" id="{1AFF33CA-C663-C4E5-DFE8-8A579780B344}"/>
                </a:ext>
              </a:extLst>
            </p:cNvPr>
            <p:cNvSpPr/>
            <p:nvPr/>
          </p:nvSpPr>
          <p:spPr>
            <a:xfrm>
              <a:off x="912174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4" name="object 1314">
              <a:extLst>
                <a:ext uri="{FF2B5EF4-FFF2-40B4-BE49-F238E27FC236}">
                  <a16:creationId xmlns:a16="http://schemas.microsoft.com/office/drawing/2014/main" id="{99893D0B-6E7D-5D73-7032-157255244D47}"/>
                </a:ext>
              </a:extLst>
            </p:cNvPr>
            <p:cNvSpPr/>
            <p:nvPr/>
          </p:nvSpPr>
          <p:spPr>
            <a:xfrm>
              <a:off x="929672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5" name="object 1315">
              <a:extLst>
                <a:ext uri="{FF2B5EF4-FFF2-40B4-BE49-F238E27FC236}">
                  <a16:creationId xmlns:a16="http://schemas.microsoft.com/office/drawing/2014/main" id="{E11A2674-4A53-9068-31D9-65E93315DF12}"/>
                </a:ext>
              </a:extLst>
            </p:cNvPr>
            <p:cNvSpPr/>
            <p:nvPr/>
          </p:nvSpPr>
          <p:spPr>
            <a:xfrm>
              <a:off x="9121743" y="194493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6" name="object 1316">
              <a:extLst>
                <a:ext uri="{FF2B5EF4-FFF2-40B4-BE49-F238E27FC236}">
                  <a16:creationId xmlns:a16="http://schemas.microsoft.com/office/drawing/2014/main" id="{DF6BB5F8-46B2-0758-C015-90CA4E6A9FA7}"/>
                </a:ext>
              </a:extLst>
            </p:cNvPr>
            <p:cNvSpPr/>
            <p:nvPr/>
          </p:nvSpPr>
          <p:spPr>
            <a:xfrm>
              <a:off x="857937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7" name="object 1317">
              <a:extLst>
                <a:ext uri="{FF2B5EF4-FFF2-40B4-BE49-F238E27FC236}">
                  <a16:creationId xmlns:a16="http://schemas.microsoft.com/office/drawing/2014/main" id="{AD251B33-6B1B-8798-0E6D-8594E2BFE584}"/>
                </a:ext>
              </a:extLst>
            </p:cNvPr>
            <p:cNvSpPr/>
            <p:nvPr/>
          </p:nvSpPr>
          <p:spPr>
            <a:xfrm>
              <a:off x="861439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8" name="object 1318">
              <a:extLst>
                <a:ext uri="{FF2B5EF4-FFF2-40B4-BE49-F238E27FC236}">
                  <a16:creationId xmlns:a16="http://schemas.microsoft.com/office/drawing/2014/main" id="{090B76C4-858F-B224-F197-5939A86E714C}"/>
                </a:ext>
              </a:extLst>
            </p:cNvPr>
            <p:cNvSpPr/>
            <p:nvPr/>
          </p:nvSpPr>
          <p:spPr>
            <a:xfrm>
              <a:off x="850933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9" name="object 1319">
              <a:extLst>
                <a:ext uri="{FF2B5EF4-FFF2-40B4-BE49-F238E27FC236}">
                  <a16:creationId xmlns:a16="http://schemas.microsoft.com/office/drawing/2014/main" id="{92535C7B-863D-44B0-1FB6-FAF55A76B135}"/>
                </a:ext>
              </a:extLst>
            </p:cNvPr>
            <p:cNvSpPr/>
            <p:nvPr/>
          </p:nvSpPr>
          <p:spPr>
            <a:xfrm>
              <a:off x="840426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0" name="object 1320">
              <a:extLst>
                <a:ext uri="{FF2B5EF4-FFF2-40B4-BE49-F238E27FC236}">
                  <a16:creationId xmlns:a16="http://schemas.microsoft.com/office/drawing/2014/main" id="{7181CDC8-A667-58CA-B33E-CBAB2B4B5998}"/>
                </a:ext>
              </a:extLst>
            </p:cNvPr>
            <p:cNvSpPr/>
            <p:nvPr/>
          </p:nvSpPr>
          <p:spPr>
            <a:xfrm>
              <a:off x="843936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1" name="object 1321">
              <a:extLst>
                <a:ext uri="{FF2B5EF4-FFF2-40B4-BE49-F238E27FC236}">
                  <a16:creationId xmlns:a16="http://schemas.microsoft.com/office/drawing/2014/main" id="{32594683-F128-2C3E-4088-33D1347CF41C}"/>
                </a:ext>
              </a:extLst>
            </p:cNvPr>
            <p:cNvSpPr/>
            <p:nvPr/>
          </p:nvSpPr>
          <p:spPr>
            <a:xfrm>
              <a:off x="833422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2" name="object 1322">
              <a:extLst>
                <a:ext uri="{FF2B5EF4-FFF2-40B4-BE49-F238E27FC236}">
                  <a16:creationId xmlns:a16="http://schemas.microsoft.com/office/drawing/2014/main" id="{85FE605F-FAC0-AD02-8C5A-0F869C14A8E2}"/>
                </a:ext>
              </a:extLst>
            </p:cNvPr>
            <p:cNvSpPr/>
            <p:nvPr/>
          </p:nvSpPr>
          <p:spPr>
            <a:xfrm>
              <a:off x="8544354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3" name="object 1323">
              <a:extLst>
                <a:ext uri="{FF2B5EF4-FFF2-40B4-BE49-F238E27FC236}">
                  <a16:creationId xmlns:a16="http://schemas.microsoft.com/office/drawing/2014/main" id="{2378042D-F54C-0E01-811A-D6173568D69A}"/>
                </a:ext>
              </a:extLst>
            </p:cNvPr>
            <p:cNvSpPr/>
            <p:nvPr/>
          </p:nvSpPr>
          <p:spPr>
            <a:xfrm>
              <a:off x="836924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4" name="object 1324">
              <a:extLst>
                <a:ext uri="{FF2B5EF4-FFF2-40B4-BE49-F238E27FC236}">
                  <a16:creationId xmlns:a16="http://schemas.microsoft.com/office/drawing/2014/main" id="{B47D10AE-B2A9-CFF3-7742-9F34B773FDD8}"/>
                </a:ext>
              </a:extLst>
            </p:cNvPr>
            <p:cNvSpPr/>
            <p:nvPr/>
          </p:nvSpPr>
          <p:spPr>
            <a:xfrm>
              <a:off x="864941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5" name="object 1325">
              <a:extLst>
                <a:ext uri="{FF2B5EF4-FFF2-40B4-BE49-F238E27FC236}">
                  <a16:creationId xmlns:a16="http://schemas.microsoft.com/office/drawing/2014/main" id="{D5DEE6C3-A764-563B-46B6-2C1393C56644}"/>
                </a:ext>
              </a:extLst>
            </p:cNvPr>
            <p:cNvSpPr/>
            <p:nvPr/>
          </p:nvSpPr>
          <p:spPr>
            <a:xfrm>
              <a:off x="8474448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6" name="object 1326">
              <a:extLst>
                <a:ext uri="{FF2B5EF4-FFF2-40B4-BE49-F238E27FC236}">
                  <a16:creationId xmlns:a16="http://schemas.microsoft.com/office/drawing/2014/main" id="{E99CD46F-7230-C341-8477-2D20C51A184D}"/>
                </a:ext>
              </a:extLst>
            </p:cNvPr>
            <p:cNvSpPr/>
            <p:nvPr/>
          </p:nvSpPr>
          <p:spPr>
            <a:xfrm>
              <a:off x="8299478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7" name="object 1327">
              <a:extLst>
                <a:ext uri="{FF2B5EF4-FFF2-40B4-BE49-F238E27FC236}">
                  <a16:creationId xmlns:a16="http://schemas.microsoft.com/office/drawing/2014/main" id="{AC57ACE2-6810-9D15-4CBC-5A7D7BDEF838}"/>
                </a:ext>
              </a:extLst>
            </p:cNvPr>
            <p:cNvSpPr/>
            <p:nvPr/>
          </p:nvSpPr>
          <p:spPr>
            <a:xfrm>
              <a:off x="8299478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8" name="object 1328">
              <a:extLst>
                <a:ext uri="{FF2B5EF4-FFF2-40B4-BE49-F238E27FC236}">
                  <a16:creationId xmlns:a16="http://schemas.microsoft.com/office/drawing/2014/main" id="{4CEA2AA1-65DD-3283-98D1-304CC612E1D0}"/>
                </a:ext>
              </a:extLst>
            </p:cNvPr>
            <p:cNvSpPr/>
            <p:nvPr/>
          </p:nvSpPr>
          <p:spPr>
            <a:xfrm>
              <a:off x="8299597" y="1848916"/>
              <a:ext cx="1151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9865"/>
                <a:gd name="f4" fmla="val 84455"/>
                <a:gd name="f5" fmla="val 189585"/>
                <a:gd name="f6" fmla="val 84112"/>
                <a:gd name="f7" fmla="*/ f0 1 189865"/>
                <a:gd name="f8" fmla="*/ f1 1 84455"/>
                <a:gd name="f9" fmla="+- f4 0 f2"/>
                <a:gd name="f10" fmla="+- f3 0 f2"/>
                <a:gd name="f11" fmla="*/ f10 1 18986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986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9" name="object 1329">
              <a:extLst>
                <a:ext uri="{FF2B5EF4-FFF2-40B4-BE49-F238E27FC236}">
                  <a16:creationId xmlns:a16="http://schemas.microsoft.com/office/drawing/2014/main" id="{5B4A9847-8D1D-9335-140D-E20C92A34F96}"/>
                </a:ext>
              </a:extLst>
            </p:cNvPr>
            <p:cNvSpPr/>
            <p:nvPr/>
          </p:nvSpPr>
          <p:spPr>
            <a:xfrm>
              <a:off x="8299597" y="1921218"/>
              <a:ext cx="951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56844"/>
                <a:gd name="f4" fmla="val 84454"/>
                <a:gd name="f5" fmla="val 156675"/>
                <a:gd name="f6" fmla="val 84091"/>
                <a:gd name="f7" fmla="*/ f0 1 156844"/>
                <a:gd name="f8" fmla="*/ f1 1 84454"/>
                <a:gd name="f9" fmla="+- f4 0 f2"/>
                <a:gd name="f10" fmla="+- f3 0 f2"/>
                <a:gd name="f11" fmla="*/ f10 1 15684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5684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0" name="object 1330">
              <a:extLst>
                <a:ext uri="{FF2B5EF4-FFF2-40B4-BE49-F238E27FC236}">
                  <a16:creationId xmlns:a16="http://schemas.microsoft.com/office/drawing/2014/main" id="{4959691A-E177-4CD3-AF73-59753BCDE934}"/>
                </a:ext>
              </a:extLst>
            </p:cNvPr>
            <p:cNvSpPr/>
            <p:nvPr/>
          </p:nvSpPr>
          <p:spPr>
            <a:xfrm>
              <a:off x="857902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1" name="object 1331">
              <a:extLst>
                <a:ext uri="{FF2B5EF4-FFF2-40B4-BE49-F238E27FC236}">
                  <a16:creationId xmlns:a16="http://schemas.microsoft.com/office/drawing/2014/main" id="{6DEE1915-E9FB-3DDC-EB46-7953FBE8A37C}"/>
                </a:ext>
              </a:extLst>
            </p:cNvPr>
            <p:cNvSpPr/>
            <p:nvPr/>
          </p:nvSpPr>
          <p:spPr>
            <a:xfrm>
              <a:off x="861405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2" name="object 1332">
              <a:extLst>
                <a:ext uri="{FF2B5EF4-FFF2-40B4-BE49-F238E27FC236}">
                  <a16:creationId xmlns:a16="http://schemas.microsoft.com/office/drawing/2014/main" id="{9179D0F4-3882-C575-2D79-44B2293AAC62}"/>
                </a:ext>
              </a:extLst>
            </p:cNvPr>
            <p:cNvSpPr/>
            <p:nvPr/>
          </p:nvSpPr>
          <p:spPr>
            <a:xfrm>
              <a:off x="850898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3" name="object 1333">
              <a:extLst>
                <a:ext uri="{FF2B5EF4-FFF2-40B4-BE49-F238E27FC236}">
                  <a16:creationId xmlns:a16="http://schemas.microsoft.com/office/drawing/2014/main" id="{42EFE12D-BE5F-F456-6754-B0EB39063C1D}"/>
                </a:ext>
              </a:extLst>
            </p:cNvPr>
            <p:cNvSpPr/>
            <p:nvPr/>
          </p:nvSpPr>
          <p:spPr>
            <a:xfrm>
              <a:off x="840392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4" name="object 1334">
              <a:extLst>
                <a:ext uri="{FF2B5EF4-FFF2-40B4-BE49-F238E27FC236}">
                  <a16:creationId xmlns:a16="http://schemas.microsoft.com/office/drawing/2014/main" id="{57802123-E3A8-9D49-07D8-F40A983C7B7E}"/>
                </a:ext>
              </a:extLst>
            </p:cNvPr>
            <p:cNvSpPr/>
            <p:nvPr/>
          </p:nvSpPr>
          <p:spPr>
            <a:xfrm>
              <a:off x="843901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5" name="object 1335">
              <a:extLst>
                <a:ext uri="{FF2B5EF4-FFF2-40B4-BE49-F238E27FC236}">
                  <a16:creationId xmlns:a16="http://schemas.microsoft.com/office/drawing/2014/main" id="{7C2AEBD6-2278-8A34-4CBE-12F10D6A8874}"/>
                </a:ext>
              </a:extLst>
            </p:cNvPr>
            <p:cNvSpPr/>
            <p:nvPr/>
          </p:nvSpPr>
          <p:spPr>
            <a:xfrm>
              <a:off x="833387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6" name="object 1336">
              <a:extLst>
                <a:ext uri="{FF2B5EF4-FFF2-40B4-BE49-F238E27FC236}">
                  <a16:creationId xmlns:a16="http://schemas.microsoft.com/office/drawing/2014/main" id="{7E4EF9DA-5D66-C07D-EBFA-F778B09FE827}"/>
                </a:ext>
              </a:extLst>
            </p:cNvPr>
            <p:cNvSpPr/>
            <p:nvPr/>
          </p:nvSpPr>
          <p:spPr>
            <a:xfrm>
              <a:off x="8544007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7" name="object 1337">
              <a:extLst>
                <a:ext uri="{FF2B5EF4-FFF2-40B4-BE49-F238E27FC236}">
                  <a16:creationId xmlns:a16="http://schemas.microsoft.com/office/drawing/2014/main" id="{F5A1E3DB-9C1F-34E3-AC77-A508DE12AE6B}"/>
                </a:ext>
              </a:extLst>
            </p:cNvPr>
            <p:cNvSpPr/>
            <p:nvPr/>
          </p:nvSpPr>
          <p:spPr>
            <a:xfrm>
              <a:off x="836889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8" name="object 1338">
              <a:extLst>
                <a:ext uri="{FF2B5EF4-FFF2-40B4-BE49-F238E27FC236}">
                  <a16:creationId xmlns:a16="http://schemas.microsoft.com/office/drawing/2014/main" id="{9CDE087C-81DA-1C80-4F09-1E79B3AD07A7}"/>
                </a:ext>
              </a:extLst>
            </p:cNvPr>
            <p:cNvSpPr/>
            <p:nvPr/>
          </p:nvSpPr>
          <p:spPr>
            <a:xfrm>
              <a:off x="864907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9" name="object 1339">
              <a:extLst>
                <a:ext uri="{FF2B5EF4-FFF2-40B4-BE49-F238E27FC236}">
                  <a16:creationId xmlns:a16="http://schemas.microsoft.com/office/drawing/2014/main" id="{521B2845-9998-1467-A79C-6D3B6EF928D1}"/>
                </a:ext>
              </a:extLst>
            </p:cNvPr>
            <p:cNvSpPr/>
            <p:nvPr/>
          </p:nvSpPr>
          <p:spPr>
            <a:xfrm>
              <a:off x="847410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0" name="object 1340">
              <a:extLst>
                <a:ext uri="{FF2B5EF4-FFF2-40B4-BE49-F238E27FC236}">
                  <a16:creationId xmlns:a16="http://schemas.microsoft.com/office/drawing/2014/main" id="{D50AAB04-CA4F-41C2-9D20-D71200432D40}"/>
                </a:ext>
              </a:extLst>
            </p:cNvPr>
            <p:cNvSpPr/>
            <p:nvPr/>
          </p:nvSpPr>
          <p:spPr>
            <a:xfrm>
              <a:off x="8299130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1" name="object 1341">
              <a:extLst>
                <a:ext uri="{FF2B5EF4-FFF2-40B4-BE49-F238E27FC236}">
                  <a16:creationId xmlns:a16="http://schemas.microsoft.com/office/drawing/2014/main" id="{65524A9A-CAA3-86D5-2BFC-B1F572A6287F}"/>
                </a:ext>
              </a:extLst>
            </p:cNvPr>
            <p:cNvSpPr/>
            <p:nvPr/>
          </p:nvSpPr>
          <p:spPr>
            <a:xfrm>
              <a:off x="847410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2" name="object 1342">
              <a:extLst>
                <a:ext uri="{FF2B5EF4-FFF2-40B4-BE49-F238E27FC236}">
                  <a16:creationId xmlns:a16="http://schemas.microsoft.com/office/drawing/2014/main" id="{3BA4D84E-3A27-4568-18C6-527980E1114A}"/>
                </a:ext>
              </a:extLst>
            </p:cNvPr>
            <p:cNvSpPr/>
            <p:nvPr/>
          </p:nvSpPr>
          <p:spPr>
            <a:xfrm>
              <a:off x="8299130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3" name="object 1343">
              <a:extLst>
                <a:ext uri="{FF2B5EF4-FFF2-40B4-BE49-F238E27FC236}">
                  <a16:creationId xmlns:a16="http://schemas.microsoft.com/office/drawing/2014/main" id="{1951AB86-D51C-8C43-1785-F0645A1AD8D9}"/>
                </a:ext>
              </a:extLst>
            </p:cNvPr>
            <p:cNvSpPr/>
            <p:nvPr/>
          </p:nvSpPr>
          <p:spPr>
            <a:xfrm>
              <a:off x="9122100" y="1317238"/>
              <a:ext cx="347709" cy="32345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3405"/>
                <a:gd name="f4" fmla="val 533400"/>
                <a:gd name="f5" fmla="val 573304"/>
                <a:gd name="f6" fmla="val 288535"/>
                <a:gd name="f7" fmla="val 569528"/>
                <a:gd name="f8" fmla="val 241737"/>
                <a:gd name="f9" fmla="val 436016"/>
                <a:gd name="f10" fmla="val 533300"/>
                <a:gd name="f11" fmla="val 488795"/>
                <a:gd name="f12" fmla="val 492567"/>
                <a:gd name="f13" fmla="val 517634"/>
                <a:gd name="f14" fmla="val 458945"/>
                <a:gd name="f15" fmla="val 541099"/>
                <a:gd name="f16" fmla="val 421137"/>
                <a:gd name="f17" fmla="val 558595"/>
                <a:gd name="f18" fmla="val 379737"/>
                <a:gd name="f19" fmla="val 335338"/>
                <a:gd name="f20" fmla="val 469015"/>
                <a:gd name="f21" fmla="val 67541"/>
                <a:gd name="f22" fmla="val 417368"/>
                <a:gd name="f23" fmla="val 32205"/>
                <a:gd name="f24" fmla="val 375969"/>
                <a:gd name="f25" fmla="val 14709"/>
                <a:gd name="f26" fmla="val 331571"/>
                <a:gd name="f27" fmla="val 3776"/>
                <a:gd name="f28" fmla="val 284768"/>
                <a:gd name="f29" fmla="val 237966"/>
                <a:gd name="f30" fmla="val 193567"/>
                <a:gd name="f31" fmla="val 152166"/>
                <a:gd name="f32" fmla="val 133517"/>
                <a:gd name="f33" fmla="val 43779"/>
                <a:gd name="f34" fmla="val 335340"/>
                <a:gd name="f35" fmla="val 10933"/>
                <a:gd name="f36" fmla="val 28430"/>
                <a:gd name="f37" fmla="val 51896"/>
                <a:gd name="f38" fmla="val 80737"/>
                <a:gd name="f39" fmla="val 100521"/>
                <a:gd name="f40" fmla="val 509538"/>
                <a:gd name="f41" fmla="*/ f0 1 573405"/>
                <a:gd name="f42" fmla="*/ f1 1 533400"/>
                <a:gd name="f43" fmla="+- f4 0 f2"/>
                <a:gd name="f44" fmla="+- f3 0 f2"/>
                <a:gd name="f45" fmla="*/ f44 1 573405"/>
                <a:gd name="f46" fmla="*/ f43 1 533400"/>
                <a:gd name="f47" fmla="*/ f2 1 f45"/>
                <a:gd name="f48" fmla="*/ f3 1 f45"/>
                <a:gd name="f49" fmla="*/ f2 1 f46"/>
                <a:gd name="f50" fmla="*/ f4 1 f46"/>
                <a:gd name="f51" fmla="*/ f47 f41 1"/>
                <a:gd name="f52" fmla="*/ f48 f41 1"/>
                <a:gd name="f53" fmla="*/ f50 f42 1"/>
                <a:gd name="f54" fmla="*/ f49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1" t="f54" r="f52" b="f53"/>
              <a:pathLst>
                <a:path w="573405" h="533400">
                  <a:moveTo>
                    <a:pt x="f5" y="f6"/>
                  </a:moveTo>
                  <a:lnTo>
                    <a:pt x="f7" y="f8"/>
                  </a:lnTo>
                </a:path>
                <a:path w="573405" h="533400">
                  <a:moveTo>
                    <a:pt x="f9" y="f10"/>
                  </a:move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7" y="f19"/>
                  </a:lnTo>
                  <a:lnTo>
                    <a:pt x="f5" y="f6"/>
                  </a:lnTo>
                </a:path>
                <a:path w="573405" h="533400">
                  <a:moveTo>
                    <a:pt x="f20" y="f21"/>
                  </a:move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"/>
                  </a:lnTo>
                  <a:lnTo>
                    <a:pt x="f29" y="f27"/>
                  </a:lnTo>
                  <a:lnTo>
                    <a:pt x="f30" y="f25"/>
                  </a:lnTo>
                  <a:lnTo>
                    <a:pt x="f31" y="f23"/>
                  </a:lnTo>
                  <a:lnTo>
                    <a:pt x="f32" y="f33"/>
                  </a:lnTo>
                </a:path>
                <a:path w="573405" h="533400">
                  <a:moveTo>
                    <a:pt x="f2" y="f34"/>
                  </a:moveTo>
                  <a:lnTo>
                    <a:pt x="f35" y="f18"/>
                  </a:lnTo>
                  <a:lnTo>
                    <a:pt x="f36" y="f16"/>
                  </a:lnTo>
                  <a:lnTo>
                    <a:pt x="f37" y="f14"/>
                  </a:lnTo>
                  <a:lnTo>
                    <a:pt x="f38" y="f12"/>
                  </a:lnTo>
                  <a:lnTo>
                    <a:pt x="f39" y="f40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344" name="object 1344">
              <a:extLst>
                <a:ext uri="{FF2B5EF4-FFF2-40B4-BE49-F238E27FC236}">
                  <a16:creationId xmlns:a16="http://schemas.microsoft.com/office/drawing/2014/main" id="{6C666CDB-F740-E75A-8CB0-D0C8E3FA1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/>
            <a:stretch>
              <a:fillRect/>
            </a:stretch>
          </p:blipFill>
          <p:spPr>
            <a:xfrm>
              <a:off x="9162480" y="1341443"/>
              <a:ext cx="296137" cy="32573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45" name="object 1345">
              <a:extLst>
                <a:ext uri="{FF2B5EF4-FFF2-40B4-BE49-F238E27FC236}">
                  <a16:creationId xmlns:a16="http://schemas.microsoft.com/office/drawing/2014/main" id="{A8639922-9695-C401-896D-D71D81A87A99}"/>
                </a:ext>
              </a:extLst>
            </p:cNvPr>
            <p:cNvSpPr/>
            <p:nvPr/>
          </p:nvSpPr>
          <p:spPr>
            <a:xfrm>
              <a:off x="9119804" y="131723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346" name="object 1346">
              <a:extLst>
                <a:ext uri="{FF2B5EF4-FFF2-40B4-BE49-F238E27FC236}">
                  <a16:creationId xmlns:a16="http://schemas.microsoft.com/office/drawing/2014/main" id="{9B0A49A0-5340-4A77-B08E-B57F5B56AA69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8294193" y="210041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47" name="object 1347">
              <a:extLst>
                <a:ext uri="{FF2B5EF4-FFF2-40B4-BE49-F238E27FC236}">
                  <a16:creationId xmlns:a16="http://schemas.microsoft.com/office/drawing/2014/main" id="{9E963F68-1637-3044-C10B-DE0EA90680BD}"/>
                </a:ext>
              </a:extLst>
            </p:cNvPr>
            <p:cNvSpPr/>
            <p:nvPr/>
          </p:nvSpPr>
          <p:spPr>
            <a:xfrm>
              <a:off x="8294193" y="210041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0"/>
                <a:gd name="f27" fmla="val 197340"/>
                <a:gd name="f28" fmla="val 155939"/>
                <a:gd name="f29" fmla="val 118131"/>
                <a:gd name="f30" fmla="val 84510"/>
                <a:gd name="f31" fmla="val 55670"/>
                <a:gd name="f32" fmla="val 335338"/>
                <a:gd name="f33" fmla="val 379737"/>
                <a:gd name="f34" fmla="val 421137"/>
                <a:gd name="f35" fmla="val 458945"/>
                <a:gd name="f36" fmla="val 492567"/>
                <a:gd name="f37" fmla="val 521408"/>
                <a:gd name="f38" fmla="val 544874"/>
                <a:gd name="f39" fmla="val 562371"/>
                <a:gd name="f40" fmla="*/ f0 1 577215"/>
                <a:gd name="f41" fmla="*/ f1 1 577214"/>
                <a:gd name="f42" fmla="+- f4 0 f2"/>
                <a:gd name="f43" fmla="+- f3 0 f2"/>
                <a:gd name="f44" fmla="*/ f43 1 577215"/>
                <a:gd name="f45" fmla="*/ f42 1 577214"/>
                <a:gd name="f46" fmla="*/ f2 1 f44"/>
                <a:gd name="f47" fmla="*/ f3 1 f44"/>
                <a:gd name="f48" fmla="*/ f2 1 f45"/>
                <a:gd name="f49" fmla="*/ f4 1 f45"/>
                <a:gd name="f50" fmla="*/ f46 f40 1"/>
                <a:gd name="f51" fmla="*/ f47 f40 1"/>
                <a:gd name="f52" fmla="*/ f49 f41 1"/>
                <a:gd name="f53" fmla="*/ f48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2"/>
                  </a:lnTo>
                  <a:lnTo>
                    <a:pt x="f22" y="f33"/>
                  </a:lnTo>
                  <a:lnTo>
                    <a:pt x="f20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39"/>
                  </a:lnTo>
                  <a:lnTo>
                    <a:pt x="f19" y="f38"/>
                  </a:lnTo>
                  <a:lnTo>
                    <a:pt x="f17" y="f37"/>
                  </a:lnTo>
                  <a:lnTo>
                    <a:pt x="f15" y="f36"/>
                  </a:lnTo>
                  <a:lnTo>
                    <a:pt x="f13" y="f35"/>
                  </a:lnTo>
                  <a:lnTo>
                    <a:pt x="f11" y="f34"/>
                  </a:lnTo>
                  <a:lnTo>
                    <a:pt x="f9" y="f33"/>
                  </a:lnTo>
                  <a:lnTo>
                    <a:pt x="f7" y="f3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348" name="object 1348">
              <a:extLst>
                <a:ext uri="{FF2B5EF4-FFF2-40B4-BE49-F238E27FC236}">
                  <a16:creationId xmlns:a16="http://schemas.microsoft.com/office/drawing/2014/main" id="{127160FE-39A7-EB22-9F6B-8A483DCFA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8299478" y="56628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49" name="object 1349">
              <a:extLst>
                <a:ext uri="{FF2B5EF4-FFF2-40B4-BE49-F238E27FC236}">
                  <a16:creationId xmlns:a16="http://schemas.microsoft.com/office/drawing/2014/main" id="{063B73FA-F0AE-211A-E36E-0318BDB1022B}"/>
                </a:ext>
              </a:extLst>
            </p:cNvPr>
            <p:cNvSpPr/>
            <p:nvPr/>
          </p:nvSpPr>
          <p:spPr>
            <a:xfrm>
              <a:off x="8299478" y="56629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350" name="object 1350">
              <a:extLst>
                <a:ext uri="{FF2B5EF4-FFF2-40B4-BE49-F238E27FC236}">
                  <a16:creationId xmlns:a16="http://schemas.microsoft.com/office/drawing/2014/main" id="{8D8B35A2-D378-92D5-A7C2-7286784B67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>
              <a:off x="9125401" y="2133249"/>
              <a:ext cx="349931" cy="2732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51" name="object 1351">
              <a:extLst>
                <a:ext uri="{FF2B5EF4-FFF2-40B4-BE49-F238E27FC236}">
                  <a16:creationId xmlns:a16="http://schemas.microsoft.com/office/drawing/2014/main" id="{44B5D342-40D8-31D9-44FB-99E13FDA18B3}"/>
                </a:ext>
              </a:extLst>
            </p:cNvPr>
            <p:cNvSpPr/>
            <p:nvPr/>
          </p:nvSpPr>
          <p:spPr>
            <a:xfrm>
              <a:off x="9125391" y="210034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2" name="object 1352">
              <a:extLst>
                <a:ext uri="{FF2B5EF4-FFF2-40B4-BE49-F238E27FC236}">
                  <a16:creationId xmlns:a16="http://schemas.microsoft.com/office/drawing/2014/main" id="{EDCCE992-1A79-14F8-1929-D94552A65D5B}"/>
                </a:ext>
              </a:extLst>
            </p:cNvPr>
            <p:cNvSpPr/>
            <p:nvPr/>
          </p:nvSpPr>
          <p:spPr>
            <a:xfrm>
              <a:off x="9297536" y="565062"/>
              <a:ext cx="172510" cy="3496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4480"/>
                <a:gd name="f4" fmla="val 576580"/>
                <a:gd name="f5" fmla="val 283989"/>
                <a:gd name="f6" fmla="val 288168"/>
                <a:gd name="f7" fmla="val 280213"/>
                <a:gd name="f8" fmla="val 241366"/>
                <a:gd name="f9" fmla="val 269279"/>
                <a:gd name="f10" fmla="val 196968"/>
                <a:gd name="f11" fmla="val 251784"/>
                <a:gd name="f12" fmla="val 155568"/>
                <a:gd name="f13" fmla="val 228319"/>
                <a:gd name="f14" fmla="val 117762"/>
                <a:gd name="f15" fmla="val 199480"/>
                <a:gd name="f16" fmla="val 84142"/>
                <a:gd name="f17" fmla="val 165860"/>
                <a:gd name="f18" fmla="val 55303"/>
                <a:gd name="f19" fmla="val 128053"/>
                <a:gd name="f20" fmla="val 31838"/>
                <a:gd name="f21" fmla="val 86654"/>
                <a:gd name="f22" fmla="val 14342"/>
                <a:gd name="f23" fmla="val 42256"/>
                <a:gd name="f24" fmla="val 3409"/>
                <a:gd name="f25" fmla="val 112"/>
                <a:gd name="f26" fmla="val 576339"/>
                <a:gd name="f27" fmla="val 572938"/>
                <a:gd name="f28" fmla="val 562004"/>
                <a:gd name="f29" fmla="val 544507"/>
                <a:gd name="f30" fmla="val 521041"/>
                <a:gd name="f31" fmla="val 492200"/>
                <a:gd name="f32" fmla="val 458579"/>
                <a:gd name="f33" fmla="val 420771"/>
                <a:gd name="f34" fmla="val 379370"/>
                <a:gd name="f35" fmla="val 334971"/>
                <a:gd name="f36" fmla="*/ f0 1 284480"/>
                <a:gd name="f37" fmla="*/ f1 1 576580"/>
                <a:gd name="f38" fmla="+- f4 0 f2"/>
                <a:gd name="f39" fmla="+- f3 0 f2"/>
                <a:gd name="f40" fmla="*/ f39 1 284480"/>
                <a:gd name="f41" fmla="*/ f38 1 576580"/>
                <a:gd name="f42" fmla="*/ f2 1 f40"/>
                <a:gd name="f43" fmla="*/ f3 1 f40"/>
                <a:gd name="f44" fmla="*/ f2 1 f41"/>
                <a:gd name="f45" fmla="*/ f4 1 f41"/>
                <a:gd name="f46" fmla="*/ f42 f36 1"/>
                <a:gd name="f47" fmla="*/ f43 f36 1"/>
                <a:gd name="f48" fmla="*/ f45 f37 1"/>
                <a:gd name="f49" fmla="*/ f4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6" t="f49" r="f47" b="f48"/>
              <a:pathLst>
                <a:path w="284480" h="576580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" y="f2"/>
                  </a:lnTo>
                </a:path>
                <a:path w="284480" h="576580">
                  <a:moveTo>
                    <a:pt x="f25" y="f26"/>
                  </a:moveTo>
                  <a:lnTo>
                    <a:pt x="f23" y="f27"/>
                  </a:lnTo>
                  <a:lnTo>
                    <a:pt x="f21" y="f28"/>
                  </a:lnTo>
                  <a:lnTo>
                    <a:pt x="f19" y="f29"/>
                  </a:lnTo>
                  <a:lnTo>
                    <a:pt x="f17" y="f30"/>
                  </a:lnTo>
                  <a:lnTo>
                    <a:pt x="f15" y="f31"/>
                  </a:lnTo>
                  <a:lnTo>
                    <a:pt x="f13" y="f32"/>
                  </a:lnTo>
                  <a:lnTo>
                    <a:pt x="f11" y="f33"/>
                  </a:lnTo>
                  <a:lnTo>
                    <a:pt x="f9" y="f34"/>
                  </a:lnTo>
                  <a:lnTo>
                    <a:pt x="f7" y="f35"/>
                  </a:lnTo>
                  <a:lnTo>
                    <a:pt x="f5" y="f6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353" name="object 1353">
              <a:extLst>
                <a:ext uri="{FF2B5EF4-FFF2-40B4-BE49-F238E27FC236}">
                  <a16:creationId xmlns:a16="http://schemas.microsoft.com/office/drawing/2014/main" id="{D8DB776A-3424-17AC-1803-FD771F3367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9125401" y="597542"/>
              <a:ext cx="349931" cy="26527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54" name="object 1354">
              <a:extLst>
                <a:ext uri="{FF2B5EF4-FFF2-40B4-BE49-F238E27FC236}">
                  <a16:creationId xmlns:a16="http://schemas.microsoft.com/office/drawing/2014/main" id="{CCE35641-2995-DAF4-D0F2-76B8F9103886}"/>
                </a:ext>
              </a:extLst>
            </p:cNvPr>
            <p:cNvSpPr/>
            <p:nvPr/>
          </p:nvSpPr>
          <p:spPr>
            <a:xfrm>
              <a:off x="9298021" y="565016"/>
              <a:ext cx="172894" cy="3496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5115"/>
                <a:gd name="f4" fmla="val 576580"/>
                <a:gd name="f5" fmla="val 284780"/>
                <a:gd name="f6" fmla="val 288232"/>
                <a:gd name="f7" fmla="val 281004"/>
                <a:gd name="f8" fmla="val 241430"/>
                <a:gd name="f9" fmla="val 270071"/>
                <a:gd name="f10" fmla="val 197032"/>
                <a:gd name="f11" fmla="val 252575"/>
                <a:gd name="f12" fmla="val 155632"/>
                <a:gd name="f13" fmla="val 229110"/>
                <a:gd name="f14" fmla="val 117826"/>
                <a:gd name="f15" fmla="val 200271"/>
                <a:gd name="f16" fmla="val 84206"/>
                <a:gd name="f17" fmla="val 166651"/>
                <a:gd name="f18" fmla="val 55366"/>
                <a:gd name="f19" fmla="val 128844"/>
                <a:gd name="f20" fmla="val 31902"/>
                <a:gd name="f21" fmla="val 87445"/>
                <a:gd name="f22" fmla="val 14406"/>
                <a:gd name="f23" fmla="val 43047"/>
                <a:gd name="f24" fmla="val 3473"/>
                <a:gd name="f25" fmla="val 112"/>
                <a:gd name="f26" fmla="val 576466"/>
                <a:gd name="f27" fmla="val 573002"/>
                <a:gd name="f28" fmla="val 562068"/>
                <a:gd name="f29" fmla="val 544571"/>
                <a:gd name="f30" fmla="val 521105"/>
                <a:gd name="f31" fmla="val 492264"/>
                <a:gd name="f32" fmla="val 458642"/>
                <a:gd name="f33" fmla="val 420834"/>
                <a:gd name="f34" fmla="val 379434"/>
                <a:gd name="f35" fmla="val 335035"/>
                <a:gd name="f36" fmla="*/ f0 1 285115"/>
                <a:gd name="f37" fmla="*/ f1 1 576580"/>
                <a:gd name="f38" fmla="+- f4 0 f2"/>
                <a:gd name="f39" fmla="+- f3 0 f2"/>
                <a:gd name="f40" fmla="*/ f39 1 285115"/>
                <a:gd name="f41" fmla="*/ f38 1 576580"/>
                <a:gd name="f42" fmla="*/ f2 1 f40"/>
                <a:gd name="f43" fmla="*/ f3 1 f40"/>
                <a:gd name="f44" fmla="*/ f2 1 f41"/>
                <a:gd name="f45" fmla="*/ f4 1 f41"/>
                <a:gd name="f46" fmla="*/ f42 f36 1"/>
                <a:gd name="f47" fmla="*/ f43 f36 1"/>
                <a:gd name="f48" fmla="*/ f45 f37 1"/>
                <a:gd name="f49" fmla="*/ f4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6" t="f49" r="f47" b="f48"/>
              <a:pathLst>
                <a:path w="285115" h="576580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" y="f2"/>
                  </a:lnTo>
                </a:path>
                <a:path w="285115" h="576580">
                  <a:moveTo>
                    <a:pt x="f25" y="f26"/>
                  </a:moveTo>
                  <a:lnTo>
                    <a:pt x="f23" y="f27"/>
                  </a:lnTo>
                  <a:lnTo>
                    <a:pt x="f21" y="f28"/>
                  </a:lnTo>
                  <a:lnTo>
                    <a:pt x="f19" y="f29"/>
                  </a:lnTo>
                  <a:lnTo>
                    <a:pt x="f17" y="f30"/>
                  </a:lnTo>
                  <a:lnTo>
                    <a:pt x="f15" y="f31"/>
                  </a:lnTo>
                  <a:lnTo>
                    <a:pt x="f13" y="f32"/>
                  </a:lnTo>
                  <a:lnTo>
                    <a:pt x="f11" y="f33"/>
                  </a:lnTo>
                  <a:lnTo>
                    <a:pt x="f9" y="f34"/>
                  </a:lnTo>
                  <a:lnTo>
                    <a:pt x="f7" y="f35"/>
                  </a:lnTo>
                  <a:lnTo>
                    <a:pt x="f5" y="f6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5" name="object 1355">
              <a:extLst>
                <a:ext uri="{FF2B5EF4-FFF2-40B4-BE49-F238E27FC236}">
                  <a16:creationId xmlns:a16="http://schemas.microsoft.com/office/drawing/2014/main" id="{F759A51C-0054-C4AA-CB5D-3AA9F0149278}"/>
                </a:ext>
              </a:extLst>
            </p:cNvPr>
            <p:cNvSpPr/>
            <p:nvPr/>
          </p:nvSpPr>
          <p:spPr>
            <a:xfrm>
              <a:off x="9125391" y="56483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6" name="object 1356">
              <a:extLst>
                <a:ext uri="{FF2B5EF4-FFF2-40B4-BE49-F238E27FC236}">
                  <a16:creationId xmlns:a16="http://schemas.microsoft.com/office/drawing/2014/main" id="{9ED097FA-3A9B-12B2-7F1B-54C78F5DE13B}"/>
                </a:ext>
              </a:extLst>
            </p:cNvPr>
            <p:cNvSpPr/>
            <p:nvPr/>
          </p:nvSpPr>
          <p:spPr>
            <a:xfrm>
              <a:off x="10223284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7" name="object 1357">
              <a:extLst>
                <a:ext uri="{FF2B5EF4-FFF2-40B4-BE49-F238E27FC236}">
                  <a16:creationId xmlns:a16="http://schemas.microsoft.com/office/drawing/2014/main" id="{E8C26875-551E-F013-13BA-40B2E94DC46B}"/>
                </a:ext>
              </a:extLst>
            </p:cNvPr>
            <p:cNvSpPr/>
            <p:nvPr/>
          </p:nvSpPr>
          <p:spPr>
            <a:xfrm>
              <a:off x="10258315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8" name="object 1358">
              <a:extLst>
                <a:ext uri="{FF2B5EF4-FFF2-40B4-BE49-F238E27FC236}">
                  <a16:creationId xmlns:a16="http://schemas.microsoft.com/office/drawing/2014/main" id="{D7E8DDFB-C1E8-F8D5-D29C-1C784432B713}"/>
                </a:ext>
              </a:extLst>
            </p:cNvPr>
            <p:cNvSpPr/>
            <p:nvPr/>
          </p:nvSpPr>
          <p:spPr>
            <a:xfrm>
              <a:off x="10153241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9" name="object 1359">
              <a:extLst>
                <a:ext uri="{FF2B5EF4-FFF2-40B4-BE49-F238E27FC236}">
                  <a16:creationId xmlns:a16="http://schemas.microsoft.com/office/drawing/2014/main" id="{CFB7DDEF-43F0-D5E3-4FDD-D453A65967D9}"/>
                </a:ext>
              </a:extLst>
            </p:cNvPr>
            <p:cNvSpPr/>
            <p:nvPr/>
          </p:nvSpPr>
          <p:spPr>
            <a:xfrm>
              <a:off x="10048177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0" name="object 1360">
              <a:extLst>
                <a:ext uri="{FF2B5EF4-FFF2-40B4-BE49-F238E27FC236}">
                  <a16:creationId xmlns:a16="http://schemas.microsoft.com/office/drawing/2014/main" id="{CE436446-EE72-6A88-9AFD-53AA1201F86C}"/>
                </a:ext>
              </a:extLst>
            </p:cNvPr>
            <p:cNvSpPr/>
            <p:nvPr/>
          </p:nvSpPr>
          <p:spPr>
            <a:xfrm>
              <a:off x="10083271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1" name="object 1361">
              <a:extLst>
                <a:ext uri="{FF2B5EF4-FFF2-40B4-BE49-F238E27FC236}">
                  <a16:creationId xmlns:a16="http://schemas.microsoft.com/office/drawing/2014/main" id="{A383A9CE-A31C-11E4-443A-618CBDC7C2EA}"/>
                </a:ext>
              </a:extLst>
            </p:cNvPr>
            <p:cNvSpPr/>
            <p:nvPr/>
          </p:nvSpPr>
          <p:spPr>
            <a:xfrm>
              <a:off x="9978133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2" name="object 1362">
              <a:extLst>
                <a:ext uri="{FF2B5EF4-FFF2-40B4-BE49-F238E27FC236}">
                  <a16:creationId xmlns:a16="http://schemas.microsoft.com/office/drawing/2014/main" id="{C99AB415-DF7B-7BEC-5C44-2D8E5B60F94B}"/>
                </a:ext>
              </a:extLst>
            </p:cNvPr>
            <p:cNvSpPr/>
            <p:nvPr/>
          </p:nvSpPr>
          <p:spPr>
            <a:xfrm>
              <a:off x="10188263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3" name="object 1363">
              <a:extLst>
                <a:ext uri="{FF2B5EF4-FFF2-40B4-BE49-F238E27FC236}">
                  <a16:creationId xmlns:a16="http://schemas.microsoft.com/office/drawing/2014/main" id="{8F6EDC78-92AD-DEDD-BF27-03D26AB2F5D2}"/>
                </a:ext>
              </a:extLst>
            </p:cNvPr>
            <p:cNvSpPr/>
            <p:nvPr/>
          </p:nvSpPr>
          <p:spPr>
            <a:xfrm>
              <a:off x="10013155" y="10982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4" name="object 1364">
              <a:extLst>
                <a:ext uri="{FF2B5EF4-FFF2-40B4-BE49-F238E27FC236}">
                  <a16:creationId xmlns:a16="http://schemas.microsoft.com/office/drawing/2014/main" id="{1AAE29AA-5187-AE9A-54BB-95FD5ABC6546}"/>
                </a:ext>
              </a:extLst>
            </p:cNvPr>
            <p:cNvSpPr/>
            <p:nvPr/>
          </p:nvSpPr>
          <p:spPr>
            <a:xfrm>
              <a:off x="10293336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5" name="object 1365">
              <a:extLst>
                <a:ext uri="{FF2B5EF4-FFF2-40B4-BE49-F238E27FC236}">
                  <a16:creationId xmlns:a16="http://schemas.microsoft.com/office/drawing/2014/main" id="{297B2815-E014-E51A-3275-DD3A5727C29C}"/>
                </a:ext>
              </a:extLst>
            </p:cNvPr>
            <p:cNvSpPr/>
            <p:nvPr/>
          </p:nvSpPr>
          <p:spPr>
            <a:xfrm>
              <a:off x="10118366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6" name="object 1366">
              <a:extLst>
                <a:ext uri="{FF2B5EF4-FFF2-40B4-BE49-F238E27FC236}">
                  <a16:creationId xmlns:a16="http://schemas.microsoft.com/office/drawing/2014/main" id="{FDBC5614-54CF-452D-5175-22FFA62BC317}"/>
                </a:ext>
              </a:extLst>
            </p:cNvPr>
            <p:cNvSpPr/>
            <p:nvPr/>
          </p:nvSpPr>
          <p:spPr>
            <a:xfrm>
              <a:off x="9943386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7" name="object 1367">
              <a:extLst>
                <a:ext uri="{FF2B5EF4-FFF2-40B4-BE49-F238E27FC236}">
                  <a16:creationId xmlns:a16="http://schemas.microsoft.com/office/drawing/2014/main" id="{5C2403D9-A0D6-E63C-D3F3-72923F2758BF}"/>
                </a:ext>
              </a:extLst>
            </p:cNvPr>
            <p:cNvSpPr/>
            <p:nvPr/>
          </p:nvSpPr>
          <p:spPr>
            <a:xfrm>
              <a:off x="9943395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8" name="object 1368">
              <a:extLst>
                <a:ext uri="{FF2B5EF4-FFF2-40B4-BE49-F238E27FC236}">
                  <a16:creationId xmlns:a16="http://schemas.microsoft.com/office/drawing/2014/main" id="{48FBBCAB-7C72-D91B-E9FE-631BC96FDC33}"/>
                </a:ext>
              </a:extLst>
            </p:cNvPr>
            <p:cNvSpPr/>
            <p:nvPr/>
          </p:nvSpPr>
          <p:spPr>
            <a:xfrm>
              <a:off x="9943514" y="1085502"/>
              <a:ext cx="696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4934"/>
                <a:gd name="f4" fmla="val 84455"/>
                <a:gd name="f5" fmla="val 114844"/>
                <a:gd name="f6" fmla="val 84123"/>
                <a:gd name="f7" fmla="*/ f0 1 114934"/>
                <a:gd name="f8" fmla="*/ f1 1 84455"/>
                <a:gd name="f9" fmla="+- f4 0 f2"/>
                <a:gd name="f10" fmla="+- f3 0 f2"/>
                <a:gd name="f11" fmla="*/ f10 1 114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4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9" name="object 1369">
              <a:extLst>
                <a:ext uri="{FF2B5EF4-FFF2-40B4-BE49-F238E27FC236}">
                  <a16:creationId xmlns:a16="http://schemas.microsoft.com/office/drawing/2014/main" id="{6757A042-7EA7-8C67-2E12-53DD848C4C71}"/>
                </a:ext>
              </a:extLst>
            </p:cNvPr>
            <p:cNvSpPr/>
            <p:nvPr/>
          </p:nvSpPr>
          <p:spPr>
            <a:xfrm>
              <a:off x="1029298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0" name="object 1370">
              <a:extLst>
                <a:ext uri="{FF2B5EF4-FFF2-40B4-BE49-F238E27FC236}">
                  <a16:creationId xmlns:a16="http://schemas.microsoft.com/office/drawing/2014/main" id="{6AF4F293-2001-42F4-977C-B53DD12E0B15}"/>
                </a:ext>
              </a:extLst>
            </p:cNvPr>
            <p:cNvSpPr/>
            <p:nvPr/>
          </p:nvSpPr>
          <p:spPr>
            <a:xfrm>
              <a:off x="1011801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1" name="object 1371">
              <a:extLst>
                <a:ext uri="{FF2B5EF4-FFF2-40B4-BE49-F238E27FC236}">
                  <a16:creationId xmlns:a16="http://schemas.microsoft.com/office/drawing/2014/main" id="{591D9446-61BA-7966-9F2B-2D774A6A9F33}"/>
                </a:ext>
              </a:extLst>
            </p:cNvPr>
            <p:cNvSpPr/>
            <p:nvPr/>
          </p:nvSpPr>
          <p:spPr>
            <a:xfrm>
              <a:off x="994304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2" name="object 1372">
              <a:extLst>
                <a:ext uri="{FF2B5EF4-FFF2-40B4-BE49-F238E27FC236}">
                  <a16:creationId xmlns:a16="http://schemas.microsoft.com/office/drawing/2014/main" id="{B1282EEE-B0E7-E698-71A7-6D00E6DC25F5}"/>
                </a:ext>
              </a:extLst>
            </p:cNvPr>
            <p:cNvSpPr/>
            <p:nvPr/>
          </p:nvSpPr>
          <p:spPr>
            <a:xfrm>
              <a:off x="1011801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3" name="object 1373">
              <a:extLst>
                <a:ext uri="{FF2B5EF4-FFF2-40B4-BE49-F238E27FC236}">
                  <a16:creationId xmlns:a16="http://schemas.microsoft.com/office/drawing/2014/main" id="{E6A563A1-1BE9-01E5-4ADF-A0EB848F8FB1}"/>
                </a:ext>
              </a:extLst>
            </p:cNvPr>
            <p:cNvSpPr/>
            <p:nvPr/>
          </p:nvSpPr>
          <p:spPr>
            <a:xfrm>
              <a:off x="1022294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4" name="object 1374">
              <a:extLst>
                <a:ext uri="{FF2B5EF4-FFF2-40B4-BE49-F238E27FC236}">
                  <a16:creationId xmlns:a16="http://schemas.microsoft.com/office/drawing/2014/main" id="{F54A6547-8022-D0C6-25AD-C4F251152EE3}"/>
                </a:ext>
              </a:extLst>
            </p:cNvPr>
            <p:cNvSpPr/>
            <p:nvPr/>
          </p:nvSpPr>
          <p:spPr>
            <a:xfrm>
              <a:off x="1025796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5" name="object 1375">
              <a:extLst>
                <a:ext uri="{FF2B5EF4-FFF2-40B4-BE49-F238E27FC236}">
                  <a16:creationId xmlns:a16="http://schemas.microsoft.com/office/drawing/2014/main" id="{358A9007-6DD8-5C74-04D1-0B61D774E086}"/>
                </a:ext>
              </a:extLst>
            </p:cNvPr>
            <p:cNvSpPr/>
            <p:nvPr/>
          </p:nvSpPr>
          <p:spPr>
            <a:xfrm>
              <a:off x="1015290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6" name="object 1376">
              <a:extLst>
                <a:ext uri="{FF2B5EF4-FFF2-40B4-BE49-F238E27FC236}">
                  <a16:creationId xmlns:a16="http://schemas.microsoft.com/office/drawing/2014/main" id="{75E60BD2-EDD7-8C79-7C52-951E83DB692A}"/>
                </a:ext>
              </a:extLst>
            </p:cNvPr>
            <p:cNvSpPr/>
            <p:nvPr/>
          </p:nvSpPr>
          <p:spPr>
            <a:xfrm>
              <a:off x="1004782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7" name="object 1377">
              <a:extLst>
                <a:ext uri="{FF2B5EF4-FFF2-40B4-BE49-F238E27FC236}">
                  <a16:creationId xmlns:a16="http://schemas.microsoft.com/office/drawing/2014/main" id="{7FB7AD87-9A5F-8440-19FD-1385B446D7DC}"/>
                </a:ext>
              </a:extLst>
            </p:cNvPr>
            <p:cNvSpPr/>
            <p:nvPr/>
          </p:nvSpPr>
          <p:spPr>
            <a:xfrm>
              <a:off x="1008292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8" name="object 1378">
              <a:extLst>
                <a:ext uri="{FF2B5EF4-FFF2-40B4-BE49-F238E27FC236}">
                  <a16:creationId xmlns:a16="http://schemas.microsoft.com/office/drawing/2014/main" id="{4AAB56DB-A8AD-9A3C-C59A-40F8E068FAF1}"/>
                </a:ext>
              </a:extLst>
            </p:cNvPr>
            <p:cNvSpPr/>
            <p:nvPr/>
          </p:nvSpPr>
          <p:spPr>
            <a:xfrm>
              <a:off x="997778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9" name="object 1379">
              <a:extLst>
                <a:ext uri="{FF2B5EF4-FFF2-40B4-BE49-F238E27FC236}">
                  <a16:creationId xmlns:a16="http://schemas.microsoft.com/office/drawing/2014/main" id="{1E663825-D3CC-F7FD-530B-C7016C2A7CEF}"/>
                </a:ext>
              </a:extLst>
            </p:cNvPr>
            <p:cNvSpPr/>
            <p:nvPr/>
          </p:nvSpPr>
          <p:spPr>
            <a:xfrm>
              <a:off x="1018792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0" name="object 1380">
              <a:extLst>
                <a:ext uri="{FF2B5EF4-FFF2-40B4-BE49-F238E27FC236}">
                  <a16:creationId xmlns:a16="http://schemas.microsoft.com/office/drawing/2014/main" id="{3799DEE1-38C2-A36C-3575-0C73C91BD969}"/>
                </a:ext>
              </a:extLst>
            </p:cNvPr>
            <p:cNvSpPr/>
            <p:nvPr/>
          </p:nvSpPr>
          <p:spPr>
            <a:xfrm>
              <a:off x="1001280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1" name="object 1381">
              <a:extLst>
                <a:ext uri="{FF2B5EF4-FFF2-40B4-BE49-F238E27FC236}">
                  <a16:creationId xmlns:a16="http://schemas.microsoft.com/office/drawing/2014/main" id="{77BC3221-EEA2-78D7-AC7A-28A5CE7A43FE}"/>
                </a:ext>
              </a:extLst>
            </p:cNvPr>
            <p:cNvSpPr/>
            <p:nvPr/>
          </p:nvSpPr>
          <p:spPr>
            <a:xfrm>
              <a:off x="9943048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2" name="object 1382">
              <a:extLst>
                <a:ext uri="{FF2B5EF4-FFF2-40B4-BE49-F238E27FC236}">
                  <a16:creationId xmlns:a16="http://schemas.microsoft.com/office/drawing/2014/main" id="{548E8D9D-D83D-F5E0-2B86-450FBB9E270F}"/>
                </a:ext>
              </a:extLst>
            </p:cNvPr>
            <p:cNvSpPr/>
            <p:nvPr/>
          </p:nvSpPr>
          <p:spPr>
            <a:xfrm>
              <a:off x="10223284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3" name="object 1383">
              <a:extLst>
                <a:ext uri="{FF2B5EF4-FFF2-40B4-BE49-F238E27FC236}">
                  <a16:creationId xmlns:a16="http://schemas.microsoft.com/office/drawing/2014/main" id="{E79D7F09-0CD4-50DE-3550-CFB664649A34}"/>
                </a:ext>
              </a:extLst>
            </p:cNvPr>
            <p:cNvSpPr/>
            <p:nvPr/>
          </p:nvSpPr>
          <p:spPr>
            <a:xfrm>
              <a:off x="1025831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4" name="object 1384">
              <a:extLst>
                <a:ext uri="{FF2B5EF4-FFF2-40B4-BE49-F238E27FC236}">
                  <a16:creationId xmlns:a16="http://schemas.microsoft.com/office/drawing/2014/main" id="{224D77B8-07A7-A376-8ADD-A8C40EF1734D}"/>
                </a:ext>
              </a:extLst>
            </p:cNvPr>
            <p:cNvSpPr/>
            <p:nvPr/>
          </p:nvSpPr>
          <p:spPr>
            <a:xfrm>
              <a:off x="1015324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5" name="object 1385">
              <a:extLst>
                <a:ext uri="{FF2B5EF4-FFF2-40B4-BE49-F238E27FC236}">
                  <a16:creationId xmlns:a16="http://schemas.microsoft.com/office/drawing/2014/main" id="{8E49F318-588F-E55E-A481-C9F932371864}"/>
                </a:ext>
              </a:extLst>
            </p:cNvPr>
            <p:cNvSpPr/>
            <p:nvPr/>
          </p:nvSpPr>
          <p:spPr>
            <a:xfrm>
              <a:off x="1004817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6" name="object 1386">
              <a:extLst>
                <a:ext uri="{FF2B5EF4-FFF2-40B4-BE49-F238E27FC236}">
                  <a16:creationId xmlns:a16="http://schemas.microsoft.com/office/drawing/2014/main" id="{44C62684-FBC2-6646-40C1-AFEACBF6E5F2}"/>
                </a:ext>
              </a:extLst>
            </p:cNvPr>
            <p:cNvSpPr/>
            <p:nvPr/>
          </p:nvSpPr>
          <p:spPr>
            <a:xfrm>
              <a:off x="1008327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7" name="object 1387">
              <a:extLst>
                <a:ext uri="{FF2B5EF4-FFF2-40B4-BE49-F238E27FC236}">
                  <a16:creationId xmlns:a16="http://schemas.microsoft.com/office/drawing/2014/main" id="{B2A88990-85EF-D218-3BFF-5864BB9C60F7}"/>
                </a:ext>
              </a:extLst>
            </p:cNvPr>
            <p:cNvSpPr/>
            <p:nvPr/>
          </p:nvSpPr>
          <p:spPr>
            <a:xfrm>
              <a:off x="997813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8" name="object 1388">
              <a:extLst>
                <a:ext uri="{FF2B5EF4-FFF2-40B4-BE49-F238E27FC236}">
                  <a16:creationId xmlns:a16="http://schemas.microsoft.com/office/drawing/2014/main" id="{6B4773D1-8A4F-E44B-40F6-A8D922E7F9DE}"/>
                </a:ext>
              </a:extLst>
            </p:cNvPr>
            <p:cNvSpPr/>
            <p:nvPr/>
          </p:nvSpPr>
          <p:spPr>
            <a:xfrm>
              <a:off x="1018826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9" name="object 1389">
              <a:extLst>
                <a:ext uri="{FF2B5EF4-FFF2-40B4-BE49-F238E27FC236}">
                  <a16:creationId xmlns:a16="http://schemas.microsoft.com/office/drawing/2014/main" id="{24617A23-AA13-DF51-23CB-DE0F738D5BA9}"/>
                </a:ext>
              </a:extLst>
            </p:cNvPr>
            <p:cNvSpPr/>
            <p:nvPr/>
          </p:nvSpPr>
          <p:spPr>
            <a:xfrm>
              <a:off x="1001315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0" name="object 1390">
              <a:extLst>
                <a:ext uri="{FF2B5EF4-FFF2-40B4-BE49-F238E27FC236}">
                  <a16:creationId xmlns:a16="http://schemas.microsoft.com/office/drawing/2014/main" id="{8938F60C-99A2-86B7-DD4D-4AEC5AD68D98}"/>
                </a:ext>
              </a:extLst>
            </p:cNvPr>
            <p:cNvSpPr/>
            <p:nvPr/>
          </p:nvSpPr>
          <p:spPr>
            <a:xfrm>
              <a:off x="10293336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1" name="object 1391">
              <a:extLst>
                <a:ext uri="{FF2B5EF4-FFF2-40B4-BE49-F238E27FC236}">
                  <a16:creationId xmlns:a16="http://schemas.microsoft.com/office/drawing/2014/main" id="{F7E9C6E8-A44F-8431-0166-46FF41F19FE5}"/>
                </a:ext>
              </a:extLst>
            </p:cNvPr>
            <p:cNvSpPr/>
            <p:nvPr/>
          </p:nvSpPr>
          <p:spPr>
            <a:xfrm>
              <a:off x="10118366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2" name="object 1392">
              <a:extLst>
                <a:ext uri="{FF2B5EF4-FFF2-40B4-BE49-F238E27FC236}">
                  <a16:creationId xmlns:a16="http://schemas.microsoft.com/office/drawing/2014/main" id="{78814773-F8CE-10AB-1A79-0B04D9BF6A2D}"/>
                </a:ext>
              </a:extLst>
            </p:cNvPr>
            <p:cNvSpPr/>
            <p:nvPr/>
          </p:nvSpPr>
          <p:spPr>
            <a:xfrm>
              <a:off x="9943386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3" name="object 1393">
              <a:extLst>
                <a:ext uri="{FF2B5EF4-FFF2-40B4-BE49-F238E27FC236}">
                  <a16:creationId xmlns:a16="http://schemas.microsoft.com/office/drawing/2014/main" id="{BCD2D6FF-2B07-A060-6D08-72D47EFF6B6E}"/>
                </a:ext>
              </a:extLst>
            </p:cNvPr>
            <p:cNvSpPr/>
            <p:nvPr/>
          </p:nvSpPr>
          <p:spPr>
            <a:xfrm>
              <a:off x="9943395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4" name="object 1394">
              <a:extLst>
                <a:ext uri="{FF2B5EF4-FFF2-40B4-BE49-F238E27FC236}">
                  <a16:creationId xmlns:a16="http://schemas.microsoft.com/office/drawing/2014/main" id="{5D4EE26E-0A01-3A80-2877-20D7E72B6B4B}"/>
                </a:ext>
              </a:extLst>
            </p:cNvPr>
            <p:cNvSpPr/>
            <p:nvPr/>
          </p:nvSpPr>
          <p:spPr>
            <a:xfrm>
              <a:off x="9943514" y="1848916"/>
              <a:ext cx="419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9215"/>
                <a:gd name="f4" fmla="val 84455"/>
                <a:gd name="f5" fmla="val 68689"/>
                <a:gd name="f6" fmla="val 84112"/>
                <a:gd name="f7" fmla="*/ f0 1 69215"/>
                <a:gd name="f8" fmla="*/ f1 1 84455"/>
                <a:gd name="f9" fmla="+- f4 0 f2"/>
                <a:gd name="f10" fmla="+- f3 0 f2"/>
                <a:gd name="f11" fmla="*/ f10 1 6921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921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5" name="object 1395">
              <a:extLst>
                <a:ext uri="{FF2B5EF4-FFF2-40B4-BE49-F238E27FC236}">
                  <a16:creationId xmlns:a16="http://schemas.microsoft.com/office/drawing/2014/main" id="{E54C0EF7-FBA9-0BB6-C22F-1E341A056294}"/>
                </a:ext>
              </a:extLst>
            </p:cNvPr>
            <p:cNvSpPr/>
            <p:nvPr/>
          </p:nvSpPr>
          <p:spPr>
            <a:xfrm>
              <a:off x="10292989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6" name="object 1396">
              <a:extLst>
                <a:ext uri="{FF2B5EF4-FFF2-40B4-BE49-F238E27FC236}">
                  <a16:creationId xmlns:a16="http://schemas.microsoft.com/office/drawing/2014/main" id="{724E69A7-6098-14D4-9CFB-361B1E0B1B2D}"/>
                </a:ext>
              </a:extLst>
            </p:cNvPr>
            <p:cNvSpPr/>
            <p:nvPr/>
          </p:nvSpPr>
          <p:spPr>
            <a:xfrm>
              <a:off x="10118018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7" name="object 1397">
              <a:extLst>
                <a:ext uri="{FF2B5EF4-FFF2-40B4-BE49-F238E27FC236}">
                  <a16:creationId xmlns:a16="http://schemas.microsoft.com/office/drawing/2014/main" id="{4DE8A99A-DA0A-B02A-DDE6-1B888B17ACE9}"/>
                </a:ext>
              </a:extLst>
            </p:cNvPr>
            <p:cNvSpPr/>
            <p:nvPr/>
          </p:nvSpPr>
          <p:spPr>
            <a:xfrm>
              <a:off x="9943048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8" name="object 1398">
              <a:extLst>
                <a:ext uri="{FF2B5EF4-FFF2-40B4-BE49-F238E27FC236}">
                  <a16:creationId xmlns:a16="http://schemas.microsoft.com/office/drawing/2014/main" id="{14EA94FC-1F6E-E821-344D-790DC91D45E3}"/>
                </a:ext>
              </a:extLst>
            </p:cNvPr>
            <p:cNvSpPr/>
            <p:nvPr/>
          </p:nvSpPr>
          <p:spPr>
            <a:xfrm>
              <a:off x="10118018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9" name="object 1399">
              <a:extLst>
                <a:ext uri="{FF2B5EF4-FFF2-40B4-BE49-F238E27FC236}">
                  <a16:creationId xmlns:a16="http://schemas.microsoft.com/office/drawing/2014/main" id="{70CFB649-B6DC-4F19-E08C-75584E64DB29}"/>
                </a:ext>
              </a:extLst>
            </p:cNvPr>
            <p:cNvSpPr/>
            <p:nvPr/>
          </p:nvSpPr>
          <p:spPr>
            <a:xfrm>
              <a:off x="1022294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0" name="object 1400">
              <a:extLst>
                <a:ext uri="{FF2B5EF4-FFF2-40B4-BE49-F238E27FC236}">
                  <a16:creationId xmlns:a16="http://schemas.microsoft.com/office/drawing/2014/main" id="{DD52DB6F-989F-9F65-EAFA-F57F99EFC464}"/>
                </a:ext>
              </a:extLst>
            </p:cNvPr>
            <p:cNvSpPr/>
            <p:nvPr/>
          </p:nvSpPr>
          <p:spPr>
            <a:xfrm>
              <a:off x="10257967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1" name="object 1401">
              <a:extLst>
                <a:ext uri="{FF2B5EF4-FFF2-40B4-BE49-F238E27FC236}">
                  <a16:creationId xmlns:a16="http://schemas.microsoft.com/office/drawing/2014/main" id="{4D388597-5330-68BD-A6C2-6AC6DA0296C7}"/>
                </a:ext>
              </a:extLst>
            </p:cNvPr>
            <p:cNvSpPr/>
            <p:nvPr/>
          </p:nvSpPr>
          <p:spPr>
            <a:xfrm>
              <a:off x="1015290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2" name="object 1402">
              <a:extLst>
                <a:ext uri="{FF2B5EF4-FFF2-40B4-BE49-F238E27FC236}">
                  <a16:creationId xmlns:a16="http://schemas.microsoft.com/office/drawing/2014/main" id="{5B5BC87C-751E-ED47-6DEF-0DCF55076E1C}"/>
                </a:ext>
              </a:extLst>
            </p:cNvPr>
            <p:cNvSpPr/>
            <p:nvPr/>
          </p:nvSpPr>
          <p:spPr>
            <a:xfrm>
              <a:off x="1004782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3" name="object 1403">
              <a:extLst>
                <a:ext uri="{FF2B5EF4-FFF2-40B4-BE49-F238E27FC236}">
                  <a16:creationId xmlns:a16="http://schemas.microsoft.com/office/drawing/2014/main" id="{F91F30B2-BE52-CD45-CF54-FC7647ACE0A0}"/>
                </a:ext>
              </a:extLst>
            </p:cNvPr>
            <p:cNvSpPr/>
            <p:nvPr/>
          </p:nvSpPr>
          <p:spPr>
            <a:xfrm>
              <a:off x="1008292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4" name="object 1404">
              <a:extLst>
                <a:ext uri="{FF2B5EF4-FFF2-40B4-BE49-F238E27FC236}">
                  <a16:creationId xmlns:a16="http://schemas.microsoft.com/office/drawing/2014/main" id="{FF6686EF-571B-E3F5-25F5-1B6354A12945}"/>
                </a:ext>
              </a:extLst>
            </p:cNvPr>
            <p:cNvSpPr/>
            <p:nvPr/>
          </p:nvSpPr>
          <p:spPr>
            <a:xfrm>
              <a:off x="997778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5" name="object 1405">
              <a:extLst>
                <a:ext uri="{FF2B5EF4-FFF2-40B4-BE49-F238E27FC236}">
                  <a16:creationId xmlns:a16="http://schemas.microsoft.com/office/drawing/2014/main" id="{3C6C13F3-DA5C-0966-5F27-833953AD65AC}"/>
                </a:ext>
              </a:extLst>
            </p:cNvPr>
            <p:cNvSpPr/>
            <p:nvPr/>
          </p:nvSpPr>
          <p:spPr>
            <a:xfrm>
              <a:off x="1018792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6" name="object 1406">
              <a:extLst>
                <a:ext uri="{FF2B5EF4-FFF2-40B4-BE49-F238E27FC236}">
                  <a16:creationId xmlns:a16="http://schemas.microsoft.com/office/drawing/2014/main" id="{6C872996-BAF0-96FA-4FDB-420DEFC47DDC}"/>
                </a:ext>
              </a:extLst>
            </p:cNvPr>
            <p:cNvSpPr/>
            <p:nvPr/>
          </p:nvSpPr>
          <p:spPr>
            <a:xfrm>
              <a:off x="1001280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7" name="object 1407">
              <a:extLst>
                <a:ext uri="{FF2B5EF4-FFF2-40B4-BE49-F238E27FC236}">
                  <a16:creationId xmlns:a16="http://schemas.microsoft.com/office/drawing/2014/main" id="{E7C6F526-F57A-1401-E542-58479EB642F0}"/>
                </a:ext>
              </a:extLst>
            </p:cNvPr>
            <p:cNvSpPr/>
            <p:nvPr/>
          </p:nvSpPr>
          <p:spPr>
            <a:xfrm>
              <a:off x="9943048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8" name="object 1408">
              <a:extLst>
                <a:ext uri="{FF2B5EF4-FFF2-40B4-BE49-F238E27FC236}">
                  <a16:creationId xmlns:a16="http://schemas.microsoft.com/office/drawing/2014/main" id="{851A2213-F7A5-AEF2-1AA0-5CC04FD00E12}"/>
                </a:ext>
              </a:extLst>
            </p:cNvPr>
            <p:cNvSpPr/>
            <p:nvPr/>
          </p:nvSpPr>
          <p:spPr>
            <a:xfrm>
              <a:off x="940198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9" name="object 1409">
              <a:extLst>
                <a:ext uri="{FF2B5EF4-FFF2-40B4-BE49-F238E27FC236}">
                  <a16:creationId xmlns:a16="http://schemas.microsoft.com/office/drawing/2014/main" id="{917445E3-5775-D07C-5357-6C3CCF742656}"/>
                </a:ext>
              </a:extLst>
            </p:cNvPr>
            <p:cNvSpPr/>
            <p:nvPr/>
          </p:nvSpPr>
          <p:spPr>
            <a:xfrm>
              <a:off x="943701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0" name="object 1410">
              <a:extLst>
                <a:ext uri="{FF2B5EF4-FFF2-40B4-BE49-F238E27FC236}">
                  <a16:creationId xmlns:a16="http://schemas.microsoft.com/office/drawing/2014/main" id="{88BA59CC-D93D-CA2B-E635-A7AA06F50358}"/>
                </a:ext>
              </a:extLst>
            </p:cNvPr>
            <p:cNvSpPr/>
            <p:nvPr/>
          </p:nvSpPr>
          <p:spPr>
            <a:xfrm>
              <a:off x="933194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1" name="object 1411">
              <a:extLst>
                <a:ext uri="{FF2B5EF4-FFF2-40B4-BE49-F238E27FC236}">
                  <a16:creationId xmlns:a16="http://schemas.microsoft.com/office/drawing/2014/main" id="{328C7D6E-92AB-06C6-868A-1229E1FE628A}"/>
                </a:ext>
              </a:extLst>
            </p:cNvPr>
            <p:cNvSpPr/>
            <p:nvPr/>
          </p:nvSpPr>
          <p:spPr>
            <a:xfrm>
              <a:off x="922688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2" name="object 1412">
              <a:extLst>
                <a:ext uri="{FF2B5EF4-FFF2-40B4-BE49-F238E27FC236}">
                  <a16:creationId xmlns:a16="http://schemas.microsoft.com/office/drawing/2014/main" id="{091FC23D-BB6D-128A-FA14-E66CB9B148C0}"/>
                </a:ext>
              </a:extLst>
            </p:cNvPr>
            <p:cNvSpPr/>
            <p:nvPr/>
          </p:nvSpPr>
          <p:spPr>
            <a:xfrm>
              <a:off x="926197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3" name="object 1413">
              <a:extLst>
                <a:ext uri="{FF2B5EF4-FFF2-40B4-BE49-F238E27FC236}">
                  <a16:creationId xmlns:a16="http://schemas.microsoft.com/office/drawing/2014/main" id="{801E2223-859F-2F0E-89D2-D03E664872C0}"/>
                </a:ext>
              </a:extLst>
            </p:cNvPr>
            <p:cNvSpPr/>
            <p:nvPr/>
          </p:nvSpPr>
          <p:spPr>
            <a:xfrm>
              <a:off x="915683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4" name="object 1414">
              <a:extLst>
                <a:ext uri="{FF2B5EF4-FFF2-40B4-BE49-F238E27FC236}">
                  <a16:creationId xmlns:a16="http://schemas.microsoft.com/office/drawing/2014/main" id="{5EF99393-5E4F-1F34-08AD-79F3791F9687}"/>
                </a:ext>
              </a:extLst>
            </p:cNvPr>
            <p:cNvSpPr/>
            <p:nvPr/>
          </p:nvSpPr>
          <p:spPr>
            <a:xfrm>
              <a:off x="936697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5" name="object 1415">
              <a:extLst>
                <a:ext uri="{FF2B5EF4-FFF2-40B4-BE49-F238E27FC236}">
                  <a16:creationId xmlns:a16="http://schemas.microsoft.com/office/drawing/2014/main" id="{2D13D589-FB57-5DC4-24EA-676EF6F88FA0}"/>
                </a:ext>
              </a:extLst>
            </p:cNvPr>
            <p:cNvSpPr/>
            <p:nvPr/>
          </p:nvSpPr>
          <p:spPr>
            <a:xfrm>
              <a:off x="919185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6" name="object 1416">
              <a:extLst>
                <a:ext uri="{FF2B5EF4-FFF2-40B4-BE49-F238E27FC236}">
                  <a16:creationId xmlns:a16="http://schemas.microsoft.com/office/drawing/2014/main" id="{D083704D-4DD7-00D2-E3E8-1DCC53DEA982}"/>
                </a:ext>
              </a:extLst>
            </p:cNvPr>
            <p:cNvSpPr/>
            <p:nvPr/>
          </p:nvSpPr>
          <p:spPr>
            <a:xfrm>
              <a:off x="947204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7" name="object 1417">
              <a:extLst>
                <a:ext uri="{FF2B5EF4-FFF2-40B4-BE49-F238E27FC236}">
                  <a16:creationId xmlns:a16="http://schemas.microsoft.com/office/drawing/2014/main" id="{A4DCDBE6-FAD7-1AF0-452F-E28207CCC9BB}"/>
                </a:ext>
              </a:extLst>
            </p:cNvPr>
            <p:cNvSpPr/>
            <p:nvPr/>
          </p:nvSpPr>
          <p:spPr>
            <a:xfrm>
              <a:off x="9297070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8" name="object 1418">
              <a:extLst>
                <a:ext uri="{FF2B5EF4-FFF2-40B4-BE49-F238E27FC236}">
                  <a16:creationId xmlns:a16="http://schemas.microsoft.com/office/drawing/2014/main" id="{5FC3A32C-3AB7-F8E6-9711-311D61BE0985}"/>
                </a:ext>
              </a:extLst>
            </p:cNvPr>
            <p:cNvSpPr/>
            <p:nvPr/>
          </p:nvSpPr>
          <p:spPr>
            <a:xfrm>
              <a:off x="9122090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9" name="object 1419">
              <a:extLst>
                <a:ext uri="{FF2B5EF4-FFF2-40B4-BE49-F238E27FC236}">
                  <a16:creationId xmlns:a16="http://schemas.microsoft.com/office/drawing/2014/main" id="{AFF1F249-7773-CF6E-3839-B47CD4AB0E54}"/>
                </a:ext>
              </a:extLst>
            </p:cNvPr>
            <p:cNvSpPr/>
            <p:nvPr/>
          </p:nvSpPr>
          <p:spPr>
            <a:xfrm>
              <a:off x="9122090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0" name="object 1420">
              <a:extLst>
                <a:ext uri="{FF2B5EF4-FFF2-40B4-BE49-F238E27FC236}">
                  <a16:creationId xmlns:a16="http://schemas.microsoft.com/office/drawing/2014/main" id="{E3E9A1BA-7121-07F9-7E3F-FE41A46D3391}"/>
                </a:ext>
              </a:extLst>
            </p:cNvPr>
            <p:cNvSpPr/>
            <p:nvPr/>
          </p:nvSpPr>
          <p:spPr>
            <a:xfrm>
              <a:off x="9122228" y="2613318"/>
              <a:ext cx="3565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88009"/>
                <a:gd name="f4" fmla="val 84454"/>
                <a:gd name="f5" fmla="val 587887"/>
                <a:gd name="f6" fmla="val 84102"/>
                <a:gd name="f7" fmla="*/ f0 1 588009"/>
                <a:gd name="f8" fmla="*/ f1 1 84454"/>
                <a:gd name="f9" fmla="+- f4 0 f2"/>
                <a:gd name="f10" fmla="+- f3 0 f2"/>
                <a:gd name="f11" fmla="*/ f10 1 5880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880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1" name="object 1421">
              <a:extLst>
                <a:ext uri="{FF2B5EF4-FFF2-40B4-BE49-F238E27FC236}">
                  <a16:creationId xmlns:a16="http://schemas.microsoft.com/office/drawing/2014/main" id="{435AB31D-0F80-8359-AB35-89D80520D655}"/>
                </a:ext>
              </a:extLst>
            </p:cNvPr>
            <p:cNvSpPr/>
            <p:nvPr/>
          </p:nvSpPr>
          <p:spPr>
            <a:xfrm>
              <a:off x="9122228" y="2685629"/>
              <a:ext cx="12014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8119"/>
                <a:gd name="f4" fmla="val 84454"/>
                <a:gd name="f5" fmla="val 197993"/>
                <a:gd name="f6" fmla="val 84102"/>
                <a:gd name="f7" fmla="*/ f0 1 198119"/>
                <a:gd name="f8" fmla="*/ f1 1 84454"/>
                <a:gd name="f9" fmla="+- f4 0 f2"/>
                <a:gd name="f10" fmla="+- f3 0 f2"/>
                <a:gd name="f11" fmla="*/ f10 1 1981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81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2" name="object 1422">
              <a:extLst>
                <a:ext uri="{FF2B5EF4-FFF2-40B4-BE49-F238E27FC236}">
                  <a16:creationId xmlns:a16="http://schemas.microsoft.com/office/drawing/2014/main" id="{E4643026-7462-A9B0-DD77-0C1B604F4767}"/>
                </a:ext>
              </a:extLst>
            </p:cNvPr>
            <p:cNvSpPr/>
            <p:nvPr/>
          </p:nvSpPr>
          <p:spPr>
            <a:xfrm>
              <a:off x="940165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3" name="object 1423">
              <a:extLst>
                <a:ext uri="{FF2B5EF4-FFF2-40B4-BE49-F238E27FC236}">
                  <a16:creationId xmlns:a16="http://schemas.microsoft.com/office/drawing/2014/main" id="{A50C3B19-36A9-830A-955B-A4290F779F57}"/>
                </a:ext>
              </a:extLst>
            </p:cNvPr>
            <p:cNvSpPr/>
            <p:nvPr/>
          </p:nvSpPr>
          <p:spPr>
            <a:xfrm>
              <a:off x="943667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4" name="object 1424">
              <a:extLst>
                <a:ext uri="{FF2B5EF4-FFF2-40B4-BE49-F238E27FC236}">
                  <a16:creationId xmlns:a16="http://schemas.microsoft.com/office/drawing/2014/main" id="{0824C515-52D7-C1CF-CEAC-55F3C251C3FF}"/>
                </a:ext>
              </a:extLst>
            </p:cNvPr>
            <p:cNvSpPr/>
            <p:nvPr/>
          </p:nvSpPr>
          <p:spPr>
            <a:xfrm>
              <a:off x="9331607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5" name="object 1425">
              <a:extLst>
                <a:ext uri="{FF2B5EF4-FFF2-40B4-BE49-F238E27FC236}">
                  <a16:creationId xmlns:a16="http://schemas.microsoft.com/office/drawing/2014/main" id="{1C6082B8-D0B6-30F8-65FD-E532586CE4C1}"/>
                </a:ext>
              </a:extLst>
            </p:cNvPr>
            <p:cNvSpPr/>
            <p:nvPr/>
          </p:nvSpPr>
          <p:spPr>
            <a:xfrm>
              <a:off x="922653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6" name="object 1426">
              <a:extLst>
                <a:ext uri="{FF2B5EF4-FFF2-40B4-BE49-F238E27FC236}">
                  <a16:creationId xmlns:a16="http://schemas.microsoft.com/office/drawing/2014/main" id="{C556B64A-FCF8-2EB6-55BB-0B73E0E74599}"/>
                </a:ext>
              </a:extLst>
            </p:cNvPr>
            <p:cNvSpPr/>
            <p:nvPr/>
          </p:nvSpPr>
          <p:spPr>
            <a:xfrm>
              <a:off x="926162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7" name="object 1427">
              <a:extLst>
                <a:ext uri="{FF2B5EF4-FFF2-40B4-BE49-F238E27FC236}">
                  <a16:creationId xmlns:a16="http://schemas.microsoft.com/office/drawing/2014/main" id="{6995588A-0C20-7324-1674-676FE2B0B441}"/>
                </a:ext>
              </a:extLst>
            </p:cNvPr>
            <p:cNvSpPr/>
            <p:nvPr/>
          </p:nvSpPr>
          <p:spPr>
            <a:xfrm>
              <a:off x="915649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8" name="object 1428">
              <a:extLst>
                <a:ext uri="{FF2B5EF4-FFF2-40B4-BE49-F238E27FC236}">
                  <a16:creationId xmlns:a16="http://schemas.microsoft.com/office/drawing/2014/main" id="{F4322D11-5D85-1FE6-3663-6E9F36156AE4}"/>
                </a:ext>
              </a:extLst>
            </p:cNvPr>
            <p:cNvSpPr/>
            <p:nvPr/>
          </p:nvSpPr>
          <p:spPr>
            <a:xfrm>
              <a:off x="936662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9" name="object 1429">
              <a:extLst>
                <a:ext uri="{FF2B5EF4-FFF2-40B4-BE49-F238E27FC236}">
                  <a16:creationId xmlns:a16="http://schemas.microsoft.com/office/drawing/2014/main" id="{A3F45EFA-C79E-8391-398B-1709FBA5D3FE}"/>
                </a:ext>
              </a:extLst>
            </p:cNvPr>
            <p:cNvSpPr/>
            <p:nvPr/>
          </p:nvSpPr>
          <p:spPr>
            <a:xfrm>
              <a:off x="919151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0" name="object 1430">
              <a:extLst>
                <a:ext uri="{FF2B5EF4-FFF2-40B4-BE49-F238E27FC236}">
                  <a16:creationId xmlns:a16="http://schemas.microsoft.com/office/drawing/2014/main" id="{9605A602-F290-E522-1282-A0A9FE5F77BA}"/>
                </a:ext>
              </a:extLst>
            </p:cNvPr>
            <p:cNvSpPr/>
            <p:nvPr/>
          </p:nvSpPr>
          <p:spPr>
            <a:xfrm>
              <a:off x="947169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1" name="object 1431">
              <a:extLst>
                <a:ext uri="{FF2B5EF4-FFF2-40B4-BE49-F238E27FC236}">
                  <a16:creationId xmlns:a16="http://schemas.microsoft.com/office/drawing/2014/main" id="{8D6A633A-7C66-697E-B671-3B2958F23124}"/>
                </a:ext>
              </a:extLst>
            </p:cNvPr>
            <p:cNvSpPr/>
            <p:nvPr/>
          </p:nvSpPr>
          <p:spPr>
            <a:xfrm>
              <a:off x="929672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2" name="object 1432">
              <a:extLst>
                <a:ext uri="{FF2B5EF4-FFF2-40B4-BE49-F238E27FC236}">
                  <a16:creationId xmlns:a16="http://schemas.microsoft.com/office/drawing/2014/main" id="{09FEDF6F-705F-851D-91AE-27A0040B64DD}"/>
                </a:ext>
              </a:extLst>
            </p:cNvPr>
            <p:cNvSpPr/>
            <p:nvPr/>
          </p:nvSpPr>
          <p:spPr>
            <a:xfrm>
              <a:off x="912174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3" name="object 1433">
              <a:extLst>
                <a:ext uri="{FF2B5EF4-FFF2-40B4-BE49-F238E27FC236}">
                  <a16:creationId xmlns:a16="http://schemas.microsoft.com/office/drawing/2014/main" id="{9C6123F3-5511-7493-B3F5-31C38C58EDDA}"/>
                </a:ext>
              </a:extLst>
            </p:cNvPr>
            <p:cNvSpPr/>
            <p:nvPr/>
          </p:nvSpPr>
          <p:spPr>
            <a:xfrm>
              <a:off x="929672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4" name="object 1434">
              <a:extLst>
                <a:ext uri="{FF2B5EF4-FFF2-40B4-BE49-F238E27FC236}">
                  <a16:creationId xmlns:a16="http://schemas.microsoft.com/office/drawing/2014/main" id="{B5E3C1EC-8D6A-CDC9-9303-188004BE73CA}"/>
                </a:ext>
              </a:extLst>
            </p:cNvPr>
            <p:cNvSpPr/>
            <p:nvPr/>
          </p:nvSpPr>
          <p:spPr>
            <a:xfrm>
              <a:off x="9121743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5" name="object 1435">
              <a:extLst>
                <a:ext uri="{FF2B5EF4-FFF2-40B4-BE49-F238E27FC236}">
                  <a16:creationId xmlns:a16="http://schemas.microsoft.com/office/drawing/2014/main" id="{E7E42931-06ED-33EB-81BE-9DF5BE43A3D8}"/>
                </a:ext>
              </a:extLst>
            </p:cNvPr>
            <p:cNvSpPr/>
            <p:nvPr/>
          </p:nvSpPr>
          <p:spPr>
            <a:xfrm>
              <a:off x="940198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6" name="object 1436">
              <a:extLst>
                <a:ext uri="{FF2B5EF4-FFF2-40B4-BE49-F238E27FC236}">
                  <a16:creationId xmlns:a16="http://schemas.microsoft.com/office/drawing/2014/main" id="{C33923CA-6CD2-1A06-78F6-0A8213ED291A}"/>
                </a:ext>
              </a:extLst>
            </p:cNvPr>
            <p:cNvSpPr/>
            <p:nvPr/>
          </p:nvSpPr>
          <p:spPr>
            <a:xfrm>
              <a:off x="943701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7" name="object 1437">
              <a:extLst>
                <a:ext uri="{FF2B5EF4-FFF2-40B4-BE49-F238E27FC236}">
                  <a16:creationId xmlns:a16="http://schemas.microsoft.com/office/drawing/2014/main" id="{559066EE-736F-565B-4EBC-C881B9E01E26}"/>
                </a:ext>
              </a:extLst>
            </p:cNvPr>
            <p:cNvSpPr/>
            <p:nvPr/>
          </p:nvSpPr>
          <p:spPr>
            <a:xfrm>
              <a:off x="933194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8" name="object 1438">
              <a:extLst>
                <a:ext uri="{FF2B5EF4-FFF2-40B4-BE49-F238E27FC236}">
                  <a16:creationId xmlns:a16="http://schemas.microsoft.com/office/drawing/2014/main" id="{317813FB-53D4-F45C-1DF9-92610C244855}"/>
                </a:ext>
              </a:extLst>
            </p:cNvPr>
            <p:cNvSpPr/>
            <p:nvPr/>
          </p:nvSpPr>
          <p:spPr>
            <a:xfrm>
              <a:off x="9226881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9" name="object 1439">
              <a:extLst>
                <a:ext uri="{FF2B5EF4-FFF2-40B4-BE49-F238E27FC236}">
                  <a16:creationId xmlns:a16="http://schemas.microsoft.com/office/drawing/2014/main" id="{D166C075-9783-D7E0-FE10-F03F98FF4822}"/>
                </a:ext>
              </a:extLst>
            </p:cNvPr>
            <p:cNvSpPr/>
            <p:nvPr/>
          </p:nvSpPr>
          <p:spPr>
            <a:xfrm>
              <a:off x="926197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0" name="object 1440">
              <a:extLst>
                <a:ext uri="{FF2B5EF4-FFF2-40B4-BE49-F238E27FC236}">
                  <a16:creationId xmlns:a16="http://schemas.microsoft.com/office/drawing/2014/main" id="{8D8FA8D5-96CF-CB85-FF76-29CE469CC27A}"/>
                </a:ext>
              </a:extLst>
            </p:cNvPr>
            <p:cNvSpPr/>
            <p:nvPr/>
          </p:nvSpPr>
          <p:spPr>
            <a:xfrm>
              <a:off x="915683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1" name="object 1441">
              <a:extLst>
                <a:ext uri="{FF2B5EF4-FFF2-40B4-BE49-F238E27FC236}">
                  <a16:creationId xmlns:a16="http://schemas.microsoft.com/office/drawing/2014/main" id="{B47A506F-B851-A215-596B-FD07D3C0A2FE}"/>
                </a:ext>
              </a:extLst>
            </p:cNvPr>
            <p:cNvSpPr/>
            <p:nvPr/>
          </p:nvSpPr>
          <p:spPr>
            <a:xfrm>
              <a:off x="936697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2" name="object 1442">
              <a:extLst>
                <a:ext uri="{FF2B5EF4-FFF2-40B4-BE49-F238E27FC236}">
                  <a16:creationId xmlns:a16="http://schemas.microsoft.com/office/drawing/2014/main" id="{A634322D-5AF4-C671-7FAE-07947278E0FE}"/>
                </a:ext>
              </a:extLst>
            </p:cNvPr>
            <p:cNvSpPr/>
            <p:nvPr/>
          </p:nvSpPr>
          <p:spPr>
            <a:xfrm>
              <a:off x="919185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3" name="object 1443">
              <a:extLst>
                <a:ext uri="{FF2B5EF4-FFF2-40B4-BE49-F238E27FC236}">
                  <a16:creationId xmlns:a16="http://schemas.microsoft.com/office/drawing/2014/main" id="{8B31EAAC-D047-CF91-E29C-B516AE886581}"/>
                </a:ext>
              </a:extLst>
            </p:cNvPr>
            <p:cNvSpPr/>
            <p:nvPr/>
          </p:nvSpPr>
          <p:spPr>
            <a:xfrm>
              <a:off x="9472041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4" name="object 1444">
              <a:extLst>
                <a:ext uri="{FF2B5EF4-FFF2-40B4-BE49-F238E27FC236}">
                  <a16:creationId xmlns:a16="http://schemas.microsoft.com/office/drawing/2014/main" id="{9C01F874-5D7F-D4DA-A016-59F842BB7D5E}"/>
                </a:ext>
              </a:extLst>
            </p:cNvPr>
            <p:cNvSpPr/>
            <p:nvPr/>
          </p:nvSpPr>
          <p:spPr>
            <a:xfrm>
              <a:off x="9297070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5" name="object 1445">
              <a:extLst>
                <a:ext uri="{FF2B5EF4-FFF2-40B4-BE49-F238E27FC236}">
                  <a16:creationId xmlns:a16="http://schemas.microsoft.com/office/drawing/2014/main" id="{CB6EE510-8F13-746E-CE3A-56C4FA68E323}"/>
                </a:ext>
              </a:extLst>
            </p:cNvPr>
            <p:cNvSpPr/>
            <p:nvPr/>
          </p:nvSpPr>
          <p:spPr>
            <a:xfrm>
              <a:off x="9122090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6" name="object 1446">
              <a:extLst>
                <a:ext uri="{FF2B5EF4-FFF2-40B4-BE49-F238E27FC236}">
                  <a16:creationId xmlns:a16="http://schemas.microsoft.com/office/drawing/2014/main" id="{B372C1B2-F5DC-3491-B423-C9E01201DAF6}"/>
                </a:ext>
              </a:extLst>
            </p:cNvPr>
            <p:cNvSpPr/>
            <p:nvPr/>
          </p:nvSpPr>
          <p:spPr>
            <a:xfrm>
              <a:off x="9122090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7" name="object 1447">
              <a:extLst>
                <a:ext uri="{FF2B5EF4-FFF2-40B4-BE49-F238E27FC236}">
                  <a16:creationId xmlns:a16="http://schemas.microsoft.com/office/drawing/2014/main" id="{764E2E60-D757-FF02-22DB-E22CAA114F2B}"/>
                </a:ext>
              </a:extLst>
            </p:cNvPr>
            <p:cNvSpPr/>
            <p:nvPr/>
          </p:nvSpPr>
          <p:spPr>
            <a:xfrm>
              <a:off x="9122228" y="3378086"/>
              <a:ext cx="22026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63219"/>
                <a:gd name="f4" fmla="val 84454"/>
                <a:gd name="f5" fmla="val 362816"/>
                <a:gd name="f6" fmla="val 84112"/>
                <a:gd name="f7" fmla="*/ f0 1 363219"/>
                <a:gd name="f8" fmla="*/ f1 1 84454"/>
                <a:gd name="f9" fmla="+- f4 0 f2"/>
                <a:gd name="f10" fmla="+- f3 0 f2"/>
                <a:gd name="f11" fmla="*/ f10 1 3632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632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8" name="object 1448">
              <a:extLst>
                <a:ext uri="{FF2B5EF4-FFF2-40B4-BE49-F238E27FC236}">
                  <a16:creationId xmlns:a16="http://schemas.microsoft.com/office/drawing/2014/main" id="{675E5871-3634-8D8C-5099-65FCA75FE6BF}"/>
                </a:ext>
              </a:extLst>
            </p:cNvPr>
            <p:cNvSpPr/>
            <p:nvPr/>
          </p:nvSpPr>
          <p:spPr>
            <a:xfrm>
              <a:off x="9122228" y="3450387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12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9" name="object 1449">
              <a:extLst>
                <a:ext uri="{FF2B5EF4-FFF2-40B4-BE49-F238E27FC236}">
                  <a16:creationId xmlns:a16="http://schemas.microsoft.com/office/drawing/2014/main" id="{93B6D11E-EEB1-A9C2-4908-1C0CCC1B36E0}"/>
                </a:ext>
              </a:extLst>
            </p:cNvPr>
            <p:cNvSpPr/>
            <p:nvPr/>
          </p:nvSpPr>
          <p:spPr>
            <a:xfrm>
              <a:off x="940165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0" name="object 1450">
              <a:extLst>
                <a:ext uri="{FF2B5EF4-FFF2-40B4-BE49-F238E27FC236}">
                  <a16:creationId xmlns:a16="http://schemas.microsoft.com/office/drawing/2014/main" id="{28A379A4-6131-B2B1-09EF-71ED6C1FBD9B}"/>
                </a:ext>
              </a:extLst>
            </p:cNvPr>
            <p:cNvSpPr/>
            <p:nvPr/>
          </p:nvSpPr>
          <p:spPr>
            <a:xfrm>
              <a:off x="943667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1" name="object 1451">
              <a:extLst>
                <a:ext uri="{FF2B5EF4-FFF2-40B4-BE49-F238E27FC236}">
                  <a16:creationId xmlns:a16="http://schemas.microsoft.com/office/drawing/2014/main" id="{79CCF756-2729-29AB-C7FD-35BACE3D09A4}"/>
                </a:ext>
              </a:extLst>
            </p:cNvPr>
            <p:cNvSpPr/>
            <p:nvPr/>
          </p:nvSpPr>
          <p:spPr>
            <a:xfrm>
              <a:off x="9331607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2" name="object 1452">
              <a:extLst>
                <a:ext uri="{FF2B5EF4-FFF2-40B4-BE49-F238E27FC236}">
                  <a16:creationId xmlns:a16="http://schemas.microsoft.com/office/drawing/2014/main" id="{52315CEC-6449-F52A-60B9-14BF68A988B8}"/>
                </a:ext>
              </a:extLst>
            </p:cNvPr>
            <p:cNvSpPr/>
            <p:nvPr/>
          </p:nvSpPr>
          <p:spPr>
            <a:xfrm>
              <a:off x="922653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3" name="object 1453">
              <a:extLst>
                <a:ext uri="{FF2B5EF4-FFF2-40B4-BE49-F238E27FC236}">
                  <a16:creationId xmlns:a16="http://schemas.microsoft.com/office/drawing/2014/main" id="{36CC1115-B35C-85B2-9C35-1B0C24DD4D0C}"/>
                </a:ext>
              </a:extLst>
            </p:cNvPr>
            <p:cNvSpPr/>
            <p:nvPr/>
          </p:nvSpPr>
          <p:spPr>
            <a:xfrm>
              <a:off x="926162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4" name="object 1454">
              <a:extLst>
                <a:ext uri="{FF2B5EF4-FFF2-40B4-BE49-F238E27FC236}">
                  <a16:creationId xmlns:a16="http://schemas.microsoft.com/office/drawing/2014/main" id="{B583A0DC-45B4-3A37-CF75-68785104A982}"/>
                </a:ext>
              </a:extLst>
            </p:cNvPr>
            <p:cNvSpPr/>
            <p:nvPr/>
          </p:nvSpPr>
          <p:spPr>
            <a:xfrm>
              <a:off x="915649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5" name="object 1455">
              <a:extLst>
                <a:ext uri="{FF2B5EF4-FFF2-40B4-BE49-F238E27FC236}">
                  <a16:creationId xmlns:a16="http://schemas.microsoft.com/office/drawing/2014/main" id="{8D3F80FE-DA0D-0A5A-9C91-5A3F6CAA504B}"/>
                </a:ext>
              </a:extLst>
            </p:cNvPr>
            <p:cNvSpPr/>
            <p:nvPr/>
          </p:nvSpPr>
          <p:spPr>
            <a:xfrm>
              <a:off x="936662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6" name="object 1456">
              <a:extLst>
                <a:ext uri="{FF2B5EF4-FFF2-40B4-BE49-F238E27FC236}">
                  <a16:creationId xmlns:a16="http://schemas.microsoft.com/office/drawing/2014/main" id="{2478F387-C8E7-F330-62F5-D72C98B7AFE7}"/>
                </a:ext>
              </a:extLst>
            </p:cNvPr>
            <p:cNvSpPr/>
            <p:nvPr/>
          </p:nvSpPr>
          <p:spPr>
            <a:xfrm>
              <a:off x="919151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7" name="object 1457">
              <a:extLst>
                <a:ext uri="{FF2B5EF4-FFF2-40B4-BE49-F238E27FC236}">
                  <a16:creationId xmlns:a16="http://schemas.microsoft.com/office/drawing/2014/main" id="{A77F4D01-2FE1-7271-BD26-4C03FD87328F}"/>
                </a:ext>
              </a:extLst>
            </p:cNvPr>
            <p:cNvSpPr/>
            <p:nvPr/>
          </p:nvSpPr>
          <p:spPr>
            <a:xfrm>
              <a:off x="947169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8" name="object 1458">
              <a:extLst>
                <a:ext uri="{FF2B5EF4-FFF2-40B4-BE49-F238E27FC236}">
                  <a16:creationId xmlns:a16="http://schemas.microsoft.com/office/drawing/2014/main" id="{4F11293E-3762-C861-B98E-4C7AA8785A5E}"/>
                </a:ext>
              </a:extLst>
            </p:cNvPr>
            <p:cNvSpPr/>
            <p:nvPr/>
          </p:nvSpPr>
          <p:spPr>
            <a:xfrm>
              <a:off x="929672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9" name="object 1459">
              <a:extLst>
                <a:ext uri="{FF2B5EF4-FFF2-40B4-BE49-F238E27FC236}">
                  <a16:creationId xmlns:a16="http://schemas.microsoft.com/office/drawing/2014/main" id="{28F02D7C-A0B5-3F13-81F9-00C5514BCEAB}"/>
                </a:ext>
              </a:extLst>
            </p:cNvPr>
            <p:cNvSpPr/>
            <p:nvPr/>
          </p:nvSpPr>
          <p:spPr>
            <a:xfrm>
              <a:off x="912174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0" name="object 1460">
              <a:extLst>
                <a:ext uri="{FF2B5EF4-FFF2-40B4-BE49-F238E27FC236}">
                  <a16:creationId xmlns:a16="http://schemas.microsoft.com/office/drawing/2014/main" id="{BF9036C9-2153-D10B-B478-C6E771CD86AA}"/>
                </a:ext>
              </a:extLst>
            </p:cNvPr>
            <p:cNvSpPr/>
            <p:nvPr/>
          </p:nvSpPr>
          <p:spPr>
            <a:xfrm>
              <a:off x="929672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1" name="object 1461">
              <a:extLst>
                <a:ext uri="{FF2B5EF4-FFF2-40B4-BE49-F238E27FC236}">
                  <a16:creationId xmlns:a16="http://schemas.microsoft.com/office/drawing/2014/main" id="{4FE13F23-3B29-B0BA-9170-D2E17F56DFAC}"/>
                </a:ext>
              </a:extLst>
            </p:cNvPr>
            <p:cNvSpPr/>
            <p:nvPr/>
          </p:nvSpPr>
          <p:spPr>
            <a:xfrm>
              <a:off x="9121743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2" name="object 1462">
              <a:extLst>
                <a:ext uri="{FF2B5EF4-FFF2-40B4-BE49-F238E27FC236}">
                  <a16:creationId xmlns:a16="http://schemas.microsoft.com/office/drawing/2014/main" id="{AD6623F9-C61C-A1E0-2C0C-C7457E77E3AB}"/>
                </a:ext>
              </a:extLst>
            </p:cNvPr>
            <p:cNvSpPr/>
            <p:nvPr/>
          </p:nvSpPr>
          <p:spPr>
            <a:xfrm>
              <a:off x="9401988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3" name="object 1463">
              <a:extLst>
                <a:ext uri="{FF2B5EF4-FFF2-40B4-BE49-F238E27FC236}">
                  <a16:creationId xmlns:a16="http://schemas.microsoft.com/office/drawing/2014/main" id="{4A2E3FF5-6A5E-A37A-4E45-3E64DECF3B95}"/>
                </a:ext>
              </a:extLst>
            </p:cNvPr>
            <p:cNvSpPr/>
            <p:nvPr/>
          </p:nvSpPr>
          <p:spPr>
            <a:xfrm>
              <a:off x="9437019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4" name="object 1464">
              <a:extLst>
                <a:ext uri="{FF2B5EF4-FFF2-40B4-BE49-F238E27FC236}">
                  <a16:creationId xmlns:a16="http://schemas.microsoft.com/office/drawing/2014/main" id="{D35B0CB0-6E3B-07E6-8238-C8382212B9EA}"/>
                </a:ext>
              </a:extLst>
            </p:cNvPr>
            <p:cNvSpPr/>
            <p:nvPr/>
          </p:nvSpPr>
          <p:spPr>
            <a:xfrm>
              <a:off x="933194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5" name="object 1465">
              <a:extLst>
                <a:ext uri="{FF2B5EF4-FFF2-40B4-BE49-F238E27FC236}">
                  <a16:creationId xmlns:a16="http://schemas.microsoft.com/office/drawing/2014/main" id="{A6CAEDAA-24CC-4EE2-DED9-58A065FE6728}"/>
                </a:ext>
              </a:extLst>
            </p:cNvPr>
            <p:cNvSpPr/>
            <p:nvPr/>
          </p:nvSpPr>
          <p:spPr>
            <a:xfrm>
              <a:off x="9226881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6" name="object 1466">
              <a:extLst>
                <a:ext uri="{FF2B5EF4-FFF2-40B4-BE49-F238E27FC236}">
                  <a16:creationId xmlns:a16="http://schemas.microsoft.com/office/drawing/2014/main" id="{FD538AEA-E0A5-1C99-2113-828209381FAB}"/>
                </a:ext>
              </a:extLst>
            </p:cNvPr>
            <p:cNvSpPr/>
            <p:nvPr/>
          </p:nvSpPr>
          <p:spPr>
            <a:xfrm>
              <a:off x="926197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7" name="object 1467">
              <a:extLst>
                <a:ext uri="{FF2B5EF4-FFF2-40B4-BE49-F238E27FC236}">
                  <a16:creationId xmlns:a16="http://schemas.microsoft.com/office/drawing/2014/main" id="{D8F5F122-7F86-9DE0-A1BF-13BA92920028}"/>
                </a:ext>
              </a:extLst>
            </p:cNvPr>
            <p:cNvSpPr/>
            <p:nvPr/>
          </p:nvSpPr>
          <p:spPr>
            <a:xfrm>
              <a:off x="9156838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8" name="object 1468">
              <a:extLst>
                <a:ext uri="{FF2B5EF4-FFF2-40B4-BE49-F238E27FC236}">
                  <a16:creationId xmlns:a16="http://schemas.microsoft.com/office/drawing/2014/main" id="{E030BF96-6327-1678-1A8D-E4FB72560EC5}"/>
                </a:ext>
              </a:extLst>
            </p:cNvPr>
            <p:cNvSpPr/>
            <p:nvPr/>
          </p:nvSpPr>
          <p:spPr>
            <a:xfrm>
              <a:off x="9366976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9" name="object 1469">
              <a:extLst>
                <a:ext uri="{FF2B5EF4-FFF2-40B4-BE49-F238E27FC236}">
                  <a16:creationId xmlns:a16="http://schemas.microsoft.com/office/drawing/2014/main" id="{18ACB89B-8ADE-8509-59A9-FBDE26B24B07}"/>
                </a:ext>
              </a:extLst>
            </p:cNvPr>
            <p:cNvSpPr/>
            <p:nvPr/>
          </p:nvSpPr>
          <p:spPr>
            <a:xfrm>
              <a:off x="9191859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0" name="object 1470">
              <a:extLst>
                <a:ext uri="{FF2B5EF4-FFF2-40B4-BE49-F238E27FC236}">
                  <a16:creationId xmlns:a16="http://schemas.microsoft.com/office/drawing/2014/main" id="{82F3A8B2-9945-14DC-C8D6-9EE0B0DCB723}"/>
                </a:ext>
              </a:extLst>
            </p:cNvPr>
            <p:cNvSpPr/>
            <p:nvPr/>
          </p:nvSpPr>
          <p:spPr>
            <a:xfrm>
              <a:off x="9472041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1" name="object 1471">
              <a:extLst>
                <a:ext uri="{FF2B5EF4-FFF2-40B4-BE49-F238E27FC236}">
                  <a16:creationId xmlns:a16="http://schemas.microsoft.com/office/drawing/2014/main" id="{A692F598-827B-3F5D-33E1-277DDBC76999}"/>
                </a:ext>
              </a:extLst>
            </p:cNvPr>
            <p:cNvSpPr/>
            <p:nvPr/>
          </p:nvSpPr>
          <p:spPr>
            <a:xfrm>
              <a:off x="9297070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2" name="object 1472">
              <a:extLst>
                <a:ext uri="{FF2B5EF4-FFF2-40B4-BE49-F238E27FC236}">
                  <a16:creationId xmlns:a16="http://schemas.microsoft.com/office/drawing/2014/main" id="{BCFFEBAA-E265-42C0-5700-327B0E4264F0}"/>
                </a:ext>
              </a:extLst>
            </p:cNvPr>
            <p:cNvSpPr/>
            <p:nvPr/>
          </p:nvSpPr>
          <p:spPr>
            <a:xfrm>
              <a:off x="9122090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3" name="object 1473">
              <a:extLst>
                <a:ext uri="{FF2B5EF4-FFF2-40B4-BE49-F238E27FC236}">
                  <a16:creationId xmlns:a16="http://schemas.microsoft.com/office/drawing/2014/main" id="{8598A5E8-4FAC-3804-64B4-E9FACC0C692E}"/>
                </a:ext>
              </a:extLst>
            </p:cNvPr>
            <p:cNvSpPr/>
            <p:nvPr/>
          </p:nvSpPr>
          <p:spPr>
            <a:xfrm>
              <a:off x="9122090" y="417084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4" name="object 1474">
              <a:extLst>
                <a:ext uri="{FF2B5EF4-FFF2-40B4-BE49-F238E27FC236}">
                  <a16:creationId xmlns:a16="http://schemas.microsoft.com/office/drawing/2014/main" id="{9EC1320B-1B67-C584-C3EF-48D64E61E257}"/>
                </a:ext>
              </a:extLst>
            </p:cNvPr>
            <p:cNvSpPr/>
            <p:nvPr/>
          </p:nvSpPr>
          <p:spPr>
            <a:xfrm>
              <a:off x="9122228" y="4145340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23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5" name="object 1475">
              <a:extLst>
                <a:ext uri="{FF2B5EF4-FFF2-40B4-BE49-F238E27FC236}">
                  <a16:creationId xmlns:a16="http://schemas.microsoft.com/office/drawing/2014/main" id="{397136B2-BF37-B682-252E-2B950D9E6A2C}"/>
                </a:ext>
              </a:extLst>
            </p:cNvPr>
            <p:cNvSpPr/>
            <p:nvPr/>
          </p:nvSpPr>
          <p:spPr>
            <a:xfrm>
              <a:off x="9122228" y="4217642"/>
              <a:ext cx="739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19"/>
                <a:gd name="f4" fmla="val 84454"/>
                <a:gd name="f5" fmla="val 121409"/>
                <a:gd name="f6" fmla="val 84123"/>
                <a:gd name="f7" fmla="*/ f0 1 121919"/>
                <a:gd name="f8" fmla="*/ f1 1 84454"/>
                <a:gd name="f9" fmla="+- f4 0 f2"/>
                <a:gd name="f10" fmla="+- f3 0 f2"/>
                <a:gd name="f11" fmla="*/ f10 1 1219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19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6" name="object 1476">
              <a:extLst>
                <a:ext uri="{FF2B5EF4-FFF2-40B4-BE49-F238E27FC236}">
                  <a16:creationId xmlns:a16="http://schemas.microsoft.com/office/drawing/2014/main" id="{985AAABA-527C-9418-FAB7-28F316A3DA30}"/>
                </a:ext>
              </a:extLst>
            </p:cNvPr>
            <p:cNvSpPr/>
            <p:nvPr/>
          </p:nvSpPr>
          <p:spPr>
            <a:xfrm>
              <a:off x="9401650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7" name="object 1477">
              <a:extLst>
                <a:ext uri="{FF2B5EF4-FFF2-40B4-BE49-F238E27FC236}">
                  <a16:creationId xmlns:a16="http://schemas.microsoft.com/office/drawing/2014/main" id="{87E13CBF-5EA2-3E35-E7EE-1FB0582AB3F1}"/>
                </a:ext>
              </a:extLst>
            </p:cNvPr>
            <p:cNvSpPr/>
            <p:nvPr/>
          </p:nvSpPr>
          <p:spPr>
            <a:xfrm>
              <a:off x="9436672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8" name="object 1478">
              <a:extLst>
                <a:ext uri="{FF2B5EF4-FFF2-40B4-BE49-F238E27FC236}">
                  <a16:creationId xmlns:a16="http://schemas.microsoft.com/office/drawing/2014/main" id="{7F522E4B-8AD3-05E7-B774-A87A8A111AA5}"/>
                </a:ext>
              </a:extLst>
            </p:cNvPr>
            <p:cNvSpPr/>
            <p:nvPr/>
          </p:nvSpPr>
          <p:spPr>
            <a:xfrm>
              <a:off x="9331607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9" name="object 1479">
              <a:extLst>
                <a:ext uri="{FF2B5EF4-FFF2-40B4-BE49-F238E27FC236}">
                  <a16:creationId xmlns:a16="http://schemas.microsoft.com/office/drawing/2014/main" id="{F4141899-B5F5-88D9-3AF7-98388B6D31E6}"/>
                </a:ext>
              </a:extLst>
            </p:cNvPr>
            <p:cNvSpPr/>
            <p:nvPr/>
          </p:nvSpPr>
          <p:spPr>
            <a:xfrm>
              <a:off x="9226533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0" name="object 1480">
              <a:extLst>
                <a:ext uri="{FF2B5EF4-FFF2-40B4-BE49-F238E27FC236}">
                  <a16:creationId xmlns:a16="http://schemas.microsoft.com/office/drawing/2014/main" id="{BBCD41EE-F81B-A519-BB9E-38148AAC0B75}"/>
                </a:ext>
              </a:extLst>
            </p:cNvPr>
            <p:cNvSpPr/>
            <p:nvPr/>
          </p:nvSpPr>
          <p:spPr>
            <a:xfrm>
              <a:off x="9261628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1" name="object 1481">
              <a:extLst>
                <a:ext uri="{FF2B5EF4-FFF2-40B4-BE49-F238E27FC236}">
                  <a16:creationId xmlns:a16="http://schemas.microsoft.com/office/drawing/2014/main" id="{A4170A02-209A-4E33-D7A3-9E4DE92F28F8}"/>
                </a:ext>
              </a:extLst>
            </p:cNvPr>
            <p:cNvSpPr/>
            <p:nvPr/>
          </p:nvSpPr>
          <p:spPr>
            <a:xfrm>
              <a:off x="9156490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2" name="object 1482">
              <a:extLst>
                <a:ext uri="{FF2B5EF4-FFF2-40B4-BE49-F238E27FC236}">
                  <a16:creationId xmlns:a16="http://schemas.microsoft.com/office/drawing/2014/main" id="{D57B6525-F70E-EA27-919C-FBC748D22E3C}"/>
                </a:ext>
              </a:extLst>
            </p:cNvPr>
            <p:cNvSpPr/>
            <p:nvPr/>
          </p:nvSpPr>
          <p:spPr>
            <a:xfrm>
              <a:off x="9366628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3" name="object 1483">
              <a:extLst>
                <a:ext uri="{FF2B5EF4-FFF2-40B4-BE49-F238E27FC236}">
                  <a16:creationId xmlns:a16="http://schemas.microsoft.com/office/drawing/2014/main" id="{FA702C6F-39CF-AC66-83D7-BE356A158C84}"/>
                </a:ext>
              </a:extLst>
            </p:cNvPr>
            <p:cNvSpPr/>
            <p:nvPr/>
          </p:nvSpPr>
          <p:spPr>
            <a:xfrm>
              <a:off x="9191512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4" name="object 1484">
              <a:extLst>
                <a:ext uri="{FF2B5EF4-FFF2-40B4-BE49-F238E27FC236}">
                  <a16:creationId xmlns:a16="http://schemas.microsoft.com/office/drawing/2014/main" id="{249C3469-49EC-83C0-4250-3B74CA3E230A}"/>
                </a:ext>
              </a:extLst>
            </p:cNvPr>
            <p:cNvSpPr/>
            <p:nvPr/>
          </p:nvSpPr>
          <p:spPr>
            <a:xfrm>
              <a:off x="947169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5" name="object 1485">
              <a:extLst>
                <a:ext uri="{FF2B5EF4-FFF2-40B4-BE49-F238E27FC236}">
                  <a16:creationId xmlns:a16="http://schemas.microsoft.com/office/drawing/2014/main" id="{68C51FAE-F468-0A44-471D-6C91E6837BCD}"/>
                </a:ext>
              </a:extLst>
            </p:cNvPr>
            <p:cNvSpPr/>
            <p:nvPr/>
          </p:nvSpPr>
          <p:spPr>
            <a:xfrm>
              <a:off x="929672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6" name="object 1486">
              <a:extLst>
                <a:ext uri="{FF2B5EF4-FFF2-40B4-BE49-F238E27FC236}">
                  <a16:creationId xmlns:a16="http://schemas.microsoft.com/office/drawing/2014/main" id="{C1957A49-B30B-A2E4-1126-86971A5B99C3}"/>
                </a:ext>
              </a:extLst>
            </p:cNvPr>
            <p:cNvSpPr/>
            <p:nvPr/>
          </p:nvSpPr>
          <p:spPr>
            <a:xfrm>
              <a:off x="912174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7" name="object 1487">
              <a:extLst>
                <a:ext uri="{FF2B5EF4-FFF2-40B4-BE49-F238E27FC236}">
                  <a16:creationId xmlns:a16="http://schemas.microsoft.com/office/drawing/2014/main" id="{57A850E6-92B1-A6E8-2DE0-734E02FD29B8}"/>
                </a:ext>
              </a:extLst>
            </p:cNvPr>
            <p:cNvSpPr/>
            <p:nvPr/>
          </p:nvSpPr>
          <p:spPr>
            <a:xfrm>
              <a:off x="929672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8" name="object 1488">
              <a:extLst>
                <a:ext uri="{FF2B5EF4-FFF2-40B4-BE49-F238E27FC236}">
                  <a16:creationId xmlns:a16="http://schemas.microsoft.com/office/drawing/2014/main" id="{E1720CE5-2FBF-EF6A-274A-2A2BC6FC9526}"/>
                </a:ext>
              </a:extLst>
            </p:cNvPr>
            <p:cNvSpPr/>
            <p:nvPr/>
          </p:nvSpPr>
          <p:spPr>
            <a:xfrm>
              <a:off x="9121743" y="424314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89" name="object 1489">
              <a:extLst>
                <a:ext uri="{FF2B5EF4-FFF2-40B4-BE49-F238E27FC236}">
                  <a16:creationId xmlns:a16="http://schemas.microsoft.com/office/drawing/2014/main" id="{70112FB5-EC21-DC57-F342-81E2E49553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/>
            <a:stretch>
              <a:fillRect/>
            </a:stretch>
          </p:blipFill>
          <p:spPr>
            <a:xfrm>
              <a:off x="9944676" y="3636550"/>
              <a:ext cx="346694" cy="34669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90" name="object 1490">
              <a:extLst>
                <a:ext uri="{FF2B5EF4-FFF2-40B4-BE49-F238E27FC236}">
                  <a16:creationId xmlns:a16="http://schemas.microsoft.com/office/drawing/2014/main" id="{DCA432E2-ACA2-6A97-F1F0-5AFF83D4741C}"/>
                </a:ext>
              </a:extLst>
            </p:cNvPr>
            <p:cNvSpPr/>
            <p:nvPr/>
          </p:nvSpPr>
          <p:spPr>
            <a:xfrm>
              <a:off x="9944676" y="3636550"/>
              <a:ext cx="346941" cy="34694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2134"/>
                <a:gd name="f4" fmla="val 285865"/>
                <a:gd name="f5" fmla="val 3741"/>
                <a:gd name="f6" fmla="val 332231"/>
                <a:gd name="f7" fmla="val 14573"/>
                <a:gd name="f8" fmla="val 376215"/>
                <a:gd name="f9" fmla="val 31907"/>
                <a:gd name="f10" fmla="val 417228"/>
                <a:gd name="f11" fmla="val 55155"/>
                <a:gd name="f12" fmla="val 454682"/>
                <a:gd name="f13" fmla="val 83727"/>
                <a:gd name="f14" fmla="val 487989"/>
                <a:gd name="f15" fmla="val 117036"/>
                <a:gd name="f16" fmla="val 516559"/>
                <a:gd name="f17" fmla="val 154493"/>
                <a:gd name="f18" fmla="val 539805"/>
                <a:gd name="f19" fmla="val 195509"/>
                <a:gd name="f20" fmla="val 557137"/>
                <a:gd name="f21" fmla="val 239496"/>
                <a:gd name="f22" fmla="val 567969"/>
                <a:gd name="f23" fmla="val 571710"/>
                <a:gd name="f24" fmla="val 376216"/>
                <a:gd name="f25" fmla="val 417230"/>
                <a:gd name="f26" fmla="val 454686"/>
                <a:gd name="f27" fmla="val 487994"/>
                <a:gd name="f28" fmla="val 516566"/>
                <a:gd name="f29" fmla="val 539813"/>
                <a:gd name="f30" fmla="val 557147"/>
                <a:gd name="f31" fmla="val 567979"/>
                <a:gd name="f32" fmla="val 571720"/>
                <a:gd name="f33" fmla="*/ f0 1 572134"/>
                <a:gd name="f34" fmla="*/ f1 1 572134"/>
                <a:gd name="f35" fmla="+- f3 0 f2"/>
                <a:gd name="f36" fmla="*/ f35 1 572134"/>
                <a:gd name="f37" fmla="*/ f2 1 f36"/>
                <a:gd name="f38" fmla="*/ f3 1 f36"/>
                <a:gd name="f39" fmla="*/ f37 f33 1"/>
                <a:gd name="f40" fmla="*/ f38 f33 1"/>
                <a:gd name="f41" fmla="*/ f38 f34 1"/>
                <a:gd name="f42" fmla="*/ f37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9" t="f42" r="f40" b="f41"/>
              <a:pathLst>
                <a:path w="572134" h="572134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4" y="f23"/>
                  </a:lnTo>
                  <a:lnTo>
                    <a:pt x="f6" y="f22"/>
                  </a:lnTo>
                  <a:lnTo>
                    <a:pt x="f24" y="f20"/>
                  </a:lnTo>
                  <a:lnTo>
                    <a:pt x="f25" y="f18"/>
                  </a:lnTo>
                  <a:lnTo>
                    <a:pt x="f26" y="f16"/>
                  </a:lnTo>
                  <a:lnTo>
                    <a:pt x="f27" y="f14"/>
                  </a:lnTo>
                  <a:lnTo>
                    <a:pt x="f28" y="f12"/>
                  </a:lnTo>
                  <a:lnTo>
                    <a:pt x="f29" y="f10"/>
                  </a:lnTo>
                  <a:lnTo>
                    <a:pt x="f30" y="f8"/>
                  </a:lnTo>
                  <a:lnTo>
                    <a:pt x="f31" y="f6"/>
                  </a:lnTo>
                  <a:lnTo>
                    <a:pt x="f32" y="f4"/>
                  </a:lnTo>
                  <a:lnTo>
                    <a:pt x="f31" y="f21"/>
                  </a:lnTo>
                  <a:lnTo>
                    <a:pt x="f30" y="f19"/>
                  </a:lnTo>
                  <a:lnTo>
                    <a:pt x="f29" y="f17"/>
                  </a:lnTo>
                  <a:lnTo>
                    <a:pt x="f28" y="f15"/>
                  </a:lnTo>
                  <a:lnTo>
                    <a:pt x="f27" y="f13"/>
                  </a:lnTo>
                  <a:lnTo>
                    <a:pt x="f26" y="f11"/>
                  </a:lnTo>
                  <a:lnTo>
                    <a:pt x="f25" y="f9"/>
                  </a:lnTo>
                  <a:lnTo>
                    <a:pt x="f24" y="f7"/>
                  </a:lnTo>
                  <a:lnTo>
                    <a:pt x="f6" y="f5"/>
                  </a:lnTo>
                  <a:lnTo>
                    <a:pt x="f4" y="f2"/>
                  </a:lnTo>
                  <a:lnTo>
                    <a:pt x="f21" y="f5"/>
                  </a:lnTo>
                  <a:lnTo>
                    <a:pt x="f19" y="f7"/>
                  </a:lnTo>
                  <a:lnTo>
                    <a:pt x="f17" y="f9"/>
                  </a:lnTo>
                  <a:lnTo>
                    <a:pt x="f15" y="f11"/>
                  </a:lnTo>
                  <a:lnTo>
                    <a:pt x="f13" y="f13"/>
                  </a:lnTo>
                  <a:lnTo>
                    <a:pt x="f11" y="f15"/>
                  </a:lnTo>
                  <a:lnTo>
                    <a:pt x="f9" y="f17"/>
                  </a:lnTo>
                  <a:lnTo>
                    <a:pt x="f7" y="f19"/>
                  </a:lnTo>
                  <a:lnTo>
                    <a:pt x="f5" y="f21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91" name="object 1491">
              <a:extLst>
                <a:ext uri="{FF2B5EF4-FFF2-40B4-BE49-F238E27FC236}">
                  <a16:creationId xmlns:a16="http://schemas.microsoft.com/office/drawing/2014/main" id="{5A2A4E46-728F-5B97-1482-DE936144E3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9943039" y="1317065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92" name="object 1492">
              <a:extLst>
                <a:ext uri="{FF2B5EF4-FFF2-40B4-BE49-F238E27FC236}">
                  <a16:creationId xmlns:a16="http://schemas.microsoft.com/office/drawing/2014/main" id="{D221A262-96AE-03E0-3BB1-7820EB8AAB76}"/>
                </a:ext>
              </a:extLst>
            </p:cNvPr>
            <p:cNvSpPr/>
            <p:nvPr/>
          </p:nvSpPr>
          <p:spPr>
            <a:xfrm>
              <a:off x="9943048" y="131706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93" name="object 1493">
              <a:extLst>
                <a:ext uri="{FF2B5EF4-FFF2-40B4-BE49-F238E27FC236}">
                  <a16:creationId xmlns:a16="http://schemas.microsoft.com/office/drawing/2014/main" id="{C1A05BB6-2806-5A2F-821A-E33C4DB88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>
              <a:off x="9943039" y="2100349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94" name="object 1494">
              <a:extLst>
                <a:ext uri="{FF2B5EF4-FFF2-40B4-BE49-F238E27FC236}">
                  <a16:creationId xmlns:a16="http://schemas.microsoft.com/office/drawing/2014/main" id="{E2A9AC17-3B7E-CB0D-08D7-0813FF97F376}"/>
                </a:ext>
              </a:extLst>
            </p:cNvPr>
            <p:cNvSpPr/>
            <p:nvPr/>
          </p:nvSpPr>
          <p:spPr>
            <a:xfrm>
              <a:off x="9943048" y="210035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95" name="object 1495">
              <a:extLst>
                <a:ext uri="{FF2B5EF4-FFF2-40B4-BE49-F238E27FC236}">
                  <a16:creationId xmlns:a16="http://schemas.microsoft.com/office/drawing/2014/main" id="{E3F03F8E-ABCC-E391-A652-067A125EC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9943039" y="560490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96" name="object 1496">
              <a:extLst>
                <a:ext uri="{FF2B5EF4-FFF2-40B4-BE49-F238E27FC236}">
                  <a16:creationId xmlns:a16="http://schemas.microsoft.com/office/drawing/2014/main" id="{E07C5190-B0BA-34CD-C66F-049F6BA6B4C0}"/>
                </a:ext>
              </a:extLst>
            </p:cNvPr>
            <p:cNvSpPr/>
            <p:nvPr/>
          </p:nvSpPr>
          <p:spPr>
            <a:xfrm>
              <a:off x="9943048" y="56049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97" name="object 1497">
              <a:extLst>
                <a:ext uri="{FF2B5EF4-FFF2-40B4-BE49-F238E27FC236}">
                  <a16:creationId xmlns:a16="http://schemas.microsoft.com/office/drawing/2014/main" id="{A959AE53-AE1D-010F-171C-096F584D9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/>
            <a:stretch>
              <a:fillRect/>
            </a:stretch>
          </p:blipFill>
          <p:spPr>
            <a:xfrm>
              <a:off x="9123334" y="2885754"/>
              <a:ext cx="349931" cy="27756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98" name="object 1498">
              <a:extLst>
                <a:ext uri="{FF2B5EF4-FFF2-40B4-BE49-F238E27FC236}">
                  <a16:creationId xmlns:a16="http://schemas.microsoft.com/office/drawing/2014/main" id="{155986CC-6CC1-9CE6-E755-2F426E5CF590}"/>
                </a:ext>
              </a:extLst>
            </p:cNvPr>
            <p:cNvSpPr/>
            <p:nvPr/>
          </p:nvSpPr>
          <p:spPr>
            <a:xfrm>
              <a:off x="9123325" y="285590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99" name="object 1499">
              <a:extLst>
                <a:ext uri="{FF2B5EF4-FFF2-40B4-BE49-F238E27FC236}">
                  <a16:creationId xmlns:a16="http://schemas.microsoft.com/office/drawing/2014/main" id="{92DE3183-ED9C-7DE4-D3B2-704D4B9471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/>
            <a:stretch>
              <a:fillRect/>
            </a:stretch>
          </p:blipFill>
          <p:spPr>
            <a:xfrm>
              <a:off x="9125318" y="4435434"/>
              <a:ext cx="341665" cy="25624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00" name="object 1500">
              <a:extLst>
                <a:ext uri="{FF2B5EF4-FFF2-40B4-BE49-F238E27FC236}">
                  <a16:creationId xmlns:a16="http://schemas.microsoft.com/office/drawing/2014/main" id="{1A79EF53-0511-B0F6-392E-8B4FD5726CDC}"/>
                </a:ext>
              </a:extLst>
            </p:cNvPr>
            <p:cNvSpPr/>
            <p:nvPr/>
          </p:nvSpPr>
          <p:spPr>
            <a:xfrm>
              <a:off x="9125135" y="438536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501" name="object 1501">
              <a:extLst>
                <a:ext uri="{FF2B5EF4-FFF2-40B4-BE49-F238E27FC236}">
                  <a16:creationId xmlns:a16="http://schemas.microsoft.com/office/drawing/2014/main" id="{27851D26-5E02-6A47-366C-31C9A4D68F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/>
            <a:stretch>
              <a:fillRect/>
            </a:stretch>
          </p:blipFill>
          <p:spPr>
            <a:xfrm>
              <a:off x="9162251" y="3664393"/>
              <a:ext cx="267791" cy="26779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02" name="object 1502">
              <a:extLst>
                <a:ext uri="{FF2B5EF4-FFF2-40B4-BE49-F238E27FC236}">
                  <a16:creationId xmlns:a16="http://schemas.microsoft.com/office/drawing/2014/main" id="{2725202D-8887-A2B0-D664-91597946C7C6}"/>
                </a:ext>
              </a:extLst>
            </p:cNvPr>
            <p:cNvSpPr/>
            <p:nvPr/>
          </p:nvSpPr>
          <p:spPr>
            <a:xfrm>
              <a:off x="9126096" y="362879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503" name="object 1503">
              <a:extLst>
                <a:ext uri="{FF2B5EF4-FFF2-40B4-BE49-F238E27FC236}">
                  <a16:creationId xmlns:a16="http://schemas.microsoft.com/office/drawing/2014/main" id="{8F5DE956-0038-D7B5-1C44-344F34DBF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9943386" y="4388370"/>
              <a:ext cx="349940" cy="34900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04" name="object 1504">
              <a:extLst>
                <a:ext uri="{FF2B5EF4-FFF2-40B4-BE49-F238E27FC236}">
                  <a16:creationId xmlns:a16="http://schemas.microsoft.com/office/drawing/2014/main" id="{767D6D2C-A7E7-795E-49F3-8D36C999AC1F}"/>
                </a:ext>
              </a:extLst>
            </p:cNvPr>
            <p:cNvSpPr/>
            <p:nvPr/>
          </p:nvSpPr>
          <p:spPr>
            <a:xfrm>
              <a:off x="9943386" y="438743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05" name="object 1505">
            <a:extLst>
              <a:ext uri="{FF2B5EF4-FFF2-40B4-BE49-F238E27FC236}">
                <a16:creationId xmlns:a16="http://schemas.microsoft.com/office/drawing/2014/main" id="{2EECBE4F-C193-4A86-9373-55834D939311}"/>
              </a:ext>
            </a:extLst>
          </p:cNvPr>
          <p:cNvGrpSpPr/>
          <p:nvPr/>
        </p:nvGrpSpPr>
        <p:grpSpPr>
          <a:xfrm>
            <a:off x="5834987" y="5918993"/>
            <a:ext cx="350023" cy="350023"/>
            <a:chOff x="5834987" y="5918993"/>
            <a:chExt cx="350023" cy="350023"/>
          </a:xfrm>
        </p:grpSpPr>
        <p:pic>
          <p:nvPicPr>
            <p:cNvPr id="1506" name="object 1506">
              <a:extLst>
                <a:ext uri="{FF2B5EF4-FFF2-40B4-BE49-F238E27FC236}">
                  <a16:creationId xmlns:a16="http://schemas.microsoft.com/office/drawing/2014/main" id="{1774B05C-A73C-1AE5-3AF5-33EA0A2B0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/>
            <a:stretch>
              <a:fillRect/>
            </a:stretch>
          </p:blipFill>
          <p:spPr>
            <a:xfrm>
              <a:off x="5834987" y="5919094"/>
              <a:ext cx="349940" cy="34973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07" name="object 1507">
              <a:extLst>
                <a:ext uri="{FF2B5EF4-FFF2-40B4-BE49-F238E27FC236}">
                  <a16:creationId xmlns:a16="http://schemas.microsoft.com/office/drawing/2014/main" id="{61CFFC49-9C83-2547-D8E2-7525936C9C53}"/>
                </a:ext>
              </a:extLst>
            </p:cNvPr>
            <p:cNvSpPr/>
            <p:nvPr/>
          </p:nvSpPr>
          <p:spPr>
            <a:xfrm>
              <a:off x="5834987" y="591899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1508" name="object 1508">
            <a:extLst>
              <a:ext uri="{FF2B5EF4-FFF2-40B4-BE49-F238E27FC236}">
                <a16:creationId xmlns:a16="http://schemas.microsoft.com/office/drawing/2014/main" id="{864BB45A-3135-604B-09CA-06A22DCC33FF}"/>
              </a:ext>
            </a:extLst>
          </p:cNvPr>
          <p:cNvSpPr txBox="1"/>
          <p:nvPr/>
        </p:nvSpPr>
        <p:spPr>
          <a:xfrm>
            <a:off x="2540120" y="3242325"/>
            <a:ext cx="456303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-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lement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polystyrene+</a:t>
            </a:r>
            <a:r>
              <a:rPr lang="en-US" sz="334" b="0" i="0" u="none" strike="noStrike" kern="1200" cap="none" spc="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grpSp>
        <p:nvGrpSpPr>
          <p:cNvPr id="1509" name="object 1509">
            <a:extLst>
              <a:ext uri="{FF2B5EF4-FFF2-40B4-BE49-F238E27FC236}">
                <a16:creationId xmlns:a16="http://schemas.microsoft.com/office/drawing/2014/main" id="{61254734-8FF1-45AE-5CEF-D6AC86B99400}"/>
              </a:ext>
            </a:extLst>
          </p:cNvPr>
          <p:cNvGrpSpPr/>
          <p:nvPr/>
        </p:nvGrpSpPr>
        <p:grpSpPr>
          <a:xfrm>
            <a:off x="2547829" y="3378909"/>
            <a:ext cx="350023" cy="124257"/>
            <a:chOff x="2547829" y="3378909"/>
            <a:chExt cx="350023" cy="124257"/>
          </a:xfrm>
        </p:grpSpPr>
        <p:sp>
          <p:nvSpPr>
            <p:cNvPr id="1510" name="object 1510">
              <a:extLst>
                <a:ext uri="{FF2B5EF4-FFF2-40B4-BE49-F238E27FC236}">
                  <a16:creationId xmlns:a16="http://schemas.microsoft.com/office/drawing/2014/main" id="{585FA5AB-69CD-41C8-1C98-C55F6821F23A}"/>
                </a:ext>
              </a:extLst>
            </p:cNvPr>
            <p:cNvSpPr/>
            <p:nvPr/>
          </p:nvSpPr>
          <p:spPr>
            <a:xfrm>
              <a:off x="2547838" y="3379028"/>
              <a:ext cx="11590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1135"/>
                <a:gd name="f4" fmla="val 84454"/>
                <a:gd name="f5" fmla="val 190968"/>
                <a:gd name="f6" fmla="val 84123"/>
                <a:gd name="f7" fmla="*/ f0 1 191135"/>
                <a:gd name="f8" fmla="*/ f1 1 84454"/>
                <a:gd name="f9" fmla="+- f4 0 f2"/>
                <a:gd name="f10" fmla="+- f3 0 f2"/>
                <a:gd name="f11" fmla="*/ f10 1 1911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11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1" name="object 1511">
              <a:extLst>
                <a:ext uri="{FF2B5EF4-FFF2-40B4-BE49-F238E27FC236}">
                  <a16:creationId xmlns:a16="http://schemas.microsoft.com/office/drawing/2014/main" id="{9D955BDE-8642-7B10-B23C-1019428E4324}"/>
                </a:ext>
              </a:extLst>
            </p:cNvPr>
            <p:cNvSpPr/>
            <p:nvPr/>
          </p:nvSpPr>
          <p:spPr>
            <a:xfrm>
              <a:off x="2652619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2" name="object 1512">
              <a:extLst>
                <a:ext uri="{FF2B5EF4-FFF2-40B4-BE49-F238E27FC236}">
                  <a16:creationId xmlns:a16="http://schemas.microsoft.com/office/drawing/2014/main" id="{A757A2E7-D985-49E1-0B20-496213BC59BE}"/>
                </a:ext>
              </a:extLst>
            </p:cNvPr>
            <p:cNvSpPr/>
            <p:nvPr/>
          </p:nvSpPr>
          <p:spPr>
            <a:xfrm>
              <a:off x="2687714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3" name="object 1513">
              <a:extLst>
                <a:ext uri="{FF2B5EF4-FFF2-40B4-BE49-F238E27FC236}">
                  <a16:creationId xmlns:a16="http://schemas.microsoft.com/office/drawing/2014/main" id="{D4848E2F-5BF3-970C-5E57-A7C89FD7C986}"/>
                </a:ext>
              </a:extLst>
            </p:cNvPr>
            <p:cNvSpPr/>
            <p:nvPr/>
          </p:nvSpPr>
          <p:spPr>
            <a:xfrm>
              <a:off x="2582576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4" name="object 1514">
              <a:extLst>
                <a:ext uri="{FF2B5EF4-FFF2-40B4-BE49-F238E27FC236}">
                  <a16:creationId xmlns:a16="http://schemas.microsoft.com/office/drawing/2014/main" id="{0E7B86B8-D07F-C3CD-2D36-796980A2C588}"/>
                </a:ext>
              </a:extLst>
            </p:cNvPr>
            <p:cNvSpPr/>
            <p:nvPr/>
          </p:nvSpPr>
          <p:spPr>
            <a:xfrm>
              <a:off x="2617598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5" name="object 1515">
              <a:extLst>
                <a:ext uri="{FF2B5EF4-FFF2-40B4-BE49-F238E27FC236}">
                  <a16:creationId xmlns:a16="http://schemas.microsoft.com/office/drawing/2014/main" id="{FD2105EC-4F44-1218-2D90-34CEF41AD3FC}"/>
                </a:ext>
              </a:extLst>
            </p:cNvPr>
            <p:cNvSpPr/>
            <p:nvPr/>
          </p:nvSpPr>
          <p:spPr>
            <a:xfrm>
              <a:off x="2547838" y="33789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6" name="object 1516">
              <a:extLst>
                <a:ext uri="{FF2B5EF4-FFF2-40B4-BE49-F238E27FC236}">
                  <a16:creationId xmlns:a16="http://schemas.microsoft.com/office/drawing/2014/main" id="{E0E7119D-83C8-EC8B-66E8-4588121F9633}"/>
                </a:ext>
              </a:extLst>
            </p:cNvPr>
            <p:cNvSpPr/>
            <p:nvPr/>
          </p:nvSpPr>
          <p:spPr>
            <a:xfrm>
              <a:off x="2827736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7" name="object 1517">
              <a:extLst>
                <a:ext uri="{FF2B5EF4-FFF2-40B4-BE49-F238E27FC236}">
                  <a16:creationId xmlns:a16="http://schemas.microsoft.com/office/drawing/2014/main" id="{5A004F12-2B7E-1A64-DA24-EFD29CFA1B5C}"/>
                </a:ext>
              </a:extLst>
            </p:cNvPr>
            <p:cNvSpPr/>
            <p:nvPr/>
          </p:nvSpPr>
          <p:spPr>
            <a:xfrm>
              <a:off x="2862757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8" name="object 1518">
              <a:extLst>
                <a:ext uri="{FF2B5EF4-FFF2-40B4-BE49-F238E27FC236}">
                  <a16:creationId xmlns:a16="http://schemas.microsoft.com/office/drawing/2014/main" id="{F61DB34D-5942-9269-6AE7-5F0EE5074696}"/>
                </a:ext>
              </a:extLst>
            </p:cNvPr>
            <p:cNvSpPr/>
            <p:nvPr/>
          </p:nvSpPr>
          <p:spPr>
            <a:xfrm>
              <a:off x="2757693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9" name="object 1519">
              <a:extLst>
                <a:ext uri="{FF2B5EF4-FFF2-40B4-BE49-F238E27FC236}">
                  <a16:creationId xmlns:a16="http://schemas.microsoft.com/office/drawing/2014/main" id="{80ABB5FD-4818-5BDD-0017-1F5F415F868A}"/>
                </a:ext>
              </a:extLst>
            </p:cNvPr>
            <p:cNvSpPr/>
            <p:nvPr/>
          </p:nvSpPr>
          <p:spPr>
            <a:xfrm>
              <a:off x="2792714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0" name="object 1520">
              <a:extLst>
                <a:ext uri="{FF2B5EF4-FFF2-40B4-BE49-F238E27FC236}">
                  <a16:creationId xmlns:a16="http://schemas.microsoft.com/office/drawing/2014/main" id="{FBCB289C-5896-80A1-9C5D-096FA1CB65AA}"/>
                </a:ext>
              </a:extLst>
            </p:cNvPr>
            <p:cNvSpPr/>
            <p:nvPr/>
          </p:nvSpPr>
          <p:spPr>
            <a:xfrm>
              <a:off x="2897779" y="33789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1" name="object 1521">
              <a:extLst>
                <a:ext uri="{FF2B5EF4-FFF2-40B4-BE49-F238E27FC236}">
                  <a16:creationId xmlns:a16="http://schemas.microsoft.com/office/drawing/2014/main" id="{753A99BF-6DB5-2664-CF3D-FBA391E0AD7E}"/>
                </a:ext>
              </a:extLst>
            </p:cNvPr>
            <p:cNvSpPr/>
            <p:nvPr/>
          </p:nvSpPr>
          <p:spPr>
            <a:xfrm>
              <a:off x="2722808" y="33789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2" name="object 1522">
              <a:extLst>
                <a:ext uri="{FF2B5EF4-FFF2-40B4-BE49-F238E27FC236}">
                  <a16:creationId xmlns:a16="http://schemas.microsoft.com/office/drawing/2014/main" id="{FA5EE9C7-6788-4D14-50B1-DB43861AA862}"/>
                </a:ext>
              </a:extLst>
            </p:cNvPr>
            <p:cNvSpPr/>
            <p:nvPr/>
          </p:nvSpPr>
          <p:spPr>
            <a:xfrm>
              <a:off x="2547829" y="340442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3" name="object 1523">
              <a:extLst>
                <a:ext uri="{FF2B5EF4-FFF2-40B4-BE49-F238E27FC236}">
                  <a16:creationId xmlns:a16="http://schemas.microsoft.com/office/drawing/2014/main" id="{906119EA-546C-236D-37CE-A2394681AFE5}"/>
                </a:ext>
              </a:extLst>
            </p:cNvPr>
            <p:cNvSpPr/>
            <p:nvPr/>
          </p:nvSpPr>
          <p:spPr>
            <a:xfrm>
              <a:off x="2897779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4" name="object 1524">
              <a:extLst>
                <a:ext uri="{FF2B5EF4-FFF2-40B4-BE49-F238E27FC236}">
                  <a16:creationId xmlns:a16="http://schemas.microsoft.com/office/drawing/2014/main" id="{A2C5D33B-1E97-C554-3764-DE1207F6913F}"/>
                </a:ext>
              </a:extLst>
            </p:cNvPr>
            <p:cNvSpPr/>
            <p:nvPr/>
          </p:nvSpPr>
          <p:spPr>
            <a:xfrm>
              <a:off x="2722808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5" name="object 1525">
              <a:extLst>
                <a:ext uri="{FF2B5EF4-FFF2-40B4-BE49-F238E27FC236}">
                  <a16:creationId xmlns:a16="http://schemas.microsoft.com/office/drawing/2014/main" id="{52EFE49D-040A-78C9-9753-280D4B4EB24D}"/>
                </a:ext>
              </a:extLst>
            </p:cNvPr>
            <p:cNvSpPr/>
            <p:nvPr/>
          </p:nvSpPr>
          <p:spPr>
            <a:xfrm>
              <a:off x="2547838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6" name="object 1526">
              <a:extLst>
                <a:ext uri="{FF2B5EF4-FFF2-40B4-BE49-F238E27FC236}">
                  <a16:creationId xmlns:a16="http://schemas.microsoft.com/office/drawing/2014/main" id="{A2A373B2-5C2F-A59A-F1E3-60A5457F2E8A}"/>
                </a:ext>
              </a:extLst>
            </p:cNvPr>
            <p:cNvSpPr/>
            <p:nvPr/>
          </p:nvSpPr>
          <p:spPr>
            <a:xfrm>
              <a:off x="2722808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7" name="object 1527">
              <a:extLst>
                <a:ext uri="{FF2B5EF4-FFF2-40B4-BE49-F238E27FC236}">
                  <a16:creationId xmlns:a16="http://schemas.microsoft.com/office/drawing/2014/main" id="{1D324624-4DC1-2D63-4C3C-B951A7BAB8CF}"/>
                </a:ext>
              </a:extLst>
            </p:cNvPr>
            <p:cNvSpPr/>
            <p:nvPr/>
          </p:nvSpPr>
          <p:spPr>
            <a:xfrm>
              <a:off x="2827736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8" name="object 1528">
              <a:extLst>
                <a:ext uri="{FF2B5EF4-FFF2-40B4-BE49-F238E27FC236}">
                  <a16:creationId xmlns:a16="http://schemas.microsoft.com/office/drawing/2014/main" id="{0EE6D13C-5EE7-F318-45D3-B0854DF2FC0B}"/>
                </a:ext>
              </a:extLst>
            </p:cNvPr>
            <p:cNvSpPr/>
            <p:nvPr/>
          </p:nvSpPr>
          <p:spPr>
            <a:xfrm>
              <a:off x="2862757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9" name="object 1529">
              <a:extLst>
                <a:ext uri="{FF2B5EF4-FFF2-40B4-BE49-F238E27FC236}">
                  <a16:creationId xmlns:a16="http://schemas.microsoft.com/office/drawing/2014/main" id="{4DFBCE39-ABBD-9353-8B70-4CB8926C7301}"/>
                </a:ext>
              </a:extLst>
            </p:cNvPr>
            <p:cNvSpPr/>
            <p:nvPr/>
          </p:nvSpPr>
          <p:spPr>
            <a:xfrm>
              <a:off x="2757693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0" name="object 1530">
              <a:extLst>
                <a:ext uri="{FF2B5EF4-FFF2-40B4-BE49-F238E27FC236}">
                  <a16:creationId xmlns:a16="http://schemas.microsoft.com/office/drawing/2014/main" id="{88B12E6B-38F4-E8AB-756E-B3F8C7070804}"/>
                </a:ext>
              </a:extLst>
            </p:cNvPr>
            <p:cNvSpPr/>
            <p:nvPr/>
          </p:nvSpPr>
          <p:spPr>
            <a:xfrm>
              <a:off x="2652619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1" name="object 1531">
              <a:extLst>
                <a:ext uri="{FF2B5EF4-FFF2-40B4-BE49-F238E27FC236}">
                  <a16:creationId xmlns:a16="http://schemas.microsoft.com/office/drawing/2014/main" id="{ED7940AA-9D99-920D-84B5-42DEF12A34DC}"/>
                </a:ext>
              </a:extLst>
            </p:cNvPr>
            <p:cNvSpPr/>
            <p:nvPr/>
          </p:nvSpPr>
          <p:spPr>
            <a:xfrm>
              <a:off x="2687714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2" name="object 1532">
              <a:extLst>
                <a:ext uri="{FF2B5EF4-FFF2-40B4-BE49-F238E27FC236}">
                  <a16:creationId xmlns:a16="http://schemas.microsoft.com/office/drawing/2014/main" id="{063A02E4-7C78-D0CF-3F6D-97BCF68F8CE7}"/>
                </a:ext>
              </a:extLst>
            </p:cNvPr>
            <p:cNvSpPr/>
            <p:nvPr/>
          </p:nvSpPr>
          <p:spPr>
            <a:xfrm>
              <a:off x="2582576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3" name="object 1533">
              <a:extLst>
                <a:ext uri="{FF2B5EF4-FFF2-40B4-BE49-F238E27FC236}">
                  <a16:creationId xmlns:a16="http://schemas.microsoft.com/office/drawing/2014/main" id="{D8C68086-4C06-8C8D-9CF7-8E990D53E020}"/>
                </a:ext>
              </a:extLst>
            </p:cNvPr>
            <p:cNvSpPr/>
            <p:nvPr/>
          </p:nvSpPr>
          <p:spPr>
            <a:xfrm>
              <a:off x="2792714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4" name="object 1534">
              <a:extLst>
                <a:ext uri="{FF2B5EF4-FFF2-40B4-BE49-F238E27FC236}">
                  <a16:creationId xmlns:a16="http://schemas.microsoft.com/office/drawing/2014/main" id="{49187650-38BF-96E9-F088-97470004D88E}"/>
                </a:ext>
              </a:extLst>
            </p:cNvPr>
            <p:cNvSpPr/>
            <p:nvPr/>
          </p:nvSpPr>
          <p:spPr>
            <a:xfrm>
              <a:off x="2617598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5" name="object 1535">
              <a:extLst>
                <a:ext uri="{FF2B5EF4-FFF2-40B4-BE49-F238E27FC236}">
                  <a16:creationId xmlns:a16="http://schemas.microsoft.com/office/drawing/2014/main" id="{64173BC7-FDC4-2933-3858-FBA8DF17DF26}"/>
                </a:ext>
              </a:extLst>
            </p:cNvPr>
            <p:cNvSpPr/>
            <p:nvPr/>
          </p:nvSpPr>
          <p:spPr>
            <a:xfrm>
              <a:off x="2547829" y="347743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6" name="object 1536">
              <a:extLst>
                <a:ext uri="{FF2B5EF4-FFF2-40B4-BE49-F238E27FC236}">
                  <a16:creationId xmlns:a16="http://schemas.microsoft.com/office/drawing/2014/main" id="{FA9E9F23-94C5-0165-5833-4F7B0D17C3D7}"/>
                </a:ext>
              </a:extLst>
            </p:cNvPr>
            <p:cNvSpPr/>
            <p:nvPr/>
          </p:nvSpPr>
          <p:spPr>
            <a:xfrm>
              <a:off x="2547838" y="3451951"/>
              <a:ext cx="8202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5254"/>
                <a:gd name="f4" fmla="val 84454"/>
                <a:gd name="f5" fmla="val 135116"/>
                <a:gd name="f6" fmla="val 84102"/>
                <a:gd name="f7" fmla="*/ f0 1 135254"/>
                <a:gd name="f8" fmla="*/ f1 1 84454"/>
                <a:gd name="f9" fmla="+- f4 0 f2"/>
                <a:gd name="f10" fmla="+- f3 0 f2"/>
                <a:gd name="f11" fmla="*/ f10 1 13525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525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37" name="object 1537">
            <a:extLst>
              <a:ext uri="{FF2B5EF4-FFF2-40B4-BE49-F238E27FC236}">
                <a16:creationId xmlns:a16="http://schemas.microsoft.com/office/drawing/2014/main" id="{C0A48958-6249-226A-7D92-912355597E44}"/>
              </a:ext>
            </a:extLst>
          </p:cNvPr>
          <p:cNvGrpSpPr/>
          <p:nvPr/>
        </p:nvGrpSpPr>
        <p:grpSpPr>
          <a:xfrm>
            <a:off x="3369692" y="4906094"/>
            <a:ext cx="350023" cy="124248"/>
            <a:chOff x="3369692" y="4906094"/>
            <a:chExt cx="350023" cy="124248"/>
          </a:xfrm>
        </p:grpSpPr>
        <p:sp>
          <p:nvSpPr>
            <p:cNvPr id="1538" name="object 1538">
              <a:extLst>
                <a:ext uri="{FF2B5EF4-FFF2-40B4-BE49-F238E27FC236}">
                  <a16:creationId xmlns:a16="http://schemas.microsoft.com/office/drawing/2014/main" id="{CA9564A4-093E-6C50-545B-B993C53EB948}"/>
                </a:ext>
              </a:extLst>
            </p:cNvPr>
            <p:cNvSpPr/>
            <p:nvPr/>
          </p:nvSpPr>
          <p:spPr>
            <a:xfrm>
              <a:off x="3370158" y="4979127"/>
              <a:ext cx="8510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0335"/>
                <a:gd name="f4" fmla="val 84454"/>
                <a:gd name="f5" fmla="val 139995"/>
                <a:gd name="f6" fmla="val 84123"/>
                <a:gd name="f7" fmla="*/ f0 1 140335"/>
                <a:gd name="f8" fmla="*/ f1 1 84454"/>
                <a:gd name="f9" fmla="+- f4 0 f2"/>
                <a:gd name="f10" fmla="+- f3 0 f2"/>
                <a:gd name="f11" fmla="*/ f10 1 1403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03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9" name="object 1539">
              <a:extLst>
                <a:ext uri="{FF2B5EF4-FFF2-40B4-BE49-F238E27FC236}">
                  <a16:creationId xmlns:a16="http://schemas.microsoft.com/office/drawing/2014/main" id="{7C0F54DB-AB88-0B53-E73B-5A5FC865AAF4}"/>
                </a:ext>
              </a:extLst>
            </p:cNvPr>
            <p:cNvSpPr/>
            <p:nvPr/>
          </p:nvSpPr>
          <p:spPr>
            <a:xfrm>
              <a:off x="3369692" y="4906094"/>
              <a:ext cx="18521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5435"/>
                <a:gd name="f4" fmla="val 84454"/>
                <a:gd name="f5" fmla="val 304817"/>
                <a:gd name="f6" fmla="val 84123"/>
                <a:gd name="f7" fmla="*/ f0 1 305435"/>
                <a:gd name="f8" fmla="*/ f1 1 84454"/>
                <a:gd name="f9" fmla="+- f4 0 f2"/>
                <a:gd name="f10" fmla="+- f3 0 f2"/>
                <a:gd name="f11" fmla="*/ f10 1 3054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54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0" name="object 1540">
              <a:extLst>
                <a:ext uri="{FF2B5EF4-FFF2-40B4-BE49-F238E27FC236}">
                  <a16:creationId xmlns:a16="http://schemas.microsoft.com/office/drawing/2014/main" id="{0B97CE62-BCFB-F6D3-EF09-A206A0352283}"/>
                </a:ext>
              </a:extLst>
            </p:cNvPr>
            <p:cNvSpPr/>
            <p:nvPr/>
          </p:nvSpPr>
          <p:spPr>
            <a:xfrm>
              <a:off x="3579546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1" name="object 1541">
              <a:extLst>
                <a:ext uri="{FF2B5EF4-FFF2-40B4-BE49-F238E27FC236}">
                  <a16:creationId xmlns:a16="http://schemas.microsoft.com/office/drawing/2014/main" id="{8A7FC142-DD74-AFBA-B465-1C1B83AE5A75}"/>
                </a:ext>
              </a:extLst>
            </p:cNvPr>
            <p:cNvSpPr/>
            <p:nvPr/>
          </p:nvSpPr>
          <p:spPr>
            <a:xfrm>
              <a:off x="3474482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2" name="object 1542">
              <a:extLst>
                <a:ext uri="{FF2B5EF4-FFF2-40B4-BE49-F238E27FC236}">
                  <a16:creationId xmlns:a16="http://schemas.microsoft.com/office/drawing/2014/main" id="{74082A79-4448-D3A3-4CDA-BEF2C929AC53}"/>
                </a:ext>
              </a:extLst>
            </p:cNvPr>
            <p:cNvSpPr/>
            <p:nvPr/>
          </p:nvSpPr>
          <p:spPr>
            <a:xfrm>
              <a:off x="3509576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3" name="object 1543">
              <a:extLst>
                <a:ext uri="{FF2B5EF4-FFF2-40B4-BE49-F238E27FC236}">
                  <a16:creationId xmlns:a16="http://schemas.microsoft.com/office/drawing/2014/main" id="{42B23C27-6E44-46EC-3C5A-706F0C226033}"/>
                </a:ext>
              </a:extLst>
            </p:cNvPr>
            <p:cNvSpPr/>
            <p:nvPr/>
          </p:nvSpPr>
          <p:spPr>
            <a:xfrm>
              <a:off x="3404439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4" name="object 1544">
              <a:extLst>
                <a:ext uri="{FF2B5EF4-FFF2-40B4-BE49-F238E27FC236}">
                  <a16:creationId xmlns:a16="http://schemas.microsoft.com/office/drawing/2014/main" id="{F9FE0408-A6EC-62E6-526A-B082EBDA6A6D}"/>
                </a:ext>
              </a:extLst>
            </p:cNvPr>
            <p:cNvSpPr/>
            <p:nvPr/>
          </p:nvSpPr>
          <p:spPr>
            <a:xfrm>
              <a:off x="3439460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5" name="object 1545">
              <a:extLst>
                <a:ext uri="{FF2B5EF4-FFF2-40B4-BE49-F238E27FC236}">
                  <a16:creationId xmlns:a16="http://schemas.microsoft.com/office/drawing/2014/main" id="{EE8936E0-67BD-59E2-E539-6BC8CBC6248B}"/>
                </a:ext>
              </a:extLst>
            </p:cNvPr>
            <p:cNvSpPr/>
            <p:nvPr/>
          </p:nvSpPr>
          <p:spPr>
            <a:xfrm>
              <a:off x="354466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6" name="object 1546">
              <a:extLst>
                <a:ext uri="{FF2B5EF4-FFF2-40B4-BE49-F238E27FC236}">
                  <a16:creationId xmlns:a16="http://schemas.microsoft.com/office/drawing/2014/main" id="{57581DD3-A0FD-D72B-781D-6537496C94B6}"/>
                </a:ext>
              </a:extLst>
            </p:cNvPr>
            <p:cNvSpPr/>
            <p:nvPr/>
          </p:nvSpPr>
          <p:spPr>
            <a:xfrm>
              <a:off x="336969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7" name="object 1547">
              <a:extLst>
                <a:ext uri="{FF2B5EF4-FFF2-40B4-BE49-F238E27FC236}">
                  <a16:creationId xmlns:a16="http://schemas.microsoft.com/office/drawing/2014/main" id="{AD3F12DA-CDA2-BB80-0EF3-368C25E340FA}"/>
                </a:ext>
              </a:extLst>
            </p:cNvPr>
            <p:cNvSpPr/>
            <p:nvPr/>
          </p:nvSpPr>
          <p:spPr>
            <a:xfrm>
              <a:off x="354466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8" name="object 1548">
              <a:extLst>
                <a:ext uri="{FF2B5EF4-FFF2-40B4-BE49-F238E27FC236}">
                  <a16:creationId xmlns:a16="http://schemas.microsoft.com/office/drawing/2014/main" id="{2E76CA2E-2C99-17C8-3869-CA314BC202B7}"/>
                </a:ext>
              </a:extLst>
            </p:cNvPr>
            <p:cNvSpPr/>
            <p:nvPr/>
          </p:nvSpPr>
          <p:spPr>
            <a:xfrm>
              <a:off x="3649589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9" name="object 1549">
              <a:extLst>
                <a:ext uri="{FF2B5EF4-FFF2-40B4-BE49-F238E27FC236}">
                  <a16:creationId xmlns:a16="http://schemas.microsoft.com/office/drawing/2014/main" id="{CFFD39FB-FEBB-7550-E677-4F5A1C9AE189}"/>
                </a:ext>
              </a:extLst>
            </p:cNvPr>
            <p:cNvSpPr/>
            <p:nvPr/>
          </p:nvSpPr>
          <p:spPr>
            <a:xfrm>
              <a:off x="3684611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0" name="object 1550">
              <a:extLst>
                <a:ext uri="{FF2B5EF4-FFF2-40B4-BE49-F238E27FC236}">
                  <a16:creationId xmlns:a16="http://schemas.microsoft.com/office/drawing/2014/main" id="{A71B1170-834C-CA7A-FF75-DF37D14E54B4}"/>
                </a:ext>
              </a:extLst>
            </p:cNvPr>
            <p:cNvSpPr/>
            <p:nvPr/>
          </p:nvSpPr>
          <p:spPr>
            <a:xfrm>
              <a:off x="3614568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1" name="object 1551">
              <a:extLst>
                <a:ext uri="{FF2B5EF4-FFF2-40B4-BE49-F238E27FC236}">
                  <a16:creationId xmlns:a16="http://schemas.microsoft.com/office/drawing/2014/main" id="{997EF60D-3116-DBD0-B017-BC44FA4B96F5}"/>
                </a:ext>
              </a:extLst>
            </p:cNvPr>
            <p:cNvSpPr/>
            <p:nvPr/>
          </p:nvSpPr>
          <p:spPr>
            <a:xfrm>
              <a:off x="371963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2" name="object 1552">
              <a:extLst>
                <a:ext uri="{FF2B5EF4-FFF2-40B4-BE49-F238E27FC236}">
                  <a16:creationId xmlns:a16="http://schemas.microsoft.com/office/drawing/2014/main" id="{77B01955-FE24-C520-090B-E771BD8C22DA}"/>
                </a:ext>
              </a:extLst>
            </p:cNvPr>
            <p:cNvSpPr/>
            <p:nvPr/>
          </p:nvSpPr>
          <p:spPr>
            <a:xfrm>
              <a:off x="3369692" y="49316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3" name="object 1553">
              <a:extLst>
                <a:ext uri="{FF2B5EF4-FFF2-40B4-BE49-F238E27FC236}">
                  <a16:creationId xmlns:a16="http://schemas.microsoft.com/office/drawing/2014/main" id="{539736FE-140D-182B-491B-E5572B51B509}"/>
                </a:ext>
              </a:extLst>
            </p:cNvPr>
            <p:cNvSpPr/>
            <p:nvPr/>
          </p:nvSpPr>
          <p:spPr>
            <a:xfrm>
              <a:off x="3649589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4" name="object 1554">
              <a:extLst>
                <a:ext uri="{FF2B5EF4-FFF2-40B4-BE49-F238E27FC236}">
                  <a16:creationId xmlns:a16="http://schemas.microsoft.com/office/drawing/2014/main" id="{25EB8A67-07A2-0EEE-CC91-BE464A03240C}"/>
                </a:ext>
              </a:extLst>
            </p:cNvPr>
            <p:cNvSpPr/>
            <p:nvPr/>
          </p:nvSpPr>
          <p:spPr>
            <a:xfrm>
              <a:off x="3684611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5" name="object 1555">
              <a:extLst>
                <a:ext uri="{FF2B5EF4-FFF2-40B4-BE49-F238E27FC236}">
                  <a16:creationId xmlns:a16="http://schemas.microsoft.com/office/drawing/2014/main" id="{ECEC12E8-D7A8-B268-531C-E513EDDE9DF7}"/>
                </a:ext>
              </a:extLst>
            </p:cNvPr>
            <p:cNvSpPr/>
            <p:nvPr/>
          </p:nvSpPr>
          <p:spPr>
            <a:xfrm>
              <a:off x="3579546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6" name="object 1556">
              <a:extLst>
                <a:ext uri="{FF2B5EF4-FFF2-40B4-BE49-F238E27FC236}">
                  <a16:creationId xmlns:a16="http://schemas.microsoft.com/office/drawing/2014/main" id="{E32ECD24-DB65-33A5-5F4A-7A16B9281480}"/>
                </a:ext>
              </a:extLst>
            </p:cNvPr>
            <p:cNvSpPr/>
            <p:nvPr/>
          </p:nvSpPr>
          <p:spPr>
            <a:xfrm>
              <a:off x="3474482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7" name="object 1557">
              <a:extLst>
                <a:ext uri="{FF2B5EF4-FFF2-40B4-BE49-F238E27FC236}">
                  <a16:creationId xmlns:a16="http://schemas.microsoft.com/office/drawing/2014/main" id="{B91216EC-4C79-AA32-954A-E4A3D9578D30}"/>
                </a:ext>
              </a:extLst>
            </p:cNvPr>
            <p:cNvSpPr/>
            <p:nvPr/>
          </p:nvSpPr>
          <p:spPr>
            <a:xfrm>
              <a:off x="3509576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8" name="object 1558">
              <a:extLst>
                <a:ext uri="{FF2B5EF4-FFF2-40B4-BE49-F238E27FC236}">
                  <a16:creationId xmlns:a16="http://schemas.microsoft.com/office/drawing/2014/main" id="{E2289B38-A01C-F757-1A41-24E26E7DCDDA}"/>
                </a:ext>
              </a:extLst>
            </p:cNvPr>
            <p:cNvSpPr/>
            <p:nvPr/>
          </p:nvSpPr>
          <p:spPr>
            <a:xfrm>
              <a:off x="3404439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9" name="object 1559">
              <a:extLst>
                <a:ext uri="{FF2B5EF4-FFF2-40B4-BE49-F238E27FC236}">
                  <a16:creationId xmlns:a16="http://schemas.microsoft.com/office/drawing/2014/main" id="{FA10398C-EBE1-7268-E7CE-BEDF89B393E5}"/>
                </a:ext>
              </a:extLst>
            </p:cNvPr>
            <p:cNvSpPr/>
            <p:nvPr/>
          </p:nvSpPr>
          <p:spPr>
            <a:xfrm>
              <a:off x="3614568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0" name="object 1560">
              <a:extLst>
                <a:ext uri="{FF2B5EF4-FFF2-40B4-BE49-F238E27FC236}">
                  <a16:creationId xmlns:a16="http://schemas.microsoft.com/office/drawing/2014/main" id="{27B68A33-D697-DA41-F96D-7D0B15B77B73}"/>
                </a:ext>
              </a:extLst>
            </p:cNvPr>
            <p:cNvSpPr/>
            <p:nvPr/>
          </p:nvSpPr>
          <p:spPr>
            <a:xfrm>
              <a:off x="3439460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1" name="object 1561">
              <a:extLst>
                <a:ext uri="{FF2B5EF4-FFF2-40B4-BE49-F238E27FC236}">
                  <a16:creationId xmlns:a16="http://schemas.microsoft.com/office/drawing/2014/main" id="{AD2E76EE-CDEC-05CB-EA12-59C7811955AF}"/>
                </a:ext>
              </a:extLst>
            </p:cNvPr>
            <p:cNvSpPr/>
            <p:nvPr/>
          </p:nvSpPr>
          <p:spPr>
            <a:xfrm>
              <a:off x="371963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2" name="object 1562">
              <a:extLst>
                <a:ext uri="{FF2B5EF4-FFF2-40B4-BE49-F238E27FC236}">
                  <a16:creationId xmlns:a16="http://schemas.microsoft.com/office/drawing/2014/main" id="{314EB396-A729-03E2-F6C3-9A6A5FF5DE36}"/>
                </a:ext>
              </a:extLst>
            </p:cNvPr>
            <p:cNvSpPr/>
            <p:nvPr/>
          </p:nvSpPr>
          <p:spPr>
            <a:xfrm>
              <a:off x="354466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3" name="object 1563">
              <a:extLst>
                <a:ext uri="{FF2B5EF4-FFF2-40B4-BE49-F238E27FC236}">
                  <a16:creationId xmlns:a16="http://schemas.microsoft.com/office/drawing/2014/main" id="{9AD301C5-8F48-C4CA-838F-29E61138F24E}"/>
                </a:ext>
              </a:extLst>
            </p:cNvPr>
            <p:cNvSpPr/>
            <p:nvPr/>
          </p:nvSpPr>
          <p:spPr>
            <a:xfrm>
              <a:off x="336969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4" name="object 1564">
              <a:extLst>
                <a:ext uri="{FF2B5EF4-FFF2-40B4-BE49-F238E27FC236}">
                  <a16:creationId xmlns:a16="http://schemas.microsoft.com/office/drawing/2014/main" id="{E25773BD-56FF-B14C-E47E-270450950376}"/>
                </a:ext>
              </a:extLst>
            </p:cNvPr>
            <p:cNvSpPr/>
            <p:nvPr/>
          </p:nvSpPr>
          <p:spPr>
            <a:xfrm>
              <a:off x="354466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5" name="object 1565">
              <a:extLst>
                <a:ext uri="{FF2B5EF4-FFF2-40B4-BE49-F238E27FC236}">
                  <a16:creationId xmlns:a16="http://schemas.microsoft.com/office/drawing/2014/main" id="{331B3789-34D3-CDE2-8429-87EC13D69B0B}"/>
                </a:ext>
              </a:extLst>
            </p:cNvPr>
            <p:cNvSpPr/>
            <p:nvPr/>
          </p:nvSpPr>
          <p:spPr>
            <a:xfrm>
              <a:off x="3369692" y="500462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66" name="object 1566">
            <a:extLst>
              <a:ext uri="{FF2B5EF4-FFF2-40B4-BE49-F238E27FC236}">
                <a16:creationId xmlns:a16="http://schemas.microsoft.com/office/drawing/2014/main" id="{27343B4B-DC40-DF4E-D439-4402E9B4BCDD}"/>
              </a:ext>
            </a:extLst>
          </p:cNvPr>
          <p:cNvGrpSpPr/>
          <p:nvPr/>
        </p:nvGrpSpPr>
        <p:grpSpPr>
          <a:xfrm>
            <a:off x="9121743" y="4907319"/>
            <a:ext cx="350370" cy="123517"/>
            <a:chOff x="9121743" y="4907319"/>
            <a:chExt cx="350370" cy="123517"/>
          </a:xfrm>
        </p:grpSpPr>
        <p:sp>
          <p:nvSpPr>
            <p:cNvPr id="1567" name="object 1567">
              <a:extLst>
                <a:ext uri="{FF2B5EF4-FFF2-40B4-BE49-F238E27FC236}">
                  <a16:creationId xmlns:a16="http://schemas.microsoft.com/office/drawing/2014/main" id="{F064C8B5-0606-E00A-F36B-0F1531AA3B3F}"/>
                </a:ext>
              </a:extLst>
            </p:cNvPr>
            <p:cNvSpPr/>
            <p:nvPr/>
          </p:nvSpPr>
          <p:spPr>
            <a:xfrm>
              <a:off x="9401988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8" name="object 1568">
              <a:extLst>
                <a:ext uri="{FF2B5EF4-FFF2-40B4-BE49-F238E27FC236}">
                  <a16:creationId xmlns:a16="http://schemas.microsoft.com/office/drawing/2014/main" id="{4D42DD46-D39B-BA92-8792-71827FEF38CF}"/>
                </a:ext>
              </a:extLst>
            </p:cNvPr>
            <p:cNvSpPr/>
            <p:nvPr/>
          </p:nvSpPr>
          <p:spPr>
            <a:xfrm>
              <a:off x="9437019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9" name="object 1569">
              <a:extLst>
                <a:ext uri="{FF2B5EF4-FFF2-40B4-BE49-F238E27FC236}">
                  <a16:creationId xmlns:a16="http://schemas.microsoft.com/office/drawing/2014/main" id="{F910FB33-5AFF-D4CB-E7E0-CC9C4B0BF0CF}"/>
                </a:ext>
              </a:extLst>
            </p:cNvPr>
            <p:cNvSpPr/>
            <p:nvPr/>
          </p:nvSpPr>
          <p:spPr>
            <a:xfrm>
              <a:off x="9331945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0" name="object 1570">
              <a:extLst>
                <a:ext uri="{FF2B5EF4-FFF2-40B4-BE49-F238E27FC236}">
                  <a16:creationId xmlns:a16="http://schemas.microsoft.com/office/drawing/2014/main" id="{758A3331-79E9-C250-C5D7-2999B155B065}"/>
                </a:ext>
              </a:extLst>
            </p:cNvPr>
            <p:cNvSpPr/>
            <p:nvPr/>
          </p:nvSpPr>
          <p:spPr>
            <a:xfrm>
              <a:off x="9226881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1" name="object 1571">
              <a:extLst>
                <a:ext uri="{FF2B5EF4-FFF2-40B4-BE49-F238E27FC236}">
                  <a16:creationId xmlns:a16="http://schemas.microsoft.com/office/drawing/2014/main" id="{360CE6C0-3EAF-E331-73E7-863348B7E3D3}"/>
                </a:ext>
              </a:extLst>
            </p:cNvPr>
            <p:cNvSpPr/>
            <p:nvPr/>
          </p:nvSpPr>
          <p:spPr>
            <a:xfrm>
              <a:off x="9261975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2" name="object 1572">
              <a:extLst>
                <a:ext uri="{FF2B5EF4-FFF2-40B4-BE49-F238E27FC236}">
                  <a16:creationId xmlns:a16="http://schemas.microsoft.com/office/drawing/2014/main" id="{6573BCBC-C621-E95E-9FEA-31A30C72B22A}"/>
                </a:ext>
              </a:extLst>
            </p:cNvPr>
            <p:cNvSpPr/>
            <p:nvPr/>
          </p:nvSpPr>
          <p:spPr>
            <a:xfrm>
              <a:off x="9156838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3" name="object 1573">
              <a:extLst>
                <a:ext uri="{FF2B5EF4-FFF2-40B4-BE49-F238E27FC236}">
                  <a16:creationId xmlns:a16="http://schemas.microsoft.com/office/drawing/2014/main" id="{BB00E5D5-9D3F-5BCC-26F4-F8A2C9080A66}"/>
                </a:ext>
              </a:extLst>
            </p:cNvPr>
            <p:cNvSpPr/>
            <p:nvPr/>
          </p:nvSpPr>
          <p:spPr>
            <a:xfrm>
              <a:off x="9366976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4" name="object 1574">
              <a:extLst>
                <a:ext uri="{FF2B5EF4-FFF2-40B4-BE49-F238E27FC236}">
                  <a16:creationId xmlns:a16="http://schemas.microsoft.com/office/drawing/2014/main" id="{173994BC-76EB-DA14-A9C6-0063BE45DE27}"/>
                </a:ext>
              </a:extLst>
            </p:cNvPr>
            <p:cNvSpPr/>
            <p:nvPr/>
          </p:nvSpPr>
          <p:spPr>
            <a:xfrm>
              <a:off x="9191859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5" name="object 1575">
              <a:extLst>
                <a:ext uri="{FF2B5EF4-FFF2-40B4-BE49-F238E27FC236}">
                  <a16:creationId xmlns:a16="http://schemas.microsoft.com/office/drawing/2014/main" id="{EAB17B3A-FA83-3937-9AB6-FC65CBC6D60A}"/>
                </a:ext>
              </a:extLst>
            </p:cNvPr>
            <p:cNvSpPr/>
            <p:nvPr/>
          </p:nvSpPr>
          <p:spPr>
            <a:xfrm>
              <a:off x="9472041" y="49073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6" name="object 1576">
              <a:extLst>
                <a:ext uri="{FF2B5EF4-FFF2-40B4-BE49-F238E27FC236}">
                  <a16:creationId xmlns:a16="http://schemas.microsoft.com/office/drawing/2014/main" id="{191E38AF-3477-D63A-0637-EF8DCB62C60A}"/>
                </a:ext>
              </a:extLst>
            </p:cNvPr>
            <p:cNvSpPr/>
            <p:nvPr/>
          </p:nvSpPr>
          <p:spPr>
            <a:xfrm>
              <a:off x="9297070" y="49073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7" name="object 1577">
              <a:extLst>
                <a:ext uri="{FF2B5EF4-FFF2-40B4-BE49-F238E27FC236}">
                  <a16:creationId xmlns:a16="http://schemas.microsoft.com/office/drawing/2014/main" id="{FE5F23D2-8C59-8F8C-754A-8330243402C6}"/>
                </a:ext>
              </a:extLst>
            </p:cNvPr>
            <p:cNvSpPr/>
            <p:nvPr/>
          </p:nvSpPr>
          <p:spPr>
            <a:xfrm>
              <a:off x="9122090" y="49073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8" name="object 1578">
              <a:extLst>
                <a:ext uri="{FF2B5EF4-FFF2-40B4-BE49-F238E27FC236}">
                  <a16:creationId xmlns:a16="http://schemas.microsoft.com/office/drawing/2014/main" id="{95096518-6FD8-358E-6959-88DC23FE3AA7}"/>
                </a:ext>
              </a:extLst>
            </p:cNvPr>
            <p:cNvSpPr/>
            <p:nvPr/>
          </p:nvSpPr>
          <p:spPr>
            <a:xfrm>
              <a:off x="9122090" y="493283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9" name="object 1579">
              <a:extLst>
                <a:ext uri="{FF2B5EF4-FFF2-40B4-BE49-F238E27FC236}">
                  <a16:creationId xmlns:a16="http://schemas.microsoft.com/office/drawing/2014/main" id="{BD3A5054-26F4-92DE-E32A-E789BE328826}"/>
                </a:ext>
              </a:extLst>
            </p:cNvPr>
            <p:cNvSpPr/>
            <p:nvPr/>
          </p:nvSpPr>
          <p:spPr>
            <a:xfrm>
              <a:off x="9122228" y="4907319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23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0" name="object 1580">
              <a:extLst>
                <a:ext uri="{FF2B5EF4-FFF2-40B4-BE49-F238E27FC236}">
                  <a16:creationId xmlns:a16="http://schemas.microsoft.com/office/drawing/2014/main" id="{F135C327-61AC-7D66-475B-94C2A8011B6D}"/>
                </a:ext>
              </a:extLst>
            </p:cNvPr>
            <p:cNvSpPr/>
            <p:nvPr/>
          </p:nvSpPr>
          <p:spPr>
            <a:xfrm>
              <a:off x="9122228" y="4979621"/>
              <a:ext cx="1417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3680"/>
                <a:gd name="f4" fmla="val 84454"/>
                <a:gd name="f5" fmla="val 233291"/>
                <a:gd name="f6" fmla="val 84133"/>
                <a:gd name="f7" fmla="*/ f0 1 233680"/>
                <a:gd name="f8" fmla="*/ f1 1 84454"/>
                <a:gd name="f9" fmla="+- f4 0 f2"/>
                <a:gd name="f10" fmla="+- f3 0 f2"/>
                <a:gd name="f11" fmla="*/ f10 1 23368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368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1" name="object 1581">
              <a:extLst>
                <a:ext uri="{FF2B5EF4-FFF2-40B4-BE49-F238E27FC236}">
                  <a16:creationId xmlns:a16="http://schemas.microsoft.com/office/drawing/2014/main" id="{2ECAEFDA-83BF-462A-20C0-21CE13C4BDD1}"/>
                </a:ext>
              </a:extLst>
            </p:cNvPr>
            <p:cNvSpPr/>
            <p:nvPr/>
          </p:nvSpPr>
          <p:spPr>
            <a:xfrm>
              <a:off x="9401650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2" name="object 1582">
              <a:extLst>
                <a:ext uri="{FF2B5EF4-FFF2-40B4-BE49-F238E27FC236}">
                  <a16:creationId xmlns:a16="http://schemas.microsoft.com/office/drawing/2014/main" id="{64771EE5-EBD4-127C-1683-8F0E3B880439}"/>
                </a:ext>
              </a:extLst>
            </p:cNvPr>
            <p:cNvSpPr/>
            <p:nvPr/>
          </p:nvSpPr>
          <p:spPr>
            <a:xfrm>
              <a:off x="9436672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3" name="object 1583">
              <a:extLst>
                <a:ext uri="{FF2B5EF4-FFF2-40B4-BE49-F238E27FC236}">
                  <a16:creationId xmlns:a16="http://schemas.microsoft.com/office/drawing/2014/main" id="{E38D49F9-0098-280F-EA07-5703799D836C}"/>
                </a:ext>
              </a:extLst>
            </p:cNvPr>
            <p:cNvSpPr/>
            <p:nvPr/>
          </p:nvSpPr>
          <p:spPr>
            <a:xfrm>
              <a:off x="9331607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4" name="object 1584">
              <a:extLst>
                <a:ext uri="{FF2B5EF4-FFF2-40B4-BE49-F238E27FC236}">
                  <a16:creationId xmlns:a16="http://schemas.microsoft.com/office/drawing/2014/main" id="{3D35F9D3-F331-A24C-4D71-4E52D3725A11}"/>
                </a:ext>
              </a:extLst>
            </p:cNvPr>
            <p:cNvSpPr/>
            <p:nvPr/>
          </p:nvSpPr>
          <p:spPr>
            <a:xfrm>
              <a:off x="9226533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5" name="object 1585">
              <a:extLst>
                <a:ext uri="{FF2B5EF4-FFF2-40B4-BE49-F238E27FC236}">
                  <a16:creationId xmlns:a16="http://schemas.microsoft.com/office/drawing/2014/main" id="{13D2FADD-D731-C791-4990-216EF2BFD14B}"/>
                </a:ext>
              </a:extLst>
            </p:cNvPr>
            <p:cNvSpPr/>
            <p:nvPr/>
          </p:nvSpPr>
          <p:spPr>
            <a:xfrm>
              <a:off x="9261628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6" name="object 1586">
              <a:extLst>
                <a:ext uri="{FF2B5EF4-FFF2-40B4-BE49-F238E27FC236}">
                  <a16:creationId xmlns:a16="http://schemas.microsoft.com/office/drawing/2014/main" id="{6EA2E5E3-EF48-1447-E27E-86AE50B16A56}"/>
                </a:ext>
              </a:extLst>
            </p:cNvPr>
            <p:cNvSpPr/>
            <p:nvPr/>
          </p:nvSpPr>
          <p:spPr>
            <a:xfrm>
              <a:off x="9156490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7" name="object 1587">
              <a:extLst>
                <a:ext uri="{FF2B5EF4-FFF2-40B4-BE49-F238E27FC236}">
                  <a16:creationId xmlns:a16="http://schemas.microsoft.com/office/drawing/2014/main" id="{D07C3918-1834-D4D0-B922-D662E7A2C0A2}"/>
                </a:ext>
              </a:extLst>
            </p:cNvPr>
            <p:cNvSpPr/>
            <p:nvPr/>
          </p:nvSpPr>
          <p:spPr>
            <a:xfrm>
              <a:off x="9366628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8" name="object 1588">
              <a:extLst>
                <a:ext uri="{FF2B5EF4-FFF2-40B4-BE49-F238E27FC236}">
                  <a16:creationId xmlns:a16="http://schemas.microsoft.com/office/drawing/2014/main" id="{CF53F22A-4459-ECF3-3197-14F705673363}"/>
                </a:ext>
              </a:extLst>
            </p:cNvPr>
            <p:cNvSpPr/>
            <p:nvPr/>
          </p:nvSpPr>
          <p:spPr>
            <a:xfrm>
              <a:off x="9191512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9" name="object 1589">
              <a:extLst>
                <a:ext uri="{FF2B5EF4-FFF2-40B4-BE49-F238E27FC236}">
                  <a16:creationId xmlns:a16="http://schemas.microsoft.com/office/drawing/2014/main" id="{CFE1F71F-CD00-9E04-27F4-165509E30810}"/>
                </a:ext>
              </a:extLst>
            </p:cNvPr>
            <p:cNvSpPr/>
            <p:nvPr/>
          </p:nvSpPr>
          <p:spPr>
            <a:xfrm>
              <a:off x="947169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0" name="object 1590">
              <a:extLst>
                <a:ext uri="{FF2B5EF4-FFF2-40B4-BE49-F238E27FC236}">
                  <a16:creationId xmlns:a16="http://schemas.microsoft.com/office/drawing/2014/main" id="{05E4DA26-5C1D-297D-6D5B-1DD32FEFACF2}"/>
                </a:ext>
              </a:extLst>
            </p:cNvPr>
            <p:cNvSpPr/>
            <p:nvPr/>
          </p:nvSpPr>
          <p:spPr>
            <a:xfrm>
              <a:off x="929672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1" name="object 1591">
              <a:extLst>
                <a:ext uri="{FF2B5EF4-FFF2-40B4-BE49-F238E27FC236}">
                  <a16:creationId xmlns:a16="http://schemas.microsoft.com/office/drawing/2014/main" id="{6C2CA148-218F-768E-E696-EA7EC833D2E3}"/>
                </a:ext>
              </a:extLst>
            </p:cNvPr>
            <p:cNvSpPr/>
            <p:nvPr/>
          </p:nvSpPr>
          <p:spPr>
            <a:xfrm>
              <a:off x="912174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2" name="object 1592">
              <a:extLst>
                <a:ext uri="{FF2B5EF4-FFF2-40B4-BE49-F238E27FC236}">
                  <a16:creationId xmlns:a16="http://schemas.microsoft.com/office/drawing/2014/main" id="{EEF50D00-3CC7-0FCF-038C-4A83017E8047}"/>
                </a:ext>
              </a:extLst>
            </p:cNvPr>
            <p:cNvSpPr/>
            <p:nvPr/>
          </p:nvSpPr>
          <p:spPr>
            <a:xfrm>
              <a:off x="929672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3" name="object 1593">
              <a:extLst>
                <a:ext uri="{FF2B5EF4-FFF2-40B4-BE49-F238E27FC236}">
                  <a16:creationId xmlns:a16="http://schemas.microsoft.com/office/drawing/2014/main" id="{4B64A07C-B917-35CE-F9D8-E6DB413DBD29}"/>
                </a:ext>
              </a:extLst>
            </p:cNvPr>
            <p:cNvSpPr/>
            <p:nvPr/>
          </p:nvSpPr>
          <p:spPr>
            <a:xfrm>
              <a:off x="9121743" y="500512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94" name="object 1594">
            <a:extLst>
              <a:ext uri="{FF2B5EF4-FFF2-40B4-BE49-F238E27FC236}">
                <a16:creationId xmlns:a16="http://schemas.microsoft.com/office/drawing/2014/main" id="{107F40B0-A23F-2D55-F89B-E4AB27B49A16}"/>
              </a:ext>
            </a:extLst>
          </p:cNvPr>
          <p:cNvGrpSpPr/>
          <p:nvPr/>
        </p:nvGrpSpPr>
        <p:grpSpPr>
          <a:xfrm>
            <a:off x="9121743" y="5670185"/>
            <a:ext cx="350370" cy="123507"/>
            <a:chOff x="9121743" y="5670185"/>
            <a:chExt cx="350370" cy="123507"/>
          </a:xfrm>
        </p:grpSpPr>
        <p:sp>
          <p:nvSpPr>
            <p:cNvPr id="1595" name="object 1595">
              <a:extLst>
                <a:ext uri="{FF2B5EF4-FFF2-40B4-BE49-F238E27FC236}">
                  <a16:creationId xmlns:a16="http://schemas.microsoft.com/office/drawing/2014/main" id="{184212D7-0E52-2AA4-CA70-A5D5748FEECE}"/>
                </a:ext>
              </a:extLst>
            </p:cNvPr>
            <p:cNvSpPr/>
            <p:nvPr/>
          </p:nvSpPr>
          <p:spPr>
            <a:xfrm>
              <a:off x="9401988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6" name="object 1596">
              <a:extLst>
                <a:ext uri="{FF2B5EF4-FFF2-40B4-BE49-F238E27FC236}">
                  <a16:creationId xmlns:a16="http://schemas.microsoft.com/office/drawing/2014/main" id="{CBE30C6E-9BE3-210D-DA60-24CD1769184A}"/>
                </a:ext>
              </a:extLst>
            </p:cNvPr>
            <p:cNvSpPr/>
            <p:nvPr/>
          </p:nvSpPr>
          <p:spPr>
            <a:xfrm>
              <a:off x="9437019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7" name="object 1597">
              <a:extLst>
                <a:ext uri="{FF2B5EF4-FFF2-40B4-BE49-F238E27FC236}">
                  <a16:creationId xmlns:a16="http://schemas.microsoft.com/office/drawing/2014/main" id="{28AC9D06-2EC7-8FC6-B044-C47E87B6AA01}"/>
                </a:ext>
              </a:extLst>
            </p:cNvPr>
            <p:cNvSpPr/>
            <p:nvPr/>
          </p:nvSpPr>
          <p:spPr>
            <a:xfrm>
              <a:off x="9331945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8" name="object 1598">
              <a:extLst>
                <a:ext uri="{FF2B5EF4-FFF2-40B4-BE49-F238E27FC236}">
                  <a16:creationId xmlns:a16="http://schemas.microsoft.com/office/drawing/2014/main" id="{FC9ECAD3-CFCF-C1E2-998D-4DEA1A7F7A87}"/>
                </a:ext>
              </a:extLst>
            </p:cNvPr>
            <p:cNvSpPr/>
            <p:nvPr/>
          </p:nvSpPr>
          <p:spPr>
            <a:xfrm>
              <a:off x="9226881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9" name="object 1599">
              <a:extLst>
                <a:ext uri="{FF2B5EF4-FFF2-40B4-BE49-F238E27FC236}">
                  <a16:creationId xmlns:a16="http://schemas.microsoft.com/office/drawing/2014/main" id="{771928CF-ED86-AED8-3D15-8A3FC96B9E3C}"/>
                </a:ext>
              </a:extLst>
            </p:cNvPr>
            <p:cNvSpPr/>
            <p:nvPr/>
          </p:nvSpPr>
          <p:spPr>
            <a:xfrm>
              <a:off x="9261975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0" name="object 1600">
              <a:extLst>
                <a:ext uri="{FF2B5EF4-FFF2-40B4-BE49-F238E27FC236}">
                  <a16:creationId xmlns:a16="http://schemas.microsoft.com/office/drawing/2014/main" id="{A73D6DBD-7C7A-3AA3-2D7C-C81ED60AA592}"/>
                </a:ext>
              </a:extLst>
            </p:cNvPr>
            <p:cNvSpPr/>
            <p:nvPr/>
          </p:nvSpPr>
          <p:spPr>
            <a:xfrm>
              <a:off x="9156838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1" name="object 1601">
              <a:extLst>
                <a:ext uri="{FF2B5EF4-FFF2-40B4-BE49-F238E27FC236}">
                  <a16:creationId xmlns:a16="http://schemas.microsoft.com/office/drawing/2014/main" id="{4E288346-B06A-5B29-6332-1C70028FF1F3}"/>
                </a:ext>
              </a:extLst>
            </p:cNvPr>
            <p:cNvSpPr/>
            <p:nvPr/>
          </p:nvSpPr>
          <p:spPr>
            <a:xfrm>
              <a:off x="9366976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2" name="object 1602">
              <a:extLst>
                <a:ext uri="{FF2B5EF4-FFF2-40B4-BE49-F238E27FC236}">
                  <a16:creationId xmlns:a16="http://schemas.microsoft.com/office/drawing/2014/main" id="{86E1CB02-5909-5E4F-0CFF-46FE5A16A10C}"/>
                </a:ext>
              </a:extLst>
            </p:cNvPr>
            <p:cNvSpPr/>
            <p:nvPr/>
          </p:nvSpPr>
          <p:spPr>
            <a:xfrm>
              <a:off x="9191859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3" name="object 1603">
              <a:extLst>
                <a:ext uri="{FF2B5EF4-FFF2-40B4-BE49-F238E27FC236}">
                  <a16:creationId xmlns:a16="http://schemas.microsoft.com/office/drawing/2014/main" id="{4B5728B2-42AC-66BF-2C0F-3AA6A05557A8}"/>
                </a:ext>
              </a:extLst>
            </p:cNvPr>
            <p:cNvSpPr/>
            <p:nvPr/>
          </p:nvSpPr>
          <p:spPr>
            <a:xfrm>
              <a:off x="9472041" y="56701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4" name="object 1604">
              <a:extLst>
                <a:ext uri="{FF2B5EF4-FFF2-40B4-BE49-F238E27FC236}">
                  <a16:creationId xmlns:a16="http://schemas.microsoft.com/office/drawing/2014/main" id="{22E0B314-B4EC-753F-930C-50F4BE59DB1F}"/>
                </a:ext>
              </a:extLst>
            </p:cNvPr>
            <p:cNvSpPr/>
            <p:nvPr/>
          </p:nvSpPr>
          <p:spPr>
            <a:xfrm>
              <a:off x="9297070" y="56701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5" name="object 1605">
              <a:extLst>
                <a:ext uri="{FF2B5EF4-FFF2-40B4-BE49-F238E27FC236}">
                  <a16:creationId xmlns:a16="http://schemas.microsoft.com/office/drawing/2014/main" id="{B317B7BA-9209-76E9-12AE-46924260EE6A}"/>
                </a:ext>
              </a:extLst>
            </p:cNvPr>
            <p:cNvSpPr/>
            <p:nvPr/>
          </p:nvSpPr>
          <p:spPr>
            <a:xfrm>
              <a:off x="9122090" y="56701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6" name="object 1606">
              <a:extLst>
                <a:ext uri="{FF2B5EF4-FFF2-40B4-BE49-F238E27FC236}">
                  <a16:creationId xmlns:a16="http://schemas.microsoft.com/office/drawing/2014/main" id="{7832B5F3-1591-955F-2FA4-0EF2A2CEAD5D}"/>
                </a:ext>
              </a:extLst>
            </p:cNvPr>
            <p:cNvSpPr/>
            <p:nvPr/>
          </p:nvSpPr>
          <p:spPr>
            <a:xfrm>
              <a:off x="9122090" y="569569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7" name="object 1607">
              <a:extLst>
                <a:ext uri="{FF2B5EF4-FFF2-40B4-BE49-F238E27FC236}">
                  <a16:creationId xmlns:a16="http://schemas.microsoft.com/office/drawing/2014/main" id="{8E7D5A3C-31A5-A5D0-AB03-639CA0D044F9}"/>
                </a:ext>
              </a:extLst>
            </p:cNvPr>
            <p:cNvSpPr/>
            <p:nvPr/>
          </p:nvSpPr>
          <p:spPr>
            <a:xfrm>
              <a:off x="9122228" y="5670194"/>
              <a:ext cx="3119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1434"/>
                <a:gd name="f4" fmla="val 84454"/>
                <a:gd name="f5" fmla="val 50836"/>
                <a:gd name="f6" fmla="val 84123"/>
                <a:gd name="f7" fmla="*/ f0 1 51434"/>
                <a:gd name="f8" fmla="*/ f1 1 84454"/>
                <a:gd name="f9" fmla="+- f4 0 f2"/>
                <a:gd name="f10" fmla="+- f3 0 f2"/>
                <a:gd name="f11" fmla="*/ f10 1 514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14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8" name="object 1608">
              <a:extLst>
                <a:ext uri="{FF2B5EF4-FFF2-40B4-BE49-F238E27FC236}">
                  <a16:creationId xmlns:a16="http://schemas.microsoft.com/office/drawing/2014/main" id="{FDAC7B9F-73B8-AB28-FED5-32D502BF9608}"/>
                </a:ext>
              </a:extLst>
            </p:cNvPr>
            <p:cNvSpPr/>
            <p:nvPr/>
          </p:nvSpPr>
          <p:spPr>
            <a:xfrm>
              <a:off x="9122228" y="5742477"/>
              <a:ext cx="277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719"/>
                <a:gd name="f4" fmla="val 84454"/>
                <a:gd name="f5" fmla="val 45286"/>
                <a:gd name="f6" fmla="val 84123"/>
                <a:gd name="f7" fmla="*/ f0 1 45719"/>
                <a:gd name="f8" fmla="*/ f1 1 84454"/>
                <a:gd name="f9" fmla="+- f4 0 f2"/>
                <a:gd name="f10" fmla="+- f3 0 f2"/>
                <a:gd name="f11" fmla="*/ f10 1 457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7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9" name="object 1609">
              <a:extLst>
                <a:ext uri="{FF2B5EF4-FFF2-40B4-BE49-F238E27FC236}">
                  <a16:creationId xmlns:a16="http://schemas.microsoft.com/office/drawing/2014/main" id="{BDEE5DC7-CCF2-B969-DCC4-753CE9E837F5}"/>
                </a:ext>
              </a:extLst>
            </p:cNvPr>
            <p:cNvSpPr/>
            <p:nvPr/>
          </p:nvSpPr>
          <p:spPr>
            <a:xfrm>
              <a:off x="9401650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0" name="object 1610">
              <a:extLst>
                <a:ext uri="{FF2B5EF4-FFF2-40B4-BE49-F238E27FC236}">
                  <a16:creationId xmlns:a16="http://schemas.microsoft.com/office/drawing/2014/main" id="{2774B85B-0C58-DC78-FEFE-9199BA5AFB37}"/>
                </a:ext>
              </a:extLst>
            </p:cNvPr>
            <p:cNvSpPr/>
            <p:nvPr/>
          </p:nvSpPr>
          <p:spPr>
            <a:xfrm>
              <a:off x="9436672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1" name="object 1611">
              <a:extLst>
                <a:ext uri="{FF2B5EF4-FFF2-40B4-BE49-F238E27FC236}">
                  <a16:creationId xmlns:a16="http://schemas.microsoft.com/office/drawing/2014/main" id="{1E0201CA-DF5C-493D-B159-88A1C86AD02E}"/>
                </a:ext>
              </a:extLst>
            </p:cNvPr>
            <p:cNvSpPr/>
            <p:nvPr/>
          </p:nvSpPr>
          <p:spPr>
            <a:xfrm>
              <a:off x="9331607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2" name="object 1612">
              <a:extLst>
                <a:ext uri="{FF2B5EF4-FFF2-40B4-BE49-F238E27FC236}">
                  <a16:creationId xmlns:a16="http://schemas.microsoft.com/office/drawing/2014/main" id="{D1376A8C-FE7C-3CE6-07F7-DD7B71200775}"/>
                </a:ext>
              </a:extLst>
            </p:cNvPr>
            <p:cNvSpPr/>
            <p:nvPr/>
          </p:nvSpPr>
          <p:spPr>
            <a:xfrm>
              <a:off x="9226533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3" name="object 1613">
              <a:extLst>
                <a:ext uri="{FF2B5EF4-FFF2-40B4-BE49-F238E27FC236}">
                  <a16:creationId xmlns:a16="http://schemas.microsoft.com/office/drawing/2014/main" id="{2837FBBF-5993-C5BA-8343-DE2D0FCCAEFA}"/>
                </a:ext>
              </a:extLst>
            </p:cNvPr>
            <p:cNvSpPr/>
            <p:nvPr/>
          </p:nvSpPr>
          <p:spPr>
            <a:xfrm>
              <a:off x="9261628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4" name="object 1614">
              <a:extLst>
                <a:ext uri="{FF2B5EF4-FFF2-40B4-BE49-F238E27FC236}">
                  <a16:creationId xmlns:a16="http://schemas.microsoft.com/office/drawing/2014/main" id="{D6064D25-8133-15A1-E987-11A7545F8F4B}"/>
                </a:ext>
              </a:extLst>
            </p:cNvPr>
            <p:cNvSpPr/>
            <p:nvPr/>
          </p:nvSpPr>
          <p:spPr>
            <a:xfrm>
              <a:off x="9156490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5" name="object 1615">
              <a:extLst>
                <a:ext uri="{FF2B5EF4-FFF2-40B4-BE49-F238E27FC236}">
                  <a16:creationId xmlns:a16="http://schemas.microsoft.com/office/drawing/2014/main" id="{12557039-35BE-F237-7A42-BF1E59F6F0A9}"/>
                </a:ext>
              </a:extLst>
            </p:cNvPr>
            <p:cNvSpPr/>
            <p:nvPr/>
          </p:nvSpPr>
          <p:spPr>
            <a:xfrm>
              <a:off x="9366628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6" name="object 1616">
              <a:extLst>
                <a:ext uri="{FF2B5EF4-FFF2-40B4-BE49-F238E27FC236}">
                  <a16:creationId xmlns:a16="http://schemas.microsoft.com/office/drawing/2014/main" id="{FEA201D4-661A-768E-22A0-EDD141F92986}"/>
                </a:ext>
              </a:extLst>
            </p:cNvPr>
            <p:cNvSpPr/>
            <p:nvPr/>
          </p:nvSpPr>
          <p:spPr>
            <a:xfrm>
              <a:off x="9191512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7" name="object 1617">
              <a:extLst>
                <a:ext uri="{FF2B5EF4-FFF2-40B4-BE49-F238E27FC236}">
                  <a16:creationId xmlns:a16="http://schemas.microsoft.com/office/drawing/2014/main" id="{6ACA2B91-2B78-02F5-C5D4-CBFC3FBE0A97}"/>
                </a:ext>
              </a:extLst>
            </p:cNvPr>
            <p:cNvSpPr/>
            <p:nvPr/>
          </p:nvSpPr>
          <p:spPr>
            <a:xfrm>
              <a:off x="947169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8" name="object 1618">
              <a:extLst>
                <a:ext uri="{FF2B5EF4-FFF2-40B4-BE49-F238E27FC236}">
                  <a16:creationId xmlns:a16="http://schemas.microsoft.com/office/drawing/2014/main" id="{A984F1A5-913F-04BC-7DBE-695E359C7F9F}"/>
                </a:ext>
              </a:extLst>
            </p:cNvPr>
            <p:cNvSpPr/>
            <p:nvPr/>
          </p:nvSpPr>
          <p:spPr>
            <a:xfrm>
              <a:off x="929672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9" name="object 1619">
              <a:extLst>
                <a:ext uri="{FF2B5EF4-FFF2-40B4-BE49-F238E27FC236}">
                  <a16:creationId xmlns:a16="http://schemas.microsoft.com/office/drawing/2014/main" id="{AECA0410-3518-EC75-73B6-012E2257783F}"/>
                </a:ext>
              </a:extLst>
            </p:cNvPr>
            <p:cNvSpPr/>
            <p:nvPr/>
          </p:nvSpPr>
          <p:spPr>
            <a:xfrm>
              <a:off x="912174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0" name="object 1620">
              <a:extLst>
                <a:ext uri="{FF2B5EF4-FFF2-40B4-BE49-F238E27FC236}">
                  <a16:creationId xmlns:a16="http://schemas.microsoft.com/office/drawing/2014/main" id="{96F62AD3-EE6F-FCAB-D9C2-D9F52ACB0CFE}"/>
                </a:ext>
              </a:extLst>
            </p:cNvPr>
            <p:cNvSpPr/>
            <p:nvPr/>
          </p:nvSpPr>
          <p:spPr>
            <a:xfrm>
              <a:off x="929672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1" name="object 1621">
              <a:extLst>
                <a:ext uri="{FF2B5EF4-FFF2-40B4-BE49-F238E27FC236}">
                  <a16:creationId xmlns:a16="http://schemas.microsoft.com/office/drawing/2014/main" id="{9C12CC83-2746-0522-6035-0487F4EB1154}"/>
                </a:ext>
              </a:extLst>
            </p:cNvPr>
            <p:cNvSpPr/>
            <p:nvPr/>
          </p:nvSpPr>
          <p:spPr>
            <a:xfrm>
              <a:off x="9121743" y="576798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22" name="object 1622">
            <a:extLst>
              <a:ext uri="{FF2B5EF4-FFF2-40B4-BE49-F238E27FC236}">
                <a16:creationId xmlns:a16="http://schemas.microsoft.com/office/drawing/2014/main" id="{0CACEE6E-ED09-B9EB-3626-A4CAFC5C21DD}"/>
              </a:ext>
            </a:extLst>
          </p:cNvPr>
          <p:cNvGrpSpPr/>
          <p:nvPr/>
        </p:nvGrpSpPr>
        <p:grpSpPr>
          <a:xfrm>
            <a:off x="9121743" y="6433270"/>
            <a:ext cx="350370" cy="123516"/>
            <a:chOff x="9121743" y="6433270"/>
            <a:chExt cx="350370" cy="123516"/>
          </a:xfrm>
        </p:grpSpPr>
        <p:sp>
          <p:nvSpPr>
            <p:cNvPr id="1623" name="object 1623">
              <a:extLst>
                <a:ext uri="{FF2B5EF4-FFF2-40B4-BE49-F238E27FC236}">
                  <a16:creationId xmlns:a16="http://schemas.microsoft.com/office/drawing/2014/main" id="{82E1FCDE-D096-EB45-2218-421E33939C8B}"/>
                </a:ext>
              </a:extLst>
            </p:cNvPr>
            <p:cNvSpPr/>
            <p:nvPr/>
          </p:nvSpPr>
          <p:spPr>
            <a:xfrm>
              <a:off x="9401988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4" name="object 1624">
              <a:extLst>
                <a:ext uri="{FF2B5EF4-FFF2-40B4-BE49-F238E27FC236}">
                  <a16:creationId xmlns:a16="http://schemas.microsoft.com/office/drawing/2014/main" id="{20826B56-8D9A-3586-E9CD-56AAFB501A5D}"/>
                </a:ext>
              </a:extLst>
            </p:cNvPr>
            <p:cNvSpPr/>
            <p:nvPr/>
          </p:nvSpPr>
          <p:spPr>
            <a:xfrm>
              <a:off x="9437019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5" name="object 1625">
              <a:extLst>
                <a:ext uri="{FF2B5EF4-FFF2-40B4-BE49-F238E27FC236}">
                  <a16:creationId xmlns:a16="http://schemas.microsoft.com/office/drawing/2014/main" id="{918471D7-47C5-667D-7559-4A579DDA4B28}"/>
                </a:ext>
              </a:extLst>
            </p:cNvPr>
            <p:cNvSpPr/>
            <p:nvPr/>
          </p:nvSpPr>
          <p:spPr>
            <a:xfrm>
              <a:off x="9331945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6" name="object 1626">
              <a:extLst>
                <a:ext uri="{FF2B5EF4-FFF2-40B4-BE49-F238E27FC236}">
                  <a16:creationId xmlns:a16="http://schemas.microsoft.com/office/drawing/2014/main" id="{22637FD0-3F35-D76B-92DC-B7AC318F1A99}"/>
                </a:ext>
              </a:extLst>
            </p:cNvPr>
            <p:cNvSpPr/>
            <p:nvPr/>
          </p:nvSpPr>
          <p:spPr>
            <a:xfrm>
              <a:off x="9226881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7" name="object 1627">
              <a:extLst>
                <a:ext uri="{FF2B5EF4-FFF2-40B4-BE49-F238E27FC236}">
                  <a16:creationId xmlns:a16="http://schemas.microsoft.com/office/drawing/2014/main" id="{192D6CA2-F347-293C-BB97-F670A7590982}"/>
                </a:ext>
              </a:extLst>
            </p:cNvPr>
            <p:cNvSpPr/>
            <p:nvPr/>
          </p:nvSpPr>
          <p:spPr>
            <a:xfrm>
              <a:off x="9261975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8" name="object 1628">
              <a:extLst>
                <a:ext uri="{FF2B5EF4-FFF2-40B4-BE49-F238E27FC236}">
                  <a16:creationId xmlns:a16="http://schemas.microsoft.com/office/drawing/2014/main" id="{78789C86-F9DF-8B76-B5FB-AF2B9BDF67BA}"/>
                </a:ext>
              </a:extLst>
            </p:cNvPr>
            <p:cNvSpPr/>
            <p:nvPr/>
          </p:nvSpPr>
          <p:spPr>
            <a:xfrm>
              <a:off x="9156838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9" name="object 1629">
              <a:extLst>
                <a:ext uri="{FF2B5EF4-FFF2-40B4-BE49-F238E27FC236}">
                  <a16:creationId xmlns:a16="http://schemas.microsoft.com/office/drawing/2014/main" id="{D54BE8C4-456C-241E-FAA8-47986F45D2E7}"/>
                </a:ext>
              </a:extLst>
            </p:cNvPr>
            <p:cNvSpPr/>
            <p:nvPr/>
          </p:nvSpPr>
          <p:spPr>
            <a:xfrm>
              <a:off x="9366976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0" name="object 1630">
              <a:extLst>
                <a:ext uri="{FF2B5EF4-FFF2-40B4-BE49-F238E27FC236}">
                  <a16:creationId xmlns:a16="http://schemas.microsoft.com/office/drawing/2014/main" id="{1E97F867-64D5-D06B-072C-89C6360E3349}"/>
                </a:ext>
              </a:extLst>
            </p:cNvPr>
            <p:cNvSpPr/>
            <p:nvPr/>
          </p:nvSpPr>
          <p:spPr>
            <a:xfrm>
              <a:off x="9191859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1" name="object 1631">
              <a:extLst>
                <a:ext uri="{FF2B5EF4-FFF2-40B4-BE49-F238E27FC236}">
                  <a16:creationId xmlns:a16="http://schemas.microsoft.com/office/drawing/2014/main" id="{6348C5F9-05C0-5CB4-7F86-0F4701EB6B23}"/>
                </a:ext>
              </a:extLst>
            </p:cNvPr>
            <p:cNvSpPr/>
            <p:nvPr/>
          </p:nvSpPr>
          <p:spPr>
            <a:xfrm>
              <a:off x="9472041" y="64332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2" name="object 1632">
              <a:extLst>
                <a:ext uri="{FF2B5EF4-FFF2-40B4-BE49-F238E27FC236}">
                  <a16:creationId xmlns:a16="http://schemas.microsoft.com/office/drawing/2014/main" id="{5D856527-650D-DCAE-6D77-AA7052C03AEC}"/>
                </a:ext>
              </a:extLst>
            </p:cNvPr>
            <p:cNvSpPr/>
            <p:nvPr/>
          </p:nvSpPr>
          <p:spPr>
            <a:xfrm>
              <a:off x="9297070" y="64332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3" name="object 1633">
              <a:extLst>
                <a:ext uri="{FF2B5EF4-FFF2-40B4-BE49-F238E27FC236}">
                  <a16:creationId xmlns:a16="http://schemas.microsoft.com/office/drawing/2014/main" id="{9F7818B5-9005-C5DD-2576-86A5F44646EB}"/>
                </a:ext>
              </a:extLst>
            </p:cNvPr>
            <p:cNvSpPr/>
            <p:nvPr/>
          </p:nvSpPr>
          <p:spPr>
            <a:xfrm>
              <a:off x="9122090" y="64332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4" name="object 1634">
              <a:extLst>
                <a:ext uri="{FF2B5EF4-FFF2-40B4-BE49-F238E27FC236}">
                  <a16:creationId xmlns:a16="http://schemas.microsoft.com/office/drawing/2014/main" id="{BAB01CF2-E48B-3C9D-2B75-058B7F0673AB}"/>
                </a:ext>
              </a:extLst>
            </p:cNvPr>
            <p:cNvSpPr/>
            <p:nvPr/>
          </p:nvSpPr>
          <p:spPr>
            <a:xfrm>
              <a:off x="9122090" y="64587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5" name="object 1635">
              <a:extLst>
                <a:ext uri="{FF2B5EF4-FFF2-40B4-BE49-F238E27FC236}">
                  <a16:creationId xmlns:a16="http://schemas.microsoft.com/office/drawing/2014/main" id="{C1DB3157-0F01-8186-24FD-A101A413393C}"/>
                </a:ext>
              </a:extLst>
            </p:cNvPr>
            <p:cNvSpPr/>
            <p:nvPr/>
          </p:nvSpPr>
          <p:spPr>
            <a:xfrm>
              <a:off x="9122228" y="6433270"/>
              <a:ext cx="5544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91440"/>
                <a:gd name="f4" fmla="val 84454"/>
                <a:gd name="f5" fmla="val 90929"/>
                <a:gd name="f6" fmla="val 84123"/>
                <a:gd name="f7" fmla="*/ f0 1 91440"/>
                <a:gd name="f8" fmla="*/ f1 1 84454"/>
                <a:gd name="f9" fmla="+- f4 0 f2"/>
                <a:gd name="f10" fmla="+- f3 0 f2"/>
                <a:gd name="f11" fmla="*/ f10 1 9144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9144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6" name="object 1636">
              <a:extLst>
                <a:ext uri="{FF2B5EF4-FFF2-40B4-BE49-F238E27FC236}">
                  <a16:creationId xmlns:a16="http://schemas.microsoft.com/office/drawing/2014/main" id="{11737EFF-E509-DEE6-4B86-EB419A1FD4F5}"/>
                </a:ext>
              </a:extLst>
            </p:cNvPr>
            <p:cNvSpPr/>
            <p:nvPr/>
          </p:nvSpPr>
          <p:spPr>
            <a:xfrm>
              <a:off x="9122228" y="6505571"/>
              <a:ext cx="277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719"/>
                <a:gd name="f4" fmla="val 84454"/>
                <a:gd name="f5" fmla="val 45286"/>
                <a:gd name="f6" fmla="val 84123"/>
                <a:gd name="f7" fmla="*/ f0 1 45719"/>
                <a:gd name="f8" fmla="*/ f1 1 84454"/>
                <a:gd name="f9" fmla="+- f4 0 f2"/>
                <a:gd name="f10" fmla="+- f3 0 f2"/>
                <a:gd name="f11" fmla="*/ f10 1 457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7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7" name="object 1637">
              <a:extLst>
                <a:ext uri="{FF2B5EF4-FFF2-40B4-BE49-F238E27FC236}">
                  <a16:creationId xmlns:a16="http://schemas.microsoft.com/office/drawing/2014/main" id="{01E9552A-6813-4247-E210-6E238032E652}"/>
                </a:ext>
              </a:extLst>
            </p:cNvPr>
            <p:cNvSpPr/>
            <p:nvPr/>
          </p:nvSpPr>
          <p:spPr>
            <a:xfrm>
              <a:off x="9401650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8" name="object 1638">
              <a:extLst>
                <a:ext uri="{FF2B5EF4-FFF2-40B4-BE49-F238E27FC236}">
                  <a16:creationId xmlns:a16="http://schemas.microsoft.com/office/drawing/2014/main" id="{91709DF5-9654-20A4-0E36-DAAEF3D8CAD2}"/>
                </a:ext>
              </a:extLst>
            </p:cNvPr>
            <p:cNvSpPr/>
            <p:nvPr/>
          </p:nvSpPr>
          <p:spPr>
            <a:xfrm>
              <a:off x="9436672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9" name="object 1639">
              <a:extLst>
                <a:ext uri="{FF2B5EF4-FFF2-40B4-BE49-F238E27FC236}">
                  <a16:creationId xmlns:a16="http://schemas.microsoft.com/office/drawing/2014/main" id="{E5AB673F-E438-0B4C-B126-BB1C74E778F6}"/>
                </a:ext>
              </a:extLst>
            </p:cNvPr>
            <p:cNvSpPr/>
            <p:nvPr/>
          </p:nvSpPr>
          <p:spPr>
            <a:xfrm>
              <a:off x="9331607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0" name="object 1640">
              <a:extLst>
                <a:ext uri="{FF2B5EF4-FFF2-40B4-BE49-F238E27FC236}">
                  <a16:creationId xmlns:a16="http://schemas.microsoft.com/office/drawing/2014/main" id="{AD8E25BE-DFA9-0993-E5FB-1A087B16A406}"/>
                </a:ext>
              </a:extLst>
            </p:cNvPr>
            <p:cNvSpPr/>
            <p:nvPr/>
          </p:nvSpPr>
          <p:spPr>
            <a:xfrm>
              <a:off x="9226533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1" name="object 1641">
              <a:extLst>
                <a:ext uri="{FF2B5EF4-FFF2-40B4-BE49-F238E27FC236}">
                  <a16:creationId xmlns:a16="http://schemas.microsoft.com/office/drawing/2014/main" id="{C8C72844-79EA-E0AE-303F-7C0AE0D77C6A}"/>
                </a:ext>
              </a:extLst>
            </p:cNvPr>
            <p:cNvSpPr/>
            <p:nvPr/>
          </p:nvSpPr>
          <p:spPr>
            <a:xfrm>
              <a:off x="9261628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2" name="object 1642">
              <a:extLst>
                <a:ext uri="{FF2B5EF4-FFF2-40B4-BE49-F238E27FC236}">
                  <a16:creationId xmlns:a16="http://schemas.microsoft.com/office/drawing/2014/main" id="{B1EAFEDB-9E29-43B2-9CF5-88E7ECC4A97D}"/>
                </a:ext>
              </a:extLst>
            </p:cNvPr>
            <p:cNvSpPr/>
            <p:nvPr/>
          </p:nvSpPr>
          <p:spPr>
            <a:xfrm>
              <a:off x="9156490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3" name="object 1643">
              <a:extLst>
                <a:ext uri="{FF2B5EF4-FFF2-40B4-BE49-F238E27FC236}">
                  <a16:creationId xmlns:a16="http://schemas.microsoft.com/office/drawing/2014/main" id="{4E965F7D-6507-D7C6-4085-F8D6328E4A1F}"/>
                </a:ext>
              </a:extLst>
            </p:cNvPr>
            <p:cNvSpPr/>
            <p:nvPr/>
          </p:nvSpPr>
          <p:spPr>
            <a:xfrm>
              <a:off x="9366628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4" name="object 1644">
              <a:extLst>
                <a:ext uri="{FF2B5EF4-FFF2-40B4-BE49-F238E27FC236}">
                  <a16:creationId xmlns:a16="http://schemas.microsoft.com/office/drawing/2014/main" id="{90EDFF80-7236-10EA-3023-37615CD79D80}"/>
                </a:ext>
              </a:extLst>
            </p:cNvPr>
            <p:cNvSpPr/>
            <p:nvPr/>
          </p:nvSpPr>
          <p:spPr>
            <a:xfrm>
              <a:off x="9191512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5" name="object 1645">
              <a:extLst>
                <a:ext uri="{FF2B5EF4-FFF2-40B4-BE49-F238E27FC236}">
                  <a16:creationId xmlns:a16="http://schemas.microsoft.com/office/drawing/2014/main" id="{4CBC068C-1BDC-4E7C-2D8D-6EE86CCD7DD6}"/>
                </a:ext>
              </a:extLst>
            </p:cNvPr>
            <p:cNvSpPr/>
            <p:nvPr/>
          </p:nvSpPr>
          <p:spPr>
            <a:xfrm>
              <a:off x="947169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6" name="object 1646">
              <a:extLst>
                <a:ext uri="{FF2B5EF4-FFF2-40B4-BE49-F238E27FC236}">
                  <a16:creationId xmlns:a16="http://schemas.microsoft.com/office/drawing/2014/main" id="{997FBD7C-1BB5-A6AE-1A67-D7FE7A5932C2}"/>
                </a:ext>
              </a:extLst>
            </p:cNvPr>
            <p:cNvSpPr/>
            <p:nvPr/>
          </p:nvSpPr>
          <p:spPr>
            <a:xfrm>
              <a:off x="929672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7" name="object 1647">
              <a:extLst>
                <a:ext uri="{FF2B5EF4-FFF2-40B4-BE49-F238E27FC236}">
                  <a16:creationId xmlns:a16="http://schemas.microsoft.com/office/drawing/2014/main" id="{24C2FD30-7248-F7DA-6205-799D745F6D6C}"/>
                </a:ext>
              </a:extLst>
            </p:cNvPr>
            <p:cNvSpPr/>
            <p:nvPr/>
          </p:nvSpPr>
          <p:spPr>
            <a:xfrm>
              <a:off x="912174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8" name="object 1648">
              <a:extLst>
                <a:ext uri="{FF2B5EF4-FFF2-40B4-BE49-F238E27FC236}">
                  <a16:creationId xmlns:a16="http://schemas.microsoft.com/office/drawing/2014/main" id="{5F89C979-02E1-CC58-8887-76C818318CF1}"/>
                </a:ext>
              </a:extLst>
            </p:cNvPr>
            <p:cNvSpPr/>
            <p:nvPr/>
          </p:nvSpPr>
          <p:spPr>
            <a:xfrm>
              <a:off x="929672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9" name="object 1649">
              <a:extLst>
                <a:ext uri="{FF2B5EF4-FFF2-40B4-BE49-F238E27FC236}">
                  <a16:creationId xmlns:a16="http://schemas.microsoft.com/office/drawing/2014/main" id="{5159A031-B0E8-FF15-B56C-4185C55B6A10}"/>
                </a:ext>
              </a:extLst>
            </p:cNvPr>
            <p:cNvSpPr/>
            <p:nvPr/>
          </p:nvSpPr>
          <p:spPr>
            <a:xfrm>
              <a:off x="9121743" y="65310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50" name="object 1650">
            <a:extLst>
              <a:ext uri="{FF2B5EF4-FFF2-40B4-BE49-F238E27FC236}">
                <a16:creationId xmlns:a16="http://schemas.microsoft.com/office/drawing/2014/main" id="{A824ECC3-8CA2-43FA-8E2D-3592896C73B9}"/>
              </a:ext>
            </a:extLst>
          </p:cNvPr>
          <p:cNvGrpSpPr/>
          <p:nvPr/>
        </p:nvGrpSpPr>
        <p:grpSpPr>
          <a:xfrm>
            <a:off x="9943048" y="4906542"/>
            <a:ext cx="350370" cy="123516"/>
            <a:chOff x="9943048" y="4906542"/>
            <a:chExt cx="350370" cy="123516"/>
          </a:xfrm>
        </p:grpSpPr>
        <p:sp>
          <p:nvSpPr>
            <p:cNvPr id="1651" name="object 1651">
              <a:extLst>
                <a:ext uri="{FF2B5EF4-FFF2-40B4-BE49-F238E27FC236}">
                  <a16:creationId xmlns:a16="http://schemas.microsoft.com/office/drawing/2014/main" id="{D151E222-94CD-DA3D-9537-7DB68BA970F9}"/>
                </a:ext>
              </a:extLst>
            </p:cNvPr>
            <p:cNvSpPr/>
            <p:nvPr/>
          </p:nvSpPr>
          <p:spPr>
            <a:xfrm>
              <a:off x="10223293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2" name="object 1652">
              <a:extLst>
                <a:ext uri="{FF2B5EF4-FFF2-40B4-BE49-F238E27FC236}">
                  <a16:creationId xmlns:a16="http://schemas.microsoft.com/office/drawing/2014/main" id="{9F6D6EEA-AF88-E8ED-8EA0-E70B7B7BD0BF}"/>
                </a:ext>
              </a:extLst>
            </p:cNvPr>
            <p:cNvSpPr/>
            <p:nvPr/>
          </p:nvSpPr>
          <p:spPr>
            <a:xfrm>
              <a:off x="10258315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3" name="object 1653">
              <a:extLst>
                <a:ext uri="{FF2B5EF4-FFF2-40B4-BE49-F238E27FC236}">
                  <a16:creationId xmlns:a16="http://schemas.microsoft.com/office/drawing/2014/main" id="{85AA5224-CC41-CF22-1AE6-AB79CEAC46E5}"/>
                </a:ext>
              </a:extLst>
            </p:cNvPr>
            <p:cNvSpPr/>
            <p:nvPr/>
          </p:nvSpPr>
          <p:spPr>
            <a:xfrm>
              <a:off x="10153241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4" name="object 1654">
              <a:extLst>
                <a:ext uri="{FF2B5EF4-FFF2-40B4-BE49-F238E27FC236}">
                  <a16:creationId xmlns:a16="http://schemas.microsoft.com/office/drawing/2014/main" id="{6864ED28-DC05-3E79-4BEC-6C1F0C905A7D}"/>
                </a:ext>
              </a:extLst>
            </p:cNvPr>
            <p:cNvSpPr/>
            <p:nvPr/>
          </p:nvSpPr>
          <p:spPr>
            <a:xfrm>
              <a:off x="10048177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5" name="object 1655">
              <a:extLst>
                <a:ext uri="{FF2B5EF4-FFF2-40B4-BE49-F238E27FC236}">
                  <a16:creationId xmlns:a16="http://schemas.microsoft.com/office/drawing/2014/main" id="{DDE2C019-F437-18BB-9D6F-76CED93F778C}"/>
                </a:ext>
              </a:extLst>
            </p:cNvPr>
            <p:cNvSpPr/>
            <p:nvPr/>
          </p:nvSpPr>
          <p:spPr>
            <a:xfrm>
              <a:off x="10083271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6" name="object 1656">
              <a:extLst>
                <a:ext uri="{FF2B5EF4-FFF2-40B4-BE49-F238E27FC236}">
                  <a16:creationId xmlns:a16="http://schemas.microsoft.com/office/drawing/2014/main" id="{61BDAE34-18EB-3248-9499-D16A168BE4B1}"/>
                </a:ext>
              </a:extLst>
            </p:cNvPr>
            <p:cNvSpPr/>
            <p:nvPr/>
          </p:nvSpPr>
          <p:spPr>
            <a:xfrm>
              <a:off x="9978133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7" name="object 1657">
              <a:extLst>
                <a:ext uri="{FF2B5EF4-FFF2-40B4-BE49-F238E27FC236}">
                  <a16:creationId xmlns:a16="http://schemas.microsoft.com/office/drawing/2014/main" id="{C10D4A19-34A1-7D30-46B4-64F783CC72A4}"/>
                </a:ext>
              </a:extLst>
            </p:cNvPr>
            <p:cNvSpPr/>
            <p:nvPr/>
          </p:nvSpPr>
          <p:spPr>
            <a:xfrm>
              <a:off x="10188263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8" name="object 1658">
              <a:extLst>
                <a:ext uri="{FF2B5EF4-FFF2-40B4-BE49-F238E27FC236}">
                  <a16:creationId xmlns:a16="http://schemas.microsoft.com/office/drawing/2014/main" id="{BFB6FBEB-458D-2F0D-2F7B-B4C394816FBB}"/>
                </a:ext>
              </a:extLst>
            </p:cNvPr>
            <p:cNvSpPr/>
            <p:nvPr/>
          </p:nvSpPr>
          <p:spPr>
            <a:xfrm>
              <a:off x="10013155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9" name="object 1659">
              <a:extLst>
                <a:ext uri="{FF2B5EF4-FFF2-40B4-BE49-F238E27FC236}">
                  <a16:creationId xmlns:a16="http://schemas.microsoft.com/office/drawing/2014/main" id="{BB4E0970-EF0E-C674-1973-45ADE73B2C2F}"/>
                </a:ext>
              </a:extLst>
            </p:cNvPr>
            <p:cNvSpPr/>
            <p:nvPr/>
          </p:nvSpPr>
          <p:spPr>
            <a:xfrm>
              <a:off x="10293336" y="490654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0" name="object 1660">
              <a:extLst>
                <a:ext uri="{FF2B5EF4-FFF2-40B4-BE49-F238E27FC236}">
                  <a16:creationId xmlns:a16="http://schemas.microsoft.com/office/drawing/2014/main" id="{0A94E4B8-0AA7-90B0-02E6-1AF8D16E1580}"/>
                </a:ext>
              </a:extLst>
            </p:cNvPr>
            <p:cNvSpPr/>
            <p:nvPr/>
          </p:nvSpPr>
          <p:spPr>
            <a:xfrm>
              <a:off x="10118366" y="490654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1" name="object 1661">
              <a:extLst>
                <a:ext uri="{FF2B5EF4-FFF2-40B4-BE49-F238E27FC236}">
                  <a16:creationId xmlns:a16="http://schemas.microsoft.com/office/drawing/2014/main" id="{ADC3D8F0-0348-1AEC-BC10-2B24759BA2C7}"/>
                </a:ext>
              </a:extLst>
            </p:cNvPr>
            <p:cNvSpPr/>
            <p:nvPr/>
          </p:nvSpPr>
          <p:spPr>
            <a:xfrm>
              <a:off x="9943386" y="490654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2" name="object 1662">
              <a:extLst>
                <a:ext uri="{FF2B5EF4-FFF2-40B4-BE49-F238E27FC236}">
                  <a16:creationId xmlns:a16="http://schemas.microsoft.com/office/drawing/2014/main" id="{B69B8E85-24E3-08A0-FA7C-F335ECD7A701}"/>
                </a:ext>
              </a:extLst>
            </p:cNvPr>
            <p:cNvSpPr/>
            <p:nvPr/>
          </p:nvSpPr>
          <p:spPr>
            <a:xfrm>
              <a:off x="9943395" y="493205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3" name="object 1663">
              <a:extLst>
                <a:ext uri="{FF2B5EF4-FFF2-40B4-BE49-F238E27FC236}">
                  <a16:creationId xmlns:a16="http://schemas.microsoft.com/office/drawing/2014/main" id="{CB76AB88-4445-0721-2CE5-AA2CC9C6D7A6}"/>
                </a:ext>
              </a:extLst>
            </p:cNvPr>
            <p:cNvSpPr/>
            <p:nvPr/>
          </p:nvSpPr>
          <p:spPr>
            <a:xfrm>
              <a:off x="9943514" y="4906551"/>
              <a:ext cx="3773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2230"/>
                <a:gd name="f4" fmla="val 84454"/>
                <a:gd name="f5" fmla="val 62197"/>
                <a:gd name="f6" fmla="val 84123"/>
                <a:gd name="f7" fmla="*/ f0 1 62230"/>
                <a:gd name="f8" fmla="*/ f1 1 84454"/>
                <a:gd name="f9" fmla="+- f4 0 f2"/>
                <a:gd name="f10" fmla="+- f3 0 f2"/>
                <a:gd name="f11" fmla="*/ f10 1 622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22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4" name="object 1664">
              <a:extLst>
                <a:ext uri="{FF2B5EF4-FFF2-40B4-BE49-F238E27FC236}">
                  <a16:creationId xmlns:a16="http://schemas.microsoft.com/office/drawing/2014/main" id="{D7E96EAC-A251-8C0E-97BB-49AC16F2F779}"/>
                </a:ext>
              </a:extLst>
            </p:cNvPr>
            <p:cNvSpPr/>
            <p:nvPr/>
          </p:nvSpPr>
          <p:spPr>
            <a:xfrm>
              <a:off x="9943514" y="4978834"/>
              <a:ext cx="6199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2234"/>
                <a:gd name="f4" fmla="val 84454"/>
                <a:gd name="f5" fmla="val 101766"/>
                <a:gd name="f6" fmla="val 84123"/>
                <a:gd name="f7" fmla="*/ f0 1 102234"/>
                <a:gd name="f8" fmla="*/ f1 1 84454"/>
                <a:gd name="f9" fmla="+- f4 0 f2"/>
                <a:gd name="f10" fmla="+- f3 0 f2"/>
                <a:gd name="f11" fmla="*/ f10 1 1022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22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5" name="object 1665">
              <a:extLst>
                <a:ext uri="{FF2B5EF4-FFF2-40B4-BE49-F238E27FC236}">
                  <a16:creationId xmlns:a16="http://schemas.microsoft.com/office/drawing/2014/main" id="{E83EB39A-E930-E73F-771C-56FF8FAA107E}"/>
                </a:ext>
              </a:extLst>
            </p:cNvPr>
            <p:cNvSpPr/>
            <p:nvPr/>
          </p:nvSpPr>
          <p:spPr>
            <a:xfrm>
              <a:off x="10222946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6" name="object 1666">
              <a:extLst>
                <a:ext uri="{FF2B5EF4-FFF2-40B4-BE49-F238E27FC236}">
                  <a16:creationId xmlns:a16="http://schemas.microsoft.com/office/drawing/2014/main" id="{B3769A52-89EB-AEC5-428B-35FEDC3B50D2}"/>
                </a:ext>
              </a:extLst>
            </p:cNvPr>
            <p:cNvSpPr/>
            <p:nvPr/>
          </p:nvSpPr>
          <p:spPr>
            <a:xfrm>
              <a:off x="10257967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7" name="object 1667">
              <a:extLst>
                <a:ext uri="{FF2B5EF4-FFF2-40B4-BE49-F238E27FC236}">
                  <a16:creationId xmlns:a16="http://schemas.microsoft.com/office/drawing/2014/main" id="{EB8A589F-FFB9-0885-FFE9-AD1480C7C70B}"/>
                </a:ext>
              </a:extLst>
            </p:cNvPr>
            <p:cNvSpPr/>
            <p:nvPr/>
          </p:nvSpPr>
          <p:spPr>
            <a:xfrm>
              <a:off x="10152903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8" name="object 1668">
              <a:extLst>
                <a:ext uri="{FF2B5EF4-FFF2-40B4-BE49-F238E27FC236}">
                  <a16:creationId xmlns:a16="http://schemas.microsoft.com/office/drawing/2014/main" id="{E61C35C8-6027-9558-A23D-8D57844E7823}"/>
                </a:ext>
              </a:extLst>
            </p:cNvPr>
            <p:cNvSpPr/>
            <p:nvPr/>
          </p:nvSpPr>
          <p:spPr>
            <a:xfrm>
              <a:off x="10047829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9" name="object 1669">
              <a:extLst>
                <a:ext uri="{FF2B5EF4-FFF2-40B4-BE49-F238E27FC236}">
                  <a16:creationId xmlns:a16="http://schemas.microsoft.com/office/drawing/2014/main" id="{3E141FA5-307F-4E78-57AC-1A210984F877}"/>
                </a:ext>
              </a:extLst>
            </p:cNvPr>
            <p:cNvSpPr/>
            <p:nvPr/>
          </p:nvSpPr>
          <p:spPr>
            <a:xfrm>
              <a:off x="10082924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0" name="object 1670">
              <a:extLst>
                <a:ext uri="{FF2B5EF4-FFF2-40B4-BE49-F238E27FC236}">
                  <a16:creationId xmlns:a16="http://schemas.microsoft.com/office/drawing/2014/main" id="{B0C27D51-D4F7-ADC7-4D0B-F529657C7CFE}"/>
                </a:ext>
              </a:extLst>
            </p:cNvPr>
            <p:cNvSpPr/>
            <p:nvPr/>
          </p:nvSpPr>
          <p:spPr>
            <a:xfrm>
              <a:off x="9977786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1" name="object 1671">
              <a:extLst>
                <a:ext uri="{FF2B5EF4-FFF2-40B4-BE49-F238E27FC236}">
                  <a16:creationId xmlns:a16="http://schemas.microsoft.com/office/drawing/2014/main" id="{42B0A016-22C3-E4C7-C31A-61D3E827178D}"/>
                </a:ext>
              </a:extLst>
            </p:cNvPr>
            <p:cNvSpPr/>
            <p:nvPr/>
          </p:nvSpPr>
          <p:spPr>
            <a:xfrm>
              <a:off x="10187924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2" name="object 1672">
              <a:extLst>
                <a:ext uri="{FF2B5EF4-FFF2-40B4-BE49-F238E27FC236}">
                  <a16:creationId xmlns:a16="http://schemas.microsoft.com/office/drawing/2014/main" id="{7DA2A591-608D-22F9-44DF-0795580FEB4B}"/>
                </a:ext>
              </a:extLst>
            </p:cNvPr>
            <p:cNvSpPr/>
            <p:nvPr/>
          </p:nvSpPr>
          <p:spPr>
            <a:xfrm>
              <a:off x="10012808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3" name="object 1673">
              <a:extLst>
                <a:ext uri="{FF2B5EF4-FFF2-40B4-BE49-F238E27FC236}">
                  <a16:creationId xmlns:a16="http://schemas.microsoft.com/office/drawing/2014/main" id="{C86390C1-6CB5-1E4A-DB76-E193DE8FBB82}"/>
                </a:ext>
              </a:extLst>
            </p:cNvPr>
            <p:cNvSpPr/>
            <p:nvPr/>
          </p:nvSpPr>
          <p:spPr>
            <a:xfrm>
              <a:off x="10292989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4" name="object 1674">
              <a:extLst>
                <a:ext uri="{FF2B5EF4-FFF2-40B4-BE49-F238E27FC236}">
                  <a16:creationId xmlns:a16="http://schemas.microsoft.com/office/drawing/2014/main" id="{D58D8F9B-8085-D259-6D24-10E79FF71F1A}"/>
                </a:ext>
              </a:extLst>
            </p:cNvPr>
            <p:cNvSpPr/>
            <p:nvPr/>
          </p:nvSpPr>
          <p:spPr>
            <a:xfrm>
              <a:off x="10118018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5" name="object 1675">
              <a:extLst>
                <a:ext uri="{FF2B5EF4-FFF2-40B4-BE49-F238E27FC236}">
                  <a16:creationId xmlns:a16="http://schemas.microsoft.com/office/drawing/2014/main" id="{D4A83E86-10B4-0853-8E63-013A89C99788}"/>
                </a:ext>
              </a:extLst>
            </p:cNvPr>
            <p:cNvSpPr/>
            <p:nvPr/>
          </p:nvSpPr>
          <p:spPr>
            <a:xfrm>
              <a:off x="9943048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6" name="object 1676">
              <a:extLst>
                <a:ext uri="{FF2B5EF4-FFF2-40B4-BE49-F238E27FC236}">
                  <a16:creationId xmlns:a16="http://schemas.microsoft.com/office/drawing/2014/main" id="{9FF449B3-D849-7FC0-8591-238141051A4D}"/>
                </a:ext>
              </a:extLst>
            </p:cNvPr>
            <p:cNvSpPr/>
            <p:nvPr/>
          </p:nvSpPr>
          <p:spPr>
            <a:xfrm>
              <a:off x="10118018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7" name="object 1677">
              <a:extLst>
                <a:ext uri="{FF2B5EF4-FFF2-40B4-BE49-F238E27FC236}">
                  <a16:creationId xmlns:a16="http://schemas.microsoft.com/office/drawing/2014/main" id="{86119856-6AB7-77B1-933D-8FE7F2272F31}"/>
                </a:ext>
              </a:extLst>
            </p:cNvPr>
            <p:cNvSpPr/>
            <p:nvPr/>
          </p:nvSpPr>
          <p:spPr>
            <a:xfrm>
              <a:off x="9943048" y="500434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78" name="object 1678">
            <a:extLst>
              <a:ext uri="{FF2B5EF4-FFF2-40B4-BE49-F238E27FC236}">
                <a16:creationId xmlns:a16="http://schemas.microsoft.com/office/drawing/2014/main" id="{49603D75-D1AF-E74F-7DE9-E7829434B2DB}"/>
              </a:ext>
            </a:extLst>
          </p:cNvPr>
          <p:cNvGrpSpPr/>
          <p:nvPr/>
        </p:nvGrpSpPr>
        <p:grpSpPr>
          <a:xfrm>
            <a:off x="2545241" y="565547"/>
            <a:ext cx="7748177" cy="5226463"/>
            <a:chOff x="2545241" y="565547"/>
            <a:chExt cx="7748177" cy="5226463"/>
          </a:xfrm>
        </p:grpSpPr>
        <p:sp>
          <p:nvSpPr>
            <p:cNvPr id="1679" name="object 1679">
              <a:extLst>
                <a:ext uri="{FF2B5EF4-FFF2-40B4-BE49-F238E27FC236}">
                  <a16:creationId xmlns:a16="http://schemas.microsoft.com/office/drawing/2014/main" id="{F7F4F627-0D1F-055C-D42F-20535979ABF5}"/>
                </a:ext>
              </a:extLst>
            </p:cNvPr>
            <p:cNvSpPr/>
            <p:nvPr/>
          </p:nvSpPr>
          <p:spPr>
            <a:xfrm>
              <a:off x="4470062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0" name="object 1680">
              <a:extLst>
                <a:ext uri="{FF2B5EF4-FFF2-40B4-BE49-F238E27FC236}">
                  <a16:creationId xmlns:a16="http://schemas.microsoft.com/office/drawing/2014/main" id="{BBB8659A-67BE-7187-CE00-D5401C4269DF}"/>
                </a:ext>
              </a:extLst>
            </p:cNvPr>
            <p:cNvSpPr/>
            <p:nvPr/>
          </p:nvSpPr>
          <p:spPr>
            <a:xfrm>
              <a:off x="4505084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1" name="object 1681">
              <a:extLst>
                <a:ext uri="{FF2B5EF4-FFF2-40B4-BE49-F238E27FC236}">
                  <a16:creationId xmlns:a16="http://schemas.microsoft.com/office/drawing/2014/main" id="{B8C3C2F1-B0C9-0954-D9DF-6C71474562F9}"/>
                </a:ext>
              </a:extLst>
            </p:cNvPr>
            <p:cNvSpPr/>
            <p:nvPr/>
          </p:nvSpPr>
          <p:spPr>
            <a:xfrm>
              <a:off x="4400019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2" name="object 1682">
              <a:extLst>
                <a:ext uri="{FF2B5EF4-FFF2-40B4-BE49-F238E27FC236}">
                  <a16:creationId xmlns:a16="http://schemas.microsoft.com/office/drawing/2014/main" id="{7CD402E4-AC04-A96C-1439-316F13DBA671}"/>
                </a:ext>
              </a:extLst>
            </p:cNvPr>
            <p:cNvSpPr/>
            <p:nvPr/>
          </p:nvSpPr>
          <p:spPr>
            <a:xfrm>
              <a:off x="4294955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3" name="object 1683">
              <a:extLst>
                <a:ext uri="{FF2B5EF4-FFF2-40B4-BE49-F238E27FC236}">
                  <a16:creationId xmlns:a16="http://schemas.microsoft.com/office/drawing/2014/main" id="{F8D9D1F9-1F2B-1B08-12DA-77DA3CB263E7}"/>
                </a:ext>
              </a:extLst>
            </p:cNvPr>
            <p:cNvSpPr/>
            <p:nvPr/>
          </p:nvSpPr>
          <p:spPr>
            <a:xfrm>
              <a:off x="4330049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4" name="object 1684">
              <a:extLst>
                <a:ext uri="{FF2B5EF4-FFF2-40B4-BE49-F238E27FC236}">
                  <a16:creationId xmlns:a16="http://schemas.microsoft.com/office/drawing/2014/main" id="{CB5DD98A-7AC6-2EEA-7C6E-C1D5E3870536}"/>
                </a:ext>
              </a:extLst>
            </p:cNvPr>
            <p:cNvSpPr/>
            <p:nvPr/>
          </p:nvSpPr>
          <p:spPr>
            <a:xfrm>
              <a:off x="4224912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5" name="object 1685">
              <a:extLst>
                <a:ext uri="{FF2B5EF4-FFF2-40B4-BE49-F238E27FC236}">
                  <a16:creationId xmlns:a16="http://schemas.microsoft.com/office/drawing/2014/main" id="{6954F6F1-6AA5-7782-C4BF-5A8C0F376BF4}"/>
                </a:ext>
              </a:extLst>
            </p:cNvPr>
            <p:cNvSpPr/>
            <p:nvPr/>
          </p:nvSpPr>
          <p:spPr>
            <a:xfrm>
              <a:off x="4435041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6" name="object 1686">
              <a:extLst>
                <a:ext uri="{FF2B5EF4-FFF2-40B4-BE49-F238E27FC236}">
                  <a16:creationId xmlns:a16="http://schemas.microsoft.com/office/drawing/2014/main" id="{869CA006-B474-0A2A-1F4F-5BE2A4C5750C}"/>
                </a:ext>
              </a:extLst>
            </p:cNvPr>
            <p:cNvSpPr/>
            <p:nvPr/>
          </p:nvSpPr>
          <p:spPr>
            <a:xfrm>
              <a:off x="4259933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7" name="object 1687">
              <a:extLst>
                <a:ext uri="{FF2B5EF4-FFF2-40B4-BE49-F238E27FC236}">
                  <a16:creationId xmlns:a16="http://schemas.microsoft.com/office/drawing/2014/main" id="{0833AC54-5FDB-2C78-9684-BC3096F323FD}"/>
                </a:ext>
              </a:extLst>
            </p:cNvPr>
            <p:cNvSpPr/>
            <p:nvPr/>
          </p:nvSpPr>
          <p:spPr>
            <a:xfrm>
              <a:off x="4540105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8" name="object 1688">
              <a:extLst>
                <a:ext uri="{FF2B5EF4-FFF2-40B4-BE49-F238E27FC236}">
                  <a16:creationId xmlns:a16="http://schemas.microsoft.com/office/drawing/2014/main" id="{1DC3F0FF-7CD8-5B07-4967-E1476FB81E50}"/>
                </a:ext>
              </a:extLst>
            </p:cNvPr>
            <p:cNvSpPr/>
            <p:nvPr/>
          </p:nvSpPr>
          <p:spPr>
            <a:xfrm>
              <a:off x="4365135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9" name="object 1689">
              <a:extLst>
                <a:ext uri="{FF2B5EF4-FFF2-40B4-BE49-F238E27FC236}">
                  <a16:creationId xmlns:a16="http://schemas.microsoft.com/office/drawing/2014/main" id="{4B85D552-96C2-63EF-65FF-6E4D3969FF4F}"/>
                </a:ext>
              </a:extLst>
            </p:cNvPr>
            <p:cNvSpPr/>
            <p:nvPr/>
          </p:nvSpPr>
          <p:spPr>
            <a:xfrm>
              <a:off x="4190164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0" name="object 1690">
              <a:extLst>
                <a:ext uri="{FF2B5EF4-FFF2-40B4-BE49-F238E27FC236}">
                  <a16:creationId xmlns:a16="http://schemas.microsoft.com/office/drawing/2014/main" id="{EEE89655-5B95-90DF-203B-D900F93345EF}"/>
                </a:ext>
              </a:extLst>
            </p:cNvPr>
            <p:cNvSpPr/>
            <p:nvPr/>
          </p:nvSpPr>
          <p:spPr>
            <a:xfrm>
              <a:off x="4365135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1" name="object 1691">
              <a:extLst>
                <a:ext uri="{FF2B5EF4-FFF2-40B4-BE49-F238E27FC236}">
                  <a16:creationId xmlns:a16="http://schemas.microsoft.com/office/drawing/2014/main" id="{8E9101C7-BCAE-5B4C-3A46-D804E563B16A}"/>
                </a:ext>
              </a:extLst>
            </p:cNvPr>
            <p:cNvSpPr/>
            <p:nvPr/>
          </p:nvSpPr>
          <p:spPr>
            <a:xfrm>
              <a:off x="4190164" y="500342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2" name="object 1692">
              <a:extLst>
                <a:ext uri="{FF2B5EF4-FFF2-40B4-BE49-F238E27FC236}">
                  <a16:creationId xmlns:a16="http://schemas.microsoft.com/office/drawing/2014/main" id="{59E7A389-C68B-ACB4-807A-591C0625BACE}"/>
                </a:ext>
              </a:extLst>
            </p:cNvPr>
            <p:cNvSpPr/>
            <p:nvPr/>
          </p:nvSpPr>
          <p:spPr>
            <a:xfrm>
              <a:off x="4471946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3" name="object 1693">
              <a:extLst>
                <a:ext uri="{FF2B5EF4-FFF2-40B4-BE49-F238E27FC236}">
                  <a16:creationId xmlns:a16="http://schemas.microsoft.com/office/drawing/2014/main" id="{D4EE74C2-AECB-E36F-1683-5BEBB10076F7}"/>
                </a:ext>
              </a:extLst>
            </p:cNvPr>
            <p:cNvSpPr/>
            <p:nvPr/>
          </p:nvSpPr>
          <p:spPr>
            <a:xfrm>
              <a:off x="450696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4" name="object 1694">
              <a:extLst>
                <a:ext uri="{FF2B5EF4-FFF2-40B4-BE49-F238E27FC236}">
                  <a16:creationId xmlns:a16="http://schemas.microsoft.com/office/drawing/2014/main" id="{C17400D7-8F3D-E669-F02D-E11EEC95F821}"/>
                </a:ext>
              </a:extLst>
            </p:cNvPr>
            <p:cNvSpPr/>
            <p:nvPr/>
          </p:nvSpPr>
          <p:spPr>
            <a:xfrm>
              <a:off x="440190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5" name="object 1695">
              <a:extLst>
                <a:ext uri="{FF2B5EF4-FFF2-40B4-BE49-F238E27FC236}">
                  <a16:creationId xmlns:a16="http://schemas.microsoft.com/office/drawing/2014/main" id="{E381C8D1-E981-A9ED-48C8-263A1D7A6EBD}"/>
                </a:ext>
              </a:extLst>
            </p:cNvPr>
            <p:cNvSpPr/>
            <p:nvPr/>
          </p:nvSpPr>
          <p:spPr>
            <a:xfrm>
              <a:off x="4296838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6" name="object 1696">
              <a:extLst>
                <a:ext uri="{FF2B5EF4-FFF2-40B4-BE49-F238E27FC236}">
                  <a16:creationId xmlns:a16="http://schemas.microsoft.com/office/drawing/2014/main" id="{8450475B-7113-59A6-6DC4-7F43434C342E}"/>
                </a:ext>
              </a:extLst>
            </p:cNvPr>
            <p:cNvSpPr/>
            <p:nvPr/>
          </p:nvSpPr>
          <p:spPr>
            <a:xfrm>
              <a:off x="433193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7" name="object 1697">
              <a:extLst>
                <a:ext uri="{FF2B5EF4-FFF2-40B4-BE49-F238E27FC236}">
                  <a16:creationId xmlns:a16="http://schemas.microsoft.com/office/drawing/2014/main" id="{095010DE-72BF-FF29-F406-EDACDA7C7EC7}"/>
                </a:ext>
              </a:extLst>
            </p:cNvPr>
            <p:cNvSpPr/>
            <p:nvPr/>
          </p:nvSpPr>
          <p:spPr>
            <a:xfrm>
              <a:off x="4226795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8" name="object 1698">
              <a:extLst>
                <a:ext uri="{FF2B5EF4-FFF2-40B4-BE49-F238E27FC236}">
                  <a16:creationId xmlns:a16="http://schemas.microsoft.com/office/drawing/2014/main" id="{CC40339B-34B0-5416-D083-A32285D315F7}"/>
                </a:ext>
              </a:extLst>
            </p:cNvPr>
            <p:cNvSpPr/>
            <p:nvPr/>
          </p:nvSpPr>
          <p:spPr>
            <a:xfrm>
              <a:off x="4436924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9" name="object 1699">
              <a:extLst>
                <a:ext uri="{FF2B5EF4-FFF2-40B4-BE49-F238E27FC236}">
                  <a16:creationId xmlns:a16="http://schemas.microsoft.com/office/drawing/2014/main" id="{70AFCD13-141C-9394-BEF9-8FC3CB806E2E}"/>
                </a:ext>
              </a:extLst>
            </p:cNvPr>
            <p:cNvSpPr/>
            <p:nvPr/>
          </p:nvSpPr>
          <p:spPr>
            <a:xfrm>
              <a:off x="426181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0" name="object 1700">
              <a:extLst>
                <a:ext uri="{FF2B5EF4-FFF2-40B4-BE49-F238E27FC236}">
                  <a16:creationId xmlns:a16="http://schemas.microsoft.com/office/drawing/2014/main" id="{91F212EC-900E-4C29-F217-214D3D2BFCB5}"/>
                </a:ext>
              </a:extLst>
            </p:cNvPr>
            <p:cNvSpPr/>
            <p:nvPr/>
          </p:nvSpPr>
          <p:spPr>
            <a:xfrm>
              <a:off x="4541989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1" name="object 1701">
              <a:extLst>
                <a:ext uri="{FF2B5EF4-FFF2-40B4-BE49-F238E27FC236}">
                  <a16:creationId xmlns:a16="http://schemas.microsoft.com/office/drawing/2014/main" id="{49FD38D5-9D2E-3AD6-78C2-50C09DDAADF5}"/>
                </a:ext>
              </a:extLst>
            </p:cNvPr>
            <p:cNvSpPr/>
            <p:nvPr/>
          </p:nvSpPr>
          <p:spPr>
            <a:xfrm>
              <a:off x="436701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2" name="object 1702">
              <a:extLst>
                <a:ext uri="{FF2B5EF4-FFF2-40B4-BE49-F238E27FC236}">
                  <a16:creationId xmlns:a16="http://schemas.microsoft.com/office/drawing/2014/main" id="{78141ECF-3324-8FFB-C26B-40C52B80F364}"/>
                </a:ext>
              </a:extLst>
            </p:cNvPr>
            <p:cNvSpPr/>
            <p:nvPr/>
          </p:nvSpPr>
          <p:spPr>
            <a:xfrm>
              <a:off x="419204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3" name="object 1703">
              <a:extLst>
                <a:ext uri="{FF2B5EF4-FFF2-40B4-BE49-F238E27FC236}">
                  <a16:creationId xmlns:a16="http://schemas.microsoft.com/office/drawing/2014/main" id="{5EFFC785-08E9-E977-727A-FAB6A8A00EC0}"/>
                </a:ext>
              </a:extLst>
            </p:cNvPr>
            <p:cNvSpPr/>
            <p:nvPr/>
          </p:nvSpPr>
          <p:spPr>
            <a:xfrm>
              <a:off x="436701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4" name="object 1704">
              <a:extLst>
                <a:ext uri="{FF2B5EF4-FFF2-40B4-BE49-F238E27FC236}">
                  <a16:creationId xmlns:a16="http://schemas.microsoft.com/office/drawing/2014/main" id="{348EA7FC-F63C-E720-E4AF-1AEBCBAC2016}"/>
                </a:ext>
              </a:extLst>
            </p:cNvPr>
            <p:cNvSpPr/>
            <p:nvPr/>
          </p:nvSpPr>
          <p:spPr>
            <a:xfrm>
              <a:off x="4192048" y="56952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5" name="object 1705">
              <a:extLst>
                <a:ext uri="{FF2B5EF4-FFF2-40B4-BE49-F238E27FC236}">
                  <a16:creationId xmlns:a16="http://schemas.microsoft.com/office/drawing/2014/main" id="{3C3716ED-1473-D3DA-4A28-4060CE8AF797}"/>
                </a:ext>
              </a:extLst>
            </p:cNvPr>
            <p:cNvSpPr/>
            <p:nvPr/>
          </p:nvSpPr>
          <p:spPr>
            <a:xfrm>
              <a:off x="4646916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6" name="object 1706">
              <a:extLst>
                <a:ext uri="{FF2B5EF4-FFF2-40B4-BE49-F238E27FC236}">
                  <a16:creationId xmlns:a16="http://schemas.microsoft.com/office/drawing/2014/main" id="{1F62E1EA-5D51-FE7C-0FBE-1A44957147D5}"/>
                </a:ext>
              </a:extLst>
            </p:cNvPr>
            <p:cNvSpPr/>
            <p:nvPr/>
          </p:nvSpPr>
          <p:spPr>
            <a:xfrm>
              <a:off x="468194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7" name="object 1707">
              <a:extLst>
                <a:ext uri="{FF2B5EF4-FFF2-40B4-BE49-F238E27FC236}">
                  <a16:creationId xmlns:a16="http://schemas.microsoft.com/office/drawing/2014/main" id="{65C0D6F7-D87E-E5DC-53EA-63ADD39EAA08}"/>
                </a:ext>
              </a:extLst>
            </p:cNvPr>
            <p:cNvSpPr/>
            <p:nvPr/>
          </p:nvSpPr>
          <p:spPr>
            <a:xfrm>
              <a:off x="457687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8" name="object 1708">
              <a:extLst>
                <a:ext uri="{FF2B5EF4-FFF2-40B4-BE49-F238E27FC236}">
                  <a16:creationId xmlns:a16="http://schemas.microsoft.com/office/drawing/2014/main" id="{73F22D39-E457-3F47-DABA-AA2D6F80EE27}"/>
                </a:ext>
              </a:extLst>
            </p:cNvPr>
            <p:cNvSpPr/>
            <p:nvPr/>
          </p:nvSpPr>
          <p:spPr>
            <a:xfrm>
              <a:off x="4611895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9" name="object 1709">
              <a:extLst>
                <a:ext uri="{FF2B5EF4-FFF2-40B4-BE49-F238E27FC236}">
                  <a16:creationId xmlns:a16="http://schemas.microsoft.com/office/drawing/2014/main" id="{7FE0550E-F663-0284-00A5-322C701ED73C}"/>
                </a:ext>
              </a:extLst>
            </p:cNvPr>
            <p:cNvSpPr/>
            <p:nvPr/>
          </p:nvSpPr>
          <p:spPr>
            <a:xfrm>
              <a:off x="4716959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0" name="object 1710">
              <a:extLst>
                <a:ext uri="{FF2B5EF4-FFF2-40B4-BE49-F238E27FC236}">
                  <a16:creationId xmlns:a16="http://schemas.microsoft.com/office/drawing/2014/main" id="{F6B116A5-F698-4E93-C586-179C79CD21BD}"/>
                </a:ext>
              </a:extLst>
            </p:cNvPr>
            <p:cNvSpPr/>
            <p:nvPr/>
          </p:nvSpPr>
          <p:spPr>
            <a:xfrm>
              <a:off x="4541989" y="5695221"/>
              <a:ext cx="17520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75204"/>
                <a:gd name="f5" fmla="val 87490"/>
                <a:gd name="f6" fmla="val 174974"/>
                <a:gd name="f7" fmla="abs f0"/>
                <a:gd name="f8" fmla="abs f1"/>
                <a:gd name="f9" fmla="abs f2"/>
                <a:gd name="f10" fmla="*/ f0 1 17520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175204"/>
                <a:gd name="f17" fmla="*/ f11 1 0"/>
                <a:gd name="f18" fmla="*/ f13 1 175204"/>
                <a:gd name="f19" fmla="*/ f14 1 21600"/>
                <a:gd name="f20" fmla="*/ 21600 f14 1"/>
                <a:gd name="f21" fmla="*/ 0 1 f16"/>
                <a:gd name="f22" fmla="*/ 17520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17520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1" name="object 1711">
              <a:extLst>
                <a:ext uri="{FF2B5EF4-FFF2-40B4-BE49-F238E27FC236}">
                  <a16:creationId xmlns:a16="http://schemas.microsoft.com/office/drawing/2014/main" id="{887AFEA5-B5F3-88E1-8C12-EC333C7114CE}"/>
                </a:ext>
              </a:extLst>
            </p:cNvPr>
            <p:cNvSpPr/>
            <p:nvPr/>
          </p:nvSpPr>
          <p:spPr>
            <a:xfrm>
              <a:off x="4192176" y="5668868"/>
              <a:ext cx="52484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865504"/>
                <a:gd name="f4" fmla="val 84454"/>
                <a:gd name="f5" fmla="val 865408"/>
                <a:gd name="f6" fmla="val 84123"/>
                <a:gd name="f7" fmla="*/ f0 1 865504"/>
                <a:gd name="f8" fmla="*/ f1 1 84454"/>
                <a:gd name="f9" fmla="+- f4 0 f2"/>
                <a:gd name="f10" fmla="+- f3 0 f2"/>
                <a:gd name="f11" fmla="*/ f10 1 8655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8655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2" name="object 1712">
              <a:extLst>
                <a:ext uri="{FF2B5EF4-FFF2-40B4-BE49-F238E27FC236}">
                  <a16:creationId xmlns:a16="http://schemas.microsoft.com/office/drawing/2014/main" id="{838335BD-C94F-4D49-F7A7-8E90641C36A5}"/>
                </a:ext>
              </a:extLst>
            </p:cNvPr>
            <p:cNvSpPr/>
            <p:nvPr/>
          </p:nvSpPr>
          <p:spPr>
            <a:xfrm>
              <a:off x="4191993" y="5740795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4"/>
                <a:gd name="f5" fmla="val 576307"/>
                <a:gd name="f6" fmla="val 84123"/>
                <a:gd name="f7" fmla="*/ f0 1 576579"/>
                <a:gd name="f8" fmla="*/ f1 1 84454"/>
                <a:gd name="f9" fmla="+- f4 0 f2"/>
                <a:gd name="f10" fmla="+- f3 0 f2"/>
                <a:gd name="f11" fmla="*/ f10 1 576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3" name="object 1713">
              <a:extLst>
                <a:ext uri="{FF2B5EF4-FFF2-40B4-BE49-F238E27FC236}">
                  <a16:creationId xmlns:a16="http://schemas.microsoft.com/office/drawing/2014/main" id="{4088EDB0-D515-44CD-5557-83592D06EBCB}"/>
                </a:ext>
              </a:extLst>
            </p:cNvPr>
            <p:cNvSpPr/>
            <p:nvPr/>
          </p:nvSpPr>
          <p:spPr>
            <a:xfrm>
              <a:off x="4471434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4" name="object 1714">
              <a:extLst>
                <a:ext uri="{FF2B5EF4-FFF2-40B4-BE49-F238E27FC236}">
                  <a16:creationId xmlns:a16="http://schemas.microsoft.com/office/drawing/2014/main" id="{14D5D653-E6D5-99A1-88BB-EA9E74BAC421}"/>
                </a:ext>
              </a:extLst>
            </p:cNvPr>
            <p:cNvSpPr/>
            <p:nvPr/>
          </p:nvSpPr>
          <p:spPr>
            <a:xfrm>
              <a:off x="4506455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5" name="object 1715">
              <a:extLst>
                <a:ext uri="{FF2B5EF4-FFF2-40B4-BE49-F238E27FC236}">
                  <a16:creationId xmlns:a16="http://schemas.microsoft.com/office/drawing/2014/main" id="{7B856FCA-1300-4016-387C-04342342B65A}"/>
                </a:ext>
              </a:extLst>
            </p:cNvPr>
            <p:cNvSpPr/>
            <p:nvPr/>
          </p:nvSpPr>
          <p:spPr>
            <a:xfrm>
              <a:off x="4401391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6" name="object 1716">
              <a:extLst>
                <a:ext uri="{FF2B5EF4-FFF2-40B4-BE49-F238E27FC236}">
                  <a16:creationId xmlns:a16="http://schemas.microsoft.com/office/drawing/2014/main" id="{FF6566AF-7E0A-8082-8D16-25454BD8F455}"/>
                </a:ext>
              </a:extLst>
            </p:cNvPr>
            <p:cNvSpPr/>
            <p:nvPr/>
          </p:nvSpPr>
          <p:spPr>
            <a:xfrm>
              <a:off x="4296317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7" name="object 1717">
              <a:extLst>
                <a:ext uri="{FF2B5EF4-FFF2-40B4-BE49-F238E27FC236}">
                  <a16:creationId xmlns:a16="http://schemas.microsoft.com/office/drawing/2014/main" id="{4CAE05A4-E024-5214-BB83-DB5A87B9B76E}"/>
                </a:ext>
              </a:extLst>
            </p:cNvPr>
            <p:cNvSpPr/>
            <p:nvPr/>
          </p:nvSpPr>
          <p:spPr>
            <a:xfrm>
              <a:off x="4331412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8" name="object 1718">
              <a:extLst>
                <a:ext uri="{FF2B5EF4-FFF2-40B4-BE49-F238E27FC236}">
                  <a16:creationId xmlns:a16="http://schemas.microsoft.com/office/drawing/2014/main" id="{74CF037E-1E59-FDE6-6C8C-C2E8461F9926}"/>
                </a:ext>
              </a:extLst>
            </p:cNvPr>
            <p:cNvSpPr/>
            <p:nvPr/>
          </p:nvSpPr>
          <p:spPr>
            <a:xfrm>
              <a:off x="4226274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9" name="object 1719">
              <a:extLst>
                <a:ext uri="{FF2B5EF4-FFF2-40B4-BE49-F238E27FC236}">
                  <a16:creationId xmlns:a16="http://schemas.microsoft.com/office/drawing/2014/main" id="{B433843D-5D4E-0F32-53AB-5BF52AF00341}"/>
                </a:ext>
              </a:extLst>
            </p:cNvPr>
            <p:cNvSpPr/>
            <p:nvPr/>
          </p:nvSpPr>
          <p:spPr>
            <a:xfrm>
              <a:off x="4436412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0" name="object 1720">
              <a:extLst>
                <a:ext uri="{FF2B5EF4-FFF2-40B4-BE49-F238E27FC236}">
                  <a16:creationId xmlns:a16="http://schemas.microsoft.com/office/drawing/2014/main" id="{415EC711-B528-59DA-6921-5CD55C294FE2}"/>
                </a:ext>
              </a:extLst>
            </p:cNvPr>
            <p:cNvSpPr/>
            <p:nvPr/>
          </p:nvSpPr>
          <p:spPr>
            <a:xfrm>
              <a:off x="4261296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1" name="object 1721">
              <a:extLst>
                <a:ext uri="{FF2B5EF4-FFF2-40B4-BE49-F238E27FC236}">
                  <a16:creationId xmlns:a16="http://schemas.microsoft.com/office/drawing/2014/main" id="{87E154B8-3672-CF3D-2FAA-5248A5D2E1A3}"/>
                </a:ext>
              </a:extLst>
            </p:cNvPr>
            <p:cNvSpPr/>
            <p:nvPr/>
          </p:nvSpPr>
          <p:spPr>
            <a:xfrm>
              <a:off x="4541477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2" name="object 1722">
              <a:extLst>
                <a:ext uri="{FF2B5EF4-FFF2-40B4-BE49-F238E27FC236}">
                  <a16:creationId xmlns:a16="http://schemas.microsoft.com/office/drawing/2014/main" id="{CE96DFDC-F99D-D9F5-F18A-F7A07992A39D}"/>
                </a:ext>
              </a:extLst>
            </p:cNvPr>
            <p:cNvSpPr/>
            <p:nvPr/>
          </p:nvSpPr>
          <p:spPr>
            <a:xfrm>
              <a:off x="4366506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3" name="object 1723">
              <a:extLst>
                <a:ext uri="{FF2B5EF4-FFF2-40B4-BE49-F238E27FC236}">
                  <a16:creationId xmlns:a16="http://schemas.microsoft.com/office/drawing/2014/main" id="{1DEE755F-E344-82C2-2B31-6DBEE3946EC7}"/>
                </a:ext>
              </a:extLst>
            </p:cNvPr>
            <p:cNvSpPr/>
            <p:nvPr/>
          </p:nvSpPr>
          <p:spPr>
            <a:xfrm>
              <a:off x="4191536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4" name="object 1724">
              <a:extLst>
                <a:ext uri="{FF2B5EF4-FFF2-40B4-BE49-F238E27FC236}">
                  <a16:creationId xmlns:a16="http://schemas.microsoft.com/office/drawing/2014/main" id="{BCA7E1D1-403D-04F4-569B-925D2F57A581}"/>
                </a:ext>
              </a:extLst>
            </p:cNvPr>
            <p:cNvSpPr/>
            <p:nvPr/>
          </p:nvSpPr>
          <p:spPr>
            <a:xfrm>
              <a:off x="4366506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5" name="object 1725">
              <a:extLst>
                <a:ext uri="{FF2B5EF4-FFF2-40B4-BE49-F238E27FC236}">
                  <a16:creationId xmlns:a16="http://schemas.microsoft.com/office/drawing/2014/main" id="{AC55EBF1-0E96-0C06-938E-884876C5579C}"/>
                </a:ext>
              </a:extLst>
            </p:cNvPr>
            <p:cNvSpPr/>
            <p:nvPr/>
          </p:nvSpPr>
          <p:spPr>
            <a:xfrm>
              <a:off x="4191527" y="576629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6" name="object 1726">
              <a:extLst>
                <a:ext uri="{FF2B5EF4-FFF2-40B4-BE49-F238E27FC236}">
                  <a16:creationId xmlns:a16="http://schemas.microsoft.com/office/drawing/2014/main" id="{E7C2F545-7D8F-31C7-843E-D53DA08D15D2}"/>
                </a:ext>
              </a:extLst>
            </p:cNvPr>
            <p:cNvSpPr/>
            <p:nvPr/>
          </p:nvSpPr>
          <p:spPr>
            <a:xfrm>
              <a:off x="3369692" y="3377500"/>
              <a:ext cx="25530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1004"/>
                <a:gd name="f4" fmla="val 84454"/>
                <a:gd name="f5" fmla="val 420866"/>
                <a:gd name="f6" fmla="val 84112"/>
                <a:gd name="f7" fmla="*/ f0 1 421004"/>
                <a:gd name="f8" fmla="*/ f1 1 84454"/>
                <a:gd name="f9" fmla="+- f4 0 f2"/>
                <a:gd name="f10" fmla="+- f3 0 f2"/>
                <a:gd name="f11" fmla="*/ f10 1 4210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10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7" name="object 1727">
              <a:extLst>
                <a:ext uri="{FF2B5EF4-FFF2-40B4-BE49-F238E27FC236}">
                  <a16:creationId xmlns:a16="http://schemas.microsoft.com/office/drawing/2014/main" id="{5922FC7D-4032-3405-DDDB-B0304ED16152}"/>
                </a:ext>
              </a:extLst>
            </p:cNvPr>
            <p:cNvSpPr/>
            <p:nvPr/>
          </p:nvSpPr>
          <p:spPr>
            <a:xfrm>
              <a:off x="3649589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8" name="object 1728">
              <a:extLst>
                <a:ext uri="{FF2B5EF4-FFF2-40B4-BE49-F238E27FC236}">
                  <a16:creationId xmlns:a16="http://schemas.microsoft.com/office/drawing/2014/main" id="{7C0FA707-11C1-33AA-32A5-5993DA786D8B}"/>
                </a:ext>
              </a:extLst>
            </p:cNvPr>
            <p:cNvSpPr/>
            <p:nvPr/>
          </p:nvSpPr>
          <p:spPr>
            <a:xfrm>
              <a:off x="3579546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9" name="object 1729">
              <a:extLst>
                <a:ext uri="{FF2B5EF4-FFF2-40B4-BE49-F238E27FC236}">
                  <a16:creationId xmlns:a16="http://schemas.microsoft.com/office/drawing/2014/main" id="{E9A9E6D1-06E7-0935-910B-1A1EB9830627}"/>
                </a:ext>
              </a:extLst>
            </p:cNvPr>
            <p:cNvSpPr/>
            <p:nvPr/>
          </p:nvSpPr>
          <p:spPr>
            <a:xfrm>
              <a:off x="3474482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0" name="object 1730">
              <a:extLst>
                <a:ext uri="{FF2B5EF4-FFF2-40B4-BE49-F238E27FC236}">
                  <a16:creationId xmlns:a16="http://schemas.microsoft.com/office/drawing/2014/main" id="{2D9174F0-54F5-B78A-C8FC-B503CF433FDD}"/>
                </a:ext>
              </a:extLst>
            </p:cNvPr>
            <p:cNvSpPr/>
            <p:nvPr/>
          </p:nvSpPr>
          <p:spPr>
            <a:xfrm>
              <a:off x="3509576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1" name="object 1731">
              <a:extLst>
                <a:ext uri="{FF2B5EF4-FFF2-40B4-BE49-F238E27FC236}">
                  <a16:creationId xmlns:a16="http://schemas.microsoft.com/office/drawing/2014/main" id="{DE46EEF6-15BB-B86E-867A-B4001569B1B0}"/>
                </a:ext>
              </a:extLst>
            </p:cNvPr>
            <p:cNvSpPr/>
            <p:nvPr/>
          </p:nvSpPr>
          <p:spPr>
            <a:xfrm>
              <a:off x="3404439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2" name="object 1732">
              <a:extLst>
                <a:ext uri="{FF2B5EF4-FFF2-40B4-BE49-F238E27FC236}">
                  <a16:creationId xmlns:a16="http://schemas.microsoft.com/office/drawing/2014/main" id="{AF4422A9-F989-920D-24ED-B7E9C9A2608E}"/>
                </a:ext>
              </a:extLst>
            </p:cNvPr>
            <p:cNvSpPr/>
            <p:nvPr/>
          </p:nvSpPr>
          <p:spPr>
            <a:xfrm>
              <a:off x="3614568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3" name="object 1733">
              <a:extLst>
                <a:ext uri="{FF2B5EF4-FFF2-40B4-BE49-F238E27FC236}">
                  <a16:creationId xmlns:a16="http://schemas.microsoft.com/office/drawing/2014/main" id="{A650D568-3FF7-C0AB-CA27-08E18569742F}"/>
                </a:ext>
              </a:extLst>
            </p:cNvPr>
            <p:cNvSpPr/>
            <p:nvPr/>
          </p:nvSpPr>
          <p:spPr>
            <a:xfrm>
              <a:off x="3439460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4" name="object 1734">
              <a:extLst>
                <a:ext uri="{FF2B5EF4-FFF2-40B4-BE49-F238E27FC236}">
                  <a16:creationId xmlns:a16="http://schemas.microsoft.com/office/drawing/2014/main" id="{0BD54BF7-EF29-BED2-5350-B110D9296051}"/>
                </a:ext>
              </a:extLst>
            </p:cNvPr>
            <p:cNvSpPr/>
            <p:nvPr/>
          </p:nvSpPr>
          <p:spPr>
            <a:xfrm>
              <a:off x="354466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5" name="object 1735">
              <a:extLst>
                <a:ext uri="{FF2B5EF4-FFF2-40B4-BE49-F238E27FC236}">
                  <a16:creationId xmlns:a16="http://schemas.microsoft.com/office/drawing/2014/main" id="{6A7BF33F-035A-FF6A-02D0-606BE9699BD7}"/>
                </a:ext>
              </a:extLst>
            </p:cNvPr>
            <p:cNvSpPr/>
            <p:nvPr/>
          </p:nvSpPr>
          <p:spPr>
            <a:xfrm>
              <a:off x="336969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6" name="object 1736">
              <a:extLst>
                <a:ext uri="{FF2B5EF4-FFF2-40B4-BE49-F238E27FC236}">
                  <a16:creationId xmlns:a16="http://schemas.microsoft.com/office/drawing/2014/main" id="{4BDB39D8-B866-F4D8-E9CF-F1FD192E42E7}"/>
                </a:ext>
              </a:extLst>
            </p:cNvPr>
            <p:cNvSpPr/>
            <p:nvPr/>
          </p:nvSpPr>
          <p:spPr>
            <a:xfrm>
              <a:off x="354466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7" name="object 1737">
              <a:extLst>
                <a:ext uri="{FF2B5EF4-FFF2-40B4-BE49-F238E27FC236}">
                  <a16:creationId xmlns:a16="http://schemas.microsoft.com/office/drawing/2014/main" id="{E0487748-A108-48A6-A209-E14DACC6519E}"/>
                </a:ext>
              </a:extLst>
            </p:cNvPr>
            <p:cNvSpPr/>
            <p:nvPr/>
          </p:nvSpPr>
          <p:spPr>
            <a:xfrm>
              <a:off x="3684611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8" name="object 1738">
              <a:extLst>
                <a:ext uri="{FF2B5EF4-FFF2-40B4-BE49-F238E27FC236}">
                  <a16:creationId xmlns:a16="http://schemas.microsoft.com/office/drawing/2014/main" id="{29B6C4FF-F537-CE5A-40C4-8251B392958A}"/>
                </a:ext>
              </a:extLst>
            </p:cNvPr>
            <p:cNvSpPr/>
            <p:nvPr/>
          </p:nvSpPr>
          <p:spPr>
            <a:xfrm>
              <a:off x="371964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9" name="object 1739">
              <a:extLst>
                <a:ext uri="{FF2B5EF4-FFF2-40B4-BE49-F238E27FC236}">
                  <a16:creationId xmlns:a16="http://schemas.microsoft.com/office/drawing/2014/main" id="{B8629B34-067A-07AD-56CC-23BEFAD72A3A}"/>
                </a:ext>
              </a:extLst>
            </p:cNvPr>
            <p:cNvSpPr/>
            <p:nvPr/>
          </p:nvSpPr>
          <p:spPr>
            <a:xfrm>
              <a:off x="3369692" y="340300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0" name="object 1740">
              <a:extLst>
                <a:ext uri="{FF2B5EF4-FFF2-40B4-BE49-F238E27FC236}">
                  <a16:creationId xmlns:a16="http://schemas.microsoft.com/office/drawing/2014/main" id="{0E2370BA-7587-B74B-2F4E-BD20D33580AE}"/>
                </a:ext>
              </a:extLst>
            </p:cNvPr>
            <p:cNvSpPr/>
            <p:nvPr/>
          </p:nvSpPr>
          <p:spPr>
            <a:xfrm>
              <a:off x="3649589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1" name="object 1741">
              <a:extLst>
                <a:ext uri="{FF2B5EF4-FFF2-40B4-BE49-F238E27FC236}">
                  <a16:creationId xmlns:a16="http://schemas.microsoft.com/office/drawing/2014/main" id="{2A62CB9A-B0B3-BFA7-0540-EB4551CD3FA1}"/>
                </a:ext>
              </a:extLst>
            </p:cNvPr>
            <p:cNvSpPr/>
            <p:nvPr/>
          </p:nvSpPr>
          <p:spPr>
            <a:xfrm>
              <a:off x="3684611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2" name="object 1742">
              <a:extLst>
                <a:ext uri="{FF2B5EF4-FFF2-40B4-BE49-F238E27FC236}">
                  <a16:creationId xmlns:a16="http://schemas.microsoft.com/office/drawing/2014/main" id="{B2C402AA-CD99-DF01-26B5-668E7C2557B3}"/>
                </a:ext>
              </a:extLst>
            </p:cNvPr>
            <p:cNvSpPr/>
            <p:nvPr/>
          </p:nvSpPr>
          <p:spPr>
            <a:xfrm>
              <a:off x="3579546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3" name="object 1743">
              <a:extLst>
                <a:ext uri="{FF2B5EF4-FFF2-40B4-BE49-F238E27FC236}">
                  <a16:creationId xmlns:a16="http://schemas.microsoft.com/office/drawing/2014/main" id="{273C7C34-7245-8715-BF13-CB42E7CE90DC}"/>
                </a:ext>
              </a:extLst>
            </p:cNvPr>
            <p:cNvSpPr/>
            <p:nvPr/>
          </p:nvSpPr>
          <p:spPr>
            <a:xfrm>
              <a:off x="3474482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4" name="object 1744">
              <a:extLst>
                <a:ext uri="{FF2B5EF4-FFF2-40B4-BE49-F238E27FC236}">
                  <a16:creationId xmlns:a16="http://schemas.microsoft.com/office/drawing/2014/main" id="{EAA1BD5F-F7D2-5094-496C-AFAE7C8AA148}"/>
                </a:ext>
              </a:extLst>
            </p:cNvPr>
            <p:cNvSpPr/>
            <p:nvPr/>
          </p:nvSpPr>
          <p:spPr>
            <a:xfrm>
              <a:off x="3509576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5" name="object 1745">
              <a:extLst>
                <a:ext uri="{FF2B5EF4-FFF2-40B4-BE49-F238E27FC236}">
                  <a16:creationId xmlns:a16="http://schemas.microsoft.com/office/drawing/2014/main" id="{D2536219-3197-1A27-1728-C65FA909CB93}"/>
                </a:ext>
              </a:extLst>
            </p:cNvPr>
            <p:cNvSpPr/>
            <p:nvPr/>
          </p:nvSpPr>
          <p:spPr>
            <a:xfrm>
              <a:off x="3404439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6" name="object 1746">
              <a:extLst>
                <a:ext uri="{FF2B5EF4-FFF2-40B4-BE49-F238E27FC236}">
                  <a16:creationId xmlns:a16="http://schemas.microsoft.com/office/drawing/2014/main" id="{3E04F7D5-FC49-7656-8E7D-A924E6591382}"/>
                </a:ext>
              </a:extLst>
            </p:cNvPr>
            <p:cNvSpPr/>
            <p:nvPr/>
          </p:nvSpPr>
          <p:spPr>
            <a:xfrm>
              <a:off x="3614568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7" name="object 1747">
              <a:extLst>
                <a:ext uri="{FF2B5EF4-FFF2-40B4-BE49-F238E27FC236}">
                  <a16:creationId xmlns:a16="http://schemas.microsoft.com/office/drawing/2014/main" id="{04E52C9E-0AA8-68E9-0EC5-90D430AED3E1}"/>
                </a:ext>
              </a:extLst>
            </p:cNvPr>
            <p:cNvSpPr/>
            <p:nvPr/>
          </p:nvSpPr>
          <p:spPr>
            <a:xfrm>
              <a:off x="3439460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8" name="object 1748">
              <a:extLst>
                <a:ext uri="{FF2B5EF4-FFF2-40B4-BE49-F238E27FC236}">
                  <a16:creationId xmlns:a16="http://schemas.microsoft.com/office/drawing/2014/main" id="{53C3F804-CAB3-3EA7-1174-FDC583AE3039}"/>
                </a:ext>
              </a:extLst>
            </p:cNvPr>
            <p:cNvSpPr/>
            <p:nvPr/>
          </p:nvSpPr>
          <p:spPr>
            <a:xfrm>
              <a:off x="371964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9" name="object 1749">
              <a:extLst>
                <a:ext uri="{FF2B5EF4-FFF2-40B4-BE49-F238E27FC236}">
                  <a16:creationId xmlns:a16="http://schemas.microsoft.com/office/drawing/2014/main" id="{52AC1BF1-E532-7CDD-E5A1-7C9F452CCDD9}"/>
                </a:ext>
              </a:extLst>
            </p:cNvPr>
            <p:cNvSpPr/>
            <p:nvPr/>
          </p:nvSpPr>
          <p:spPr>
            <a:xfrm>
              <a:off x="354466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0" name="object 1750">
              <a:extLst>
                <a:ext uri="{FF2B5EF4-FFF2-40B4-BE49-F238E27FC236}">
                  <a16:creationId xmlns:a16="http://schemas.microsoft.com/office/drawing/2014/main" id="{9EE70C7D-B8E5-E7AD-DFC8-6B98ADB2F0FE}"/>
                </a:ext>
              </a:extLst>
            </p:cNvPr>
            <p:cNvSpPr/>
            <p:nvPr/>
          </p:nvSpPr>
          <p:spPr>
            <a:xfrm>
              <a:off x="336969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1" name="object 1751">
              <a:extLst>
                <a:ext uri="{FF2B5EF4-FFF2-40B4-BE49-F238E27FC236}">
                  <a16:creationId xmlns:a16="http://schemas.microsoft.com/office/drawing/2014/main" id="{06A721E7-EA0F-ECF0-49B4-31FF81D1F544}"/>
                </a:ext>
              </a:extLst>
            </p:cNvPr>
            <p:cNvSpPr/>
            <p:nvPr/>
          </p:nvSpPr>
          <p:spPr>
            <a:xfrm>
              <a:off x="354466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2" name="object 1752">
              <a:extLst>
                <a:ext uri="{FF2B5EF4-FFF2-40B4-BE49-F238E27FC236}">
                  <a16:creationId xmlns:a16="http://schemas.microsoft.com/office/drawing/2014/main" id="{7D572C8D-B4C3-7402-2737-545A042BD32C}"/>
                </a:ext>
              </a:extLst>
            </p:cNvPr>
            <p:cNvSpPr/>
            <p:nvPr/>
          </p:nvSpPr>
          <p:spPr>
            <a:xfrm>
              <a:off x="3369692" y="347601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3" name="object 1753">
              <a:extLst>
                <a:ext uri="{FF2B5EF4-FFF2-40B4-BE49-F238E27FC236}">
                  <a16:creationId xmlns:a16="http://schemas.microsoft.com/office/drawing/2014/main" id="{71C26408-79D6-76C8-4D5D-F8C890D099BE}"/>
                </a:ext>
              </a:extLst>
            </p:cNvPr>
            <p:cNvSpPr/>
            <p:nvPr/>
          </p:nvSpPr>
          <p:spPr>
            <a:xfrm>
              <a:off x="3474482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4" name="object 1754">
              <a:extLst>
                <a:ext uri="{FF2B5EF4-FFF2-40B4-BE49-F238E27FC236}">
                  <a16:creationId xmlns:a16="http://schemas.microsoft.com/office/drawing/2014/main" id="{B3C27EB3-ABEA-3C3E-5FA0-7214BD0C3013}"/>
                </a:ext>
              </a:extLst>
            </p:cNvPr>
            <p:cNvSpPr/>
            <p:nvPr/>
          </p:nvSpPr>
          <p:spPr>
            <a:xfrm>
              <a:off x="3509576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5" name="object 1755">
              <a:extLst>
                <a:ext uri="{FF2B5EF4-FFF2-40B4-BE49-F238E27FC236}">
                  <a16:creationId xmlns:a16="http://schemas.microsoft.com/office/drawing/2014/main" id="{66025C3F-5464-6E45-7A60-8DE315405101}"/>
                </a:ext>
              </a:extLst>
            </p:cNvPr>
            <p:cNvSpPr/>
            <p:nvPr/>
          </p:nvSpPr>
          <p:spPr>
            <a:xfrm>
              <a:off x="3404439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6" name="object 1756">
              <a:extLst>
                <a:ext uri="{FF2B5EF4-FFF2-40B4-BE49-F238E27FC236}">
                  <a16:creationId xmlns:a16="http://schemas.microsoft.com/office/drawing/2014/main" id="{2C5D2599-8F65-529F-DBA9-779FB4A2C3D9}"/>
                </a:ext>
              </a:extLst>
            </p:cNvPr>
            <p:cNvSpPr/>
            <p:nvPr/>
          </p:nvSpPr>
          <p:spPr>
            <a:xfrm>
              <a:off x="3439460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7" name="object 1757">
              <a:extLst>
                <a:ext uri="{FF2B5EF4-FFF2-40B4-BE49-F238E27FC236}">
                  <a16:creationId xmlns:a16="http://schemas.microsoft.com/office/drawing/2014/main" id="{9A2E7A7C-2D60-13B7-D4BC-0F2CA5957F16}"/>
                </a:ext>
              </a:extLst>
            </p:cNvPr>
            <p:cNvSpPr/>
            <p:nvPr/>
          </p:nvSpPr>
          <p:spPr>
            <a:xfrm>
              <a:off x="3369692" y="184760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8" name="object 1758">
              <a:extLst>
                <a:ext uri="{FF2B5EF4-FFF2-40B4-BE49-F238E27FC236}">
                  <a16:creationId xmlns:a16="http://schemas.microsoft.com/office/drawing/2014/main" id="{7619C6E3-522F-EDE4-D50E-B725C6852084}"/>
                </a:ext>
              </a:extLst>
            </p:cNvPr>
            <p:cNvSpPr/>
            <p:nvPr/>
          </p:nvSpPr>
          <p:spPr>
            <a:xfrm>
              <a:off x="3649589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9" name="object 1759">
              <a:extLst>
                <a:ext uri="{FF2B5EF4-FFF2-40B4-BE49-F238E27FC236}">
                  <a16:creationId xmlns:a16="http://schemas.microsoft.com/office/drawing/2014/main" id="{4F27626E-744D-2606-4F11-810934AEC15C}"/>
                </a:ext>
              </a:extLst>
            </p:cNvPr>
            <p:cNvSpPr/>
            <p:nvPr/>
          </p:nvSpPr>
          <p:spPr>
            <a:xfrm>
              <a:off x="3684611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0" name="object 1760">
              <a:extLst>
                <a:ext uri="{FF2B5EF4-FFF2-40B4-BE49-F238E27FC236}">
                  <a16:creationId xmlns:a16="http://schemas.microsoft.com/office/drawing/2014/main" id="{1035E8C8-C38A-CBD1-135D-F3F280B7FB6A}"/>
                </a:ext>
              </a:extLst>
            </p:cNvPr>
            <p:cNvSpPr/>
            <p:nvPr/>
          </p:nvSpPr>
          <p:spPr>
            <a:xfrm>
              <a:off x="3579546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1" name="object 1761">
              <a:extLst>
                <a:ext uri="{FF2B5EF4-FFF2-40B4-BE49-F238E27FC236}">
                  <a16:creationId xmlns:a16="http://schemas.microsoft.com/office/drawing/2014/main" id="{DDFFD849-C071-96B9-7D9B-62BC4BB302C5}"/>
                </a:ext>
              </a:extLst>
            </p:cNvPr>
            <p:cNvSpPr/>
            <p:nvPr/>
          </p:nvSpPr>
          <p:spPr>
            <a:xfrm>
              <a:off x="3614568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2" name="object 1762">
              <a:extLst>
                <a:ext uri="{FF2B5EF4-FFF2-40B4-BE49-F238E27FC236}">
                  <a16:creationId xmlns:a16="http://schemas.microsoft.com/office/drawing/2014/main" id="{F5FEEA8B-4090-72EC-B5E1-9F48A0F15F51}"/>
                </a:ext>
              </a:extLst>
            </p:cNvPr>
            <p:cNvSpPr/>
            <p:nvPr/>
          </p:nvSpPr>
          <p:spPr>
            <a:xfrm>
              <a:off x="3719642" y="184760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3" name="object 1763">
              <a:extLst>
                <a:ext uri="{FF2B5EF4-FFF2-40B4-BE49-F238E27FC236}">
                  <a16:creationId xmlns:a16="http://schemas.microsoft.com/office/drawing/2014/main" id="{3C4010C2-19E3-A0FB-6E9B-1CB19E7A1496}"/>
                </a:ext>
              </a:extLst>
            </p:cNvPr>
            <p:cNvSpPr/>
            <p:nvPr/>
          </p:nvSpPr>
          <p:spPr>
            <a:xfrm>
              <a:off x="3544662" y="184760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4" name="object 1764">
              <a:extLst>
                <a:ext uri="{FF2B5EF4-FFF2-40B4-BE49-F238E27FC236}">
                  <a16:creationId xmlns:a16="http://schemas.microsoft.com/office/drawing/2014/main" id="{5B348046-A59F-85DD-AE65-200D463A04E9}"/>
                </a:ext>
              </a:extLst>
            </p:cNvPr>
            <p:cNvSpPr/>
            <p:nvPr/>
          </p:nvSpPr>
          <p:spPr>
            <a:xfrm>
              <a:off x="3369692" y="187311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5" name="object 1765">
              <a:extLst>
                <a:ext uri="{FF2B5EF4-FFF2-40B4-BE49-F238E27FC236}">
                  <a16:creationId xmlns:a16="http://schemas.microsoft.com/office/drawing/2014/main" id="{063F8E99-713B-8A3B-A677-7E1DAAA66D76}"/>
                </a:ext>
              </a:extLst>
            </p:cNvPr>
            <p:cNvSpPr/>
            <p:nvPr/>
          </p:nvSpPr>
          <p:spPr>
            <a:xfrm>
              <a:off x="3370158" y="1920624"/>
              <a:ext cx="6507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7314"/>
                <a:gd name="f4" fmla="val 84454"/>
                <a:gd name="f5" fmla="val 106834"/>
                <a:gd name="f6" fmla="val 84123"/>
                <a:gd name="f7" fmla="*/ f0 1 107314"/>
                <a:gd name="f8" fmla="*/ f1 1 84454"/>
                <a:gd name="f9" fmla="+- f4 0 f2"/>
                <a:gd name="f10" fmla="+- f3 0 f2"/>
                <a:gd name="f11" fmla="*/ f10 1 10731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731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6" name="object 1766">
              <a:extLst>
                <a:ext uri="{FF2B5EF4-FFF2-40B4-BE49-F238E27FC236}">
                  <a16:creationId xmlns:a16="http://schemas.microsoft.com/office/drawing/2014/main" id="{5215C0DA-F519-2827-E927-CA4EBAEE275B}"/>
                </a:ext>
              </a:extLst>
            </p:cNvPr>
            <p:cNvSpPr/>
            <p:nvPr/>
          </p:nvSpPr>
          <p:spPr>
            <a:xfrm>
              <a:off x="3649589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7" name="object 1767">
              <a:extLst>
                <a:ext uri="{FF2B5EF4-FFF2-40B4-BE49-F238E27FC236}">
                  <a16:creationId xmlns:a16="http://schemas.microsoft.com/office/drawing/2014/main" id="{D65D3A35-9236-8A4F-6F57-4006C9232532}"/>
                </a:ext>
              </a:extLst>
            </p:cNvPr>
            <p:cNvSpPr/>
            <p:nvPr/>
          </p:nvSpPr>
          <p:spPr>
            <a:xfrm>
              <a:off x="3684611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8" name="object 1768">
              <a:extLst>
                <a:ext uri="{FF2B5EF4-FFF2-40B4-BE49-F238E27FC236}">
                  <a16:creationId xmlns:a16="http://schemas.microsoft.com/office/drawing/2014/main" id="{F20DD203-3D49-5D27-1C01-298C78B76E8B}"/>
                </a:ext>
              </a:extLst>
            </p:cNvPr>
            <p:cNvSpPr/>
            <p:nvPr/>
          </p:nvSpPr>
          <p:spPr>
            <a:xfrm>
              <a:off x="3579546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9" name="object 1769">
              <a:extLst>
                <a:ext uri="{FF2B5EF4-FFF2-40B4-BE49-F238E27FC236}">
                  <a16:creationId xmlns:a16="http://schemas.microsoft.com/office/drawing/2014/main" id="{1EAA892D-52A0-76DA-C26F-AA599B23FA82}"/>
                </a:ext>
              </a:extLst>
            </p:cNvPr>
            <p:cNvSpPr/>
            <p:nvPr/>
          </p:nvSpPr>
          <p:spPr>
            <a:xfrm>
              <a:off x="3474482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0" name="object 1770">
              <a:extLst>
                <a:ext uri="{FF2B5EF4-FFF2-40B4-BE49-F238E27FC236}">
                  <a16:creationId xmlns:a16="http://schemas.microsoft.com/office/drawing/2014/main" id="{9779EB52-6213-D43A-99B8-95929D5E3BD1}"/>
                </a:ext>
              </a:extLst>
            </p:cNvPr>
            <p:cNvSpPr/>
            <p:nvPr/>
          </p:nvSpPr>
          <p:spPr>
            <a:xfrm>
              <a:off x="3509576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1" name="object 1771">
              <a:extLst>
                <a:ext uri="{FF2B5EF4-FFF2-40B4-BE49-F238E27FC236}">
                  <a16:creationId xmlns:a16="http://schemas.microsoft.com/office/drawing/2014/main" id="{B8AC42BD-B86E-BE53-B4C4-15E337F0D589}"/>
                </a:ext>
              </a:extLst>
            </p:cNvPr>
            <p:cNvSpPr/>
            <p:nvPr/>
          </p:nvSpPr>
          <p:spPr>
            <a:xfrm>
              <a:off x="3404439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2" name="object 1772">
              <a:extLst>
                <a:ext uri="{FF2B5EF4-FFF2-40B4-BE49-F238E27FC236}">
                  <a16:creationId xmlns:a16="http://schemas.microsoft.com/office/drawing/2014/main" id="{9F76EAA9-74F9-4E0C-A0AC-ACF5731D9AFF}"/>
                </a:ext>
              </a:extLst>
            </p:cNvPr>
            <p:cNvSpPr/>
            <p:nvPr/>
          </p:nvSpPr>
          <p:spPr>
            <a:xfrm>
              <a:off x="3614568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3" name="object 1773">
              <a:extLst>
                <a:ext uri="{FF2B5EF4-FFF2-40B4-BE49-F238E27FC236}">
                  <a16:creationId xmlns:a16="http://schemas.microsoft.com/office/drawing/2014/main" id="{4D9C65E2-5A2D-EF9C-E9B1-0325C22D6450}"/>
                </a:ext>
              </a:extLst>
            </p:cNvPr>
            <p:cNvSpPr/>
            <p:nvPr/>
          </p:nvSpPr>
          <p:spPr>
            <a:xfrm>
              <a:off x="3439460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4" name="object 1774">
              <a:extLst>
                <a:ext uri="{FF2B5EF4-FFF2-40B4-BE49-F238E27FC236}">
                  <a16:creationId xmlns:a16="http://schemas.microsoft.com/office/drawing/2014/main" id="{B5F7F65D-D897-076D-EEA5-44EA86D3286F}"/>
                </a:ext>
              </a:extLst>
            </p:cNvPr>
            <p:cNvSpPr/>
            <p:nvPr/>
          </p:nvSpPr>
          <p:spPr>
            <a:xfrm>
              <a:off x="371964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5" name="object 1775">
              <a:extLst>
                <a:ext uri="{FF2B5EF4-FFF2-40B4-BE49-F238E27FC236}">
                  <a16:creationId xmlns:a16="http://schemas.microsoft.com/office/drawing/2014/main" id="{B916F27C-2DDA-C367-9151-B72C14848701}"/>
                </a:ext>
              </a:extLst>
            </p:cNvPr>
            <p:cNvSpPr/>
            <p:nvPr/>
          </p:nvSpPr>
          <p:spPr>
            <a:xfrm>
              <a:off x="354466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6" name="object 1776">
              <a:extLst>
                <a:ext uri="{FF2B5EF4-FFF2-40B4-BE49-F238E27FC236}">
                  <a16:creationId xmlns:a16="http://schemas.microsoft.com/office/drawing/2014/main" id="{5E13CD29-82BC-1144-262C-B618E67800F5}"/>
                </a:ext>
              </a:extLst>
            </p:cNvPr>
            <p:cNvSpPr/>
            <p:nvPr/>
          </p:nvSpPr>
          <p:spPr>
            <a:xfrm>
              <a:off x="336969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7" name="object 1777">
              <a:extLst>
                <a:ext uri="{FF2B5EF4-FFF2-40B4-BE49-F238E27FC236}">
                  <a16:creationId xmlns:a16="http://schemas.microsoft.com/office/drawing/2014/main" id="{62962364-1C99-7197-B6FA-F6170457F045}"/>
                </a:ext>
              </a:extLst>
            </p:cNvPr>
            <p:cNvSpPr/>
            <p:nvPr/>
          </p:nvSpPr>
          <p:spPr>
            <a:xfrm>
              <a:off x="354466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8" name="object 1778">
              <a:extLst>
                <a:ext uri="{FF2B5EF4-FFF2-40B4-BE49-F238E27FC236}">
                  <a16:creationId xmlns:a16="http://schemas.microsoft.com/office/drawing/2014/main" id="{1C87E2BD-AAC6-8871-AA66-061379C93E15}"/>
                </a:ext>
              </a:extLst>
            </p:cNvPr>
            <p:cNvSpPr/>
            <p:nvPr/>
          </p:nvSpPr>
          <p:spPr>
            <a:xfrm>
              <a:off x="3369692" y="194612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9" name="object 1779">
              <a:extLst>
                <a:ext uri="{FF2B5EF4-FFF2-40B4-BE49-F238E27FC236}">
                  <a16:creationId xmlns:a16="http://schemas.microsoft.com/office/drawing/2014/main" id="{4E0AD8FF-CC18-A179-381E-A71966092E27}"/>
                </a:ext>
              </a:extLst>
            </p:cNvPr>
            <p:cNvSpPr/>
            <p:nvPr/>
          </p:nvSpPr>
          <p:spPr>
            <a:xfrm>
              <a:off x="3474482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0" name="object 1780">
              <a:extLst>
                <a:ext uri="{FF2B5EF4-FFF2-40B4-BE49-F238E27FC236}">
                  <a16:creationId xmlns:a16="http://schemas.microsoft.com/office/drawing/2014/main" id="{FD8881DE-B38F-6F22-7DAC-2A894F1D373A}"/>
                </a:ext>
              </a:extLst>
            </p:cNvPr>
            <p:cNvSpPr/>
            <p:nvPr/>
          </p:nvSpPr>
          <p:spPr>
            <a:xfrm>
              <a:off x="3404439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1" name="object 1781">
              <a:extLst>
                <a:ext uri="{FF2B5EF4-FFF2-40B4-BE49-F238E27FC236}">
                  <a16:creationId xmlns:a16="http://schemas.microsoft.com/office/drawing/2014/main" id="{D1C8B719-F1CD-9F23-435B-581DABA190E7}"/>
                </a:ext>
              </a:extLst>
            </p:cNvPr>
            <p:cNvSpPr/>
            <p:nvPr/>
          </p:nvSpPr>
          <p:spPr>
            <a:xfrm>
              <a:off x="3439460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2" name="object 1782">
              <a:extLst>
                <a:ext uri="{FF2B5EF4-FFF2-40B4-BE49-F238E27FC236}">
                  <a16:creationId xmlns:a16="http://schemas.microsoft.com/office/drawing/2014/main" id="{824EB302-63CB-0B63-84AF-763DCD2EC060}"/>
                </a:ext>
              </a:extLst>
            </p:cNvPr>
            <p:cNvSpPr/>
            <p:nvPr/>
          </p:nvSpPr>
          <p:spPr>
            <a:xfrm>
              <a:off x="3369692" y="26127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3" name="object 1783">
              <a:extLst>
                <a:ext uri="{FF2B5EF4-FFF2-40B4-BE49-F238E27FC236}">
                  <a16:creationId xmlns:a16="http://schemas.microsoft.com/office/drawing/2014/main" id="{1B8E02ED-24EF-E495-8205-120212D8188C}"/>
                </a:ext>
              </a:extLst>
            </p:cNvPr>
            <p:cNvSpPr/>
            <p:nvPr/>
          </p:nvSpPr>
          <p:spPr>
            <a:xfrm>
              <a:off x="3649589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4" name="object 1784">
              <a:extLst>
                <a:ext uri="{FF2B5EF4-FFF2-40B4-BE49-F238E27FC236}">
                  <a16:creationId xmlns:a16="http://schemas.microsoft.com/office/drawing/2014/main" id="{FFD1DCB4-50CD-69ED-D171-538B863C7DAF}"/>
                </a:ext>
              </a:extLst>
            </p:cNvPr>
            <p:cNvSpPr/>
            <p:nvPr/>
          </p:nvSpPr>
          <p:spPr>
            <a:xfrm>
              <a:off x="3684611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5" name="object 1785">
              <a:extLst>
                <a:ext uri="{FF2B5EF4-FFF2-40B4-BE49-F238E27FC236}">
                  <a16:creationId xmlns:a16="http://schemas.microsoft.com/office/drawing/2014/main" id="{4FD89F40-3815-51A0-6161-C6DEE7C9710D}"/>
                </a:ext>
              </a:extLst>
            </p:cNvPr>
            <p:cNvSpPr/>
            <p:nvPr/>
          </p:nvSpPr>
          <p:spPr>
            <a:xfrm>
              <a:off x="3579546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6" name="object 1786">
              <a:extLst>
                <a:ext uri="{FF2B5EF4-FFF2-40B4-BE49-F238E27FC236}">
                  <a16:creationId xmlns:a16="http://schemas.microsoft.com/office/drawing/2014/main" id="{8C3F0FD9-8CAA-AF04-70E9-CCF37A99F1A1}"/>
                </a:ext>
              </a:extLst>
            </p:cNvPr>
            <p:cNvSpPr/>
            <p:nvPr/>
          </p:nvSpPr>
          <p:spPr>
            <a:xfrm>
              <a:off x="3509576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7" name="object 1787">
              <a:extLst>
                <a:ext uri="{FF2B5EF4-FFF2-40B4-BE49-F238E27FC236}">
                  <a16:creationId xmlns:a16="http://schemas.microsoft.com/office/drawing/2014/main" id="{FF6B3995-6CB8-78DA-95EC-FF423ACB6ECB}"/>
                </a:ext>
              </a:extLst>
            </p:cNvPr>
            <p:cNvSpPr/>
            <p:nvPr/>
          </p:nvSpPr>
          <p:spPr>
            <a:xfrm>
              <a:off x="3614568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8" name="object 1788">
              <a:extLst>
                <a:ext uri="{FF2B5EF4-FFF2-40B4-BE49-F238E27FC236}">
                  <a16:creationId xmlns:a16="http://schemas.microsoft.com/office/drawing/2014/main" id="{5F8D82D4-7D0C-C5FD-5D4A-1D9CD5C1C604}"/>
                </a:ext>
              </a:extLst>
            </p:cNvPr>
            <p:cNvSpPr/>
            <p:nvPr/>
          </p:nvSpPr>
          <p:spPr>
            <a:xfrm>
              <a:off x="3719642" y="26127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9" name="object 1789">
              <a:extLst>
                <a:ext uri="{FF2B5EF4-FFF2-40B4-BE49-F238E27FC236}">
                  <a16:creationId xmlns:a16="http://schemas.microsoft.com/office/drawing/2014/main" id="{F00B54F4-D076-2430-C9C8-FDB4B3177061}"/>
                </a:ext>
              </a:extLst>
            </p:cNvPr>
            <p:cNvSpPr/>
            <p:nvPr/>
          </p:nvSpPr>
          <p:spPr>
            <a:xfrm>
              <a:off x="3544662" y="26127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0" name="object 1790">
              <a:extLst>
                <a:ext uri="{FF2B5EF4-FFF2-40B4-BE49-F238E27FC236}">
                  <a16:creationId xmlns:a16="http://schemas.microsoft.com/office/drawing/2014/main" id="{A87F454A-53AD-659E-55AF-C29C96BA15E4}"/>
                </a:ext>
              </a:extLst>
            </p:cNvPr>
            <p:cNvSpPr/>
            <p:nvPr/>
          </p:nvSpPr>
          <p:spPr>
            <a:xfrm>
              <a:off x="3369692" y="263823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1" name="object 1791">
              <a:extLst>
                <a:ext uri="{FF2B5EF4-FFF2-40B4-BE49-F238E27FC236}">
                  <a16:creationId xmlns:a16="http://schemas.microsoft.com/office/drawing/2014/main" id="{6FD115C6-7109-94F9-5723-3CC95B4DC59E}"/>
                </a:ext>
              </a:extLst>
            </p:cNvPr>
            <p:cNvSpPr/>
            <p:nvPr/>
          </p:nvSpPr>
          <p:spPr>
            <a:xfrm>
              <a:off x="3370158" y="2685748"/>
              <a:ext cx="635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4775"/>
                <a:gd name="f4" fmla="val 84454"/>
                <a:gd name="f5" fmla="val 104227"/>
                <a:gd name="f6" fmla="val 84112"/>
                <a:gd name="f7" fmla="*/ f0 1 104775"/>
                <a:gd name="f8" fmla="*/ f1 1 84454"/>
                <a:gd name="f9" fmla="+- f4 0 f2"/>
                <a:gd name="f10" fmla="+- f3 0 f2"/>
                <a:gd name="f11" fmla="*/ f10 1 1047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47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2" name="object 1792">
              <a:extLst>
                <a:ext uri="{FF2B5EF4-FFF2-40B4-BE49-F238E27FC236}">
                  <a16:creationId xmlns:a16="http://schemas.microsoft.com/office/drawing/2014/main" id="{3A715A13-9255-4C22-8B15-44BFAF509826}"/>
                </a:ext>
              </a:extLst>
            </p:cNvPr>
            <p:cNvSpPr/>
            <p:nvPr/>
          </p:nvSpPr>
          <p:spPr>
            <a:xfrm>
              <a:off x="3649589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3" name="object 1793">
              <a:extLst>
                <a:ext uri="{FF2B5EF4-FFF2-40B4-BE49-F238E27FC236}">
                  <a16:creationId xmlns:a16="http://schemas.microsoft.com/office/drawing/2014/main" id="{6D3084BF-2DB7-F6E4-16CD-F6F0CA26C314}"/>
                </a:ext>
              </a:extLst>
            </p:cNvPr>
            <p:cNvSpPr/>
            <p:nvPr/>
          </p:nvSpPr>
          <p:spPr>
            <a:xfrm>
              <a:off x="3684611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4" name="object 1794">
              <a:extLst>
                <a:ext uri="{FF2B5EF4-FFF2-40B4-BE49-F238E27FC236}">
                  <a16:creationId xmlns:a16="http://schemas.microsoft.com/office/drawing/2014/main" id="{249359FF-3F38-BEE5-BD93-9BC76F0318AC}"/>
                </a:ext>
              </a:extLst>
            </p:cNvPr>
            <p:cNvSpPr/>
            <p:nvPr/>
          </p:nvSpPr>
          <p:spPr>
            <a:xfrm>
              <a:off x="3579546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5" name="object 1795">
              <a:extLst>
                <a:ext uri="{FF2B5EF4-FFF2-40B4-BE49-F238E27FC236}">
                  <a16:creationId xmlns:a16="http://schemas.microsoft.com/office/drawing/2014/main" id="{8C0243C9-1318-946F-9189-B788A0893D9D}"/>
                </a:ext>
              </a:extLst>
            </p:cNvPr>
            <p:cNvSpPr/>
            <p:nvPr/>
          </p:nvSpPr>
          <p:spPr>
            <a:xfrm>
              <a:off x="3474482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6" name="object 1796">
              <a:extLst>
                <a:ext uri="{FF2B5EF4-FFF2-40B4-BE49-F238E27FC236}">
                  <a16:creationId xmlns:a16="http://schemas.microsoft.com/office/drawing/2014/main" id="{9AC8C917-50C0-072C-C987-F195B9B5AF66}"/>
                </a:ext>
              </a:extLst>
            </p:cNvPr>
            <p:cNvSpPr/>
            <p:nvPr/>
          </p:nvSpPr>
          <p:spPr>
            <a:xfrm>
              <a:off x="3509576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7" name="object 1797">
              <a:extLst>
                <a:ext uri="{FF2B5EF4-FFF2-40B4-BE49-F238E27FC236}">
                  <a16:creationId xmlns:a16="http://schemas.microsoft.com/office/drawing/2014/main" id="{532E6CEB-23E5-57E5-F102-F37413231ADE}"/>
                </a:ext>
              </a:extLst>
            </p:cNvPr>
            <p:cNvSpPr/>
            <p:nvPr/>
          </p:nvSpPr>
          <p:spPr>
            <a:xfrm>
              <a:off x="3404439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8" name="object 1798">
              <a:extLst>
                <a:ext uri="{FF2B5EF4-FFF2-40B4-BE49-F238E27FC236}">
                  <a16:creationId xmlns:a16="http://schemas.microsoft.com/office/drawing/2014/main" id="{851F1309-C5DE-48C4-4026-53BE134CB2F2}"/>
                </a:ext>
              </a:extLst>
            </p:cNvPr>
            <p:cNvSpPr/>
            <p:nvPr/>
          </p:nvSpPr>
          <p:spPr>
            <a:xfrm>
              <a:off x="3614568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9" name="object 1799">
              <a:extLst>
                <a:ext uri="{FF2B5EF4-FFF2-40B4-BE49-F238E27FC236}">
                  <a16:creationId xmlns:a16="http://schemas.microsoft.com/office/drawing/2014/main" id="{CB7651E8-4714-E7D3-BB74-6DE66F99D37B}"/>
                </a:ext>
              </a:extLst>
            </p:cNvPr>
            <p:cNvSpPr/>
            <p:nvPr/>
          </p:nvSpPr>
          <p:spPr>
            <a:xfrm>
              <a:off x="3439460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0" name="object 1800">
              <a:extLst>
                <a:ext uri="{FF2B5EF4-FFF2-40B4-BE49-F238E27FC236}">
                  <a16:creationId xmlns:a16="http://schemas.microsoft.com/office/drawing/2014/main" id="{D7D5795B-B867-9DCE-AE4E-DF765C755761}"/>
                </a:ext>
              </a:extLst>
            </p:cNvPr>
            <p:cNvSpPr/>
            <p:nvPr/>
          </p:nvSpPr>
          <p:spPr>
            <a:xfrm>
              <a:off x="371964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1" name="object 1801">
              <a:extLst>
                <a:ext uri="{FF2B5EF4-FFF2-40B4-BE49-F238E27FC236}">
                  <a16:creationId xmlns:a16="http://schemas.microsoft.com/office/drawing/2014/main" id="{5B8BF1FA-F0C6-5298-17AD-4FED9FBC8383}"/>
                </a:ext>
              </a:extLst>
            </p:cNvPr>
            <p:cNvSpPr/>
            <p:nvPr/>
          </p:nvSpPr>
          <p:spPr>
            <a:xfrm>
              <a:off x="354466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2" name="object 1802">
              <a:extLst>
                <a:ext uri="{FF2B5EF4-FFF2-40B4-BE49-F238E27FC236}">
                  <a16:creationId xmlns:a16="http://schemas.microsoft.com/office/drawing/2014/main" id="{25DB756B-FF74-0B25-100F-87B69796EACB}"/>
                </a:ext>
              </a:extLst>
            </p:cNvPr>
            <p:cNvSpPr/>
            <p:nvPr/>
          </p:nvSpPr>
          <p:spPr>
            <a:xfrm>
              <a:off x="336969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3" name="object 1803">
              <a:extLst>
                <a:ext uri="{FF2B5EF4-FFF2-40B4-BE49-F238E27FC236}">
                  <a16:creationId xmlns:a16="http://schemas.microsoft.com/office/drawing/2014/main" id="{C6D1DE7F-9782-DAE1-3FB9-A8424B8EB7A7}"/>
                </a:ext>
              </a:extLst>
            </p:cNvPr>
            <p:cNvSpPr/>
            <p:nvPr/>
          </p:nvSpPr>
          <p:spPr>
            <a:xfrm>
              <a:off x="354466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4" name="object 1804">
              <a:extLst>
                <a:ext uri="{FF2B5EF4-FFF2-40B4-BE49-F238E27FC236}">
                  <a16:creationId xmlns:a16="http://schemas.microsoft.com/office/drawing/2014/main" id="{2B480888-9607-21CA-EA6B-BBE86BE3E8C7}"/>
                </a:ext>
              </a:extLst>
            </p:cNvPr>
            <p:cNvSpPr/>
            <p:nvPr/>
          </p:nvSpPr>
          <p:spPr>
            <a:xfrm>
              <a:off x="3369692" y="271125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5" name="object 1805">
              <a:extLst>
                <a:ext uri="{FF2B5EF4-FFF2-40B4-BE49-F238E27FC236}">
                  <a16:creationId xmlns:a16="http://schemas.microsoft.com/office/drawing/2014/main" id="{FE0A2093-ACFB-F28A-AC97-1A1FBBC9E599}"/>
                </a:ext>
              </a:extLst>
            </p:cNvPr>
            <p:cNvSpPr/>
            <p:nvPr/>
          </p:nvSpPr>
          <p:spPr>
            <a:xfrm>
              <a:off x="2582576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6" name="object 1806">
              <a:extLst>
                <a:ext uri="{FF2B5EF4-FFF2-40B4-BE49-F238E27FC236}">
                  <a16:creationId xmlns:a16="http://schemas.microsoft.com/office/drawing/2014/main" id="{434D03EA-2CB7-9FC3-58F2-05BB09EA6BA2}"/>
                </a:ext>
              </a:extLst>
            </p:cNvPr>
            <p:cNvSpPr/>
            <p:nvPr/>
          </p:nvSpPr>
          <p:spPr>
            <a:xfrm>
              <a:off x="2617598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7" name="object 1807">
              <a:extLst>
                <a:ext uri="{FF2B5EF4-FFF2-40B4-BE49-F238E27FC236}">
                  <a16:creationId xmlns:a16="http://schemas.microsoft.com/office/drawing/2014/main" id="{D9A7CF24-B1EB-B0A9-241F-90DBDCE07A19}"/>
                </a:ext>
              </a:extLst>
            </p:cNvPr>
            <p:cNvSpPr/>
            <p:nvPr/>
          </p:nvSpPr>
          <p:spPr>
            <a:xfrm>
              <a:off x="2547838" y="26130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8" name="object 1808">
              <a:extLst>
                <a:ext uri="{FF2B5EF4-FFF2-40B4-BE49-F238E27FC236}">
                  <a16:creationId xmlns:a16="http://schemas.microsoft.com/office/drawing/2014/main" id="{2D741089-8980-F073-8DAF-29D9634BB928}"/>
                </a:ext>
              </a:extLst>
            </p:cNvPr>
            <p:cNvSpPr/>
            <p:nvPr/>
          </p:nvSpPr>
          <p:spPr>
            <a:xfrm>
              <a:off x="2827736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9" name="object 1809">
              <a:extLst>
                <a:ext uri="{FF2B5EF4-FFF2-40B4-BE49-F238E27FC236}">
                  <a16:creationId xmlns:a16="http://schemas.microsoft.com/office/drawing/2014/main" id="{9E68AB95-6EFD-0490-1D29-65324FFA528C}"/>
                </a:ext>
              </a:extLst>
            </p:cNvPr>
            <p:cNvSpPr/>
            <p:nvPr/>
          </p:nvSpPr>
          <p:spPr>
            <a:xfrm>
              <a:off x="2862757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0" name="object 1810">
              <a:extLst>
                <a:ext uri="{FF2B5EF4-FFF2-40B4-BE49-F238E27FC236}">
                  <a16:creationId xmlns:a16="http://schemas.microsoft.com/office/drawing/2014/main" id="{8A36EE9A-FE91-4410-5742-2C5CE60F7B85}"/>
                </a:ext>
              </a:extLst>
            </p:cNvPr>
            <p:cNvSpPr/>
            <p:nvPr/>
          </p:nvSpPr>
          <p:spPr>
            <a:xfrm>
              <a:off x="2757693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1" name="object 1811">
              <a:extLst>
                <a:ext uri="{FF2B5EF4-FFF2-40B4-BE49-F238E27FC236}">
                  <a16:creationId xmlns:a16="http://schemas.microsoft.com/office/drawing/2014/main" id="{EC9A97A6-7C11-A1CF-B781-5D65BFF3CD41}"/>
                </a:ext>
              </a:extLst>
            </p:cNvPr>
            <p:cNvSpPr/>
            <p:nvPr/>
          </p:nvSpPr>
          <p:spPr>
            <a:xfrm>
              <a:off x="2652619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2" name="object 1812">
              <a:extLst>
                <a:ext uri="{FF2B5EF4-FFF2-40B4-BE49-F238E27FC236}">
                  <a16:creationId xmlns:a16="http://schemas.microsoft.com/office/drawing/2014/main" id="{D1EB3E4F-40CC-8422-916A-24F76550142F}"/>
                </a:ext>
              </a:extLst>
            </p:cNvPr>
            <p:cNvSpPr/>
            <p:nvPr/>
          </p:nvSpPr>
          <p:spPr>
            <a:xfrm>
              <a:off x="2687714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3" name="object 1813">
              <a:extLst>
                <a:ext uri="{FF2B5EF4-FFF2-40B4-BE49-F238E27FC236}">
                  <a16:creationId xmlns:a16="http://schemas.microsoft.com/office/drawing/2014/main" id="{97BFE2BA-68C6-FC65-CC0D-AB3F4DD42753}"/>
                </a:ext>
              </a:extLst>
            </p:cNvPr>
            <p:cNvSpPr/>
            <p:nvPr/>
          </p:nvSpPr>
          <p:spPr>
            <a:xfrm>
              <a:off x="2792714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4" name="object 1814">
              <a:extLst>
                <a:ext uri="{FF2B5EF4-FFF2-40B4-BE49-F238E27FC236}">
                  <a16:creationId xmlns:a16="http://schemas.microsoft.com/office/drawing/2014/main" id="{30B6E04C-4218-ADD6-65D1-BA674C6265AA}"/>
                </a:ext>
              </a:extLst>
            </p:cNvPr>
            <p:cNvSpPr/>
            <p:nvPr/>
          </p:nvSpPr>
          <p:spPr>
            <a:xfrm>
              <a:off x="2897779" y="26130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5" name="object 1815">
              <a:extLst>
                <a:ext uri="{FF2B5EF4-FFF2-40B4-BE49-F238E27FC236}">
                  <a16:creationId xmlns:a16="http://schemas.microsoft.com/office/drawing/2014/main" id="{BC591777-D82C-C475-FFBD-DC52260788DD}"/>
                </a:ext>
              </a:extLst>
            </p:cNvPr>
            <p:cNvSpPr/>
            <p:nvPr/>
          </p:nvSpPr>
          <p:spPr>
            <a:xfrm>
              <a:off x="2722808" y="26130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6" name="object 1816">
              <a:extLst>
                <a:ext uri="{FF2B5EF4-FFF2-40B4-BE49-F238E27FC236}">
                  <a16:creationId xmlns:a16="http://schemas.microsoft.com/office/drawing/2014/main" id="{21E683CE-A859-F4A3-F606-D8ED53EFC028}"/>
                </a:ext>
              </a:extLst>
            </p:cNvPr>
            <p:cNvSpPr/>
            <p:nvPr/>
          </p:nvSpPr>
          <p:spPr>
            <a:xfrm>
              <a:off x="2547829" y="263859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7" name="object 1817">
              <a:extLst>
                <a:ext uri="{FF2B5EF4-FFF2-40B4-BE49-F238E27FC236}">
                  <a16:creationId xmlns:a16="http://schemas.microsoft.com/office/drawing/2014/main" id="{DF613BBA-55DE-247A-5368-6FDFF18874D2}"/>
                </a:ext>
              </a:extLst>
            </p:cNvPr>
            <p:cNvSpPr/>
            <p:nvPr/>
          </p:nvSpPr>
          <p:spPr>
            <a:xfrm>
              <a:off x="2897779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8" name="object 1818">
              <a:extLst>
                <a:ext uri="{FF2B5EF4-FFF2-40B4-BE49-F238E27FC236}">
                  <a16:creationId xmlns:a16="http://schemas.microsoft.com/office/drawing/2014/main" id="{86D4E329-7FA0-5E73-F4BC-68047887A0EC}"/>
                </a:ext>
              </a:extLst>
            </p:cNvPr>
            <p:cNvSpPr/>
            <p:nvPr/>
          </p:nvSpPr>
          <p:spPr>
            <a:xfrm>
              <a:off x="2722808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9" name="object 1819">
              <a:extLst>
                <a:ext uri="{FF2B5EF4-FFF2-40B4-BE49-F238E27FC236}">
                  <a16:creationId xmlns:a16="http://schemas.microsoft.com/office/drawing/2014/main" id="{531D6706-9D08-9D4F-2CEC-8D8B09EFEAE3}"/>
                </a:ext>
              </a:extLst>
            </p:cNvPr>
            <p:cNvSpPr/>
            <p:nvPr/>
          </p:nvSpPr>
          <p:spPr>
            <a:xfrm>
              <a:off x="2547838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0" name="object 1820">
              <a:extLst>
                <a:ext uri="{FF2B5EF4-FFF2-40B4-BE49-F238E27FC236}">
                  <a16:creationId xmlns:a16="http://schemas.microsoft.com/office/drawing/2014/main" id="{B6F51464-4742-175F-54E0-C754D56B9A25}"/>
                </a:ext>
              </a:extLst>
            </p:cNvPr>
            <p:cNvSpPr/>
            <p:nvPr/>
          </p:nvSpPr>
          <p:spPr>
            <a:xfrm>
              <a:off x="2722808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1" name="object 1821">
              <a:extLst>
                <a:ext uri="{FF2B5EF4-FFF2-40B4-BE49-F238E27FC236}">
                  <a16:creationId xmlns:a16="http://schemas.microsoft.com/office/drawing/2014/main" id="{D758B3EA-1D79-B33D-FC0C-578837263B24}"/>
                </a:ext>
              </a:extLst>
            </p:cNvPr>
            <p:cNvSpPr/>
            <p:nvPr/>
          </p:nvSpPr>
          <p:spPr>
            <a:xfrm>
              <a:off x="2827736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2" name="object 1822">
              <a:extLst>
                <a:ext uri="{FF2B5EF4-FFF2-40B4-BE49-F238E27FC236}">
                  <a16:creationId xmlns:a16="http://schemas.microsoft.com/office/drawing/2014/main" id="{5ABB4262-597E-4F80-0A7B-2D4D4B93C4CE}"/>
                </a:ext>
              </a:extLst>
            </p:cNvPr>
            <p:cNvSpPr/>
            <p:nvPr/>
          </p:nvSpPr>
          <p:spPr>
            <a:xfrm>
              <a:off x="2862757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3" name="object 1823">
              <a:extLst>
                <a:ext uri="{FF2B5EF4-FFF2-40B4-BE49-F238E27FC236}">
                  <a16:creationId xmlns:a16="http://schemas.microsoft.com/office/drawing/2014/main" id="{0A50F2AE-6DA7-3B67-8CA9-B7BE4F63E3BF}"/>
                </a:ext>
              </a:extLst>
            </p:cNvPr>
            <p:cNvSpPr/>
            <p:nvPr/>
          </p:nvSpPr>
          <p:spPr>
            <a:xfrm>
              <a:off x="2757693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4" name="object 1824">
              <a:extLst>
                <a:ext uri="{FF2B5EF4-FFF2-40B4-BE49-F238E27FC236}">
                  <a16:creationId xmlns:a16="http://schemas.microsoft.com/office/drawing/2014/main" id="{92CFC152-1E72-7AEB-4AD0-C56DF0F5CAF6}"/>
                </a:ext>
              </a:extLst>
            </p:cNvPr>
            <p:cNvSpPr/>
            <p:nvPr/>
          </p:nvSpPr>
          <p:spPr>
            <a:xfrm>
              <a:off x="2652619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5" name="object 1825">
              <a:extLst>
                <a:ext uri="{FF2B5EF4-FFF2-40B4-BE49-F238E27FC236}">
                  <a16:creationId xmlns:a16="http://schemas.microsoft.com/office/drawing/2014/main" id="{74CDF429-5253-4497-1746-5920162F67C0}"/>
                </a:ext>
              </a:extLst>
            </p:cNvPr>
            <p:cNvSpPr/>
            <p:nvPr/>
          </p:nvSpPr>
          <p:spPr>
            <a:xfrm>
              <a:off x="2687714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6" name="object 1826">
              <a:extLst>
                <a:ext uri="{FF2B5EF4-FFF2-40B4-BE49-F238E27FC236}">
                  <a16:creationId xmlns:a16="http://schemas.microsoft.com/office/drawing/2014/main" id="{E94956F5-3BE0-FB1B-BD9B-BE6B7D5716C5}"/>
                </a:ext>
              </a:extLst>
            </p:cNvPr>
            <p:cNvSpPr/>
            <p:nvPr/>
          </p:nvSpPr>
          <p:spPr>
            <a:xfrm>
              <a:off x="2582576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7" name="object 1827">
              <a:extLst>
                <a:ext uri="{FF2B5EF4-FFF2-40B4-BE49-F238E27FC236}">
                  <a16:creationId xmlns:a16="http://schemas.microsoft.com/office/drawing/2014/main" id="{4ECDDB08-9ED7-DF73-1C68-3F011023C7CE}"/>
                </a:ext>
              </a:extLst>
            </p:cNvPr>
            <p:cNvSpPr/>
            <p:nvPr/>
          </p:nvSpPr>
          <p:spPr>
            <a:xfrm>
              <a:off x="2792714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8" name="object 1828">
              <a:extLst>
                <a:ext uri="{FF2B5EF4-FFF2-40B4-BE49-F238E27FC236}">
                  <a16:creationId xmlns:a16="http://schemas.microsoft.com/office/drawing/2014/main" id="{102A57C2-14D3-1E40-9D1D-CBB68B1A2811}"/>
                </a:ext>
              </a:extLst>
            </p:cNvPr>
            <p:cNvSpPr/>
            <p:nvPr/>
          </p:nvSpPr>
          <p:spPr>
            <a:xfrm>
              <a:off x="2617598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9" name="object 1829">
              <a:extLst>
                <a:ext uri="{FF2B5EF4-FFF2-40B4-BE49-F238E27FC236}">
                  <a16:creationId xmlns:a16="http://schemas.microsoft.com/office/drawing/2014/main" id="{74B5D2A3-09AC-BE05-3D1C-96C7D8E4CE95}"/>
                </a:ext>
              </a:extLst>
            </p:cNvPr>
            <p:cNvSpPr/>
            <p:nvPr/>
          </p:nvSpPr>
          <p:spPr>
            <a:xfrm>
              <a:off x="2547829" y="271161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0" name="object 1830">
              <a:extLst>
                <a:ext uri="{FF2B5EF4-FFF2-40B4-BE49-F238E27FC236}">
                  <a16:creationId xmlns:a16="http://schemas.microsoft.com/office/drawing/2014/main" id="{3BDB1EF1-DC5C-2381-00F8-203CFF4F9F08}"/>
                </a:ext>
              </a:extLst>
            </p:cNvPr>
            <p:cNvSpPr/>
            <p:nvPr/>
          </p:nvSpPr>
          <p:spPr>
            <a:xfrm>
              <a:off x="2547838" y="2686104"/>
              <a:ext cx="6738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1125"/>
                <a:gd name="f4" fmla="val 84454"/>
                <a:gd name="f5" fmla="val 110687"/>
                <a:gd name="f6" fmla="val 84112"/>
                <a:gd name="f7" fmla="*/ f0 1 111125"/>
                <a:gd name="f8" fmla="*/ f1 1 84454"/>
                <a:gd name="f9" fmla="+- f4 0 f2"/>
                <a:gd name="f10" fmla="+- f3 0 f2"/>
                <a:gd name="f11" fmla="*/ f10 1 1111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11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1" name="object 1831">
              <a:extLst>
                <a:ext uri="{FF2B5EF4-FFF2-40B4-BE49-F238E27FC236}">
                  <a16:creationId xmlns:a16="http://schemas.microsoft.com/office/drawing/2014/main" id="{AC7E40DF-AC3F-DCCE-E989-C4F0D54D3C2E}"/>
                </a:ext>
              </a:extLst>
            </p:cNvPr>
            <p:cNvSpPr/>
            <p:nvPr/>
          </p:nvSpPr>
          <p:spPr>
            <a:xfrm>
              <a:off x="2827736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2" name="object 1832">
              <a:extLst>
                <a:ext uri="{FF2B5EF4-FFF2-40B4-BE49-F238E27FC236}">
                  <a16:creationId xmlns:a16="http://schemas.microsoft.com/office/drawing/2014/main" id="{CFA3059B-F231-0D97-F719-1B05A4746CFE}"/>
                </a:ext>
              </a:extLst>
            </p:cNvPr>
            <p:cNvSpPr/>
            <p:nvPr/>
          </p:nvSpPr>
          <p:spPr>
            <a:xfrm>
              <a:off x="2862757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3" name="object 1833">
              <a:extLst>
                <a:ext uri="{FF2B5EF4-FFF2-40B4-BE49-F238E27FC236}">
                  <a16:creationId xmlns:a16="http://schemas.microsoft.com/office/drawing/2014/main" id="{E2162DE2-7724-72BD-6380-786A2767015C}"/>
                </a:ext>
              </a:extLst>
            </p:cNvPr>
            <p:cNvSpPr/>
            <p:nvPr/>
          </p:nvSpPr>
          <p:spPr>
            <a:xfrm>
              <a:off x="2757693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4" name="object 1834">
              <a:extLst>
                <a:ext uri="{FF2B5EF4-FFF2-40B4-BE49-F238E27FC236}">
                  <a16:creationId xmlns:a16="http://schemas.microsoft.com/office/drawing/2014/main" id="{43D5FEBC-F9D6-4C24-83EE-110C06E4D839}"/>
                </a:ext>
              </a:extLst>
            </p:cNvPr>
            <p:cNvSpPr/>
            <p:nvPr/>
          </p:nvSpPr>
          <p:spPr>
            <a:xfrm>
              <a:off x="2652619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5" name="object 1835">
              <a:extLst>
                <a:ext uri="{FF2B5EF4-FFF2-40B4-BE49-F238E27FC236}">
                  <a16:creationId xmlns:a16="http://schemas.microsoft.com/office/drawing/2014/main" id="{E2F0BB95-8EFA-187B-8E31-9D235D8E1F15}"/>
                </a:ext>
              </a:extLst>
            </p:cNvPr>
            <p:cNvSpPr/>
            <p:nvPr/>
          </p:nvSpPr>
          <p:spPr>
            <a:xfrm>
              <a:off x="2687714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6" name="object 1836">
              <a:extLst>
                <a:ext uri="{FF2B5EF4-FFF2-40B4-BE49-F238E27FC236}">
                  <a16:creationId xmlns:a16="http://schemas.microsoft.com/office/drawing/2014/main" id="{56723049-607A-FA10-A9FA-31868656A456}"/>
                </a:ext>
              </a:extLst>
            </p:cNvPr>
            <p:cNvSpPr/>
            <p:nvPr/>
          </p:nvSpPr>
          <p:spPr>
            <a:xfrm>
              <a:off x="2582576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7" name="object 1837">
              <a:extLst>
                <a:ext uri="{FF2B5EF4-FFF2-40B4-BE49-F238E27FC236}">
                  <a16:creationId xmlns:a16="http://schemas.microsoft.com/office/drawing/2014/main" id="{73D50002-CD5B-9A2D-307F-8E674B5C6D2C}"/>
                </a:ext>
              </a:extLst>
            </p:cNvPr>
            <p:cNvSpPr/>
            <p:nvPr/>
          </p:nvSpPr>
          <p:spPr>
            <a:xfrm>
              <a:off x="2792714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8" name="object 1838">
              <a:extLst>
                <a:ext uri="{FF2B5EF4-FFF2-40B4-BE49-F238E27FC236}">
                  <a16:creationId xmlns:a16="http://schemas.microsoft.com/office/drawing/2014/main" id="{A6204D81-9D36-0E6D-09C7-130775AF20B6}"/>
                </a:ext>
              </a:extLst>
            </p:cNvPr>
            <p:cNvSpPr/>
            <p:nvPr/>
          </p:nvSpPr>
          <p:spPr>
            <a:xfrm>
              <a:off x="2617598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9" name="object 1839">
              <a:extLst>
                <a:ext uri="{FF2B5EF4-FFF2-40B4-BE49-F238E27FC236}">
                  <a16:creationId xmlns:a16="http://schemas.microsoft.com/office/drawing/2014/main" id="{4B48E480-CE4B-DD1B-31D8-E519F53479A3}"/>
                </a:ext>
              </a:extLst>
            </p:cNvPr>
            <p:cNvSpPr/>
            <p:nvPr/>
          </p:nvSpPr>
          <p:spPr>
            <a:xfrm>
              <a:off x="2897779" y="1848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0" name="object 1840">
              <a:extLst>
                <a:ext uri="{FF2B5EF4-FFF2-40B4-BE49-F238E27FC236}">
                  <a16:creationId xmlns:a16="http://schemas.microsoft.com/office/drawing/2014/main" id="{CDD947CA-5103-AAE2-F0E3-8E22E3AD0B11}"/>
                </a:ext>
              </a:extLst>
            </p:cNvPr>
            <p:cNvSpPr/>
            <p:nvPr/>
          </p:nvSpPr>
          <p:spPr>
            <a:xfrm>
              <a:off x="2722808" y="1848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1" name="object 1841">
              <a:extLst>
                <a:ext uri="{FF2B5EF4-FFF2-40B4-BE49-F238E27FC236}">
                  <a16:creationId xmlns:a16="http://schemas.microsoft.com/office/drawing/2014/main" id="{0BB09E4E-0C47-0B5B-1F4A-E3EB1EACE122}"/>
                </a:ext>
              </a:extLst>
            </p:cNvPr>
            <p:cNvSpPr/>
            <p:nvPr/>
          </p:nvSpPr>
          <p:spPr>
            <a:xfrm>
              <a:off x="2547838" y="1848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2" name="object 1842">
              <a:extLst>
                <a:ext uri="{FF2B5EF4-FFF2-40B4-BE49-F238E27FC236}">
                  <a16:creationId xmlns:a16="http://schemas.microsoft.com/office/drawing/2014/main" id="{ADDEE4B3-BD4E-1C56-037D-C80B3C0D2BB5}"/>
                </a:ext>
              </a:extLst>
            </p:cNvPr>
            <p:cNvSpPr/>
            <p:nvPr/>
          </p:nvSpPr>
          <p:spPr>
            <a:xfrm>
              <a:off x="2547829" y="187399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3" name="object 1843">
              <a:extLst>
                <a:ext uri="{FF2B5EF4-FFF2-40B4-BE49-F238E27FC236}">
                  <a16:creationId xmlns:a16="http://schemas.microsoft.com/office/drawing/2014/main" id="{0DFEEA4E-85C3-4BFB-A3F0-7D36E5BFD591}"/>
                </a:ext>
              </a:extLst>
            </p:cNvPr>
            <p:cNvSpPr/>
            <p:nvPr/>
          </p:nvSpPr>
          <p:spPr>
            <a:xfrm>
              <a:off x="2547838" y="1848496"/>
              <a:ext cx="11898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6214"/>
                <a:gd name="f4" fmla="val 84455"/>
                <a:gd name="f5" fmla="val 195617"/>
                <a:gd name="f6" fmla="val 84123"/>
                <a:gd name="f7" fmla="*/ f0 1 196214"/>
                <a:gd name="f8" fmla="*/ f1 1 84455"/>
                <a:gd name="f9" fmla="+- f4 0 f2"/>
                <a:gd name="f10" fmla="+- f3 0 f2"/>
                <a:gd name="f11" fmla="*/ f10 1 19621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621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4" name="object 1844">
              <a:extLst>
                <a:ext uri="{FF2B5EF4-FFF2-40B4-BE49-F238E27FC236}">
                  <a16:creationId xmlns:a16="http://schemas.microsoft.com/office/drawing/2014/main" id="{9A7659E8-7DC2-CA74-5D5C-C5036A08C6BF}"/>
                </a:ext>
              </a:extLst>
            </p:cNvPr>
            <p:cNvSpPr/>
            <p:nvPr/>
          </p:nvSpPr>
          <p:spPr>
            <a:xfrm>
              <a:off x="2897779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5" name="object 1845">
              <a:extLst>
                <a:ext uri="{FF2B5EF4-FFF2-40B4-BE49-F238E27FC236}">
                  <a16:creationId xmlns:a16="http://schemas.microsoft.com/office/drawing/2014/main" id="{58291932-8B39-A667-03E0-2C5D0879116E}"/>
                </a:ext>
              </a:extLst>
            </p:cNvPr>
            <p:cNvSpPr/>
            <p:nvPr/>
          </p:nvSpPr>
          <p:spPr>
            <a:xfrm>
              <a:off x="2722808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6" name="object 1846">
              <a:extLst>
                <a:ext uri="{FF2B5EF4-FFF2-40B4-BE49-F238E27FC236}">
                  <a16:creationId xmlns:a16="http://schemas.microsoft.com/office/drawing/2014/main" id="{4969D81A-EE67-850F-0474-2D53923A8045}"/>
                </a:ext>
              </a:extLst>
            </p:cNvPr>
            <p:cNvSpPr/>
            <p:nvPr/>
          </p:nvSpPr>
          <p:spPr>
            <a:xfrm>
              <a:off x="2547838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7" name="object 1847">
              <a:extLst>
                <a:ext uri="{FF2B5EF4-FFF2-40B4-BE49-F238E27FC236}">
                  <a16:creationId xmlns:a16="http://schemas.microsoft.com/office/drawing/2014/main" id="{E02DD06B-CA82-2E2A-7395-0B7B8DC9713C}"/>
                </a:ext>
              </a:extLst>
            </p:cNvPr>
            <p:cNvSpPr/>
            <p:nvPr/>
          </p:nvSpPr>
          <p:spPr>
            <a:xfrm>
              <a:off x="2722808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8" name="object 1848">
              <a:extLst>
                <a:ext uri="{FF2B5EF4-FFF2-40B4-BE49-F238E27FC236}">
                  <a16:creationId xmlns:a16="http://schemas.microsoft.com/office/drawing/2014/main" id="{C761934C-4D5C-22E6-C8A8-294FEA85A2AF}"/>
                </a:ext>
              </a:extLst>
            </p:cNvPr>
            <p:cNvSpPr/>
            <p:nvPr/>
          </p:nvSpPr>
          <p:spPr>
            <a:xfrm>
              <a:off x="2827736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9" name="object 1849">
              <a:extLst>
                <a:ext uri="{FF2B5EF4-FFF2-40B4-BE49-F238E27FC236}">
                  <a16:creationId xmlns:a16="http://schemas.microsoft.com/office/drawing/2014/main" id="{CD994D1C-D47F-986B-E749-41A7D159C10B}"/>
                </a:ext>
              </a:extLst>
            </p:cNvPr>
            <p:cNvSpPr/>
            <p:nvPr/>
          </p:nvSpPr>
          <p:spPr>
            <a:xfrm>
              <a:off x="2862757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0" name="object 1850">
              <a:extLst>
                <a:ext uri="{FF2B5EF4-FFF2-40B4-BE49-F238E27FC236}">
                  <a16:creationId xmlns:a16="http://schemas.microsoft.com/office/drawing/2014/main" id="{6610D241-C2C4-0402-00FE-769D6E2DB5E0}"/>
                </a:ext>
              </a:extLst>
            </p:cNvPr>
            <p:cNvSpPr/>
            <p:nvPr/>
          </p:nvSpPr>
          <p:spPr>
            <a:xfrm>
              <a:off x="2757693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1" name="object 1851">
              <a:extLst>
                <a:ext uri="{FF2B5EF4-FFF2-40B4-BE49-F238E27FC236}">
                  <a16:creationId xmlns:a16="http://schemas.microsoft.com/office/drawing/2014/main" id="{CE647AFE-3A4A-6FD9-47A5-E7CE9F1360F8}"/>
                </a:ext>
              </a:extLst>
            </p:cNvPr>
            <p:cNvSpPr/>
            <p:nvPr/>
          </p:nvSpPr>
          <p:spPr>
            <a:xfrm>
              <a:off x="2652619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2" name="object 1852">
              <a:extLst>
                <a:ext uri="{FF2B5EF4-FFF2-40B4-BE49-F238E27FC236}">
                  <a16:creationId xmlns:a16="http://schemas.microsoft.com/office/drawing/2014/main" id="{73F3992D-F715-2DA8-4F8E-81A3570A15BB}"/>
                </a:ext>
              </a:extLst>
            </p:cNvPr>
            <p:cNvSpPr/>
            <p:nvPr/>
          </p:nvSpPr>
          <p:spPr>
            <a:xfrm>
              <a:off x="2687714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3" name="object 1853">
              <a:extLst>
                <a:ext uri="{FF2B5EF4-FFF2-40B4-BE49-F238E27FC236}">
                  <a16:creationId xmlns:a16="http://schemas.microsoft.com/office/drawing/2014/main" id="{FF48A89A-0644-7DD3-4831-9680045D6A52}"/>
                </a:ext>
              </a:extLst>
            </p:cNvPr>
            <p:cNvSpPr/>
            <p:nvPr/>
          </p:nvSpPr>
          <p:spPr>
            <a:xfrm>
              <a:off x="2582576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4" name="object 1854">
              <a:extLst>
                <a:ext uri="{FF2B5EF4-FFF2-40B4-BE49-F238E27FC236}">
                  <a16:creationId xmlns:a16="http://schemas.microsoft.com/office/drawing/2014/main" id="{25A0C689-5852-4D6B-0716-FF04D2813C3C}"/>
                </a:ext>
              </a:extLst>
            </p:cNvPr>
            <p:cNvSpPr/>
            <p:nvPr/>
          </p:nvSpPr>
          <p:spPr>
            <a:xfrm>
              <a:off x="2792714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5" name="object 1855">
              <a:extLst>
                <a:ext uri="{FF2B5EF4-FFF2-40B4-BE49-F238E27FC236}">
                  <a16:creationId xmlns:a16="http://schemas.microsoft.com/office/drawing/2014/main" id="{7ED224F1-AA8E-B63F-D009-E0C9DC5A570F}"/>
                </a:ext>
              </a:extLst>
            </p:cNvPr>
            <p:cNvSpPr/>
            <p:nvPr/>
          </p:nvSpPr>
          <p:spPr>
            <a:xfrm>
              <a:off x="2617598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6" name="object 1856">
              <a:extLst>
                <a:ext uri="{FF2B5EF4-FFF2-40B4-BE49-F238E27FC236}">
                  <a16:creationId xmlns:a16="http://schemas.microsoft.com/office/drawing/2014/main" id="{DD6E1A0B-B322-8B22-D9C4-370BCAA05D3A}"/>
                </a:ext>
              </a:extLst>
            </p:cNvPr>
            <p:cNvSpPr/>
            <p:nvPr/>
          </p:nvSpPr>
          <p:spPr>
            <a:xfrm>
              <a:off x="2547829" y="194702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7" name="object 1857">
              <a:extLst>
                <a:ext uri="{FF2B5EF4-FFF2-40B4-BE49-F238E27FC236}">
                  <a16:creationId xmlns:a16="http://schemas.microsoft.com/office/drawing/2014/main" id="{C2E1BA73-8CD3-7437-90A1-D7273647EF75}"/>
                </a:ext>
              </a:extLst>
            </p:cNvPr>
            <p:cNvSpPr/>
            <p:nvPr/>
          </p:nvSpPr>
          <p:spPr>
            <a:xfrm>
              <a:off x="2547838" y="1921511"/>
              <a:ext cx="8355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7795"/>
                <a:gd name="f4" fmla="val 84454"/>
                <a:gd name="f5" fmla="val 137440"/>
                <a:gd name="f6" fmla="val 84133"/>
                <a:gd name="f7" fmla="*/ f0 1 137795"/>
                <a:gd name="f8" fmla="*/ f1 1 84454"/>
                <a:gd name="f9" fmla="+- f4 0 f2"/>
                <a:gd name="f10" fmla="+- f3 0 f2"/>
                <a:gd name="f11" fmla="*/ f10 1 13779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779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858" name="object 1858">
              <a:extLst>
                <a:ext uri="{FF2B5EF4-FFF2-40B4-BE49-F238E27FC236}">
                  <a16:creationId xmlns:a16="http://schemas.microsoft.com/office/drawing/2014/main" id="{16561865-79F6-C55A-B679-9ACCA2AFE30C}"/>
                </a:ext>
              </a:extLst>
            </p:cNvPr>
            <p:cNvPicPr>
              <a:picLocks noChangeAspect="1"/>
            </p:cNvPicPr>
            <p:nvPr/>
          </p:nvPicPr>
          <p:blipFill>
            <a:blip r:embed="rId62"/>
            <a:stretch>
              <a:fillRect/>
            </a:stretch>
          </p:blipFill>
          <p:spPr>
            <a:xfrm>
              <a:off x="2545497" y="2866918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859" name="object 1859">
              <a:extLst>
                <a:ext uri="{FF2B5EF4-FFF2-40B4-BE49-F238E27FC236}">
                  <a16:creationId xmlns:a16="http://schemas.microsoft.com/office/drawing/2014/main" id="{9D2C217D-5090-868D-D600-881330F9B221}"/>
                </a:ext>
              </a:extLst>
            </p:cNvPr>
            <p:cNvSpPr/>
            <p:nvPr/>
          </p:nvSpPr>
          <p:spPr>
            <a:xfrm>
              <a:off x="2545497" y="286691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860" name="object 1860">
              <a:extLst>
                <a:ext uri="{FF2B5EF4-FFF2-40B4-BE49-F238E27FC236}">
                  <a16:creationId xmlns:a16="http://schemas.microsoft.com/office/drawing/2014/main" id="{EC0F79E4-BAE6-71C7-2CB4-34B2536D5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3"/>
            <a:stretch>
              <a:fillRect/>
            </a:stretch>
          </p:blipFill>
          <p:spPr>
            <a:xfrm>
              <a:off x="2546192" y="565547"/>
              <a:ext cx="348989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861" name="object 1861">
              <a:extLst>
                <a:ext uri="{FF2B5EF4-FFF2-40B4-BE49-F238E27FC236}">
                  <a16:creationId xmlns:a16="http://schemas.microsoft.com/office/drawing/2014/main" id="{E92AED19-6566-B154-E3E3-7C78FCC6F071}"/>
                </a:ext>
              </a:extLst>
            </p:cNvPr>
            <p:cNvSpPr/>
            <p:nvPr/>
          </p:nvSpPr>
          <p:spPr>
            <a:xfrm>
              <a:off x="2545241" y="56555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2" name="object 1862">
              <a:extLst>
                <a:ext uri="{FF2B5EF4-FFF2-40B4-BE49-F238E27FC236}">
                  <a16:creationId xmlns:a16="http://schemas.microsoft.com/office/drawing/2014/main" id="{51B41746-788A-6546-F6F9-28C35532B5EC}"/>
                </a:ext>
              </a:extLst>
            </p:cNvPr>
            <p:cNvSpPr/>
            <p:nvPr/>
          </p:nvSpPr>
          <p:spPr>
            <a:xfrm>
              <a:off x="2546201" y="56555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3" name="object 1863">
              <a:extLst>
                <a:ext uri="{FF2B5EF4-FFF2-40B4-BE49-F238E27FC236}">
                  <a16:creationId xmlns:a16="http://schemas.microsoft.com/office/drawing/2014/main" id="{5B1B864F-1BA0-3792-9EFB-6A1E7C4BB3A1}"/>
                </a:ext>
              </a:extLst>
            </p:cNvPr>
            <p:cNvSpPr/>
            <p:nvPr/>
          </p:nvSpPr>
          <p:spPr>
            <a:xfrm>
              <a:off x="3370158" y="4218108"/>
              <a:ext cx="86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2875"/>
                <a:gd name="f4" fmla="val 84454"/>
                <a:gd name="f5" fmla="val 142330"/>
                <a:gd name="f6" fmla="val 84123"/>
                <a:gd name="f7" fmla="*/ f0 1 142875"/>
                <a:gd name="f8" fmla="*/ f1 1 84454"/>
                <a:gd name="f9" fmla="+- f4 0 f2"/>
                <a:gd name="f10" fmla="+- f3 0 f2"/>
                <a:gd name="f11" fmla="*/ f10 1 1428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28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4" name="object 1864">
              <a:extLst>
                <a:ext uri="{FF2B5EF4-FFF2-40B4-BE49-F238E27FC236}">
                  <a16:creationId xmlns:a16="http://schemas.microsoft.com/office/drawing/2014/main" id="{5AFF260E-A88A-6522-3D26-BB50DB6CDEEB}"/>
                </a:ext>
              </a:extLst>
            </p:cNvPr>
            <p:cNvSpPr/>
            <p:nvPr/>
          </p:nvSpPr>
          <p:spPr>
            <a:xfrm>
              <a:off x="3369692" y="4145084"/>
              <a:ext cx="2398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95604"/>
                <a:gd name="f4" fmla="val 84454"/>
                <a:gd name="f5" fmla="val 395569"/>
                <a:gd name="f6" fmla="val 84123"/>
                <a:gd name="f7" fmla="*/ f0 1 395604"/>
                <a:gd name="f8" fmla="*/ f1 1 84454"/>
                <a:gd name="f9" fmla="+- f4 0 f2"/>
                <a:gd name="f10" fmla="+- f3 0 f2"/>
                <a:gd name="f11" fmla="*/ f10 1 3956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956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5" name="object 1865">
              <a:extLst>
                <a:ext uri="{FF2B5EF4-FFF2-40B4-BE49-F238E27FC236}">
                  <a16:creationId xmlns:a16="http://schemas.microsoft.com/office/drawing/2014/main" id="{1FEAB44A-57DF-DC05-BEA1-E8E1D7B9F364}"/>
                </a:ext>
              </a:extLst>
            </p:cNvPr>
            <p:cNvSpPr/>
            <p:nvPr/>
          </p:nvSpPr>
          <p:spPr>
            <a:xfrm>
              <a:off x="3579546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6" name="object 1866">
              <a:extLst>
                <a:ext uri="{FF2B5EF4-FFF2-40B4-BE49-F238E27FC236}">
                  <a16:creationId xmlns:a16="http://schemas.microsoft.com/office/drawing/2014/main" id="{16F0E049-B0DD-C527-C366-9DC95FF922B1}"/>
                </a:ext>
              </a:extLst>
            </p:cNvPr>
            <p:cNvSpPr/>
            <p:nvPr/>
          </p:nvSpPr>
          <p:spPr>
            <a:xfrm>
              <a:off x="3474482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7" name="object 1867">
              <a:extLst>
                <a:ext uri="{FF2B5EF4-FFF2-40B4-BE49-F238E27FC236}">
                  <a16:creationId xmlns:a16="http://schemas.microsoft.com/office/drawing/2014/main" id="{2E5481D2-143C-4DDB-717D-CC1817930112}"/>
                </a:ext>
              </a:extLst>
            </p:cNvPr>
            <p:cNvSpPr/>
            <p:nvPr/>
          </p:nvSpPr>
          <p:spPr>
            <a:xfrm>
              <a:off x="3509576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8" name="object 1868">
              <a:extLst>
                <a:ext uri="{FF2B5EF4-FFF2-40B4-BE49-F238E27FC236}">
                  <a16:creationId xmlns:a16="http://schemas.microsoft.com/office/drawing/2014/main" id="{328EC512-6F45-FDC7-1117-4C0F3936217F}"/>
                </a:ext>
              </a:extLst>
            </p:cNvPr>
            <p:cNvSpPr/>
            <p:nvPr/>
          </p:nvSpPr>
          <p:spPr>
            <a:xfrm>
              <a:off x="3404439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9" name="object 1869">
              <a:extLst>
                <a:ext uri="{FF2B5EF4-FFF2-40B4-BE49-F238E27FC236}">
                  <a16:creationId xmlns:a16="http://schemas.microsoft.com/office/drawing/2014/main" id="{5A257F1F-F584-6616-FEE2-663A616838CE}"/>
                </a:ext>
              </a:extLst>
            </p:cNvPr>
            <p:cNvSpPr/>
            <p:nvPr/>
          </p:nvSpPr>
          <p:spPr>
            <a:xfrm>
              <a:off x="3614568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0" name="object 1870">
              <a:extLst>
                <a:ext uri="{FF2B5EF4-FFF2-40B4-BE49-F238E27FC236}">
                  <a16:creationId xmlns:a16="http://schemas.microsoft.com/office/drawing/2014/main" id="{87C945DB-4305-BE59-E586-63AE3597F99F}"/>
                </a:ext>
              </a:extLst>
            </p:cNvPr>
            <p:cNvSpPr/>
            <p:nvPr/>
          </p:nvSpPr>
          <p:spPr>
            <a:xfrm>
              <a:off x="3439460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1" name="object 1871">
              <a:extLst>
                <a:ext uri="{FF2B5EF4-FFF2-40B4-BE49-F238E27FC236}">
                  <a16:creationId xmlns:a16="http://schemas.microsoft.com/office/drawing/2014/main" id="{41F06804-2211-A2FC-DC26-61A77010D719}"/>
                </a:ext>
              </a:extLst>
            </p:cNvPr>
            <p:cNvSpPr/>
            <p:nvPr/>
          </p:nvSpPr>
          <p:spPr>
            <a:xfrm>
              <a:off x="354466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2" name="object 1872">
              <a:extLst>
                <a:ext uri="{FF2B5EF4-FFF2-40B4-BE49-F238E27FC236}">
                  <a16:creationId xmlns:a16="http://schemas.microsoft.com/office/drawing/2014/main" id="{0A34D63A-98A0-884A-E61B-B72B8A00CC3C}"/>
                </a:ext>
              </a:extLst>
            </p:cNvPr>
            <p:cNvSpPr/>
            <p:nvPr/>
          </p:nvSpPr>
          <p:spPr>
            <a:xfrm>
              <a:off x="336969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3" name="object 1873">
              <a:extLst>
                <a:ext uri="{FF2B5EF4-FFF2-40B4-BE49-F238E27FC236}">
                  <a16:creationId xmlns:a16="http://schemas.microsoft.com/office/drawing/2014/main" id="{ED3DC37D-6EA2-6777-7DEC-EDD40E28D676}"/>
                </a:ext>
              </a:extLst>
            </p:cNvPr>
            <p:cNvSpPr/>
            <p:nvPr/>
          </p:nvSpPr>
          <p:spPr>
            <a:xfrm>
              <a:off x="354466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4" name="object 1874">
              <a:extLst>
                <a:ext uri="{FF2B5EF4-FFF2-40B4-BE49-F238E27FC236}">
                  <a16:creationId xmlns:a16="http://schemas.microsoft.com/office/drawing/2014/main" id="{DD436DB2-F550-1632-939F-20B983223DF4}"/>
                </a:ext>
              </a:extLst>
            </p:cNvPr>
            <p:cNvSpPr/>
            <p:nvPr/>
          </p:nvSpPr>
          <p:spPr>
            <a:xfrm>
              <a:off x="3649589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5" name="object 1875">
              <a:extLst>
                <a:ext uri="{FF2B5EF4-FFF2-40B4-BE49-F238E27FC236}">
                  <a16:creationId xmlns:a16="http://schemas.microsoft.com/office/drawing/2014/main" id="{C0F7289C-558F-6D06-BC40-C4453464AFA0}"/>
                </a:ext>
              </a:extLst>
            </p:cNvPr>
            <p:cNvSpPr/>
            <p:nvPr/>
          </p:nvSpPr>
          <p:spPr>
            <a:xfrm>
              <a:off x="3684611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6" name="object 1876">
              <a:extLst>
                <a:ext uri="{FF2B5EF4-FFF2-40B4-BE49-F238E27FC236}">
                  <a16:creationId xmlns:a16="http://schemas.microsoft.com/office/drawing/2014/main" id="{8827EC7F-8393-A3B3-F879-7BE90CDCA2B9}"/>
                </a:ext>
              </a:extLst>
            </p:cNvPr>
            <p:cNvSpPr/>
            <p:nvPr/>
          </p:nvSpPr>
          <p:spPr>
            <a:xfrm>
              <a:off x="371964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7" name="object 1877">
              <a:extLst>
                <a:ext uri="{FF2B5EF4-FFF2-40B4-BE49-F238E27FC236}">
                  <a16:creationId xmlns:a16="http://schemas.microsoft.com/office/drawing/2014/main" id="{AB7072F2-F4D5-7464-F292-62F58D0FD594}"/>
                </a:ext>
              </a:extLst>
            </p:cNvPr>
            <p:cNvSpPr/>
            <p:nvPr/>
          </p:nvSpPr>
          <p:spPr>
            <a:xfrm>
              <a:off x="3369692" y="417058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8" name="object 1878">
              <a:extLst>
                <a:ext uri="{FF2B5EF4-FFF2-40B4-BE49-F238E27FC236}">
                  <a16:creationId xmlns:a16="http://schemas.microsoft.com/office/drawing/2014/main" id="{00C6C493-0004-E201-389A-03CABD38A310}"/>
                </a:ext>
              </a:extLst>
            </p:cNvPr>
            <p:cNvSpPr/>
            <p:nvPr/>
          </p:nvSpPr>
          <p:spPr>
            <a:xfrm>
              <a:off x="3649589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9" name="object 1879">
              <a:extLst>
                <a:ext uri="{FF2B5EF4-FFF2-40B4-BE49-F238E27FC236}">
                  <a16:creationId xmlns:a16="http://schemas.microsoft.com/office/drawing/2014/main" id="{890B0763-098D-BE05-38A7-8D8E8154AB0C}"/>
                </a:ext>
              </a:extLst>
            </p:cNvPr>
            <p:cNvSpPr/>
            <p:nvPr/>
          </p:nvSpPr>
          <p:spPr>
            <a:xfrm>
              <a:off x="3684611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0" name="object 1880">
              <a:extLst>
                <a:ext uri="{FF2B5EF4-FFF2-40B4-BE49-F238E27FC236}">
                  <a16:creationId xmlns:a16="http://schemas.microsoft.com/office/drawing/2014/main" id="{13F58197-6154-AF45-E8F1-E6DE30755956}"/>
                </a:ext>
              </a:extLst>
            </p:cNvPr>
            <p:cNvSpPr/>
            <p:nvPr/>
          </p:nvSpPr>
          <p:spPr>
            <a:xfrm>
              <a:off x="3579546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1" name="object 1881">
              <a:extLst>
                <a:ext uri="{FF2B5EF4-FFF2-40B4-BE49-F238E27FC236}">
                  <a16:creationId xmlns:a16="http://schemas.microsoft.com/office/drawing/2014/main" id="{E0DF3965-5032-B220-7BCB-E250D38E0ADC}"/>
                </a:ext>
              </a:extLst>
            </p:cNvPr>
            <p:cNvSpPr/>
            <p:nvPr/>
          </p:nvSpPr>
          <p:spPr>
            <a:xfrm>
              <a:off x="3474482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2" name="object 1882">
              <a:extLst>
                <a:ext uri="{FF2B5EF4-FFF2-40B4-BE49-F238E27FC236}">
                  <a16:creationId xmlns:a16="http://schemas.microsoft.com/office/drawing/2014/main" id="{E37CA4C2-56A5-24F5-E291-061B7D7CF98A}"/>
                </a:ext>
              </a:extLst>
            </p:cNvPr>
            <p:cNvSpPr/>
            <p:nvPr/>
          </p:nvSpPr>
          <p:spPr>
            <a:xfrm>
              <a:off x="3509576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3" name="object 1883">
              <a:extLst>
                <a:ext uri="{FF2B5EF4-FFF2-40B4-BE49-F238E27FC236}">
                  <a16:creationId xmlns:a16="http://schemas.microsoft.com/office/drawing/2014/main" id="{714DE532-37B2-5B90-79CD-F4E7A26A294E}"/>
                </a:ext>
              </a:extLst>
            </p:cNvPr>
            <p:cNvSpPr/>
            <p:nvPr/>
          </p:nvSpPr>
          <p:spPr>
            <a:xfrm>
              <a:off x="3404439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4" name="object 1884">
              <a:extLst>
                <a:ext uri="{FF2B5EF4-FFF2-40B4-BE49-F238E27FC236}">
                  <a16:creationId xmlns:a16="http://schemas.microsoft.com/office/drawing/2014/main" id="{C65B9344-3A79-59FC-8BDF-CDBCB46084D3}"/>
                </a:ext>
              </a:extLst>
            </p:cNvPr>
            <p:cNvSpPr/>
            <p:nvPr/>
          </p:nvSpPr>
          <p:spPr>
            <a:xfrm>
              <a:off x="3614568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5" name="object 1885">
              <a:extLst>
                <a:ext uri="{FF2B5EF4-FFF2-40B4-BE49-F238E27FC236}">
                  <a16:creationId xmlns:a16="http://schemas.microsoft.com/office/drawing/2014/main" id="{A38012D3-B9D6-ED06-6CAC-E796637889AE}"/>
                </a:ext>
              </a:extLst>
            </p:cNvPr>
            <p:cNvSpPr/>
            <p:nvPr/>
          </p:nvSpPr>
          <p:spPr>
            <a:xfrm>
              <a:off x="3439460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6" name="object 1886">
              <a:extLst>
                <a:ext uri="{FF2B5EF4-FFF2-40B4-BE49-F238E27FC236}">
                  <a16:creationId xmlns:a16="http://schemas.microsoft.com/office/drawing/2014/main" id="{3E0511A7-6E0E-DECA-59D1-C6570DE81881}"/>
                </a:ext>
              </a:extLst>
            </p:cNvPr>
            <p:cNvSpPr/>
            <p:nvPr/>
          </p:nvSpPr>
          <p:spPr>
            <a:xfrm>
              <a:off x="371964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7" name="object 1887">
              <a:extLst>
                <a:ext uri="{FF2B5EF4-FFF2-40B4-BE49-F238E27FC236}">
                  <a16:creationId xmlns:a16="http://schemas.microsoft.com/office/drawing/2014/main" id="{5015C096-C83C-2FC7-7FCE-AF57030164B6}"/>
                </a:ext>
              </a:extLst>
            </p:cNvPr>
            <p:cNvSpPr/>
            <p:nvPr/>
          </p:nvSpPr>
          <p:spPr>
            <a:xfrm>
              <a:off x="354466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8" name="object 1888">
              <a:extLst>
                <a:ext uri="{FF2B5EF4-FFF2-40B4-BE49-F238E27FC236}">
                  <a16:creationId xmlns:a16="http://schemas.microsoft.com/office/drawing/2014/main" id="{EDEB6921-7906-31A2-A032-70B3A438DD32}"/>
                </a:ext>
              </a:extLst>
            </p:cNvPr>
            <p:cNvSpPr/>
            <p:nvPr/>
          </p:nvSpPr>
          <p:spPr>
            <a:xfrm>
              <a:off x="336969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9" name="object 1889">
              <a:extLst>
                <a:ext uri="{FF2B5EF4-FFF2-40B4-BE49-F238E27FC236}">
                  <a16:creationId xmlns:a16="http://schemas.microsoft.com/office/drawing/2014/main" id="{56DB20A1-E9BC-B605-CCE1-156AE5A5C0C1}"/>
                </a:ext>
              </a:extLst>
            </p:cNvPr>
            <p:cNvSpPr/>
            <p:nvPr/>
          </p:nvSpPr>
          <p:spPr>
            <a:xfrm>
              <a:off x="354466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0" name="object 1890">
              <a:extLst>
                <a:ext uri="{FF2B5EF4-FFF2-40B4-BE49-F238E27FC236}">
                  <a16:creationId xmlns:a16="http://schemas.microsoft.com/office/drawing/2014/main" id="{4A4C67A9-D209-7318-9AD9-D44A5F36FA62}"/>
                </a:ext>
              </a:extLst>
            </p:cNvPr>
            <p:cNvSpPr/>
            <p:nvPr/>
          </p:nvSpPr>
          <p:spPr>
            <a:xfrm>
              <a:off x="3369692" y="424361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1" name="object 1891">
              <a:extLst>
                <a:ext uri="{FF2B5EF4-FFF2-40B4-BE49-F238E27FC236}">
                  <a16:creationId xmlns:a16="http://schemas.microsoft.com/office/drawing/2014/main" id="{F2571BFB-7026-CF79-F11A-B7C4F444C443}"/>
                </a:ext>
              </a:extLst>
            </p:cNvPr>
            <p:cNvSpPr/>
            <p:nvPr/>
          </p:nvSpPr>
          <p:spPr>
            <a:xfrm>
              <a:off x="10223284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2" name="object 1892">
              <a:extLst>
                <a:ext uri="{FF2B5EF4-FFF2-40B4-BE49-F238E27FC236}">
                  <a16:creationId xmlns:a16="http://schemas.microsoft.com/office/drawing/2014/main" id="{97CAD777-2665-ABA3-E5FF-0A8950FFB635}"/>
                </a:ext>
              </a:extLst>
            </p:cNvPr>
            <p:cNvSpPr/>
            <p:nvPr/>
          </p:nvSpPr>
          <p:spPr>
            <a:xfrm>
              <a:off x="1025831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3" name="object 1893">
              <a:extLst>
                <a:ext uri="{FF2B5EF4-FFF2-40B4-BE49-F238E27FC236}">
                  <a16:creationId xmlns:a16="http://schemas.microsoft.com/office/drawing/2014/main" id="{B73794FA-2633-AEB8-29E7-6DF5B0818327}"/>
                </a:ext>
              </a:extLst>
            </p:cNvPr>
            <p:cNvSpPr/>
            <p:nvPr/>
          </p:nvSpPr>
          <p:spPr>
            <a:xfrm>
              <a:off x="1015324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4" name="object 1894">
              <a:extLst>
                <a:ext uri="{FF2B5EF4-FFF2-40B4-BE49-F238E27FC236}">
                  <a16:creationId xmlns:a16="http://schemas.microsoft.com/office/drawing/2014/main" id="{0951E140-9D7A-8F9B-2EBB-52FEBC2A435F}"/>
                </a:ext>
              </a:extLst>
            </p:cNvPr>
            <p:cNvSpPr/>
            <p:nvPr/>
          </p:nvSpPr>
          <p:spPr>
            <a:xfrm>
              <a:off x="1004817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5" name="object 1895">
              <a:extLst>
                <a:ext uri="{FF2B5EF4-FFF2-40B4-BE49-F238E27FC236}">
                  <a16:creationId xmlns:a16="http://schemas.microsoft.com/office/drawing/2014/main" id="{C51AF277-2A3B-C986-2ED7-A37B5DED3AB3}"/>
                </a:ext>
              </a:extLst>
            </p:cNvPr>
            <p:cNvSpPr/>
            <p:nvPr/>
          </p:nvSpPr>
          <p:spPr>
            <a:xfrm>
              <a:off x="1008327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6" name="object 1896">
              <a:extLst>
                <a:ext uri="{FF2B5EF4-FFF2-40B4-BE49-F238E27FC236}">
                  <a16:creationId xmlns:a16="http://schemas.microsoft.com/office/drawing/2014/main" id="{D5778D1E-A8A1-2EDD-4426-EECA1666BC0A}"/>
                </a:ext>
              </a:extLst>
            </p:cNvPr>
            <p:cNvSpPr/>
            <p:nvPr/>
          </p:nvSpPr>
          <p:spPr>
            <a:xfrm>
              <a:off x="997813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7" name="object 1897">
              <a:extLst>
                <a:ext uri="{FF2B5EF4-FFF2-40B4-BE49-F238E27FC236}">
                  <a16:creationId xmlns:a16="http://schemas.microsoft.com/office/drawing/2014/main" id="{F2FE2C1B-5785-F877-CE0A-C9B8DE650B16}"/>
                </a:ext>
              </a:extLst>
            </p:cNvPr>
            <p:cNvSpPr/>
            <p:nvPr/>
          </p:nvSpPr>
          <p:spPr>
            <a:xfrm>
              <a:off x="1018826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8" name="object 1898">
              <a:extLst>
                <a:ext uri="{FF2B5EF4-FFF2-40B4-BE49-F238E27FC236}">
                  <a16:creationId xmlns:a16="http://schemas.microsoft.com/office/drawing/2014/main" id="{B706BF38-38BD-A952-F72A-A598B2078A66}"/>
                </a:ext>
              </a:extLst>
            </p:cNvPr>
            <p:cNvSpPr/>
            <p:nvPr/>
          </p:nvSpPr>
          <p:spPr>
            <a:xfrm>
              <a:off x="1001315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9" name="object 1899">
              <a:extLst>
                <a:ext uri="{FF2B5EF4-FFF2-40B4-BE49-F238E27FC236}">
                  <a16:creationId xmlns:a16="http://schemas.microsoft.com/office/drawing/2014/main" id="{A52622D6-9716-F9D2-79F9-CA2296074D5E}"/>
                </a:ext>
              </a:extLst>
            </p:cNvPr>
            <p:cNvSpPr/>
            <p:nvPr/>
          </p:nvSpPr>
          <p:spPr>
            <a:xfrm>
              <a:off x="10293336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0" name="object 1900">
              <a:extLst>
                <a:ext uri="{FF2B5EF4-FFF2-40B4-BE49-F238E27FC236}">
                  <a16:creationId xmlns:a16="http://schemas.microsoft.com/office/drawing/2014/main" id="{4EE0CCF5-E176-5F7B-7D1A-06B490EFD97F}"/>
                </a:ext>
              </a:extLst>
            </p:cNvPr>
            <p:cNvSpPr/>
            <p:nvPr/>
          </p:nvSpPr>
          <p:spPr>
            <a:xfrm>
              <a:off x="10118366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1" name="object 1901">
              <a:extLst>
                <a:ext uri="{FF2B5EF4-FFF2-40B4-BE49-F238E27FC236}">
                  <a16:creationId xmlns:a16="http://schemas.microsoft.com/office/drawing/2014/main" id="{10876915-BA49-B9E1-1DBC-C81DEBA4E024}"/>
                </a:ext>
              </a:extLst>
            </p:cNvPr>
            <p:cNvSpPr/>
            <p:nvPr/>
          </p:nvSpPr>
          <p:spPr>
            <a:xfrm>
              <a:off x="9943386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2" name="object 1902">
              <a:extLst>
                <a:ext uri="{FF2B5EF4-FFF2-40B4-BE49-F238E27FC236}">
                  <a16:creationId xmlns:a16="http://schemas.microsoft.com/office/drawing/2014/main" id="{F8789B6C-F6BC-EC5B-E930-85F5D2EC0D35}"/>
                </a:ext>
              </a:extLst>
            </p:cNvPr>
            <p:cNvSpPr/>
            <p:nvPr/>
          </p:nvSpPr>
          <p:spPr>
            <a:xfrm>
              <a:off x="9943395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3" name="object 1903">
              <a:extLst>
                <a:ext uri="{FF2B5EF4-FFF2-40B4-BE49-F238E27FC236}">
                  <a16:creationId xmlns:a16="http://schemas.microsoft.com/office/drawing/2014/main" id="{DD574F78-3803-2613-8AE0-44B38C8B5031}"/>
                </a:ext>
              </a:extLst>
            </p:cNvPr>
            <p:cNvSpPr/>
            <p:nvPr/>
          </p:nvSpPr>
          <p:spPr>
            <a:xfrm>
              <a:off x="9943514" y="2613318"/>
              <a:ext cx="11474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9230"/>
                <a:gd name="f4" fmla="val 84454"/>
                <a:gd name="f5" fmla="val 189104"/>
                <a:gd name="f6" fmla="val 84102"/>
                <a:gd name="f7" fmla="*/ f0 1 189230"/>
                <a:gd name="f8" fmla="*/ f1 1 84454"/>
                <a:gd name="f9" fmla="+- f4 0 f2"/>
                <a:gd name="f10" fmla="+- f3 0 f2"/>
                <a:gd name="f11" fmla="*/ f10 1 1892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92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4" name="object 1904">
              <a:extLst>
                <a:ext uri="{FF2B5EF4-FFF2-40B4-BE49-F238E27FC236}">
                  <a16:creationId xmlns:a16="http://schemas.microsoft.com/office/drawing/2014/main" id="{8F7D1D82-5A92-79EC-35F6-532C19C8E022}"/>
                </a:ext>
              </a:extLst>
            </p:cNvPr>
            <p:cNvSpPr/>
            <p:nvPr/>
          </p:nvSpPr>
          <p:spPr>
            <a:xfrm>
              <a:off x="10292989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5" name="object 1905">
              <a:extLst>
                <a:ext uri="{FF2B5EF4-FFF2-40B4-BE49-F238E27FC236}">
                  <a16:creationId xmlns:a16="http://schemas.microsoft.com/office/drawing/2014/main" id="{CAD79137-BB1A-8082-FF14-C7B0BCE18CF4}"/>
                </a:ext>
              </a:extLst>
            </p:cNvPr>
            <p:cNvSpPr/>
            <p:nvPr/>
          </p:nvSpPr>
          <p:spPr>
            <a:xfrm>
              <a:off x="10118018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6" name="object 1906">
              <a:extLst>
                <a:ext uri="{FF2B5EF4-FFF2-40B4-BE49-F238E27FC236}">
                  <a16:creationId xmlns:a16="http://schemas.microsoft.com/office/drawing/2014/main" id="{2C4681EE-28F6-01FD-C69A-DFBCEC23F748}"/>
                </a:ext>
              </a:extLst>
            </p:cNvPr>
            <p:cNvSpPr/>
            <p:nvPr/>
          </p:nvSpPr>
          <p:spPr>
            <a:xfrm>
              <a:off x="9943048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7" name="object 1907">
              <a:extLst>
                <a:ext uri="{FF2B5EF4-FFF2-40B4-BE49-F238E27FC236}">
                  <a16:creationId xmlns:a16="http://schemas.microsoft.com/office/drawing/2014/main" id="{A881A3A6-F65C-0DC8-11DA-E106078F9C55}"/>
                </a:ext>
              </a:extLst>
            </p:cNvPr>
            <p:cNvSpPr/>
            <p:nvPr/>
          </p:nvSpPr>
          <p:spPr>
            <a:xfrm>
              <a:off x="10118018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8" name="object 1908">
              <a:extLst>
                <a:ext uri="{FF2B5EF4-FFF2-40B4-BE49-F238E27FC236}">
                  <a16:creationId xmlns:a16="http://schemas.microsoft.com/office/drawing/2014/main" id="{1D35F6A2-B300-D6FF-56D0-031945F10CF9}"/>
                </a:ext>
              </a:extLst>
            </p:cNvPr>
            <p:cNvSpPr/>
            <p:nvPr/>
          </p:nvSpPr>
          <p:spPr>
            <a:xfrm>
              <a:off x="1022294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9" name="object 1909">
              <a:extLst>
                <a:ext uri="{FF2B5EF4-FFF2-40B4-BE49-F238E27FC236}">
                  <a16:creationId xmlns:a16="http://schemas.microsoft.com/office/drawing/2014/main" id="{19E5846B-6ECD-80CB-1948-9893D8F7A605}"/>
                </a:ext>
              </a:extLst>
            </p:cNvPr>
            <p:cNvSpPr/>
            <p:nvPr/>
          </p:nvSpPr>
          <p:spPr>
            <a:xfrm>
              <a:off x="10257967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0" name="object 1910">
              <a:extLst>
                <a:ext uri="{FF2B5EF4-FFF2-40B4-BE49-F238E27FC236}">
                  <a16:creationId xmlns:a16="http://schemas.microsoft.com/office/drawing/2014/main" id="{617F0501-DDDD-E132-251A-AA9A0A7E89DD}"/>
                </a:ext>
              </a:extLst>
            </p:cNvPr>
            <p:cNvSpPr/>
            <p:nvPr/>
          </p:nvSpPr>
          <p:spPr>
            <a:xfrm>
              <a:off x="1015290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1" name="object 1911">
              <a:extLst>
                <a:ext uri="{FF2B5EF4-FFF2-40B4-BE49-F238E27FC236}">
                  <a16:creationId xmlns:a16="http://schemas.microsoft.com/office/drawing/2014/main" id="{417F0E8E-DFD7-A523-4D71-1A699B4503AB}"/>
                </a:ext>
              </a:extLst>
            </p:cNvPr>
            <p:cNvSpPr/>
            <p:nvPr/>
          </p:nvSpPr>
          <p:spPr>
            <a:xfrm>
              <a:off x="10047829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2" name="object 1912">
              <a:extLst>
                <a:ext uri="{FF2B5EF4-FFF2-40B4-BE49-F238E27FC236}">
                  <a16:creationId xmlns:a16="http://schemas.microsoft.com/office/drawing/2014/main" id="{B7834700-59DF-A49D-B834-3432BB358DB1}"/>
                </a:ext>
              </a:extLst>
            </p:cNvPr>
            <p:cNvSpPr/>
            <p:nvPr/>
          </p:nvSpPr>
          <p:spPr>
            <a:xfrm>
              <a:off x="1008292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3" name="object 1913">
              <a:extLst>
                <a:ext uri="{FF2B5EF4-FFF2-40B4-BE49-F238E27FC236}">
                  <a16:creationId xmlns:a16="http://schemas.microsoft.com/office/drawing/2014/main" id="{9E5D2E44-2268-D0A4-FA9F-643404A1D5FF}"/>
                </a:ext>
              </a:extLst>
            </p:cNvPr>
            <p:cNvSpPr/>
            <p:nvPr/>
          </p:nvSpPr>
          <p:spPr>
            <a:xfrm>
              <a:off x="997778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4" name="object 1914">
              <a:extLst>
                <a:ext uri="{FF2B5EF4-FFF2-40B4-BE49-F238E27FC236}">
                  <a16:creationId xmlns:a16="http://schemas.microsoft.com/office/drawing/2014/main" id="{123F2694-D007-8E21-3438-9CBA53FA045A}"/>
                </a:ext>
              </a:extLst>
            </p:cNvPr>
            <p:cNvSpPr/>
            <p:nvPr/>
          </p:nvSpPr>
          <p:spPr>
            <a:xfrm>
              <a:off x="1018792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5" name="object 1915">
              <a:extLst>
                <a:ext uri="{FF2B5EF4-FFF2-40B4-BE49-F238E27FC236}">
                  <a16:creationId xmlns:a16="http://schemas.microsoft.com/office/drawing/2014/main" id="{B9676960-765D-B0F7-51C3-E256CEFADB23}"/>
                </a:ext>
              </a:extLst>
            </p:cNvPr>
            <p:cNvSpPr/>
            <p:nvPr/>
          </p:nvSpPr>
          <p:spPr>
            <a:xfrm>
              <a:off x="1001280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6" name="object 1916">
              <a:extLst>
                <a:ext uri="{FF2B5EF4-FFF2-40B4-BE49-F238E27FC236}">
                  <a16:creationId xmlns:a16="http://schemas.microsoft.com/office/drawing/2014/main" id="{3A033855-28FE-4893-7EA8-CDE1550A2DC7}"/>
                </a:ext>
              </a:extLst>
            </p:cNvPr>
            <p:cNvSpPr/>
            <p:nvPr/>
          </p:nvSpPr>
          <p:spPr>
            <a:xfrm>
              <a:off x="9943048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7" name="object 1917">
              <a:extLst>
                <a:ext uri="{FF2B5EF4-FFF2-40B4-BE49-F238E27FC236}">
                  <a16:creationId xmlns:a16="http://schemas.microsoft.com/office/drawing/2014/main" id="{C1EB9A90-E03F-6B0D-3062-510BD5AFEB0A}"/>
                </a:ext>
              </a:extLst>
            </p:cNvPr>
            <p:cNvSpPr/>
            <p:nvPr/>
          </p:nvSpPr>
          <p:spPr>
            <a:xfrm>
              <a:off x="10223284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8" name="object 1918">
              <a:extLst>
                <a:ext uri="{FF2B5EF4-FFF2-40B4-BE49-F238E27FC236}">
                  <a16:creationId xmlns:a16="http://schemas.microsoft.com/office/drawing/2014/main" id="{1E277EE5-E0D4-104F-9060-0F5A0FA79B02}"/>
                </a:ext>
              </a:extLst>
            </p:cNvPr>
            <p:cNvSpPr/>
            <p:nvPr/>
          </p:nvSpPr>
          <p:spPr>
            <a:xfrm>
              <a:off x="1025831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9" name="object 1919">
              <a:extLst>
                <a:ext uri="{FF2B5EF4-FFF2-40B4-BE49-F238E27FC236}">
                  <a16:creationId xmlns:a16="http://schemas.microsoft.com/office/drawing/2014/main" id="{3D2A310F-1C1D-6510-2170-508F828D864D}"/>
                </a:ext>
              </a:extLst>
            </p:cNvPr>
            <p:cNvSpPr/>
            <p:nvPr/>
          </p:nvSpPr>
          <p:spPr>
            <a:xfrm>
              <a:off x="10153241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0" name="object 1920">
              <a:extLst>
                <a:ext uri="{FF2B5EF4-FFF2-40B4-BE49-F238E27FC236}">
                  <a16:creationId xmlns:a16="http://schemas.microsoft.com/office/drawing/2014/main" id="{7B57182D-293C-D2DD-E467-B1263429A7AD}"/>
                </a:ext>
              </a:extLst>
            </p:cNvPr>
            <p:cNvSpPr/>
            <p:nvPr/>
          </p:nvSpPr>
          <p:spPr>
            <a:xfrm>
              <a:off x="10048177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1" name="object 1921">
              <a:extLst>
                <a:ext uri="{FF2B5EF4-FFF2-40B4-BE49-F238E27FC236}">
                  <a16:creationId xmlns:a16="http://schemas.microsoft.com/office/drawing/2014/main" id="{B1C0A0D7-A2AE-1D80-9D53-0D5B7117887A}"/>
                </a:ext>
              </a:extLst>
            </p:cNvPr>
            <p:cNvSpPr/>
            <p:nvPr/>
          </p:nvSpPr>
          <p:spPr>
            <a:xfrm>
              <a:off x="10083271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2" name="object 1922">
              <a:extLst>
                <a:ext uri="{FF2B5EF4-FFF2-40B4-BE49-F238E27FC236}">
                  <a16:creationId xmlns:a16="http://schemas.microsoft.com/office/drawing/2014/main" id="{C19B746E-4A9A-385A-C882-F6E644034B37}"/>
                </a:ext>
              </a:extLst>
            </p:cNvPr>
            <p:cNvSpPr/>
            <p:nvPr/>
          </p:nvSpPr>
          <p:spPr>
            <a:xfrm>
              <a:off x="9978133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3" name="object 1923">
              <a:extLst>
                <a:ext uri="{FF2B5EF4-FFF2-40B4-BE49-F238E27FC236}">
                  <a16:creationId xmlns:a16="http://schemas.microsoft.com/office/drawing/2014/main" id="{FE84E030-907F-0428-D75F-3378FBDB5664}"/>
                </a:ext>
              </a:extLst>
            </p:cNvPr>
            <p:cNvSpPr/>
            <p:nvPr/>
          </p:nvSpPr>
          <p:spPr>
            <a:xfrm>
              <a:off x="10188263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4" name="object 1924">
              <a:extLst>
                <a:ext uri="{FF2B5EF4-FFF2-40B4-BE49-F238E27FC236}">
                  <a16:creationId xmlns:a16="http://schemas.microsoft.com/office/drawing/2014/main" id="{DDE5C920-98C8-4D83-4A96-A8DB33328DE9}"/>
                </a:ext>
              </a:extLst>
            </p:cNvPr>
            <p:cNvSpPr/>
            <p:nvPr/>
          </p:nvSpPr>
          <p:spPr>
            <a:xfrm>
              <a:off x="1001315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5" name="object 1925">
              <a:extLst>
                <a:ext uri="{FF2B5EF4-FFF2-40B4-BE49-F238E27FC236}">
                  <a16:creationId xmlns:a16="http://schemas.microsoft.com/office/drawing/2014/main" id="{65D22027-991E-293B-0B4F-7917E9F8818D}"/>
                </a:ext>
              </a:extLst>
            </p:cNvPr>
            <p:cNvSpPr/>
            <p:nvPr/>
          </p:nvSpPr>
          <p:spPr>
            <a:xfrm>
              <a:off x="10293336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6" name="object 1926">
              <a:extLst>
                <a:ext uri="{FF2B5EF4-FFF2-40B4-BE49-F238E27FC236}">
                  <a16:creationId xmlns:a16="http://schemas.microsoft.com/office/drawing/2014/main" id="{A9B81D22-1AC1-BAD1-AF87-AFE7A96F7A36}"/>
                </a:ext>
              </a:extLst>
            </p:cNvPr>
            <p:cNvSpPr/>
            <p:nvPr/>
          </p:nvSpPr>
          <p:spPr>
            <a:xfrm>
              <a:off x="10118366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7" name="object 1927">
              <a:extLst>
                <a:ext uri="{FF2B5EF4-FFF2-40B4-BE49-F238E27FC236}">
                  <a16:creationId xmlns:a16="http://schemas.microsoft.com/office/drawing/2014/main" id="{86AD85BE-E53D-96EC-C315-72778D22CE29}"/>
                </a:ext>
              </a:extLst>
            </p:cNvPr>
            <p:cNvSpPr/>
            <p:nvPr/>
          </p:nvSpPr>
          <p:spPr>
            <a:xfrm>
              <a:off x="9943386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8" name="object 1928">
              <a:extLst>
                <a:ext uri="{FF2B5EF4-FFF2-40B4-BE49-F238E27FC236}">
                  <a16:creationId xmlns:a16="http://schemas.microsoft.com/office/drawing/2014/main" id="{EAC3FDB4-871B-DE76-9A1C-BB75F5461D83}"/>
                </a:ext>
              </a:extLst>
            </p:cNvPr>
            <p:cNvSpPr/>
            <p:nvPr/>
          </p:nvSpPr>
          <p:spPr>
            <a:xfrm>
              <a:off x="9943395" y="417084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9" name="object 1929">
              <a:extLst>
                <a:ext uri="{FF2B5EF4-FFF2-40B4-BE49-F238E27FC236}">
                  <a16:creationId xmlns:a16="http://schemas.microsoft.com/office/drawing/2014/main" id="{5B58D473-BDC9-30F8-4460-D9E1FF2F689B}"/>
                </a:ext>
              </a:extLst>
            </p:cNvPr>
            <p:cNvSpPr/>
            <p:nvPr/>
          </p:nvSpPr>
          <p:spPr>
            <a:xfrm>
              <a:off x="9943514" y="4145340"/>
              <a:ext cx="19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75"/>
                <a:gd name="f4" fmla="val 84454"/>
                <a:gd name="f5" fmla="val 2973"/>
                <a:gd name="f6" fmla="val 84123"/>
                <a:gd name="f7" fmla="*/ f0 1 3175"/>
                <a:gd name="f8" fmla="*/ f1 1 84454"/>
                <a:gd name="f9" fmla="+- f4 0 f2"/>
                <a:gd name="f10" fmla="+- f3 0 f2"/>
                <a:gd name="f11" fmla="*/ f10 1 31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0" name="object 1930">
              <a:extLst>
                <a:ext uri="{FF2B5EF4-FFF2-40B4-BE49-F238E27FC236}">
                  <a16:creationId xmlns:a16="http://schemas.microsoft.com/office/drawing/2014/main" id="{7389EB8A-A90C-0B09-F7A8-6A9245AA2303}"/>
                </a:ext>
              </a:extLst>
            </p:cNvPr>
            <p:cNvSpPr/>
            <p:nvPr/>
          </p:nvSpPr>
          <p:spPr>
            <a:xfrm>
              <a:off x="10292989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1" name="object 1931">
              <a:extLst>
                <a:ext uri="{FF2B5EF4-FFF2-40B4-BE49-F238E27FC236}">
                  <a16:creationId xmlns:a16="http://schemas.microsoft.com/office/drawing/2014/main" id="{D638C3F3-8D5C-BB1F-6ADD-5264D8232B8D}"/>
                </a:ext>
              </a:extLst>
            </p:cNvPr>
            <p:cNvSpPr/>
            <p:nvPr/>
          </p:nvSpPr>
          <p:spPr>
            <a:xfrm>
              <a:off x="10118018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2" name="object 1932">
              <a:extLst>
                <a:ext uri="{FF2B5EF4-FFF2-40B4-BE49-F238E27FC236}">
                  <a16:creationId xmlns:a16="http://schemas.microsoft.com/office/drawing/2014/main" id="{5A41177E-92DF-D351-04FF-EC1F2FCC2F4A}"/>
                </a:ext>
              </a:extLst>
            </p:cNvPr>
            <p:cNvSpPr/>
            <p:nvPr/>
          </p:nvSpPr>
          <p:spPr>
            <a:xfrm>
              <a:off x="9943048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3" name="object 1933">
              <a:extLst>
                <a:ext uri="{FF2B5EF4-FFF2-40B4-BE49-F238E27FC236}">
                  <a16:creationId xmlns:a16="http://schemas.microsoft.com/office/drawing/2014/main" id="{CBCF5666-F938-912B-A465-212899807696}"/>
                </a:ext>
              </a:extLst>
            </p:cNvPr>
            <p:cNvSpPr/>
            <p:nvPr/>
          </p:nvSpPr>
          <p:spPr>
            <a:xfrm>
              <a:off x="10118018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4" name="object 1934">
              <a:extLst>
                <a:ext uri="{FF2B5EF4-FFF2-40B4-BE49-F238E27FC236}">
                  <a16:creationId xmlns:a16="http://schemas.microsoft.com/office/drawing/2014/main" id="{77FA26FA-CCC9-CA14-892A-0E4DAF0FEC4F}"/>
                </a:ext>
              </a:extLst>
            </p:cNvPr>
            <p:cNvSpPr/>
            <p:nvPr/>
          </p:nvSpPr>
          <p:spPr>
            <a:xfrm>
              <a:off x="10222946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5" name="object 1935">
              <a:extLst>
                <a:ext uri="{FF2B5EF4-FFF2-40B4-BE49-F238E27FC236}">
                  <a16:creationId xmlns:a16="http://schemas.microsoft.com/office/drawing/2014/main" id="{CA84A063-925D-2A59-15E8-37DC04F34CED}"/>
                </a:ext>
              </a:extLst>
            </p:cNvPr>
            <p:cNvSpPr/>
            <p:nvPr/>
          </p:nvSpPr>
          <p:spPr>
            <a:xfrm>
              <a:off x="10257967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6" name="object 1936">
              <a:extLst>
                <a:ext uri="{FF2B5EF4-FFF2-40B4-BE49-F238E27FC236}">
                  <a16:creationId xmlns:a16="http://schemas.microsoft.com/office/drawing/2014/main" id="{80AA345C-A728-6084-7EAD-347E5A6205FD}"/>
                </a:ext>
              </a:extLst>
            </p:cNvPr>
            <p:cNvSpPr/>
            <p:nvPr/>
          </p:nvSpPr>
          <p:spPr>
            <a:xfrm>
              <a:off x="10152903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7" name="object 1937">
              <a:extLst>
                <a:ext uri="{FF2B5EF4-FFF2-40B4-BE49-F238E27FC236}">
                  <a16:creationId xmlns:a16="http://schemas.microsoft.com/office/drawing/2014/main" id="{BC3A366A-FB71-CCBB-6AAE-4D5BD42916FA}"/>
                </a:ext>
              </a:extLst>
            </p:cNvPr>
            <p:cNvSpPr/>
            <p:nvPr/>
          </p:nvSpPr>
          <p:spPr>
            <a:xfrm>
              <a:off x="10047829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8" name="object 1938">
              <a:extLst>
                <a:ext uri="{FF2B5EF4-FFF2-40B4-BE49-F238E27FC236}">
                  <a16:creationId xmlns:a16="http://schemas.microsoft.com/office/drawing/2014/main" id="{66911B98-683F-F81F-0DE7-6848CBC8041A}"/>
                </a:ext>
              </a:extLst>
            </p:cNvPr>
            <p:cNvSpPr/>
            <p:nvPr/>
          </p:nvSpPr>
          <p:spPr>
            <a:xfrm>
              <a:off x="10082924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9" name="object 1939">
              <a:extLst>
                <a:ext uri="{FF2B5EF4-FFF2-40B4-BE49-F238E27FC236}">
                  <a16:creationId xmlns:a16="http://schemas.microsoft.com/office/drawing/2014/main" id="{E3437380-7176-3AEA-754A-9B66ABE0C527}"/>
                </a:ext>
              </a:extLst>
            </p:cNvPr>
            <p:cNvSpPr/>
            <p:nvPr/>
          </p:nvSpPr>
          <p:spPr>
            <a:xfrm>
              <a:off x="9977786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0" name="object 1940">
              <a:extLst>
                <a:ext uri="{FF2B5EF4-FFF2-40B4-BE49-F238E27FC236}">
                  <a16:creationId xmlns:a16="http://schemas.microsoft.com/office/drawing/2014/main" id="{3250EE6C-DBC7-8EE4-6B45-51AECD824E7C}"/>
                </a:ext>
              </a:extLst>
            </p:cNvPr>
            <p:cNvSpPr/>
            <p:nvPr/>
          </p:nvSpPr>
          <p:spPr>
            <a:xfrm>
              <a:off x="10187924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1" name="object 1941">
              <a:extLst>
                <a:ext uri="{FF2B5EF4-FFF2-40B4-BE49-F238E27FC236}">
                  <a16:creationId xmlns:a16="http://schemas.microsoft.com/office/drawing/2014/main" id="{F452B255-B213-1D64-F01D-DCEBB166AF92}"/>
                </a:ext>
              </a:extLst>
            </p:cNvPr>
            <p:cNvSpPr/>
            <p:nvPr/>
          </p:nvSpPr>
          <p:spPr>
            <a:xfrm>
              <a:off x="10012808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2" name="object 1942">
              <a:extLst>
                <a:ext uri="{FF2B5EF4-FFF2-40B4-BE49-F238E27FC236}">
                  <a16:creationId xmlns:a16="http://schemas.microsoft.com/office/drawing/2014/main" id="{5ED47351-7D5E-15E5-850E-8D13FC8174DA}"/>
                </a:ext>
              </a:extLst>
            </p:cNvPr>
            <p:cNvSpPr/>
            <p:nvPr/>
          </p:nvSpPr>
          <p:spPr>
            <a:xfrm>
              <a:off x="9943048" y="424314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3" name="object 1943">
              <a:extLst>
                <a:ext uri="{FF2B5EF4-FFF2-40B4-BE49-F238E27FC236}">
                  <a16:creationId xmlns:a16="http://schemas.microsoft.com/office/drawing/2014/main" id="{1B089D2B-C28B-AE9A-4F54-3D21BB463AA6}"/>
                </a:ext>
              </a:extLst>
            </p:cNvPr>
            <p:cNvSpPr/>
            <p:nvPr/>
          </p:nvSpPr>
          <p:spPr>
            <a:xfrm>
              <a:off x="9943514" y="4217642"/>
              <a:ext cx="2734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084"/>
                <a:gd name="f4" fmla="val 84454"/>
                <a:gd name="f5" fmla="val 45024"/>
                <a:gd name="f6" fmla="val 84123"/>
                <a:gd name="f7" fmla="*/ f0 1 45084"/>
                <a:gd name="f8" fmla="*/ f1 1 84454"/>
                <a:gd name="f9" fmla="+- f4 0 f2"/>
                <a:gd name="f10" fmla="+- f3 0 f2"/>
                <a:gd name="f11" fmla="*/ f10 1 4508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08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1944" name="object 1944">
            <a:extLst>
              <a:ext uri="{FF2B5EF4-FFF2-40B4-BE49-F238E27FC236}">
                <a16:creationId xmlns:a16="http://schemas.microsoft.com/office/drawing/2014/main" id="{779533F6-DA3E-C6DE-B7DC-09273F6FCFFC}"/>
              </a:ext>
            </a:extLst>
          </p:cNvPr>
          <p:cNvSpPr txBox="1"/>
          <p:nvPr/>
        </p:nvSpPr>
        <p:spPr>
          <a:xfrm>
            <a:off x="2541986" y="948424"/>
            <a:ext cx="44629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rip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oundati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eca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nd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45" name="object 1945">
            <a:extLst>
              <a:ext uri="{FF2B5EF4-FFF2-40B4-BE49-F238E27FC236}">
                <a16:creationId xmlns:a16="http://schemas.microsoft.com/office/drawing/2014/main" id="{BE05C024-3155-CD40-81DE-56BF0469E505}"/>
              </a:ext>
            </a:extLst>
          </p:cNvPr>
          <p:cNvSpPr txBox="1"/>
          <p:nvPr/>
        </p:nvSpPr>
        <p:spPr>
          <a:xfrm>
            <a:off x="2540120" y="1706599"/>
            <a:ext cx="4832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rip foundati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eca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utureCe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46" name="object 1946">
            <a:extLst>
              <a:ext uri="{FF2B5EF4-FFF2-40B4-BE49-F238E27FC236}">
                <a16:creationId xmlns:a16="http://schemas.microsoft.com/office/drawing/2014/main" id="{F54FAEFD-B8C2-C4E1-7641-39769D24065F}"/>
              </a:ext>
            </a:extLst>
          </p:cNvPr>
          <p:cNvSpPr txBox="1"/>
          <p:nvPr/>
        </p:nvSpPr>
        <p:spPr>
          <a:xfrm>
            <a:off x="2540120" y="2469803"/>
            <a:ext cx="222180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crew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47" name="object 1947">
            <a:extLst>
              <a:ext uri="{FF2B5EF4-FFF2-40B4-BE49-F238E27FC236}">
                <a16:creationId xmlns:a16="http://schemas.microsoft.com/office/drawing/2014/main" id="{E43AAEAB-5EF8-EADC-49F8-FC8D104664E8}"/>
              </a:ext>
            </a:extLst>
          </p:cNvPr>
          <p:cNvSpPr txBox="1"/>
          <p:nvPr/>
        </p:nvSpPr>
        <p:spPr>
          <a:xfrm>
            <a:off x="3359898" y="948735"/>
            <a:ext cx="40277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,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ais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48" name="object 1948">
            <a:extLst>
              <a:ext uri="{FF2B5EF4-FFF2-40B4-BE49-F238E27FC236}">
                <a16:creationId xmlns:a16="http://schemas.microsoft.com/office/drawing/2014/main" id="{E4C6516F-DD43-7CBA-E802-F43FB8B1CEAF}"/>
              </a:ext>
            </a:extLst>
          </p:cNvPr>
          <p:cNvSpPr txBox="1"/>
          <p:nvPr/>
        </p:nvSpPr>
        <p:spPr>
          <a:xfrm>
            <a:off x="4186964" y="948470"/>
            <a:ext cx="33231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49" name="object 1949">
            <a:extLst>
              <a:ext uri="{FF2B5EF4-FFF2-40B4-BE49-F238E27FC236}">
                <a16:creationId xmlns:a16="http://schemas.microsoft.com/office/drawing/2014/main" id="{DF6F2193-7FE8-1F02-39F5-5300C324F5BB}"/>
              </a:ext>
            </a:extLst>
          </p:cNvPr>
          <p:cNvSpPr txBox="1"/>
          <p:nvPr/>
        </p:nvSpPr>
        <p:spPr>
          <a:xfrm>
            <a:off x="3359761" y="1708693"/>
            <a:ext cx="33809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0" name="object 1950">
            <a:extLst>
              <a:ext uri="{FF2B5EF4-FFF2-40B4-BE49-F238E27FC236}">
                <a16:creationId xmlns:a16="http://schemas.microsoft.com/office/drawing/2014/main" id="{775336BD-0922-8549-D38A-02448AB4936F}"/>
              </a:ext>
            </a:extLst>
          </p:cNvPr>
          <p:cNvSpPr txBox="1"/>
          <p:nvPr/>
        </p:nvSpPr>
        <p:spPr>
          <a:xfrm>
            <a:off x="4186964" y="1708913"/>
            <a:ext cx="42395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1" name="object 1951">
            <a:extLst>
              <a:ext uri="{FF2B5EF4-FFF2-40B4-BE49-F238E27FC236}">
                <a16:creationId xmlns:a16="http://schemas.microsoft.com/office/drawing/2014/main" id="{1D0E41AC-4307-50E5-E60C-A3A894D488CB}"/>
              </a:ext>
            </a:extLst>
          </p:cNvPr>
          <p:cNvSpPr txBox="1"/>
          <p:nvPr/>
        </p:nvSpPr>
        <p:spPr>
          <a:xfrm>
            <a:off x="3359761" y="2464911"/>
            <a:ext cx="419718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errain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t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2" name="object 1952">
            <a:extLst>
              <a:ext uri="{FF2B5EF4-FFF2-40B4-BE49-F238E27FC236}">
                <a16:creationId xmlns:a16="http://schemas.microsoft.com/office/drawing/2014/main" id="{7FCA35E0-33EC-9BBB-D756-F625F8AE70C4}"/>
              </a:ext>
            </a:extLst>
          </p:cNvPr>
          <p:cNvSpPr txBox="1"/>
          <p:nvPr/>
        </p:nvSpPr>
        <p:spPr>
          <a:xfrm>
            <a:off x="3359761" y="3242956"/>
            <a:ext cx="399309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3" name="object 1953">
            <a:extLst>
              <a:ext uri="{FF2B5EF4-FFF2-40B4-BE49-F238E27FC236}">
                <a16:creationId xmlns:a16="http://schemas.microsoft.com/office/drawing/2014/main" id="{B63012B1-7EFA-0C57-FEB4-71998B211238}"/>
              </a:ext>
            </a:extLst>
          </p:cNvPr>
          <p:cNvSpPr txBox="1"/>
          <p:nvPr/>
        </p:nvSpPr>
        <p:spPr>
          <a:xfrm>
            <a:off x="4184248" y="2469977"/>
            <a:ext cx="54679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-beam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nd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4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4" name="object 1954">
            <a:extLst>
              <a:ext uri="{FF2B5EF4-FFF2-40B4-BE49-F238E27FC236}">
                <a16:creationId xmlns:a16="http://schemas.microsoft.com/office/drawing/2014/main" id="{0600702A-F0FF-4314-B7E0-061AE6BF0FBF}"/>
              </a:ext>
            </a:extLst>
          </p:cNvPr>
          <p:cNvSpPr txBox="1"/>
          <p:nvPr/>
        </p:nvSpPr>
        <p:spPr>
          <a:xfrm>
            <a:off x="5828211" y="948159"/>
            <a:ext cx="44205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5" name="object 1955">
            <a:extLst>
              <a:ext uri="{FF2B5EF4-FFF2-40B4-BE49-F238E27FC236}">
                <a16:creationId xmlns:a16="http://schemas.microsoft.com/office/drawing/2014/main" id="{276AD172-1E1C-356A-5BDE-F2EE6F875B4B}"/>
              </a:ext>
            </a:extLst>
          </p:cNvPr>
          <p:cNvSpPr txBox="1"/>
          <p:nvPr/>
        </p:nvSpPr>
        <p:spPr>
          <a:xfrm>
            <a:off x="5828211" y="1707486"/>
            <a:ext cx="45014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 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6" name="object 1956">
            <a:extLst>
              <a:ext uri="{FF2B5EF4-FFF2-40B4-BE49-F238E27FC236}">
                <a16:creationId xmlns:a16="http://schemas.microsoft.com/office/drawing/2014/main" id="{372F3382-25F4-B569-4280-6AC082707FC1}"/>
              </a:ext>
            </a:extLst>
          </p:cNvPr>
          <p:cNvSpPr txBox="1"/>
          <p:nvPr/>
        </p:nvSpPr>
        <p:spPr>
          <a:xfrm>
            <a:off x="5822469" y="2471979"/>
            <a:ext cx="510207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SB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7" name="object 1957">
            <a:extLst>
              <a:ext uri="{FF2B5EF4-FFF2-40B4-BE49-F238E27FC236}">
                <a16:creationId xmlns:a16="http://schemas.microsoft.com/office/drawing/2014/main" id="{F87CB85F-7CE3-8D28-AD48-CA5DBE923C55}"/>
              </a:ext>
            </a:extLst>
          </p:cNvPr>
          <p:cNvSpPr txBox="1"/>
          <p:nvPr/>
        </p:nvSpPr>
        <p:spPr>
          <a:xfrm>
            <a:off x="5832070" y="4008857"/>
            <a:ext cx="22564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3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,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60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m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8" name="object 1958">
            <a:extLst>
              <a:ext uri="{FF2B5EF4-FFF2-40B4-BE49-F238E27FC236}">
                <a16:creationId xmlns:a16="http://schemas.microsoft.com/office/drawing/2014/main" id="{2C3A773F-D6FB-06D2-ECF5-1377473E8332}"/>
              </a:ext>
            </a:extLst>
          </p:cNvPr>
          <p:cNvSpPr txBox="1"/>
          <p:nvPr/>
        </p:nvSpPr>
        <p:spPr>
          <a:xfrm>
            <a:off x="5830964" y="3238329"/>
            <a:ext cx="45014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1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 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9" name="object 1959">
            <a:extLst>
              <a:ext uri="{FF2B5EF4-FFF2-40B4-BE49-F238E27FC236}">
                <a16:creationId xmlns:a16="http://schemas.microsoft.com/office/drawing/2014/main" id="{DC91B048-3F0A-2056-7E2F-BEA3DC371489}"/>
              </a:ext>
            </a:extLst>
          </p:cNvPr>
          <p:cNvSpPr txBox="1"/>
          <p:nvPr/>
        </p:nvSpPr>
        <p:spPr>
          <a:xfrm>
            <a:off x="6644204" y="948159"/>
            <a:ext cx="33770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isible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am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0" name="object 1960">
            <a:extLst>
              <a:ext uri="{FF2B5EF4-FFF2-40B4-BE49-F238E27FC236}">
                <a16:creationId xmlns:a16="http://schemas.microsoft.com/office/drawing/2014/main" id="{FEAE26D1-E28D-AAED-6039-5A8AB02C38CA}"/>
              </a:ext>
            </a:extLst>
          </p:cNvPr>
          <p:cNvSpPr txBox="1"/>
          <p:nvPr/>
        </p:nvSpPr>
        <p:spPr>
          <a:xfrm>
            <a:off x="6644204" y="1707486"/>
            <a:ext cx="40470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isible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ula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am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1" name="object 1961">
            <a:extLst>
              <a:ext uri="{FF2B5EF4-FFF2-40B4-BE49-F238E27FC236}">
                <a16:creationId xmlns:a16="http://schemas.microsoft.com/office/drawing/2014/main" id="{430C7693-1C7B-60CA-D175-9DE5ACDBA617}"/>
              </a:ext>
            </a:extLst>
          </p:cNvPr>
          <p:cNvSpPr txBox="1"/>
          <p:nvPr/>
        </p:nvSpPr>
        <p:spPr>
          <a:xfrm>
            <a:off x="6638470" y="2471979"/>
            <a:ext cx="33770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ili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2" name="object 1962">
            <a:extLst>
              <a:ext uri="{FF2B5EF4-FFF2-40B4-BE49-F238E27FC236}">
                <a16:creationId xmlns:a16="http://schemas.microsoft.com/office/drawing/2014/main" id="{D6C32C0F-2402-4BF0-0F37-F03363D0AB28}"/>
              </a:ext>
            </a:extLst>
          </p:cNvPr>
          <p:cNvSpPr txBox="1"/>
          <p:nvPr/>
        </p:nvSpPr>
        <p:spPr>
          <a:xfrm>
            <a:off x="6646965" y="3238329"/>
            <a:ext cx="177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3" name="object 1963">
            <a:extLst>
              <a:ext uri="{FF2B5EF4-FFF2-40B4-BE49-F238E27FC236}">
                <a16:creationId xmlns:a16="http://schemas.microsoft.com/office/drawing/2014/main" id="{0779A18B-A975-34A1-5483-42682A611214}"/>
              </a:ext>
            </a:extLst>
          </p:cNvPr>
          <p:cNvSpPr txBox="1"/>
          <p:nvPr/>
        </p:nvSpPr>
        <p:spPr>
          <a:xfrm>
            <a:off x="5823539" y="4771832"/>
            <a:ext cx="442057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 frame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4" name="object 1964">
            <a:extLst>
              <a:ext uri="{FF2B5EF4-FFF2-40B4-BE49-F238E27FC236}">
                <a16:creationId xmlns:a16="http://schemas.microsoft.com/office/drawing/2014/main" id="{51033471-3DDD-0915-6128-726457C02202}"/>
              </a:ext>
            </a:extLst>
          </p:cNvPr>
          <p:cNvSpPr txBox="1"/>
          <p:nvPr/>
        </p:nvSpPr>
        <p:spPr>
          <a:xfrm>
            <a:off x="8291056" y="948159"/>
            <a:ext cx="30188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sphalt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</a:t>
            </a:r>
            <a:r>
              <a:rPr lang="en-US" sz="334" b="0" i="0" u="none" strike="noStrike" kern="1200" cap="none" spc="6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5" name="object 1965">
            <a:extLst>
              <a:ext uri="{FF2B5EF4-FFF2-40B4-BE49-F238E27FC236}">
                <a16:creationId xmlns:a16="http://schemas.microsoft.com/office/drawing/2014/main" id="{705A6974-9960-11EE-FF51-1288E78DBFDF}"/>
              </a:ext>
            </a:extLst>
          </p:cNvPr>
          <p:cNvSpPr txBox="1"/>
          <p:nvPr/>
        </p:nvSpPr>
        <p:spPr>
          <a:xfrm>
            <a:off x="8291056" y="1707486"/>
            <a:ext cx="33115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plates,</a:t>
            </a:r>
            <a:r>
              <a:rPr lang="en-US" sz="334" b="0" i="0" u="none" strike="noStrike" kern="1200" cap="none" spc="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inu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6" name="object 1966">
            <a:extLst>
              <a:ext uri="{FF2B5EF4-FFF2-40B4-BE49-F238E27FC236}">
                <a16:creationId xmlns:a16="http://schemas.microsoft.com/office/drawing/2014/main" id="{15A24E70-B672-2ABD-9DD8-75011AFC2484}"/>
              </a:ext>
            </a:extLst>
          </p:cNvPr>
          <p:cNvSpPr txBox="1"/>
          <p:nvPr/>
        </p:nvSpPr>
        <p:spPr>
          <a:xfrm>
            <a:off x="8285323" y="2471979"/>
            <a:ext cx="186373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f t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7" name="object 1967">
            <a:extLst>
              <a:ext uri="{FF2B5EF4-FFF2-40B4-BE49-F238E27FC236}">
                <a16:creationId xmlns:a16="http://schemas.microsoft.com/office/drawing/2014/main" id="{362E7AAE-7130-66BD-63C4-E1B523007191}"/>
              </a:ext>
            </a:extLst>
          </p:cNvPr>
          <p:cNvSpPr txBox="1"/>
          <p:nvPr/>
        </p:nvSpPr>
        <p:spPr>
          <a:xfrm>
            <a:off x="8294915" y="4008857"/>
            <a:ext cx="45668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sphalt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</a:t>
            </a:r>
            <a:r>
              <a:rPr lang="en-US" sz="334" b="0" i="0" u="none" strike="noStrike" kern="1200" cap="none" spc="5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8" name="object 1968">
            <a:extLst>
              <a:ext uri="{FF2B5EF4-FFF2-40B4-BE49-F238E27FC236}">
                <a16:creationId xmlns:a16="http://schemas.microsoft.com/office/drawing/2014/main" id="{DDC1DBFA-1AFA-F91A-F35B-AF4871FD34A9}"/>
              </a:ext>
            </a:extLst>
          </p:cNvPr>
          <p:cNvSpPr txBox="1"/>
          <p:nvPr/>
        </p:nvSpPr>
        <p:spPr>
          <a:xfrm>
            <a:off x="8293809" y="3238329"/>
            <a:ext cx="105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9" name="object 1969">
            <a:extLst>
              <a:ext uri="{FF2B5EF4-FFF2-40B4-BE49-F238E27FC236}">
                <a16:creationId xmlns:a16="http://schemas.microsoft.com/office/drawing/2014/main" id="{5DABD04F-A782-D9C0-2674-29747AA35952}"/>
              </a:ext>
            </a:extLst>
          </p:cNvPr>
          <p:cNvSpPr txBox="1"/>
          <p:nvPr/>
        </p:nvSpPr>
        <p:spPr>
          <a:xfrm>
            <a:off x="8286429" y="4771832"/>
            <a:ext cx="35233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0" name="object 1970">
            <a:extLst>
              <a:ext uri="{FF2B5EF4-FFF2-40B4-BE49-F238E27FC236}">
                <a16:creationId xmlns:a16="http://schemas.microsoft.com/office/drawing/2014/main" id="{D24AEBA3-15E4-1A1F-FAC6-6D780EC99DE5}"/>
              </a:ext>
            </a:extLst>
          </p:cNvPr>
          <p:cNvSpPr txBox="1"/>
          <p:nvPr/>
        </p:nvSpPr>
        <p:spPr>
          <a:xfrm>
            <a:off x="5827315" y="5543568"/>
            <a:ext cx="33307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erated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1" name="object 1971">
            <a:extLst>
              <a:ext uri="{FF2B5EF4-FFF2-40B4-BE49-F238E27FC236}">
                <a16:creationId xmlns:a16="http://schemas.microsoft.com/office/drawing/2014/main" id="{BFF3C675-A5B4-785A-33A4-BDD421D9ED17}"/>
              </a:ext>
            </a:extLst>
          </p:cNvPr>
          <p:cNvSpPr txBox="1"/>
          <p:nvPr/>
        </p:nvSpPr>
        <p:spPr>
          <a:xfrm>
            <a:off x="7474653" y="950473"/>
            <a:ext cx="562575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2" name="object 1972">
            <a:extLst>
              <a:ext uri="{FF2B5EF4-FFF2-40B4-BE49-F238E27FC236}">
                <a16:creationId xmlns:a16="http://schemas.microsoft.com/office/drawing/2014/main" id="{0CBC64A0-780A-037C-75E4-092B6438189F}"/>
              </a:ext>
            </a:extLst>
          </p:cNvPr>
          <p:cNvSpPr txBox="1"/>
          <p:nvPr/>
        </p:nvSpPr>
        <p:spPr>
          <a:xfrm>
            <a:off x="9115854" y="951094"/>
            <a:ext cx="527535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/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3" name="object 1973">
            <a:extLst>
              <a:ext uri="{FF2B5EF4-FFF2-40B4-BE49-F238E27FC236}">
                <a16:creationId xmlns:a16="http://schemas.microsoft.com/office/drawing/2014/main" id="{78979F7D-3A7B-EBE0-0964-D8035466CA84}"/>
              </a:ext>
            </a:extLst>
          </p:cNvPr>
          <p:cNvSpPr txBox="1"/>
          <p:nvPr/>
        </p:nvSpPr>
        <p:spPr>
          <a:xfrm>
            <a:off x="9116165" y="4012058"/>
            <a:ext cx="53716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GL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5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4" name="object 1974">
            <a:extLst>
              <a:ext uri="{FF2B5EF4-FFF2-40B4-BE49-F238E27FC236}">
                <a16:creationId xmlns:a16="http://schemas.microsoft.com/office/drawing/2014/main" id="{5A4CF943-4F19-8231-6B28-2AC6EBC4B79F}"/>
              </a:ext>
            </a:extLst>
          </p:cNvPr>
          <p:cNvSpPr txBox="1"/>
          <p:nvPr/>
        </p:nvSpPr>
        <p:spPr>
          <a:xfrm>
            <a:off x="9934078" y="951140"/>
            <a:ext cx="17751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hin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il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5" name="object 1975">
            <a:extLst>
              <a:ext uri="{FF2B5EF4-FFF2-40B4-BE49-F238E27FC236}">
                <a16:creationId xmlns:a16="http://schemas.microsoft.com/office/drawing/2014/main" id="{9A64C21A-4996-8D52-AC4F-D327DCA81058}"/>
              </a:ext>
            </a:extLst>
          </p:cNvPr>
          <p:cNvSpPr txBox="1"/>
          <p:nvPr/>
        </p:nvSpPr>
        <p:spPr>
          <a:xfrm>
            <a:off x="9937232" y="4022902"/>
            <a:ext cx="359651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atural</a:t>
            </a:r>
            <a:r>
              <a:rPr lang="en-US" sz="334" b="0" i="0" u="none" strike="noStrike" kern="1200" cap="none" spc="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6" name="object 1976">
            <a:extLst>
              <a:ext uri="{FF2B5EF4-FFF2-40B4-BE49-F238E27FC236}">
                <a16:creationId xmlns:a16="http://schemas.microsoft.com/office/drawing/2014/main" id="{6516D8E4-52E9-DDAA-83DF-17D4633E2747}"/>
              </a:ext>
            </a:extLst>
          </p:cNvPr>
          <p:cNvSpPr txBox="1"/>
          <p:nvPr/>
        </p:nvSpPr>
        <p:spPr>
          <a:xfrm>
            <a:off x="7478786" y="1710019"/>
            <a:ext cx="3438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7" name="object 1977">
            <a:extLst>
              <a:ext uri="{FF2B5EF4-FFF2-40B4-BE49-F238E27FC236}">
                <a16:creationId xmlns:a16="http://schemas.microsoft.com/office/drawing/2014/main" id="{989F133B-C6F0-974C-2FF6-73121A0D68C8}"/>
              </a:ext>
            </a:extLst>
          </p:cNvPr>
          <p:cNvSpPr txBox="1"/>
          <p:nvPr/>
        </p:nvSpPr>
        <p:spPr>
          <a:xfrm>
            <a:off x="7480834" y="2470864"/>
            <a:ext cx="38429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rred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structio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ed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ttic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8" name="object 1978">
            <a:extLst>
              <a:ext uri="{FF2B5EF4-FFF2-40B4-BE49-F238E27FC236}">
                <a16:creationId xmlns:a16="http://schemas.microsoft.com/office/drawing/2014/main" id="{35AEC127-0425-9B33-B9EB-11DF9B4C87E1}"/>
              </a:ext>
            </a:extLst>
          </p:cNvPr>
          <p:cNvSpPr txBox="1"/>
          <p:nvPr/>
        </p:nvSpPr>
        <p:spPr>
          <a:xfrm>
            <a:off x="9115854" y="1707980"/>
            <a:ext cx="44205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/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9" name="object 1979">
            <a:extLst>
              <a:ext uri="{FF2B5EF4-FFF2-40B4-BE49-F238E27FC236}">
                <a16:creationId xmlns:a16="http://schemas.microsoft.com/office/drawing/2014/main" id="{8DAB72B7-95A4-B174-2E15-6085D8556ED7}"/>
              </a:ext>
            </a:extLst>
          </p:cNvPr>
          <p:cNvSpPr txBox="1"/>
          <p:nvPr/>
        </p:nvSpPr>
        <p:spPr>
          <a:xfrm>
            <a:off x="9116211" y="4769080"/>
            <a:ext cx="46438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GU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,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U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0" name="object 1980">
            <a:extLst>
              <a:ext uri="{FF2B5EF4-FFF2-40B4-BE49-F238E27FC236}">
                <a16:creationId xmlns:a16="http://schemas.microsoft.com/office/drawing/2014/main" id="{20BDFD41-9A44-742F-77B9-D84309E1E44A}"/>
              </a:ext>
            </a:extLst>
          </p:cNvPr>
          <p:cNvSpPr txBox="1"/>
          <p:nvPr/>
        </p:nvSpPr>
        <p:spPr>
          <a:xfrm>
            <a:off x="9117006" y="2471577"/>
            <a:ext cx="3877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1" name="object 1981">
            <a:extLst>
              <a:ext uri="{FF2B5EF4-FFF2-40B4-BE49-F238E27FC236}">
                <a16:creationId xmlns:a16="http://schemas.microsoft.com/office/drawing/2014/main" id="{31E5EAE3-F0EE-B53A-B00B-B61E4F5017AE}"/>
              </a:ext>
            </a:extLst>
          </p:cNvPr>
          <p:cNvSpPr txBox="1"/>
          <p:nvPr/>
        </p:nvSpPr>
        <p:spPr>
          <a:xfrm>
            <a:off x="9116211" y="5532814"/>
            <a:ext cx="33539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odular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kylight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2" name="object 1982">
            <a:extLst>
              <a:ext uri="{FF2B5EF4-FFF2-40B4-BE49-F238E27FC236}">
                <a16:creationId xmlns:a16="http://schemas.microsoft.com/office/drawing/2014/main" id="{D94F63BC-EB35-2694-AF58-4F6C6556AD23}"/>
              </a:ext>
            </a:extLst>
          </p:cNvPr>
          <p:cNvSpPr txBox="1"/>
          <p:nvPr/>
        </p:nvSpPr>
        <p:spPr>
          <a:xfrm>
            <a:off x="9934123" y="1708775"/>
            <a:ext cx="35310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fficien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solar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o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First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ola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3" name="object 1983">
            <a:extLst>
              <a:ext uri="{FF2B5EF4-FFF2-40B4-BE49-F238E27FC236}">
                <a16:creationId xmlns:a16="http://schemas.microsoft.com/office/drawing/2014/main" id="{CA1D77A1-6751-B5C1-5533-77933108FBF0}"/>
              </a:ext>
            </a:extLst>
          </p:cNvPr>
          <p:cNvSpPr txBox="1"/>
          <p:nvPr/>
        </p:nvSpPr>
        <p:spPr>
          <a:xfrm>
            <a:off x="9937278" y="4782723"/>
            <a:ext cx="43474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echanical</a:t>
            </a:r>
            <a:r>
              <a:rPr lang="en-US" sz="334" b="0" i="0" u="none" strike="noStrike" kern="1200" cap="none" spc="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4" name="object 1984">
            <a:extLst>
              <a:ext uri="{FF2B5EF4-FFF2-40B4-BE49-F238E27FC236}">
                <a16:creationId xmlns:a16="http://schemas.microsoft.com/office/drawing/2014/main" id="{1611BFF7-B9EE-E22B-EB75-DA18CB8563AE}"/>
              </a:ext>
            </a:extLst>
          </p:cNvPr>
          <p:cNvSpPr txBox="1"/>
          <p:nvPr/>
        </p:nvSpPr>
        <p:spPr>
          <a:xfrm>
            <a:off x="9934123" y="2470690"/>
            <a:ext cx="393923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ighly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fficient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olar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s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om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unpow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5" name="object 1985">
            <a:extLst>
              <a:ext uri="{FF2B5EF4-FFF2-40B4-BE49-F238E27FC236}">
                <a16:creationId xmlns:a16="http://schemas.microsoft.com/office/drawing/2014/main" id="{26ABEA83-9003-B4D4-5110-D9454A79105E}"/>
              </a:ext>
            </a:extLst>
          </p:cNvPr>
          <p:cNvSpPr txBox="1"/>
          <p:nvPr/>
        </p:nvSpPr>
        <p:spPr>
          <a:xfrm>
            <a:off x="9117811" y="3243129"/>
            <a:ext cx="351175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VC</a:t>
            </a:r>
            <a:r>
              <a:rPr lang="en-US" sz="334" b="0" i="0" u="none" strike="noStrike" kern="1200" cap="none" spc="-3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6" name="object 1986">
            <a:extLst>
              <a:ext uri="{FF2B5EF4-FFF2-40B4-BE49-F238E27FC236}">
                <a16:creationId xmlns:a16="http://schemas.microsoft.com/office/drawing/2014/main" id="{B95983D1-9BBE-200B-2C7F-9168B2D943FD}"/>
              </a:ext>
            </a:extLst>
          </p:cNvPr>
          <p:cNvSpPr txBox="1"/>
          <p:nvPr/>
        </p:nvSpPr>
        <p:spPr>
          <a:xfrm>
            <a:off x="3359807" y="4003078"/>
            <a:ext cx="50597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utureCem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7" name="object 1987">
            <a:extLst>
              <a:ext uri="{FF2B5EF4-FFF2-40B4-BE49-F238E27FC236}">
                <a16:creationId xmlns:a16="http://schemas.microsoft.com/office/drawing/2014/main" id="{53F9FEA5-0629-246B-0D53-4A8EC41E9915}"/>
              </a:ext>
            </a:extLst>
          </p:cNvPr>
          <p:cNvSpPr txBox="1"/>
          <p:nvPr/>
        </p:nvSpPr>
        <p:spPr>
          <a:xfrm>
            <a:off x="3359807" y="4769839"/>
            <a:ext cx="601089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deck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Future-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errai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bat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8" name="object 1988">
            <a:extLst>
              <a:ext uri="{FF2B5EF4-FFF2-40B4-BE49-F238E27FC236}">
                <a16:creationId xmlns:a16="http://schemas.microsoft.com/office/drawing/2014/main" id="{60C7DC2A-10AA-C342-ADC3-85E5031C54AD}"/>
              </a:ext>
            </a:extLst>
          </p:cNvPr>
          <p:cNvSpPr txBox="1"/>
          <p:nvPr/>
        </p:nvSpPr>
        <p:spPr>
          <a:xfrm>
            <a:off x="4181139" y="3243532"/>
            <a:ext cx="33231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mpcre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9" name="object 1989">
            <a:extLst>
              <a:ext uri="{FF2B5EF4-FFF2-40B4-BE49-F238E27FC236}">
                <a16:creationId xmlns:a16="http://schemas.microsoft.com/office/drawing/2014/main" id="{4D397736-CC7F-3918-6A6E-8BCEF80D966B}"/>
              </a:ext>
            </a:extLst>
          </p:cNvPr>
          <p:cNvSpPr txBox="1"/>
          <p:nvPr/>
        </p:nvSpPr>
        <p:spPr>
          <a:xfrm>
            <a:off x="4181139" y="4003663"/>
            <a:ext cx="3438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0" name="object 1990">
            <a:extLst>
              <a:ext uri="{FF2B5EF4-FFF2-40B4-BE49-F238E27FC236}">
                <a16:creationId xmlns:a16="http://schemas.microsoft.com/office/drawing/2014/main" id="{B535C715-404D-D844-F782-F4C1D0692152}"/>
              </a:ext>
            </a:extLst>
          </p:cNvPr>
          <p:cNvSpPr txBox="1"/>
          <p:nvPr/>
        </p:nvSpPr>
        <p:spPr>
          <a:xfrm>
            <a:off x="4181139" y="4770415"/>
            <a:ext cx="483260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ck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all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1" name="object 1991">
            <a:extLst>
              <a:ext uri="{FF2B5EF4-FFF2-40B4-BE49-F238E27FC236}">
                <a16:creationId xmlns:a16="http://schemas.microsoft.com/office/drawing/2014/main" id="{E331E278-6F6F-7BE7-ACBA-707A870AF054}"/>
              </a:ext>
            </a:extLst>
          </p:cNvPr>
          <p:cNvSpPr txBox="1"/>
          <p:nvPr/>
        </p:nvSpPr>
        <p:spPr>
          <a:xfrm>
            <a:off x="4181139" y="5538145"/>
            <a:ext cx="294958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lock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ri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2" name="object 1992">
            <a:extLst>
              <a:ext uri="{FF2B5EF4-FFF2-40B4-BE49-F238E27FC236}">
                <a16:creationId xmlns:a16="http://schemas.microsoft.com/office/drawing/2014/main" id="{8ACBAEC9-F241-F492-5A49-CD656763E47C}"/>
              </a:ext>
            </a:extLst>
          </p:cNvPr>
          <p:cNvSpPr txBox="1"/>
          <p:nvPr/>
        </p:nvSpPr>
        <p:spPr>
          <a:xfrm>
            <a:off x="5005315" y="948516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3" name="object 1993">
            <a:extLst>
              <a:ext uri="{FF2B5EF4-FFF2-40B4-BE49-F238E27FC236}">
                <a16:creationId xmlns:a16="http://schemas.microsoft.com/office/drawing/2014/main" id="{AB65519F-466B-C7D6-946F-46F3F785F4A4}"/>
              </a:ext>
            </a:extLst>
          </p:cNvPr>
          <p:cNvSpPr txBox="1"/>
          <p:nvPr/>
        </p:nvSpPr>
        <p:spPr>
          <a:xfrm>
            <a:off x="5005315" y="1708958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4" name="object 1994">
            <a:extLst>
              <a:ext uri="{FF2B5EF4-FFF2-40B4-BE49-F238E27FC236}">
                <a16:creationId xmlns:a16="http://schemas.microsoft.com/office/drawing/2014/main" id="{726ECBC5-89AE-6114-D77F-E0CB56A6F5AC}"/>
              </a:ext>
            </a:extLst>
          </p:cNvPr>
          <p:cNvSpPr txBox="1"/>
          <p:nvPr/>
        </p:nvSpPr>
        <p:spPr>
          <a:xfrm>
            <a:off x="5002654" y="2470023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ain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5" name="object 1995">
            <a:extLst>
              <a:ext uri="{FF2B5EF4-FFF2-40B4-BE49-F238E27FC236}">
                <a16:creationId xmlns:a16="http://schemas.microsoft.com/office/drawing/2014/main" id="{A8C4CC35-A4D7-69B2-C2E9-6C7F4B4A136E}"/>
              </a:ext>
            </a:extLst>
          </p:cNvPr>
          <p:cNvSpPr txBox="1"/>
          <p:nvPr/>
        </p:nvSpPr>
        <p:spPr>
          <a:xfrm>
            <a:off x="4999454" y="3243532"/>
            <a:ext cx="354640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l-NL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inus</a:t>
            </a:r>
            <a:r>
              <a:rPr lang="nl-NL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te,</a:t>
            </a:r>
            <a:r>
              <a:rPr lang="nl-NL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</a:t>
            </a:r>
            <a:endParaRPr lang="nl-NL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l-NL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nl-NL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zinc</a:t>
            </a:r>
            <a:r>
              <a:rPr lang="nl-NL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agnesium</a:t>
            </a:r>
            <a:endParaRPr lang="nl-NL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6" name="object 1996">
            <a:extLst>
              <a:ext uri="{FF2B5EF4-FFF2-40B4-BE49-F238E27FC236}">
                <a16:creationId xmlns:a16="http://schemas.microsoft.com/office/drawing/2014/main" id="{22A658EF-DAEF-1576-26F1-DE23C19CE810}"/>
              </a:ext>
            </a:extLst>
          </p:cNvPr>
          <p:cNvSpPr txBox="1"/>
          <p:nvPr/>
        </p:nvSpPr>
        <p:spPr>
          <a:xfrm>
            <a:off x="4999454" y="4003663"/>
            <a:ext cx="230273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acad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7" name="object 1997">
            <a:extLst>
              <a:ext uri="{FF2B5EF4-FFF2-40B4-BE49-F238E27FC236}">
                <a16:creationId xmlns:a16="http://schemas.microsoft.com/office/drawing/2014/main" id="{CC0F6C71-65BA-2907-1938-5941E22DE16A}"/>
              </a:ext>
            </a:extLst>
          </p:cNvPr>
          <p:cNvSpPr txBox="1"/>
          <p:nvPr/>
        </p:nvSpPr>
        <p:spPr>
          <a:xfrm>
            <a:off x="4999454" y="4770415"/>
            <a:ext cx="105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8" name="object 1998">
            <a:extLst>
              <a:ext uri="{FF2B5EF4-FFF2-40B4-BE49-F238E27FC236}">
                <a16:creationId xmlns:a16="http://schemas.microsoft.com/office/drawing/2014/main" id="{5E685389-D78C-4807-1B09-AD3B016EA7AD}"/>
              </a:ext>
            </a:extLst>
          </p:cNvPr>
          <p:cNvSpPr txBox="1"/>
          <p:nvPr/>
        </p:nvSpPr>
        <p:spPr>
          <a:xfrm>
            <a:off x="4999454" y="5538145"/>
            <a:ext cx="25838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iber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cement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9" name="object 1999">
            <a:extLst>
              <a:ext uri="{FF2B5EF4-FFF2-40B4-BE49-F238E27FC236}">
                <a16:creationId xmlns:a16="http://schemas.microsoft.com/office/drawing/2014/main" id="{96D42AD2-7D0F-765B-D8F8-75DAEE9A3B3D}"/>
              </a:ext>
            </a:extLst>
          </p:cNvPr>
          <p:cNvSpPr txBox="1"/>
          <p:nvPr/>
        </p:nvSpPr>
        <p:spPr>
          <a:xfrm>
            <a:off x="8285369" y="5538145"/>
            <a:ext cx="35233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grpSp>
        <p:nvGrpSpPr>
          <p:cNvPr id="2000" name="object 2000">
            <a:extLst>
              <a:ext uri="{FF2B5EF4-FFF2-40B4-BE49-F238E27FC236}">
                <a16:creationId xmlns:a16="http://schemas.microsoft.com/office/drawing/2014/main" id="{8444E564-DA53-4692-24E3-38470BACF606}"/>
              </a:ext>
            </a:extLst>
          </p:cNvPr>
          <p:cNvGrpSpPr/>
          <p:nvPr/>
        </p:nvGrpSpPr>
        <p:grpSpPr>
          <a:xfrm>
            <a:off x="2547280" y="569250"/>
            <a:ext cx="7745791" cy="4935702"/>
            <a:chOff x="2547280" y="569250"/>
            <a:chExt cx="7745791" cy="4935702"/>
          </a:xfrm>
        </p:grpSpPr>
        <p:sp>
          <p:nvSpPr>
            <p:cNvPr id="2001" name="object 2001">
              <a:extLst>
                <a:ext uri="{FF2B5EF4-FFF2-40B4-BE49-F238E27FC236}">
                  <a16:creationId xmlns:a16="http://schemas.microsoft.com/office/drawing/2014/main" id="{437CC278-EE2B-5BD6-4277-EB96CA37712A}"/>
                </a:ext>
              </a:extLst>
            </p:cNvPr>
            <p:cNvSpPr/>
            <p:nvPr/>
          </p:nvSpPr>
          <p:spPr>
            <a:xfrm>
              <a:off x="2895667" y="729755"/>
              <a:ext cx="465155" cy="2315388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3818254"/>
                <a:gd name="f5" fmla="val 209124"/>
                <a:gd name="f6" fmla="val 1507"/>
                <a:gd name="f7" fmla="val 254173"/>
                <a:gd name="f8" fmla="val 6696"/>
                <a:gd name="f9" fmla="val 295527"/>
                <a:gd name="f10" fmla="val 21475"/>
                <a:gd name="f11" fmla="val 332005"/>
                <a:gd name="f12" fmla="val 44667"/>
                <a:gd name="f13" fmla="val 362430"/>
                <a:gd name="f14" fmla="val 75091"/>
                <a:gd name="f15" fmla="val 385621"/>
                <a:gd name="f16" fmla="val 111570"/>
                <a:gd name="f17" fmla="val 400401"/>
                <a:gd name="f18" fmla="val 152923"/>
                <a:gd name="f19" fmla="val 405589"/>
                <a:gd name="f20" fmla="val 197973"/>
                <a:gd name="f21" fmla="val 3547242"/>
                <a:gd name="f22" fmla="val 3621607"/>
                <a:gd name="f23" fmla="val 410778"/>
                <a:gd name="f24" fmla="val 3666652"/>
                <a:gd name="f25" fmla="val 425557"/>
                <a:gd name="f26" fmla="val 3708005"/>
                <a:gd name="f27" fmla="val 448749"/>
                <a:gd name="f28" fmla="val 3744483"/>
                <a:gd name="f29" fmla="val 479173"/>
                <a:gd name="f30" fmla="val 3774909"/>
                <a:gd name="f31" fmla="val 515652"/>
                <a:gd name="f32" fmla="val 3798102"/>
                <a:gd name="f33" fmla="val 557005"/>
                <a:gd name="f34" fmla="val 3812883"/>
                <a:gd name="f35" fmla="val 602054"/>
                <a:gd name="f36" fmla="val 3818072"/>
                <a:gd name="f37" fmla="val 766657"/>
                <a:gd name="f38" fmla="*/ f0 1 767079"/>
                <a:gd name="f39" fmla="*/ f1 1 3818254"/>
                <a:gd name="f40" fmla="+- f4 0 f2"/>
                <a:gd name="f41" fmla="+- f3 0 f2"/>
                <a:gd name="f42" fmla="*/ f41 1 767079"/>
                <a:gd name="f43" fmla="*/ f40 1 3818254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3818254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2" name="object 2002">
              <a:extLst>
                <a:ext uri="{FF2B5EF4-FFF2-40B4-BE49-F238E27FC236}">
                  <a16:creationId xmlns:a16="http://schemas.microsoft.com/office/drawing/2014/main" id="{5F84B9EB-4BCD-E479-1B67-8E8D45F65CAC}"/>
                </a:ext>
              </a:extLst>
            </p:cNvPr>
            <p:cNvSpPr/>
            <p:nvPr/>
          </p:nvSpPr>
          <p:spPr>
            <a:xfrm>
              <a:off x="3729471" y="3041888"/>
              <a:ext cx="449372" cy="1521387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41045"/>
                <a:gd name="f4" fmla="val 2508884"/>
                <a:gd name="f5" fmla="val 183366"/>
                <a:gd name="f6" fmla="val 1507"/>
                <a:gd name="f7" fmla="val 228414"/>
                <a:gd name="f8" fmla="val 6696"/>
                <a:gd name="f9" fmla="val 269766"/>
                <a:gd name="f10" fmla="val 21475"/>
                <a:gd name="f11" fmla="val 306243"/>
                <a:gd name="f12" fmla="val 44667"/>
                <a:gd name="f13" fmla="val 336665"/>
                <a:gd name="f14" fmla="val 75091"/>
                <a:gd name="f15" fmla="val 359854"/>
                <a:gd name="f16" fmla="val 111570"/>
                <a:gd name="f17" fmla="val 374632"/>
                <a:gd name="f18" fmla="val 152923"/>
                <a:gd name="f19" fmla="val 379820"/>
                <a:gd name="f20" fmla="val 197973"/>
                <a:gd name="f21" fmla="val 2237513"/>
                <a:gd name="f22" fmla="val 2311866"/>
                <a:gd name="f23" fmla="val 385009"/>
                <a:gd name="f24" fmla="val 2356916"/>
                <a:gd name="f25" fmla="val 399790"/>
                <a:gd name="f26" fmla="val 2398269"/>
                <a:gd name="f27" fmla="val 422983"/>
                <a:gd name="f28" fmla="val 2434747"/>
                <a:gd name="f29" fmla="val 453409"/>
                <a:gd name="f30" fmla="val 2465172"/>
                <a:gd name="f31" fmla="val 489888"/>
                <a:gd name="f32" fmla="val 2488363"/>
                <a:gd name="f33" fmla="val 531240"/>
                <a:gd name="f34" fmla="val 2503143"/>
                <a:gd name="f35" fmla="val 576286"/>
                <a:gd name="f36" fmla="val 2508332"/>
                <a:gd name="f37" fmla="val 740898"/>
                <a:gd name="f38" fmla="*/ f0 1 741045"/>
                <a:gd name="f39" fmla="*/ f1 1 2508884"/>
                <a:gd name="f40" fmla="+- f4 0 f2"/>
                <a:gd name="f41" fmla="+- f3 0 f2"/>
                <a:gd name="f42" fmla="*/ f41 1 741045"/>
                <a:gd name="f43" fmla="*/ f40 1 2508884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41045" h="2508884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3" name="object 2003">
              <a:extLst>
                <a:ext uri="{FF2B5EF4-FFF2-40B4-BE49-F238E27FC236}">
                  <a16:creationId xmlns:a16="http://schemas.microsoft.com/office/drawing/2014/main" id="{7A565203-5D4E-F13C-3C39-0294900FD9AA}"/>
                </a:ext>
              </a:extLst>
            </p:cNvPr>
            <p:cNvSpPr/>
            <p:nvPr/>
          </p:nvSpPr>
          <p:spPr>
            <a:xfrm>
              <a:off x="4529004" y="3808841"/>
              <a:ext cx="465155" cy="75126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1238884"/>
                <a:gd name="f5" fmla="val 1238328"/>
                <a:gd name="f6" fmla="val 209124"/>
                <a:gd name="f7" fmla="val 1236831"/>
                <a:gd name="f8" fmla="val 254173"/>
                <a:gd name="f9" fmla="val 1231642"/>
                <a:gd name="f10" fmla="val 295527"/>
                <a:gd name="f11" fmla="val 1216861"/>
                <a:gd name="f12" fmla="val 332005"/>
                <a:gd name="f13" fmla="val 1193668"/>
                <a:gd name="f14" fmla="val 362430"/>
                <a:gd name="f15" fmla="val 1163242"/>
                <a:gd name="f16" fmla="val 385621"/>
                <a:gd name="f17" fmla="val 1126764"/>
                <a:gd name="f18" fmla="val 400401"/>
                <a:gd name="f19" fmla="val 1085412"/>
                <a:gd name="f20" fmla="val 405589"/>
                <a:gd name="f21" fmla="val 1040366"/>
                <a:gd name="f22" fmla="val 270829"/>
                <a:gd name="f23" fmla="val 196465"/>
                <a:gd name="f24" fmla="val 410778"/>
                <a:gd name="f25" fmla="val 151415"/>
                <a:gd name="f26" fmla="val 425557"/>
                <a:gd name="f27" fmla="val 110062"/>
                <a:gd name="f28" fmla="val 448749"/>
                <a:gd name="f29" fmla="val 73584"/>
                <a:gd name="f30" fmla="val 479173"/>
                <a:gd name="f31" fmla="val 43159"/>
                <a:gd name="f32" fmla="val 515652"/>
                <a:gd name="f33" fmla="val 19968"/>
                <a:gd name="f34" fmla="val 557005"/>
                <a:gd name="f35" fmla="val 5188"/>
                <a:gd name="f36" fmla="val 602054"/>
                <a:gd name="f37" fmla="val 766657"/>
                <a:gd name="f38" fmla="*/ f0 1 767079"/>
                <a:gd name="f39" fmla="*/ f1 1 1238884"/>
                <a:gd name="f40" fmla="+- f4 0 f2"/>
                <a:gd name="f41" fmla="+- f3 0 f2"/>
                <a:gd name="f42" fmla="*/ f41 1 767079"/>
                <a:gd name="f43" fmla="*/ f40 1 1238884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1238884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2"/>
                  </a:lnTo>
                  <a:lnTo>
                    <a:pt x="f37" y="f2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4" name="object 2004">
              <a:extLst>
                <a:ext uri="{FF2B5EF4-FFF2-40B4-BE49-F238E27FC236}">
                  <a16:creationId xmlns:a16="http://schemas.microsoft.com/office/drawing/2014/main" id="{22091A3B-8751-5693-4AE6-F7AD75FEC30A}"/>
                </a:ext>
              </a:extLst>
            </p:cNvPr>
            <p:cNvSpPr/>
            <p:nvPr/>
          </p:nvSpPr>
          <p:spPr>
            <a:xfrm>
              <a:off x="6193423" y="2258723"/>
              <a:ext cx="1288810" cy="307589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125345"/>
                <a:gd name="f4" fmla="val 5072380"/>
                <a:gd name="f5" fmla="val 2125076"/>
                <a:gd name="f6" fmla="val 1907030"/>
                <a:gd name="f7" fmla="val 1507"/>
                <a:gd name="f8" fmla="val 1861982"/>
                <a:gd name="f9" fmla="val 6696"/>
                <a:gd name="f10" fmla="val 1820630"/>
                <a:gd name="f11" fmla="val 21475"/>
                <a:gd name="f12" fmla="val 1784153"/>
                <a:gd name="f13" fmla="val 44667"/>
                <a:gd name="f14" fmla="val 1753731"/>
                <a:gd name="f15" fmla="val 75091"/>
                <a:gd name="f16" fmla="val 1730542"/>
                <a:gd name="f17" fmla="val 111570"/>
                <a:gd name="f18" fmla="val 1715764"/>
                <a:gd name="f19" fmla="val 152923"/>
                <a:gd name="f20" fmla="val 1710576"/>
                <a:gd name="f21" fmla="val 197973"/>
                <a:gd name="f22" fmla="val 4801131"/>
                <a:gd name="f23" fmla="val 4875505"/>
                <a:gd name="f24" fmla="val 1705387"/>
                <a:gd name="f25" fmla="val 4920551"/>
                <a:gd name="f26" fmla="val 1690606"/>
                <a:gd name="f27" fmla="val 4961904"/>
                <a:gd name="f28" fmla="val 1667413"/>
                <a:gd name="f29" fmla="val 4998382"/>
                <a:gd name="f30" fmla="val 1636987"/>
                <a:gd name="f31" fmla="val 5028808"/>
                <a:gd name="f32" fmla="val 1600509"/>
                <a:gd name="f33" fmla="val 5052001"/>
                <a:gd name="f34" fmla="val 1559156"/>
                <a:gd name="f35" fmla="val 5066782"/>
                <a:gd name="f36" fmla="val 1514110"/>
                <a:gd name="f37" fmla="val 5071971"/>
                <a:gd name="f38" fmla="val 1349498"/>
                <a:gd name="f39" fmla="*/ f0 1 2125345"/>
                <a:gd name="f40" fmla="*/ f1 1 5072380"/>
                <a:gd name="f41" fmla="+- f4 0 f2"/>
                <a:gd name="f42" fmla="+- f3 0 f2"/>
                <a:gd name="f43" fmla="*/ f42 1 2125345"/>
                <a:gd name="f44" fmla="*/ f41 1 5072380"/>
                <a:gd name="f45" fmla="*/ f2 1 f43"/>
                <a:gd name="f46" fmla="*/ f3 1 f43"/>
                <a:gd name="f47" fmla="*/ f2 1 f44"/>
                <a:gd name="f48" fmla="*/ f4 1 f44"/>
                <a:gd name="f49" fmla="*/ f45 f39 1"/>
                <a:gd name="f50" fmla="*/ f46 f39 1"/>
                <a:gd name="f51" fmla="*/ f48 f40 1"/>
                <a:gd name="f52" fmla="*/ f47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9" t="f52" r="f50" b="f51"/>
              <a:pathLst>
                <a:path w="2125345" h="5072380">
                  <a:moveTo>
                    <a:pt x="f5" y="f2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7"/>
                  </a:lnTo>
                  <a:lnTo>
                    <a:pt x="f2" y="f37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5" name="object 2005">
              <a:extLst>
                <a:ext uri="{FF2B5EF4-FFF2-40B4-BE49-F238E27FC236}">
                  <a16:creationId xmlns:a16="http://schemas.microsoft.com/office/drawing/2014/main" id="{AEC68E50-9EC6-B92D-CE04-04DB258C1EDA}"/>
                </a:ext>
              </a:extLst>
            </p:cNvPr>
            <p:cNvSpPr/>
            <p:nvPr/>
          </p:nvSpPr>
          <p:spPr>
            <a:xfrm>
              <a:off x="5363047" y="3808841"/>
              <a:ext cx="465155" cy="152370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2512695"/>
                <a:gd name="f5" fmla="val 209124"/>
                <a:gd name="f6" fmla="val 1507"/>
                <a:gd name="f7" fmla="val 254173"/>
                <a:gd name="f8" fmla="val 6696"/>
                <a:gd name="f9" fmla="val 295527"/>
                <a:gd name="f10" fmla="val 21475"/>
                <a:gd name="f11" fmla="val 332005"/>
                <a:gd name="f12" fmla="val 44667"/>
                <a:gd name="f13" fmla="val 362430"/>
                <a:gd name="f14" fmla="val 75091"/>
                <a:gd name="f15" fmla="val 385621"/>
                <a:gd name="f16" fmla="val 111570"/>
                <a:gd name="f17" fmla="val 400401"/>
                <a:gd name="f18" fmla="val 152923"/>
                <a:gd name="f19" fmla="val 405589"/>
                <a:gd name="f20" fmla="val 197973"/>
                <a:gd name="f21" fmla="val 2241512"/>
                <a:gd name="f22" fmla="val 2315877"/>
                <a:gd name="f23" fmla="val 410778"/>
                <a:gd name="f24" fmla="val 2360926"/>
                <a:gd name="f25" fmla="val 425557"/>
                <a:gd name="f26" fmla="val 2402279"/>
                <a:gd name="f27" fmla="val 448749"/>
                <a:gd name="f28" fmla="val 2438758"/>
                <a:gd name="f29" fmla="val 479173"/>
                <a:gd name="f30" fmla="val 2469182"/>
                <a:gd name="f31" fmla="val 515652"/>
                <a:gd name="f32" fmla="val 2492374"/>
                <a:gd name="f33" fmla="val 557005"/>
                <a:gd name="f34" fmla="val 2507153"/>
                <a:gd name="f35" fmla="val 602054"/>
                <a:gd name="f36" fmla="val 2512342"/>
                <a:gd name="f37" fmla="val 766657"/>
                <a:gd name="f38" fmla="*/ f0 1 767079"/>
                <a:gd name="f39" fmla="*/ f1 1 2512695"/>
                <a:gd name="f40" fmla="+- f4 0 f2"/>
                <a:gd name="f41" fmla="+- f3 0 f2"/>
                <a:gd name="f42" fmla="*/ f41 1 767079"/>
                <a:gd name="f43" fmla="*/ f40 1 2512695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2512695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6" name="object 2006">
              <a:extLst>
                <a:ext uri="{FF2B5EF4-FFF2-40B4-BE49-F238E27FC236}">
                  <a16:creationId xmlns:a16="http://schemas.microsoft.com/office/drawing/2014/main" id="{BE4AB6D2-4578-B9EC-98A4-87FC7AC6E2A3}"/>
                </a:ext>
              </a:extLst>
            </p:cNvPr>
            <p:cNvSpPr/>
            <p:nvPr/>
          </p:nvSpPr>
          <p:spPr>
            <a:xfrm>
              <a:off x="8648980" y="747586"/>
              <a:ext cx="465155" cy="152293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80"/>
                <a:gd name="f4" fmla="val 2511425"/>
                <a:gd name="f5" fmla="val 2511211"/>
                <a:gd name="f6" fmla="val 209124"/>
                <a:gd name="f7" fmla="val 2509714"/>
                <a:gd name="f8" fmla="val 254173"/>
                <a:gd name="f9" fmla="val 2504525"/>
                <a:gd name="f10" fmla="val 295527"/>
                <a:gd name="f11" fmla="val 2489744"/>
                <a:gd name="f12" fmla="val 332005"/>
                <a:gd name="f13" fmla="val 2466551"/>
                <a:gd name="f14" fmla="val 362430"/>
                <a:gd name="f15" fmla="val 2436125"/>
                <a:gd name="f16" fmla="val 385621"/>
                <a:gd name="f17" fmla="val 2399646"/>
                <a:gd name="f18" fmla="val 400401"/>
                <a:gd name="f19" fmla="val 2358294"/>
                <a:gd name="f20" fmla="val 405589"/>
                <a:gd name="f21" fmla="val 2313248"/>
                <a:gd name="f22" fmla="val 270818"/>
                <a:gd name="f23" fmla="val 196454"/>
                <a:gd name="f24" fmla="val 410778"/>
                <a:gd name="f25" fmla="val 151409"/>
                <a:gd name="f26" fmla="val 425557"/>
                <a:gd name="f27" fmla="val 110058"/>
                <a:gd name="f28" fmla="val 448749"/>
                <a:gd name="f29" fmla="val 73582"/>
                <a:gd name="f30" fmla="val 479173"/>
                <a:gd name="f31" fmla="val 43158"/>
                <a:gd name="f32" fmla="val 515652"/>
                <a:gd name="f33" fmla="val 19967"/>
                <a:gd name="f34" fmla="val 557005"/>
                <a:gd name="f35" fmla="val 5188"/>
                <a:gd name="f36" fmla="val 602054"/>
                <a:gd name="f37" fmla="val 766667"/>
                <a:gd name="f38" fmla="*/ f0 1 767080"/>
                <a:gd name="f39" fmla="*/ f1 1 2511425"/>
                <a:gd name="f40" fmla="+- f4 0 f2"/>
                <a:gd name="f41" fmla="+- f3 0 f2"/>
                <a:gd name="f42" fmla="*/ f41 1 767080"/>
                <a:gd name="f43" fmla="*/ f40 1 2511425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80" h="2511425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2"/>
                  </a:lnTo>
                  <a:lnTo>
                    <a:pt x="f37" y="f2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7" name="object 2007">
              <a:extLst>
                <a:ext uri="{FF2B5EF4-FFF2-40B4-BE49-F238E27FC236}">
                  <a16:creationId xmlns:a16="http://schemas.microsoft.com/office/drawing/2014/main" id="{62319B6F-6057-4AF6-3E5B-0E4381909ABF}"/>
                </a:ext>
              </a:extLst>
            </p:cNvPr>
            <p:cNvSpPr/>
            <p:nvPr/>
          </p:nvSpPr>
          <p:spPr>
            <a:xfrm>
              <a:off x="9473266" y="748024"/>
              <a:ext cx="474015" cy="382369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81684"/>
                <a:gd name="f4" fmla="val 6305550"/>
                <a:gd name="f5" fmla="val 781190"/>
                <a:gd name="f6" fmla="val 6305431"/>
                <a:gd name="f7" fmla="val 572055"/>
                <a:gd name="f8" fmla="val 6303933"/>
                <a:gd name="f9" fmla="val 527010"/>
                <a:gd name="f10" fmla="val 6298744"/>
                <a:gd name="f11" fmla="val 485659"/>
                <a:gd name="f12" fmla="val 6283963"/>
                <a:gd name="f13" fmla="val 449183"/>
                <a:gd name="f14" fmla="val 6260770"/>
                <a:gd name="f15" fmla="val 418759"/>
                <a:gd name="f16" fmla="val 6230345"/>
                <a:gd name="f17" fmla="val 395568"/>
                <a:gd name="f18" fmla="val 6193866"/>
                <a:gd name="f19" fmla="val 380789"/>
                <a:gd name="f20" fmla="val 6152514"/>
                <a:gd name="f21" fmla="val 375601"/>
                <a:gd name="f22" fmla="val 6107468"/>
                <a:gd name="f23" fmla="val 372376"/>
                <a:gd name="f24" fmla="val 5949138"/>
                <a:gd name="f25" fmla="val 197962"/>
                <a:gd name="f26" fmla="val 367187"/>
                <a:gd name="f27" fmla="val 152917"/>
                <a:gd name="f28" fmla="val 352408"/>
                <a:gd name="f29" fmla="val 111566"/>
                <a:gd name="f30" fmla="val 329217"/>
                <a:gd name="f31" fmla="val 75089"/>
                <a:gd name="f32" fmla="val 298793"/>
                <a:gd name="f33" fmla="val 44666"/>
                <a:gd name="f34" fmla="val 262317"/>
                <a:gd name="f35" fmla="val 21475"/>
                <a:gd name="f36" fmla="val 220966"/>
                <a:gd name="f37" fmla="val 6696"/>
                <a:gd name="f38" fmla="val 175921"/>
                <a:gd name="f39" fmla="val 1507"/>
                <a:gd name="f40" fmla="*/ f0 1 781684"/>
                <a:gd name="f41" fmla="*/ f1 1 6305550"/>
                <a:gd name="f42" fmla="+- f4 0 f2"/>
                <a:gd name="f43" fmla="+- f3 0 f2"/>
                <a:gd name="f44" fmla="*/ f43 1 781684"/>
                <a:gd name="f45" fmla="*/ f42 1 6305550"/>
                <a:gd name="f46" fmla="*/ f2 1 f44"/>
                <a:gd name="f47" fmla="*/ f3 1 f44"/>
                <a:gd name="f48" fmla="*/ f2 1 f45"/>
                <a:gd name="f49" fmla="*/ f4 1 f45"/>
                <a:gd name="f50" fmla="*/ f46 f40 1"/>
                <a:gd name="f51" fmla="*/ f47 f40 1"/>
                <a:gd name="f52" fmla="*/ f49 f41 1"/>
                <a:gd name="f53" fmla="*/ f48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781684" h="6305550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3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38" y="f39"/>
                  </a:lnTo>
                  <a:lnTo>
                    <a:pt x="f2" y="f2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8" name="object 2008">
              <a:extLst>
                <a:ext uri="{FF2B5EF4-FFF2-40B4-BE49-F238E27FC236}">
                  <a16:creationId xmlns:a16="http://schemas.microsoft.com/office/drawing/2014/main" id="{73B65F30-9619-38A2-7F3F-1E98E1F9978D}"/>
                </a:ext>
              </a:extLst>
            </p:cNvPr>
            <p:cNvSpPr/>
            <p:nvPr/>
          </p:nvSpPr>
          <p:spPr>
            <a:xfrm>
              <a:off x="9716972" y="1508979"/>
              <a:ext cx="219867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19872"/>
                <a:gd name="f5" fmla="val 219505"/>
                <a:gd name="f6" fmla="abs f0"/>
                <a:gd name="f7" fmla="abs f1"/>
                <a:gd name="f8" fmla="abs f2"/>
                <a:gd name="f9" fmla="*/ f0 1 21987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219872"/>
                <a:gd name="f16" fmla="*/ f10 1 0"/>
                <a:gd name="f17" fmla="*/ f12 1 219872"/>
                <a:gd name="f18" fmla="*/ f13 1 21600"/>
                <a:gd name="f19" fmla="*/ 21600 f13 1"/>
                <a:gd name="f20" fmla="*/ 0 1 f15"/>
                <a:gd name="f21" fmla="*/ 21987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219872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9" name="object 2009">
              <a:extLst>
                <a:ext uri="{FF2B5EF4-FFF2-40B4-BE49-F238E27FC236}">
                  <a16:creationId xmlns:a16="http://schemas.microsoft.com/office/drawing/2014/main" id="{CA3150D4-4ABD-E63A-D0BA-9FE2EBB74285}"/>
                </a:ext>
              </a:extLst>
            </p:cNvPr>
            <p:cNvSpPr/>
            <p:nvPr/>
          </p:nvSpPr>
          <p:spPr>
            <a:xfrm>
              <a:off x="7834186" y="2272000"/>
              <a:ext cx="46015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460152"/>
                <a:gd name="f5" fmla="val 460006"/>
                <a:gd name="f6" fmla="abs f0"/>
                <a:gd name="f7" fmla="abs f1"/>
                <a:gd name="f8" fmla="abs f2"/>
                <a:gd name="f9" fmla="*/ f0 1 46015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460152"/>
                <a:gd name="f16" fmla="*/ f10 1 0"/>
                <a:gd name="f17" fmla="*/ f12 1 460152"/>
                <a:gd name="f18" fmla="*/ f13 1 21600"/>
                <a:gd name="f19" fmla="*/ 21600 f13 1"/>
                <a:gd name="f20" fmla="*/ 0 1 f15"/>
                <a:gd name="f21" fmla="*/ 46015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460152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0" name="object 2010">
              <a:extLst>
                <a:ext uri="{FF2B5EF4-FFF2-40B4-BE49-F238E27FC236}">
                  <a16:creationId xmlns:a16="http://schemas.microsoft.com/office/drawing/2014/main" id="{5107F7EF-0955-CB2B-FAD0-D45132EAA259}"/>
                </a:ext>
              </a:extLst>
            </p:cNvPr>
            <p:cNvSpPr/>
            <p:nvPr/>
          </p:nvSpPr>
          <p:spPr>
            <a:xfrm>
              <a:off x="2547280" y="5692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1" name="object 2011">
              <a:extLst>
                <a:ext uri="{FF2B5EF4-FFF2-40B4-BE49-F238E27FC236}">
                  <a16:creationId xmlns:a16="http://schemas.microsoft.com/office/drawing/2014/main" id="{9335494C-A409-8454-901C-927904C1DE19}"/>
                </a:ext>
              </a:extLst>
            </p:cNvPr>
            <p:cNvSpPr/>
            <p:nvPr/>
          </p:nvSpPr>
          <p:spPr>
            <a:xfrm>
              <a:off x="3379530" y="287006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2" name="object 2012">
              <a:extLst>
                <a:ext uri="{FF2B5EF4-FFF2-40B4-BE49-F238E27FC236}">
                  <a16:creationId xmlns:a16="http://schemas.microsoft.com/office/drawing/2014/main" id="{48DA311B-5B79-146C-E161-330E07A57E21}"/>
                </a:ext>
              </a:extLst>
            </p:cNvPr>
            <p:cNvSpPr/>
            <p:nvPr/>
          </p:nvSpPr>
          <p:spPr>
            <a:xfrm>
              <a:off x="8294193" y="210338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0"/>
                <a:gd name="f27" fmla="val 197340"/>
                <a:gd name="f28" fmla="val 155939"/>
                <a:gd name="f29" fmla="val 118131"/>
                <a:gd name="f30" fmla="val 84510"/>
                <a:gd name="f31" fmla="val 55670"/>
                <a:gd name="f32" fmla="val 335338"/>
                <a:gd name="f33" fmla="val 379737"/>
                <a:gd name="f34" fmla="val 421137"/>
                <a:gd name="f35" fmla="val 458945"/>
                <a:gd name="f36" fmla="val 492567"/>
                <a:gd name="f37" fmla="val 521408"/>
                <a:gd name="f38" fmla="val 544874"/>
                <a:gd name="f39" fmla="val 562371"/>
                <a:gd name="f40" fmla="*/ f0 1 577215"/>
                <a:gd name="f41" fmla="*/ f1 1 577214"/>
                <a:gd name="f42" fmla="+- f4 0 f2"/>
                <a:gd name="f43" fmla="+- f3 0 f2"/>
                <a:gd name="f44" fmla="*/ f43 1 577215"/>
                <a:gd name="f45" fmla="*/ f42 1 577214"/>
                <a:gd name="f46" fmla="*/ f2 1 f44"/>
                <a:gd name="f47" fmla="*/ f3 1 f44"/>
                <a:gd name="f48" fmla="*/ f2 1 f45"/>
                <a:gd name="f49" fmla="*/ f4 1 f45"/>
                <a:gd name="f50" fmla="*/ f46 f40 1"/>
                <a:gd name="f51" fmla="*/ f47 f40 1"/>
                <a:gd name="f52" fmla="*/ f49 f41 1"/>
                <a:gd name="f53" fmla="*/ f48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2"/>
                  </a:lnTo>
                  <a:lnTo>
                    <a:pt x="f22" y="f33"/>
                  </a:lnTo>
                  <a:lnTo>
                    <a:pt x="f20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39"/>
                  </a:lnTo>
                  <a:lnTo>
                    <a:pt x="f19" y="f38"/>
                  </a:lnTo>
                  <a:lnTo>
                    <a:pt x="f17" y="f37"/>
                  </a:lnTo>
                  <a:lnTo>
                    <a:pt x="f15" y="f36"/>
                  </a:lnTo>
                  <a:lnTo>
                    <a:pt x="f13" y="f35"/>
                  </a:lnTo>
                  <a:lnTo>
                    <a:pt x="f11" y="f34"/>
                  </a:lnTo>
                  <a:lnTo>
                    <a:pt x="f9" y="f33"/>
                  </a:lnTo>
                  <a:lnTo>
                    <a:pt x="f7" y="f3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3" name="object 2013">
              <a:extLst>
                <a:ext uri="{FF2B5EF4-FFF2-40B4-BE49-F238E27FC236}">
                  <a16:creationId xmlns:a16="http://schemas.microsoft.com/office/drawing/2014/main" id="{CE6FAC17-9802-F963-CA16-9E4DEF6909C6}"/>
                </a:ext>
              </a:extLst>
            </p:cNvPr>
            <p:cNvSpPr/>
            <p:nvPr/>
          </p:nvSpPr>
          <p:spPr>
            <a:xfrm>
              <a:off x="9943048" y="131302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4" name="object 2014">
              <a:extLst>
                <a:ext uri="{FF2B5EF4-FFF2-40B4-BE49-F238E27FC236}">
                  <a16:creationId xmlns:a16="http://schemas.microsoft.com/office/drawing/2014/main" id="{215705E4-9FD0-DA48-E9F9-9BDD56DFB0FB}"/>
                </a:ext>
              </a:extLst>
            </p:cNvPr>
            <p:cNvSpPr/>
            <p:nvPr/>
          </p:nvSpPr>
          <p:spPr>
            <a:xfrm>
              <a:off x="9123325" y="56925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5" name="object 2015">
              <a:extLst>
                <a:ext uri="{FF2B5EF4-FFF2-40B4-BE49-F238E27FC236}">
                  <a16:creationId xmlns:a16="http://schemas.microsoft.com/office/drawing/2014/main" id="{35F4F4F1-DAB1-13BC-B200-39EF1DA16259}"/>
                </a:ext>
              </a:extLst>
            </p:cNvPr>
            <p:cNvSpPr/>
            <p:nvPr/>
          </p:nvSpPr>
          <p:spPr>
            <a:xfrm>
              <a:off x="4179054" y="439534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6" name="object 2016">
              <a:extLst>
                <a:ext uri="{FF2B5EF4-FFF2-40B4-BE49-F238E27FC236}">
                  <a16:creationId xmlns:a16="http://schemas.microsoft.com/office/drawing/2014/main" id="{43A88CAE-EAA8-B450-3E6A-7E785E5342E1}"/>
                </a:ext>
              </a:extLst>
            </p:cNvPr>
            <p:cNvSpPr/>
            <p:nvPr/>
          </p:nvSpPr>
          <p:spPr>
            <a:xfrm>
              <a:off x="5830781" y="515492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7" name="object 2017">
              <a:extLst>
                <a:ext uri="{FF2B5EF4-FFF2-40B4-BE49-F238E27FC236}">
                  <a16:creationId xmlns:a16="http://schemas.microsoft.com/office/drawing/2014/main" id="{26CE69CD-0FFC-05D2-BA4A-A37C6C1C8306}"/>
                </a:ext>
              </a:extLst>
            </p:cNvPr>
            <p:cNvSpPr/>
            <p:nvPr/>
          </p:nvSpPr>
          <p:spPr>
            <a:xfrm>
              <a:off x="5009549" y="363387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8" name="object 2018">
              <a:extLst>
                <a:ext uri="{FF2B5EF4-FFF2-40B4-BE49-F238E27FC236}">
                  <a16:creationId xmlns:a16="http://schemas.microsoft.com/office/drawing/2014/main" id="{301681DF-A1ED-AFAC-2772-4A3E566CD4D0}"/>
                </a:ext>
              </a:extLst>
            </p:cNvPr>
            <p:cNvSpPr/>
            <p:nvPr/>
          </p:nvSpPr>
          <p:spPr>
            <a:xfrm>
              <a:off x="7484235" y="209703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9" name="object 2019">
              <a:extLst>
                <a:ext uri="{FF2B5EF4-FFF2-40B4-BE49-F238E27FC236}">
                  <a16:creationId xmlns:a16="http://schemas.microsoft.com/office/drawing/2014/main" id="{AD059D47-ED5B-72D4-6791-0218961B5416}"/>
                </a:ext>
              </a:extLst>
            </p:cNvPr>
            <p:cNvSpPr/>
            <p:nvPr/>
          </p:nvSpPr>
          <p:spPr>
            <a:xfrm>
              <a:off x="9943048" y="439667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5304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pic>
        <p:nvPicPr>
          <p:cNvPr id="2020" name="object 2020">
            <a:extLst>
              <a:ext uri="{FF2B5EF4-FFF2-40B4-BE49-F238E27FC236}">
                <a16:creationId xmlns:a16="http://schemas.microsoft.com/office/drawing/2014/main" id="{A2EFBA4A-DB60-46F8-F539-15BD49549777}"/>
              </a:ext>
            </a:extLst>
          </p:cNvPr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10883563" y="1090175"/>
            <a:ext cx="980181" cy="77549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021" name="object 2021">
            <a:extLst>
              <a:ext uri="{FF2B5EF4-FFF2-40B4-BE49-F238E27FC236}">
                <a16:creationId xmlns:a16="http://schemas.microsoft.com/office/drawing/2014/main" id="{18FBCB3F-3314-6C12-D0D5-CDE4742A298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70768" y="625303"/>
            <a:ext cx="1822904" cy="929947"/>
          </a:xfrm>
        </p:spPr>
        <p:txBody>
          <a:bodyPr wrap="square" tIns="7315">
            <a:spAutoFit/>
          </a:bodyPr>
          <a:lstStyle/>
          <a:p>
            <a:pPr marL="7699" marR="3081" lvl="0">
              <a:lnSpc>
                <a:spcPct val="100800"/>
              </a:lnSpc>
              <a:spcBef>
                <a:spcPts val="60"/>
              </a:spcBef>
            </a:pPr>
            <a:r>
              <a:rPr lang="en-US" sz="2000" b="1" spc="-185">
                <a:solidFill>
                  <a:srgbClr val="000000"/>
                </a:solidFill>
                <a:latin typeface="VeluxForOffice"/>
              </a:rPr>
              <a:t>Simple</a:t>
            </a:r>
            <a:r>
              <a:rPr lang="en-US" sz="2000" b="1" spc="-49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273">
                <a:solidFill>
                  <a:srgbClr val="000000"/>
                </a:solidFill>
                <a:latin typeface="VeluxForOffice"/>
              </a:rPr>
              <a:t>LCA </a:t>
            </a:r>
            <a:r>
              <a:rPr lang="en-US" sz="2000" b="1" spc="-191">
                <a:solidFill>
                  <a:srgbClr val="000000"/>
                </a:solidFill>
                <a:latin typeface="VeluxForOffice"/>
              </a:rPr>
              <a:t>comparison</a:t>
            </a:r>
            <a:r>
              <a:rPr lang="en-US" sz="2000" b="1" spc="-55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173">
                <a:solidFill>
                  <a:srgbClr val="000000"/>
                </a:solidFill>
                <a:latin typeface="VeluxForOffice"/>
              </a:rPr>
              <a:t>tool</a:t>
            </a:r>
            <a:r>
              <a:rPr lang="en-US" sz="2000" b="1" spc="-55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30">
                <a:solidFill>
                  <a:srgbClr val="000000"/>
                </a:solidFill>
                <a:latin typeface="VeluxForOffice"/>
              </a:rPr>
              <a:t>- </a:t>
            </a:r>
            <a:r>
              <a:rPr lang="en-US" sz="2000" b="1" spc="-203">
                <a:solidFill>
                  <a:srgbClr val="000000"/>
                </a:solidFill>
                <a:latin typeface="VeluxForOffice"/>
              </a:rPr>
              <a:t>Benchmark</a:t>
            </a:r>
            <a:r>
              <a:rPr lang="en-US" sz="2000" b="1" spc="-55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209">
                <a:solidFill>
                  <a:srgbClr val="000000"/>
                </a:solidFill>
                <a:latin typeface="VeluxForOffice"/>
              </a:rPr>
              <a:t>house</a:t>
            </a:r>
            <a:endParaRPr lang="en-US" sz="2000" b="1">
              <a:latin typeface="VeluxForOffice"/>
            </a:endParaRPr>
          </a:p>
        </p:txBody>
      </p:sp>
      <p:sp>
        <p:nvSpPr>
          <p:cNvPr id="2022" name="object 2026">
            <a:extLst>
              <a:ext uri="{FF2B5EF4-FFF2-40B4-BE49-F238E27FC236}">
                <a16:creationId xmlns:a16="http://schemas.microsoft.com/office/drawing/2014/main" id="{54950EC1-DB99-F770-5AA3-72E8F2577A08}"/>
              </a:ext>
            </a:extLst>
          </p:cNvPr>
          <p:cNvSpPr txBox="1"/>
          <p:nvPr/>
        </p:nvSpPr>
        <p:spPr>
          <a:xfrm>
            <a:off x="4181139" y="6303297"/>
            <a:ext cx="329997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edAi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3" name="object 2027">
            <a:extLst>
              <a:ext uri="{FF2B5EF4-FFF2-40B4-BE49-F238E27FC236}">
                <a16:creationId xmlns:a16="http://schemas.microsoft.com/office/drawing/2014/main" id="{1012D8D9-7A6D-B9BD-A0DA-D5DE09690EE6}"/>
              </a:ext>
            </a:extLst>
          </p:cNvPr>
          <p:cNvSpPr txBox="1"/>
          <p:nvPr/>
        </p:nvSpPr>
        <p:spPr>
          <a:xfrm>
            <a:off x="4999454" y="6303297"/>
            <a:ext cx="139775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4" name="object 2028">
            <a:extLst>
              <a:ext uri="{FF2B5EF4-FFF2-40B4-BE49-F238E27FC236}">
                <a16:creationId xmlns:a16="http://schemas.microsoft.com/office/drawing/2014/main" id="{E621B6FE-5249-6EFC-78EB-AB465D750A08}"/>
              </a:ext>
            </a:extLst>
          </p:cNvPr>
          <p:cNvSpPr txBox="1"/>
          <p:nvPr/>
        </p:nvSpPr>
        <p:spPr>
          <a:xfrm>
            <a:off x="8285369" y="6303297"/>
            <a:ext cx="352336" cy="1093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500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ain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5" name="object 2029">
            <a:extLst>
              <a:ext uri="{FF2B5EF4-FFF2-40B4-BE49-F238E27FC236}">
                <a16:creationId xmlns:a16="http://schemas.microsoft.com/office/drawing/2014/main" id="{004F7C1E-0BC4-4803-EEB5-8EA10C447D3A}"/>
              </a:ext>
            </a:extLst>
          </p:cNvPr>
          <p:cNvSpPr txBox="1"/>
          <p:nvPr/>
        </p:nvSpPr>
        <p:spPr>
          <a:xfrm>
            <a:off x="9116211" y="6306324"/>
            <a:ext cx="335392" cy="1093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500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odular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kylight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6" name="object 2030">
            <a:extLst>
              <a:ext uri="{FF2B5EF4-FFF2-40B4-BE49-F238E27FC236}">
                <a16:creationId xmlns:a16="http://schemas.microsoft.com/office/drawing/2014/main" id="{95C12465-E618-B4E0-E840-C9862CD11D92}"/>
              </a:ext>
            </a:extLst>
          </p:cNvPr>
          <p:cNvSpPr txBox="1"/>
          <p:nvPr/>
        </p:nvSpPr>
        <p:spPr>
          <a:xfrm>
            <a:off x="5827315" y="6310228"/>
            <a:ext cx="294958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lock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ri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27" name="object 2031">
            <a:extLst>
              <a:ext uri="{FF2B5EF4-FFF2-40B4-BE49-F238E27FC236}">
                <a16:creationId xmlns:a16="http://schemas.microsoft.com/office/drawing/2014/main" id="{ED236A56-2C57-3BA7-1A42-C596551A3F1C}"/>
              </a:ext>
            </a:extLst>
          </p:cNvPr>
          <p:cNvSpPr txBox="1"/>
          <p:nvPr/>
        </p:nvSpPr>
        <p:spPr>
          <a:xfrm>
            <a:off x="4096201" y="6418191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28" name="object 2032">
            <a:extLst>
              <a:ext uri="{FF2B5EF4-FFF2-40B4-BE49-F238E27FC236}">
                <a16:creationId xmlns:a16="http://schemas.microsoft.com/office/drawing/2014/main" id="{22D91F62-2556-E7A5-DD84-A0B4DE589B95}"/>
              </a:ext>
            </a:extLst>
          </p:cNvPr>
          <p:cNvSpPr txBox="1"/>
          <p:nvPr/>
        </p:nvSpPr>
        <p:spPr>
          <a:xfrm>
            <a:off x="4898248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29" name="object 2033">
            <a:extLst>
              <a:ext uri="{FF2B5EF4-FFF2-40B4-BE49-F238E27FC236}">
                <a16:creationId xmlns:a16="http://schemas.microsoft.com/office/drawing/2014/main" id="{1745712E-C8E3-79DE-3336-D1E4FE1F9785}"/>
              </a:ext>
            </a:extLst>
          </p:cNvPr>
          <p:cNvSpPr txBox="1"/>
          <p:nvPr/>
        </p:nvSpPr>
        <p:spPr>
          <a:xfrm>
            <a:off x="5721547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30" name="object 2034">
            <a:extLst>
              <a:ext uri="{FF2B5EF4-FFF2-40B4-BE49-F238E27FC236}">
                <a16:creationId xmlns:a16="http://schemas.microsoft.com/office/drawing/2014/main" id="{641CBFCE-2FE3-AB20-1FA3-99924020C268}"/>
              </a:ext>
            </a:extLst>
          </p:cNvPr>
          <p:cNvSpPr txBox="1"/>
          <p:nvPr/>
        </p:nvSpPr>
        <p:spPr>
          <a:xfrm>
            <a:off x="8196827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31" name="object 2035">
            <a:extLst>
              <a:ext uri="{FF2B5EF4-FFF2-40B4-BE49-F238E27FC236}">
                <a16:creationId xmlns:a16="http://schemas.microsoft.com/office/drawing/2014/main" id="{F7CFD286-0CE2-F9FF-96AE-63B189064792}"/>
              </a:ext>
            </a:extLst>
          </p:cNvPr>
          <p:cNvSpPr txBox="1"/>
          <p:nvPr/>
        </p:nvSpPr>
        <p:spPr>
          <a:xfrm>
            <a:off x="9026133" y="6424821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32" name="object 2036">
            <a:extLst>
              <a:ext uri="{FF2B5EF4-FFF2-40B4-BE49-F238E27FC236}">
                <a16:creationId xmlns:a16="http://schemas.microsoft.com/office/drawing/2014/main" id="{A24A3EA8-8C36-E411-8C68-B6A5F5705857}"/>
              </a:ext>
            </a:extLst>
          </p:cNvPr>
          <p:cNvSpPr txBox="1"/>
          <p:nvPr/>
        </p:nvSpPr>
        <p:spPr>
          <a:xfrm>
            <a:off x="11755745" y="6504593"/>
            <a:ext cx="50635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EB47A1F-B231-454C-9ADB-BF7D6CCBDA07}" type="slidenum">
              <a:rPr sz="1400">
                <a:solidFill>
                  <a:schemeClr val="bg1">
                    <a:lumMod val="65000"/>
                  </a:schemeClr>
                </a:solidFill>
              </a:rPr>
              <a:t>19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  <p:sp>
        <p:nvSpPr>
          <p:cNvPr id="2033" name="object 2022">
            <a:extLst>
              <a:ext uri="{FF2B5EF4-FFF2-40B4-BE49-F238E27FC236}">
                <a16:creationId xmlns:a16="http://schemas.microsoft.com/office/drawing/2014/main" id="{6D76E963-55A2-C27B-CC6E-200C335EB95F}"/>
              </a:ext>
            </a:extLst>
          </p:cNvPr>
          <p:cNvSpPr txBox="1"/>
          <p:nvPr/>
        </p:nvSpPr>
        <p:spPr>
          <a:xfrm>
            <a:off x="587886" y="1663202"/>
            <a:ext cx="1635751" cy="8719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76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diagram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show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materials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8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used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in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a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raditional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Benchmark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ouse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and 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hat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environmental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impact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of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is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ome</a:t>
            </a:r>
            <a:r>
              <a:rPr lang="en-US" sz="1050" b="0" i="0" u="none" strike="noStrike" kern="1200" cap="none" spc="-39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is.</a:t>
            </a:r>
            <a:endParaRPr lang="en-US" sz="105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2034" name="object 2023">
            <a:extLst>
              <a:ext uri="{FF2B5EF4-FFF2-40B4-BE49-F238E27FC236}">
                <a16:creationId xmlns:a16="http://schemas.microsoft.com/office/drawing/2014/main" id="{7775475D-BED7-2842-3C31-D0834B0D26D6}"/>
              </a:ext>
            </a:extLst>
          </p:cNvPr>
          <p:cNvSpPr txBox="1"/>
          <p:nvPr/>
        </p:nvSpPr>
        <p:spPr>
          <a:xfrm>
            <a:off x="10459922" y="3011768"/>
            <a:ext cx="1500210" cy="2519885"/>
          </a:xfrm>
          <a:prstGeom prst="rect">
            <a:avLst/>
          </a:prstGeom>
          <a:noFill/>
          <a:ln w="10469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68543" rIns="0" bIns="0" anchor="t" anchorCtr="0" compatLnSpc="1">
            <a:spAutoFit/>
          </a:bodyPr>
          <a:lstStyle/>
          <a:p>
            <a:pPr marL="81637" marR="356954" lvl="0" indent="0" algn="l" defTabSz="914400" rtl="0" fontAlgn="auto" hangingPunct="1">
              <a:lnSpc>
                <a:spcPts val="850"/>
              </a:lnSpc>
              <a:spcBef>
                <a:spcPts val="5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BENCHMARK</a:t>
            </a:r>
            <a:r>
              <a:rPr lang="en-US" sz="728" b="0" i="0" u="none" strike="noStrike" kern="1200" cap="none" spc="14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728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HOUSE </a:t>
            </a:r>
            <a:r>
              <a:rPr lang="en-US" sz="728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TRUCTURAL</a:t>
            </a:r>
            <a:r>
              <a:rPr lang="en-US" sz="728" b="0" i="0" u="none" strike="noStrike" kern="1200" cap="none" spc="1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728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YSTEM</a:t>
            </a:r>
            <a:endParaRPr lang="en-US" sz="728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None/>
              <a:tabLst>
                <a:tab pos="468245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697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CA:</a:t>
            </a:r>
            <a:r>
              <a:rPr lang="en-US" sz="697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	</a:t>
            </a:r>
            <a:r>
              <a:rPr lang="en-US" sz="697" b="0" i="0" u="none" strike="noStrike" kern="1200" cap="none" spc="-3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11,1 </a:t>
            </a:r>
            <a:r>
              <a:rPr lang="en-US" sz="697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kg</a:t>
            </a:r>
            <a:r>
              <a:rPr lang="en-US" sz="697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697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O₂eq/m²/y</a:t>
            </a:r>
            <a:endParaRPr lang="en-US" sz="69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63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OUND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trip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oundation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in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eca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and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oncrete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TERRAIN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DECK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Heavy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oncrete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tructure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EXTERIOR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ALL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CONSTRUC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Heavy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oncrete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back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all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Brick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INTERIOR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ALL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Aerated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oncrete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ROOF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Barred</a:t>
            </a:r>
            <a:r>
              <a:rPr lang="en-US" sz="455" b="0" i="0" u="none" strike="noStrike" kern="1200" cap="none" spc="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onstruction</a:t>
            </a:r>
            <a:r>
              <a:rPr lang="en-US" sz="455" b="0" i="0" u="none" strike="noStrike" kern="1200" cap="none" spc="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th</a:t>
            </a:r>
            <a:r>
              <a:rPr lang="en-US" sz="455" b="0" i="0" u="none" strike="noStrike" kern="1200" cap="none" spc="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ed</a:t>
            </a:r>
            <a:r>
              <a:rPr lang="en-US" sz="455" b="0" i="0" u="none" strike="noStrike" kern="1200" cap="none" spc="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attic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Roof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tile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NDOW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282247" lvl="0" indent="0" algn="l" defTabSz="914400" rtl="0" fontAlgn="auto" hangingPunct="1">
              <a:lnSpc>
                <a:spcPct val="1099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>
                <a:tab pos="127841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/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aluminum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ndows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(incl.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3-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ayer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glass)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OLAR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Efficient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olar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s </a:t>
            </a: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rom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irst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olar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Mechanical</a:t>
            </a:r>
            <a:r>
              <a:rPr lang="en-US" sz="455" b="0" i="0" u="none" strike="noStrike" kern="1200" cap="none" spc="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</p:txBody>
      </p:sp>
      <p:sp>
        <p:nvSpPr>
          <p:cNvPr id="2035" name="object 2025">
            <a:extLst>
              <a:ext uri="{FF2B5EF4-FFF2-40B4-BE49-F238E27FC236}">
                <a16:creationId xmlns:a16="http://schemas.microsoft.com/office/drawing/2014/main" id="{71F6FD3B-239B-85E2-4ACF-2E948561F177}"/>
              </a:ext>
            </a:extLst>
          </p:cNvPr>
          <p:cNvSpPr txBox="1"/>
          <p:nvPr/>
        </p:nvSpPr>
        <p:spPr>
          <a:xfrm>
            <a:off x="9863715" y="3180246"/>
            <a:ext cx="525231" cy="11543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08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697" b="1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69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</p:txBody>
      </p:sp>
      <p:graphicFrame>
        <p:nvGraphicFramePr>
          <p:cNvPr id="2036" name="object 2034">
            <a:extLst>
              <a:ext uri="{FF2B5EF4-FFF2-40B4-BE49-F238E27FC236}">
                <a16:creationId xmlns:a16="http://schemas.microsoft.com/office/drawing/2014/main" id="{87A4DBE3-ECBC-64E0-EEE9-B25D696F4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968696"/>
              </p:ext>
            </p:extLst>
          </p:nvPr>
        </p:nvGraphicFramePr>
        <p:xfrm>
          <a:off x="2450454" y="212735"/>
          <a:ext cx="8173524" cy="289097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678868">
                  <a:extLst>
                    <a:ext uri="{9D8B030D-6E8A-4147-A177-3AD203B41FA5}">
                      <a16:colId xmlns:a16="http://schemas.microsoft.com/office/drawing/2014/main" val="1658490810"/>
                    </a:ext>
                  </a:extLst>
                </a:gridCol>
                <a:gridCol w="830586">
                  <a:extLst>
                    <a:ext uri="{9D8B030D-6E8A-4147-A177-3AD203B41FA5}">
                      <a16:colId xmlns:a16="http://schemas.microsoft.com/office/drawing/2014/main" val="1636543607"/>
                    </a:ext>
                  </a:extLst>
                </a:gridCol>
                <a:gridCol w="823270">
                  <a:extLst>
                    <a:ext uri="{9D8B030D-6E8A-4147-A177-3AD203B41FA5}">
                      <a16:colId xmlns:a16="http://schemas.microsoft.com/office/drawing/2014/main" val="3804370213"/>
                    </a:ext>
                  </a:extLst>
                </a:gridCol>
                <a:gridCol w="883337">
                  <a:extLst>
                    <a:ext uri="{9D8B030D-6E8A-4147-A177-3AD203B41FA5}">
                      <a16:colId xmlns:a16="http://schemas.microsoft.com/office/drawing/2014/main" val="3254896364"/>
                    </a:ext>
                  </a:extLst>
                </a:gridCol>
                <a:gridCol w="722769">
                  <a:extLst>
                    <a:ext uri="{9D8B030D-6E8A-4147-A177-3AD203B41FA5}">
                      <a16:colId xmlns:a16="http://schemas.microsoft.com/office/drawing/2014/main" val="2712751493"/>
                    </a:ext>
                  </a:extLst>
                </a:gridCol>
                <a:gridCol w="850611">
                  <a:extLst>
                    <a:ext uri="{9D8B030D-6E8A-4147-A177-3AD203B41FA5}">
                      <a16:colId xmlns:a16="http://schemas.microsoft.com/office/drawing/2014/main" val="3176306314"/>
                    </a:ext>
                  </a:extLst>
                </a:gridCol>
                <a:gridCol w="878336">
                  <a:extLst>
                    <a:ext uri="{9D8B030D-6E8A-4147-A177-3AD203B41FA5}">
                      <a16:colId xmlns:a16="http://schemas.microsoft.com/office/drawing/2014/main" val="228236071"/>
                    </a:ext>
                  </a:extLst>
                </a:gridCol>
                <a:gridCol w="772823">
                  <a:extLst>
                    <a:ext uri="{9D8B030D-6E8A-4147-A177-3AD203B41FA5}">
                      <a16:colId xmlns:a16="http://schemas.microsoft.com/office/drawing/2014/main" val="1040761969"/>
                    </a:ext>
                  </a:extLst>
                </a:gridCol>
                <a:gridCol w="805458">
                  <a:extLst>
                    <a:ext uri="{9D8B030D-6E8A-4147-A177-3AD203B41FA5}">
                      <a16:colId xmlns:a16="http://schemas.microsoft.com/office/drawing/2014/main" val="336707924"/>
                    </a:ext>
                  </a:extLst>
                </a:gridCol>
                <a:gridCol w="927466">
                  <a:extLst>
                    <a:ext uri="{9D8B030D-6E8A-4147-A177-3AD203B41FA5}">
                      <a16:colId xmlns:a16="http://schemas.microsoft.com/office/drawing/2014/main" val="383644572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31747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Founda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17800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40">
                          <a:latin typeface="Verdana"/>
                          <a:cs typeface="Verdana"/>
                        </a:rPr>
                        <a:t>Terrain</a:t>
                      </a:r>
                      <a:r>
                        <a:rPr lang="en-US" sz="700" b="1" spc="-4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deck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30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Exterior</a:t>
                      </a:r>
                      <a:r>
                        <a:rPr lang="en-US" sz="700" b="1" spc="-5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wall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82552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 dirty="0">
                          <a:latin typeface="Verdana"/>
                          <a:cs typeface="Verdana"/>
                        </a:rPr>
                        <a:t>Exterior</a:t>
                      </a:r>
                      <a:r>
                        <a:rPr lang="en-US" sz="700" b="1" spc="-55" dirty="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 dirty="0">
                          <a:latin typeface="Verdana"/>
                          <a:cs typeface="Verdana"/>
                        </a:rPr>
                        <a:t>wall</a:t>
                      </a:r>
                      <a:endParaRPr lang="en-US" sz="700" dirty="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9046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Interior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07338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Floor</a:t>
                      </a:r>
                      <a:r>
                        <a:rPr lang="en-US" sz="700" b="1" spc="-6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deck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1593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20">
                          <a:latin typeface="Verdana"/>
                          <a:cs typeface="Verdana"/>
                        </a:rPr>
                        <a:t>Roof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4766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20">
                          <a:latin typeface="Verdana"/>
                          <a:cs typeface="Verdana"/>
                        </a:rPr>
                        <a:t>Roof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6072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Window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99081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Solar</a:t>
                      </a:r>
                      <a:r>
                        <a:rPr lang="en-US" sz="700" b="1" spc="-7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10">
                          <a:latin typeface="Verdana"/>
                          <a:cs typeface="Verdana"/>
                        </a:rPr>
                        <a:t>cell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3396681"/>
                  </a:ext>
                </a:extLst>
              </a:tr>
              <a:tr h="110898"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271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onstruc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82552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ladding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9687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wall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2234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onstruc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4766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ladding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04418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3480445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>
            <a:extLst>
              <a:ext uri="{FF2B5EF4-FFF2-40B4-BE49-F238E27FC236}">
                <a16:creationId xmlns:a16="http://schemas.microsoft.com/office/drawing/2014/main" id="{E189A0DD-B0C5-9017-3561-7AE2FCA4159B}"/>
              </a:ext>
            </a:extLst>
          </p:cNvPr>
          <p:cNvSpPr/>
          <p:nvPr/>
        </p:nvSpPr>
        <p:spPr>
          <a:xfrm>
            <a:off x="859" y="237"/>
            <a:ext cx="12190287" cy="6857039"/>
          </a:xfrm>
          <a:prstGeom prst="rect">
            <a:avLst/>
          </a:prstGeom>
          <a:blipFill>
            <a:blip r:embed="rId3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EA375FB9-4FCD-98CB-A605-6A7EB8A056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0475" y="582280"/>
            <a:ext cx="5831055" cy="5600453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object 6">
            <a:extLst>
              <a:ext uri="{FF2B5EF4-FFF2-40B4-BE49-F238E27FC236}">
                <a16:creationId xmlns:a16="http://schemas.microsoft.com/office/drawing/2014/main" id="{E8C72131-CEBF-2CFC-71DE-BC85B6060DBA}"/>
              </a:ext>
            </a:extLst>
          </p:cNvPr>
          <p:cNvSpPr/>
          <p:nvPr/>
        </p:nvSpPr>
        <p:spPr>
          <a:xfrm>
            <a:off x="5489819" y="2110901"/>
            <a:ext cx="1212357" cy="402043"/>
          </a:xfrm>
          <a:prstGeom prst="rect">
            <a:avLst/>
          </a:prstGeom>
          <a:blipFill>
            <a:blip r:embed="rId5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5" name="object 7">
            <a:extLst>
              <a:ext uri="{FF2B5EF4-FFF2-40B4-BE49-F238E27FC236}">
                <a16:creationId xmlns:a16="http://schemas.microsoft.com/office/drawing/2014/main" id="{513D910E-C53E-1C0B-FA7A-A4BB78997EE1}"/>
              </a:ext>
            </a:extLst>
          </p:cNvPr>
          <p:cNvSpPr txBox="1"/>
          <p:nvPr/>
        </p:nvSpPr>
        <p:spPr>
          <a:xfrm>
            <a:off x="5390223" y="2583655"/>
            <a:ext cx="1411568" cy="3946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5027" rIns="0" bIns="0" anchor="t" anchorCtr="1" compatLnSpc="1">
            <a:spAutoFit/>
          </a:bodyPr>
          <a:lstStyle/>
          <a:p>
            <a:pPr marL="18095" marR="3081" lvl="0" indent="-10780" algn="ctr" defTabSz="914400" rtl="0" fontAlgn="auto" hangingPunct="1">
              <a:lnSpc>
                <a:spcPct val="100000"/>
              </a:lnSpc>
              <a:spcBef>
                <a:spcPts val="19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0" u="none" strike="noStrike" kern="1200" cap="none" spc="-3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SUS</a:t>
            </a:r>
            <a:r>
              <a:rPr lang="en-US" sz="1200" b="0" i="0" u="none" strike="noStrike" kern="1200" cap="none" spc="-79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T</a:t>
            </a:r>
            <a:r>
              <a:rPr lang="en-US" sz="1200" b="0" i="0" u="none" strike="noStrike" kern="1200" cap="none" spc="-3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A</a:t>
            </a:r>
            <a:r>
              <a:rPr lang="en-US" sz="1200" b="0" i="0" u="none" strike="noStrike" kern="1200" cap="none" spc="-6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US" sz="1200" b="0" i="0" u="none" strike="noStrike" kern="1200" cap="none" spc="-3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NAB</a:t>
            </a:r>
            <a:r>
              <a:rPr lang="en-US" sz="1200" b="0" i="0" u="none" strike="noStrike" kern="1200" cap="none" spc="-6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US" sz="1200" b="0" i="0" u="none" strike="noStrike" kern="1200" cap="none" spc="-3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L</a:t>
            </a:r>
            <a:r>
              <a:rPr lang="en-US" sz="1200" b="0" i="0" u="none" strike="noStrike" kern="1200" cap="none" spc="-6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IT</a:t>
            </a:r>
            <a:r>
              <a:rPr lang="en-US" sz="1200" b="0" i="0" u="none" strike="noStrike" kern="1200" cap="none" spc="-3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Y </a:t>
            </a:r>
            <a:r>
              <a:rPr lang="en-US" sz="1200" b="0" i="0" u="none" strike="noStrike" kern="1200" cap="none" spc="-12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STRATEGY</a:t>
            </a:r>
            <a:r>
              <a:rPr lang="en-US" sz="1200" b="0" i="0" u="none" strike="noStrike" kern="1200" cap="none" spc="-49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 </a:t>
            </a:r>
            <a:r>
              <a:rPr lang="en-US" sz="1200" b="0" i="0" u="none" strike="noStrike" kern="1200" cap="none" spc="-3" baseline="0">
                <a:solidFill>
                  <a:srgbClr val="000000"/>
                </a:solidFill>
                <a:uFillTx/>
                <a:latin typeface="VELUXforOffice" pitchFamily="2"/>
                <a:cs typeface="Helvetica"/>
              </a:rPr>
              <a:t>2030</a:t>
            </a:r>
            <a:endParaRPr lang="en-US" sz="1200" b="0" i="0" u="none" strike="noStrike" kern="1200" cap="none" spc="0" baseline="0">
              <a:solidFill>
                <a:srgbClr val="000000"/>
              </a:solidFill>
              <a:uFillTx/>
              <a:latin typeface="VELUXforOffice" pitchFamily="2"/>
              <a:cs typeface="Helvetica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>
            <a:extLst>
              <a:ext uri="{FF2B5EF4-FFF2-40B4-BE49-F238E27FC236}">
                <a16:creationId xmlns:a16="http://schemas.microsoft.com/office/drawing/2014/main" id="{25FFA56A-93A9-1CB7-A464-A30B02ADF94D}"/>
              </a:ext>
            </a:extLst>
          </p:cNvPr>
          <p:cNvGrpSpPr/>
          <p:nvPr/>
        </p:nvGrpSpPr>
        <p:grpSpPr>
          <a:xfrm>
            <a:off x="10316260" y="2191643"/>
            <a:ext cx="454721" cy="158648"/>
            <a:chOff x="10316260" y="2191643"/>
            <a:chExt cx="454721" cy="158648"/>
          </a:xfrm>
        </p:grpSpPr>
        <p:sp>
          <p:nvSpPr>
            <p:cNvPr id="3" name="object 3">
              <a:extLst>
                <a:ext uri="{FF2B5EF4-FFF2-40B4-BE49-F238E27FC236}">
                  <a16:creationId xmlns:a16="http://schemas.microsoft.com/office/drawing/2014/main" id="{BDF838F0-D341-0A9B-51F1-C5065D6AA150}"/>
                </a:ext>
              </a:extLst>
            </p:cNvPr>
            <p:cNvSpPr/>
            <p:nvPr/>
          </p:nvSpPr>
          <p:spPr>
            <a:xfrm>
              <a:off x="10316260" y="2270793"/>
              <a:ext cx="341162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41167"/>
                <a:gd name="f5" fmla="val 340800"/>
                <a:gd name="f6" fmla="abs f0"/>
                <a:gd name="f7" fmla="abs f1"/>
                <a:gd name="f8" fmla="abs f2"/>
                <a:gd name="f9" fmla="*/ f0 1 341167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341167"/>
                <a:gd name="f16" fmla="*/ f10 1 0"/>
                <a:gd name="f17" fmla="*/ f12 1 341167"/>
                <a:gd name="f18" fmla="*/ f13 1 21600"/>
                <a:gd name="f19" fmla="*/ 21600 f13 1"/>
                <a:gd name="f20" fmla="*/ 0 1 f15"/>
                <a:gd name="f21" fmla="*/ 341167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341167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AFD3CCA8-2DCF-39A9-B97A-8D6972B9FAF7}"/>
                </a:ext>
              </a:extLst>
            </p:cNvPr>
            <p:cNvSpPr/>
            <p:nvPr/>
          </p:nvSpPr>
          <p:spPr>
            <a:xfrm>
              <a:off x="10633895" y="2191643"/>
              <a:ext cx="137086" cy="158648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6059"/>
                <a:gd name="f4" fmla="val 261620"/>
                <a:gd name="f5" fmla="val 261028"/>
                <a:gd name="f6" fmla="val 226035"/>
                <a:gd name="f7" fmla="val 130530"/>
                <a:gd name="f8" fmla="*/ f0 1 226059"/>
                <a:gd name="f9" fmla="*/ f1 1 261620"/>
                <a:gd name="f10" fmla="+- f4 0 f2"/>
                <a:gd name="f11" fmla="+- f3 0 f2"/>
                <a:gd name="f12" fmla="*/ f11 1 226059"/>
                <a:gd name="f13" fmla="*/ f10 1 261620"/>
                <a:gd name="f14" fmla="*/ f2 1 f12"/>
                <a:gd name="f15" fmla="*/ f3 1 f12"/>
                <a:gd name="f16" fmla="*/ f2 1 f13"/>
                <a:gd name="f17" fmla="*/ f4 1 f13"/>
                <a:gd name="f18" fmla="*/ f14 f8 1"/>
                <a:gd name="f19" fmla="*/ f15 f8 1"/>
                <a:gd name="f20" fmla="*/ f17 f9 1"/>
                <a:gd name="f21" fmla="*/ f16 f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8" t="f21" r="f19" b="f20"/>
              <a:pathLst>
                <a:path w="226059" h="261620">
                  <a:moveTo>
                    <a:pt x="f2" y="f2"/>
                  </a:moveTo>
                  <a:lnTo>
                    <a:pt x="f2" y="f5"/>
                  </a:lnTo>
                  <a:lnTo>
                    <a:pt x="f6" y="f7"/>
                  </a:lnTo>
                  <a:lnTo>
                    <a:pt x="f2" y="f2"/>
                  </a:lnTo>
                  <a:close/>
                </a:path>
              </a:pathLst>
            </a:custGeom>
            <a:solidFill>
              <a:srgbClr val="20A3E5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5" name="object 5">
            <a:extLst>
              <a:ext uri="{FF2B5EF4-FFF2-40B4-BE49-F238E27FC236}">
                <a16:creationId xmlns:a16="http://schemas.microsoft.com/office/drawing/2014/main" id="{F885D489-20A0-AC6B-8C94-FD80C0FF4C85}"/>
              </a:ext>
            </a:extLst>
          </p:cNvPr>
          <p:cNvSpPr/>
          <p:nvPr/>
        </p:nvSpPr>
        <p:spPr>
          <a:xfrm>
            <a:off x="2722571" y="552489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2ECB32FE-8CCB-4406-9690-B5134C671033}"/>
              </a:ext>
            </a:extLst>
          </p:cNvPr>
          <p:cNvSpPr/>
          <p:nvPr/>
        </p:nvSpPr>
        <p:spPr>
          <a:xfrm>
            <a:off x="3544717" y="552489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DA6775BF-3B67-49D7-8BCB-8ED55FAD1215}"/>
              </a:ext>
            </a:extLst>
          </p:cNvPr>
          <p:cNvSpPr/>
          <p:nvPr/>
        </p:nvSpPr>
        <p:spPr>
          <a:xfrm>
            <a:off x="5187254" y="56820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477914B7-6CC0-7095-D551-B4B1C76582B8}"/>
              </a:ext>
            </a:extLst>
          </p:cNvPr>
          <p:cNvSpPr/>
          <p:nvPr/>
        </p:nvSpPr>
        <p:spPr>
          <a:xfrm>
            <a:off x="6008696" y="568217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BB13FDFE-0D84-B802-4EC6-D6D6A9269CB0}"/>
              </a:ext>
            </a:extLst>
          </p:cNvPr>
          <p:cNvSpPr/>
          <p:nvPr/>
        </p:nvSpPr>
        <p:spPr>
          <a:xfrm>
            <a:off x="6831198" y="568217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69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757CBBD2-1399-84F3-0BB5-9A527A06FAA5}"/>
              </a:ext>
            </a:extLst>
          </p:cNvPr>
          <p:cNvSpPr/>
          <p:nvPr/>
        </p:nvSpPr>
        <p:spPr>
          <a:xfrm>
            <a:off x="7653098" y="568217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69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C90FD92A-A177-C002-8BAA-23559CF80094}"/>
              </a:ext>
            </a:extLst>
          </p:cNvPr>
          <p:cNvSpPr/>
          <p:nvPr/>
        </p:nvSpPr>
        <p:spPr>
          <a:xfrm>
            <a:off x="10118073" y="3768443"/>
            <a:ext cx="0" cy="249868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2498684"/>
              <a:gd name="f5" fmla="val 2498314"/>
              <a:gd name="f6" fmla="abs f0"/>
              <a:gd name="f7" fmla="abs f1"/>
              <a:gd name="f8" fmla="abs f2"/>
              <a:gd name="f9" fmla="*/ f1 1 2498684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2498684"/>
              <a:gd name="f17" fmla="*/ f12 1 21600"/>
              <a:gd name="f18" fmla="*/ f13 1 2498684"/>
              <a:gd name="f19" fmla="*/ 21600 f12 1"/>
              <a:gd name="f20" fmla="*/ 0 1 f15"/>
              <a:gd name="f21" fmla="*/ 1 1 f15"/>
              <a:gd name="f22" fmla="*/ 0 1 f16"/>
              <a:gd name="f23" fmla="*/ 2498684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2498684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E3115FF7-7151-74EC-3748-78772B2F0B4F}"/>
              </a:ext>
            </a:extLst>
          </p:cNvPr>
          <p:cNvSpPr/>
          <p:nvPr/>
        </p:nvSpPr>
        <p:spPr>
          <a:xfrm>
            <a:off x="10118018" y="569570"/>
            <a:ext cx="0" cy="1755894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1755894"/>
              <a:gd name="f5" fmla="val 1755841"/>
              <a:gd name="f6" fmla="abs f0"/>
              <a:gd name="f7" fmla="abs f1"/>
              <a:gd name="f8" fmla="abs f2"/>
              <a:gd name="f9" fmla="*/ f1 1 1755894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1755894"/>
              <a:gd name="f17" fmla="*/ f12 1 21600"/>
              <a:gd name="f18" fmla="*/ f13 1 1755894"/>
              <a:gd name="f19" fmla="*/ 21600 f12 1"/>
              <a:gd name="f20" fmla="*/ 0 1 f15"/>
              <a:gd name="f21" fmla="*/ 1 1 f15"/>
              <a:gd name="f22" fmla="*/ 0 1 f16"/>
              <a:gd name="f23" fmla="*/ 1755894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1755894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3A6B8370-AF4E-A176-6C98-F42DAD6304A0}"/>
              </a:ext>
            </a:extLst>
          </p:cNvPr>
          <p:cNvSpPr/>
          <p:nvPr/>
        </p:nvSpPr>
        <p:spPr>
          <a:xfrm>
            <a:off x="8474275" y="569570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05190EC9-22C7-F1BA-4C07-2FEE088F59F7}"/>
              </a:ext>
            </a:extLst>
          </p:cNvPr>
          <p:cNvSpPr/>
          <p:nvPr/>
        </p:nvSpPr>
        <p:spPr>
          <a:xfrm>
            <a:off x="9296887" y="568217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33E1BAA0-5C5D-3610-8E63-5C725ED40033}"/>
              </a:ext>
            </a:extLst>
          </p:cNvPr>
          <p:cNvSpPr/>
          <p:nvPr/>
        </p:nvSpPr>
        <p:spPr>
          <a:xfrm>
            <a:off x="4365135" y="552489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2B0C7822-98DF-B3AA-B57F-1E1B47FF349E}"/>
              </a:ext>
            </a:extLst>
          </p:cNvPr>
          <p:cNvSpPr txBox="1"/>
          <p:nvPr/>
        </p:nvSpPr>
        <p:spPr>
          <a:xfrm>
            <a:off x="2450454" y="106253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id="{283FCA2E-B60B-F3B9-42F6-47B9916A9F11}"/>
              </a:ext>
            </a:extLst>
          </p:cNvPr>
          <p:cNvSpPr txBox="1"/>
          <p:nvPr/>
        </p:nvSpPr>
        <p:spPr>
          <a:xfrm>
            <a:off x="2450454" y="182445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id="{2CEC177B-7922-6046-A348-D944787E705E}"/>
              </a:ext>
            </a:extLst>
          </p:cNvPr>
          <p:cNvSpPr txBox="1"/>
          <p:nvPr/>
        </p:nvSpPr>
        <p:spPr>
          <a:xfrm>
            <a:off x="2450454" y="259061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96EDEFB4-DB36-238D-D9C3-3FDACC156AC7}"/>
              </a:ext>
            </a:extLst>
          </p:cNvPr>
          <p:cNvSpPr txBox="1"/>
          <p:nvPr/>
        </p:nvSpPr>
        <p:spPr>
          <a:xfrm>
            <a:off x="2450454" y="3355399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D6A17940-4A2B-B0D9-6BF5-B50CD425E2AE}"/>
              </a:ext>
            </a:extLst>
          </p:cNvPr>
          <p:cNvSpPr txBox="1"/>
          <p:nvPr/>
        </p:nvSpPr>
        <p:spPr>
          <a:xfrm>
            <a:off x="3272957" y="106196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16DCB2B6-D4BA-F9E1-CDD2-01126A50F67C}"/>
              </a:ext>
            </a:extLst>
          </p:cNvPr>
          <p:cNvSpPr txBox="1"/>
          <p:nvPr/>
        </p:nvSpPr>
        <p:spPr>
          <a:xfrm>
            <a:off x="3272957" y="1823889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E1AF2400-7D65-942D-FC7A-C28496CAFDD9}"/>
              </a:ext>
            </a:extLst>
          </p:cNvPr>
          <p:cNvSpPr txBox="1"/>
          <p:nvPr/>
        </p:nvSpPr>
        <p:spPr>
          <a:xfrm>
            <a:off x="3272957" y="259004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00E54D0F-DEFC-5EA3-3625-642EEE382EE2}"/>
              </a:ext>
            </a:extLst>
          </p:cNvPr>
          <p:cNvSpPr txBox="1"/>
          <p:nvPr/>
        </p:nvSpPr>
        <p:spPr>
          <a:xfrm>
            <a:off x="3272957" y="335483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DCCCFEB4-3855-CD3A-2A60-D362DA8BC71D}"/>
              </a:ext>
            </a:extLst>
          </p:cNvPr>
          <p:cNvSpPr txBox="1"/>
          <p:nvPr/>
        </p:nvSpPr>
        <p:spPr>
          <a:xfrm>
            <a:off x="3272957" y="412287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" name="object 25">
            <a:extLst>
              <a:ext uri="{FF2B5EF4-FFF2-40B4-BE49-F238E27FC236}">
                <a16:creationId xmlns:a16="http://schemas.microsoft.com/office/drawing/2014/main" id="{64BD46F1-21E6-403F-A5E5-5508BCC94491}"/>
              </a:ext>
            </a:extLst>
          </p:cNvPr>
          <p:cNvSpPr txBox="1"/>
          <p:nvPr/>
        </p:nvSpPr>
        <p:spPr>
          <a:xfrm>
            <a:off x="3272957" y="48834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F98DCEC8-A52C-B5E1-6E8F-A800180532D5}"/>
              </a:ext>
            </a:extLst>
          </p:cNvPr>
          <p:cNvSpPr txBox="1"/>
          <p:nvPr/>
        </p:nvSpPr>
        <p:spPr>
          <a:xfrm>
            <a:off x="4096201" y="106247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BE3A4908-C45A-B44F-DEB4-71246CCDB73E}"/>
              </a:ext>
            </a:extLst>
          </p:cNvPr>
          <p:cNvSpPr txBox="1"/>
          <p:nvPr/>
        </p:nvSpPr>
        <p:spPr>
          <a:xfrm>
            <a:off x="4096201" y="182440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05478F0B-C14E-2B3F-480A-718D2D615CF7}"/>
              </a:ext>
            </a:extLst>
          </p:cNvPr>
          <p:cNvSpPr txBox="1"/>
          <p:nvPr/>
        </p:nvSpPr>
        <p:spPr>
          <a:xfrm>
            <a:off x="4096201" y="2590559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9" name="object 29">
            <a:extLst>
              <a:ext uri="{FF2B5EF4-FFF2-40B4-BE49-F238E27FC236}">
                <a16:creationId xmlns:a16="http://schemas.microsoft.com/office/drawing/2014/main" id="{F51280A3-5052-96D2-3CD4-7BFBC0CAC638}"/>
              </a:ext>
            </a:extLst>
          </p:cNvPr>
          <p:cNvSpPr txBox="1"/>
          <p:nvPr/>
        </p:nvSpPr>
        <p:spPr>
          <a:xfrm>
            <a:off x="4096201" y="335534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0" name="object 30">
            <a:extLst>
              <a:ext uri="{FF2B5EF4-FFF2-40B4-BE49-F238E27FC236}">
                <a16:creationId xmlns:a16="http://schemas.microsoft.com/office/drawing/2014/main" id="{93940233-1AA6-E028-F19C-24C5AF1D9929}"/>
              </a:ext>
            </a:extLst>
          </p:cNvPr>
          <p:cNvSpPr txBox="1"/>
          <p:nvPr/>
        </p:nvSpPr>
        <p:spPr>
          <a:xfrm>
            <a:off x="4096201" y="412338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1" name="object 31">
            <a:extLst>
              <a:ext uri="{FF2B5EF4-FFF2-40B4-BE49-F238E27FC236}">
                <a16:creationId xmlns:a16="http://schemas.microsoft.com/office/drawing/2014/main" id="{AE01E465-C62D-53AE-DB82-789ACD24A93A}"/>
              </a:ext>
            </a:extLst>
          </p:cNvPr>
          <p:cNvSpPr txBox="1"/>
          <p:nvPr/>
        </p:nvSpPr>
        <p:spPr>
          <a:xfrm>
            <a:off x="4080317" y="4883947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4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2" name="object 32">
            <a:extLst>
              <a:ext uri="{FF2B5EF4-FFF2-40B4-BE49-F238E27FC236}">
                <a16:creationId xmlns:a16="http://schemas.microsoft.com/office/drawing/2014/main" id="{179AD028-AA59-2B12-0E57-5A6FB439CB51}"/>
              </a:ext>
            </a:extLst>
          </p:cNvPr>
          <p:cNvSpPr txBox="1"/>
          <p:nvPr/>
        </p:nvSpPr>
        <p:spPr>
          <a:xfrm>
            <a:off x="4064087" y="5646154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2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3" name="object 33">
            <a:extLst>
              <a:ext uri="{FF2B5EF4-FFF2-40B4-BE49-F238E27FC236}">
                <a16:creationId xmlns:a16="http://schemas.microsoft.com/office/drawing/2014/main" id="{70A75B0C-FD4D-F9E5-DBD2-31D0995C3EE6}"/>
              </a:ext>
            </a:extLst>
          </p:cNvPr>
          <p:cNvSpPr txBox="1"/>
          <p:nvPr/>
        </p:nvSpPr>
        <p:spPr>
          <a:xfrm>
            <a:off x="4914479" y="1062477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4" name="object 34">
            <a:extLst>
              <a:ext uri="{FF2B5EF4-FFF2-40B4-BE49-F238E27FC236}">
                <a16:creationId xmlns:a16="http://schemas.microsoft.com/office/drawing/2014/main" id="{EE9BFA08-3217-095C-09DD-04CF6A5BE4A7}"/>
              </a:ext>
            </a:extLst>
          </p:cNvPr>
          <p:cNvSpPr txBox="1"/>
          <p:nvPr/>
        </p:nvSpPr>
        <p:spPr>
          <a:xfrm>
            <a:off x="4914479" y="182440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5" name="object 35">
            <a:extLst>
              <a:ext uri="{FF2B5EF4-FFF2-40B4-BE49-F238E27FC236}">
                <a16:creationId xmlns:a16="http://schemas.microsoft.com/office/drawing/2014/main" id="{DE9550E0-5E91-07B4-E583-5C16B33B6719}"/>
              </a:ext>
            </a:extLst>
          </p:cNvPr>
          <p:cNvSpPr txBox="1"/>
          <p:nvPr/>
        </p:nvSpPr>
        <p:spPr>
          <a:xfrm>
            <a:off x="4914479" y="2590559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6" name="object 36">
            <a:extLst>
              <a:ext uri="{FF2B5EF4-FFF2-40B4-BE49-F238E27FC236}">
                <a16:creationId xmlns:a16="http://schemas.microsoft.com/office/drawing/2014/main" id="{7EE4C662-3BAF-CC94-27C8-E048A1B5CDEC}"/>
              </a:ext>
            </a:extLst>
          </p:cNvPr>
          <p:cNvSpPr txBox="1"/>
          <p:nvPr/>
        </p:nvSpPr>
        <p:spPr>
          <a:xfrm>
            <a:off x="4914479" y="335534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7" name="object 37">
            <a:extLst>
              <a:ext uri="{FF2B5EF4-FFF2-40B4-BE49-F238E27FC236}">
                <a16:creationId xmlns:a16="http://schemas.microsoft.com/office/drawing/2014/main" id="{4B2912AE-013E-BC91-F9D8-F10306F47E26}"/>
              </a:ext>
            </a:extLst>
          </p:cNvPr>
          <p:cNvSpPr txBox="1"/>
          <p:nvPr/>
        </p:nvSpPr>
        <p:spPr>
          <a:xfrm>
            <a:off x="4914479" y="412338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8" name="object 38">
            <a:extLst>
              <a:ext uri="{FF2B5EF4-FFF2-40B4-BE49-F238E27FC236}">
                <a16:creationId xmlns:a16="http://schemas.microsoft.com/office/drawing/2014/main" id="{B97D9E0C-3FAC-084B-EE23-5446EC1DE24F}"/>
              </a:ext>
            </a:extLst>
          </p:cNvPr>
          <p:cNvSpPr txBox="1"/>
          <p:nvPr/>
        </p:nvSpPr>
        <p:spPr>
          <a:xfrm>
            <a:off x="4917679" y="488394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9" name="object 39">
            <a:extLst>
              <a:ext uri="{FF2B5EF4-FFF2-40B4-BE49-F238E27FC236}">
                <a16:creationId xmlns:a16="http://schemas.microsoft.com/office/drawing/2014/main" id="{EA96DFA2-70FE-7B26-0189-7F8ED4338EC1}"/>
              </a:ext>
            </a:extLst>
          </p:cNvPr>
          <p:cNvSpPr txBox="1"/>
          <p:nvPr/>
        </p:nvSpPr>
        <p:spPr>
          <a:xfrm>
            <a:off x="4898303" y="564615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0" name="object 40">
            <a:extLst>
              <a:ext uri="{FF2B5EF4-FFF2-40B4-BE49-F238E27FC236}">
                <a16:creationId xmlns:a16="http://schemas.microsoft.com/office/drawing/2014/main" id="{F848B268-8A53-10AF-CCBD-0E5804BF477E}"/>
              </a:ext>
            </a:extLst>
          </p:cNvPr>
          <p:cNvSpPr txBox="1"/>
          <p:nvPr/>
        </p:nvSpPr>
        <p:spPr>
          <a:xfrm>
            <a:off x="5737832" y="106247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1" name="object 41">
            <a:extLst>
              <a:ext uri="{FF2B5EF4-FFF2-40B4-BE49-F238E27FC236}">
                <a16:creationId xmlns:a16="http://schemas.microsoft.com/office/drawing/2014/main" id="{2DC4F936-2611-A41B-383B-1B8A8EF3908B}"/>
              </a:ext>
            </a:extLst>
          </p:cNvPr>
          <p:cNvSpPr txBox="1"/>
          <p:nvPr/>
        </p:nvSpPr>
        <p:spPr>
          <a:xfrm>
            <a:off x="5737832" y="182440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2" name="object 42">
            <a:extLst>
              <a:ext uri="{FF2B5EF4-FFF2-40B4-BE49-F238E27FC236}">
                <a16:creationId xmlns:a16="http://schemas.microsoft.com/office/drawing/2014/main" id="{04ADF7DF-7410-B9BD-8977-C465B9EFB3C4}"/>
              </a:ext>
            </a:extLst>
          </p:cNvPr>
          <p:cNvSpPr txBox="1"/>
          <p:nvPr/>
        </p:nvSpPr>
        <p:spPr>
          <a:xfrm>
            <a:off x="5737832" y="2590559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3" name="object 43">
            <a:extLst>
              <a:ext uri="{FF2B5EF4-FFF2-40B4-BE49-F238E27FC236}">
                <a16:creationId xmlns:a16="http://schemas.microsoft.com/office/drawing/2014/main" id="{D1201B48-F0C0-439C-4324-D775D35C3983}"/>
              </a:ext>
            </a:extLst>
          </p:cNvPr>
          <p:cNvSpPr txBox="1"/>
          <p:nvPr/>
        </p:nvSpPr>
        <p:spPr>
          <a:xfrm>
            <a:off x="5737832" y="335534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4" name="object 44">
            <a:extLst>
              <a:ext uri="{FF2B5EF4-FFF2-40B4-BE49-F238E27FC236}">
                <a16:creationId xmlns:a16="http://schemas.microsoft.com/office/drawing/2014/main" id="{BD50A661-3D1E-206D-76F7-FFE7FC3082E6}"/>
              </a:ext>
            </a:extLst>
          </p:cNvPr>
          <p:cNvSpPr txBox="1"/>
          <p:nvPr/>
        </p:nvSpPr>
        <p:spPr>
          <a:xfrm>
            <a:off x="6553879" y="106247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5" name="object 45">
            <a:extLst>
              <a:ext uri="{FF2B5EF4-FFF2-40B4-BE49-F238E27FC236}">
                <a16:creationId xmlns:a16="http://schemas.microsoft.com/office/drawing/2014/main" id="{BD52EFA5-22DB-C194-1F89-F47020DF1CB5}"/>
              </a:ext>
            </a:extLst>
          </p:cNvPr>
          <p:cNvSpPr txBox="1"/>
          <p:nvPr/>
        </p:nvSpPr>
        <p:spPr>
          <a:xfrm>
            <a:off x="6553879" y="182440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5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6" name="object 46">
            <a:extLst>
              <a:ext uri="{FF2B5EF4-FFF2-40B4-BE49-F238E27FC236}">
                <a16:creationId xmlns:a16="http://schemas.microsoft.com/office/drawing/2014/main" id="{E73EE09F-6092-16DB-FAF5-CE4E17F2E8DC}"/>
              </a:ext>
            </a:extLst>
          </p:cNvPr>
          <p:cNvSpPr txBox="1"/>
          <p:nvPr/>
        </p:nvSpPr>
        <p:spPr>
          <a:xfrm>
            <a:off x="6557080" y="2590559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7" name="object 47">
            <a:extLst>
              <a:ext uri="{FF2B5EF4-FFF2-40B4-BE49-F238E27FC236}">
                <a16:creationId xmlns:a16="http://schemas.microsoft.com/office/drawing/2014/main" id="{79821E50-A985-47AF-5F9E-9D5F2EB40E62}"/>
              </a:ext>
            </a:extLst>
          </p:cNvPr>
          <p:cNvSpPr txBox="1"/>
          <p:nvPr/>
        </p:nvSpPr>
        <p:spPr>
          <a:xfrm>
            <a:off x="7382957" y="106242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8" name="object 48">
            <a:extLst>
              <a:ext uri="{FF2B5EF4-FFF2-40B4-BE49-F238E27FC236}">
                <a16:creationId xmlns:a16="http://schemas.microsoft.com/office/drawing/2014/main" id="{1DB88ED8-F2B8-58AB-1F7B-69503E08F9E6}"/>
              </a:ext>
            </a:extLst>
          </p:cNvPr>
          <p:cNvSpPr txBox="1"/>
          <p:nvPr/>
        </p:nvSpPr>
        <p:spPr>
          <a:xfrm>
            <a:off x="7382957" y="182434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9" name="object 49">
            <a:extLst>
              <a:ext uri="{FF2B5EF4-FFF2-40B4-BE49-F238E27FC236}">
                <a16:creationId xmlns:a16="http://schemas.microsoft.com/office/drawing/2014/main" id="{0BD364AE-325C-A0AD-BDB1-6228BB206B6B}"/>
              </a:ext>
            </a:extLst>
          </p:cNvPr>
          <p:cNvSpPr txBox="1"/>
          <p:nvPr/>
        </p:nvSpPr>
        <p:spPr>
          <a:xfrm>
            <a:off x="7386157" y="259050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0" name="object 50">
            <a:extLst>
              <a:ext uri="{FF2B5EF4-FFF2-40B4-BE49-F238E27FC236}">
                <a16:creationId xmlns:a16="http://schemas.microsoft.com/office/drawing/2014/main" id="{ACAEE2BC-A3AE-6B5B-731C-88A497BFA45D}"/>
              </a:ext>
            </a:extLst>
          </p:cNvPr>
          <p:cNvSpPr txBox="1"/>
          <p:nvPr/>
        </p:nvSpPr>
        <p:spPr>
          <a:xfrm>
            <a:off x="6553879" y="335529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1" name="object 51">
            <a:extLst>
              <a:ext uri="{FF2B5EF4-FFF2-40B4-BE49-F238E27FC236}">
                <a16:creationId xmlns:a16="http://schemas.microsoft.com/office/drawing/2014/main" id="{3BB23102-69BC-8159-5D52-D18941422316}"/>
              </a:ext>
            </a:extLst>
          </p:cNvPr>
          <p:cNvSpPr txBox="1"/>
          <p:nvPr/>
        </p:nvSpPr>
        <p:spPr>
          <a:xfrm>
            <a:off x="5734696" y="4123331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2" name="object 52">
            <a:extLst>
              <a:ext uri="{FF2B5EF4-FFF2-40B4-BE49-F238E27FC236}">
                <a16:creationId xmlns:a16="http://schemas.microsoft.com/office/drawing/2014/main" id="{686C650D-539D-E011-3AE6-AA5E974CD093}"/>
              </a:ext>
            </a:extLst>
          </p:cNvPr>
          <p:cNvSpPr txBox="1"/>
          <p:nvPr/>
        </p:nvSpPr>
        <p:spPr>
          <a:xfrm>
            <a:off x="5731495" y="488388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3" name="object 53">
            <a:extLst>
              <a:ext uri="{FF2B5EF4-FFF2-40B4-BE49-F238E27FC236}">
                <a16:creationId xmlns:a16="http://schemas.microsoft.com/office/drawing/2014/main" id="{FC6ECC5B-843C-4A88-EAB2-E6DF4BB6AB88}"/>
              </a:ext>
            </a:extLst>
          </p:cNvPr>
          <p:cNvSpPr txBox="1"/>
          <p:nvPr/>
        </p:nvSpPr>
        <p:spPr>
          <a:xfrm>
            <a:off x="8200714" y="1062423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4" name="object 54">
            <a:extLst>
              <a:ext uri="{FF2B5EF4-FFF2-40B4-BE49-F238E27FC236}">
                <a16:creationId xmlns:a16="http://schemas.microsoft.com/office/drawing/2014/main" id="{B646DFDA-CAB2-B77E-3D6F-C0F6AB412BA1}"/>
              </a:ext>
            </a:extLst>
          </p:cNvPr>
          <p:cNvSpPr txBox="1"/>
          <p:nvPr/>
        </p:nvSpPr>
        <p:spPr>
          <a:xfrm>
            <a:off x="8200714" y="182434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5" name="object 55">
            <a:extLst>
              <a:ext uri="{FF2B5EF4-FFF2-40B4-BE49-F238E27FC236}">
                <a16:creationId xmlns:a16="http://schemas.microsoft.com/office/drawing/2014/main" id="{E6F58DDD-B059-EFB4-844B-D44AF047227B}"/>
              </a:ext>
            </a:extLst>
          </p:cNvPr>
          <p:cNvSpPr txBox="1"/>
          <p:nvPr/>
        </p:nvSpPr>
        <p:spPr>
          <a:xfrm>
            <a:off x="8200714" y="259050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6" name="object 56">
            <a:extLst>
              <a:ext uri="{FF2B5EF4-FFF2-40B4-BE49-F238E27FC236}">
                <a16:creationId xmlns:a16="http://schemas.microsoft.com/office/drawing/2014/main" id="{ABC4683E-D0E6-DE1B-3770-43D7DD1CFC5B}"/>
              </a:ext>
            </a:extLst>
          </p:cNvPr>
          <p:cNvSpPr txBox="1"/>
          <p:nvPr/>
        </p:nvSpPr>
        <p:spPr>
          <a:xfrm>
            <a:off x="8200714" y="335529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7" name="object 57">
            <a:extLst>
              <a:ext uri="{FF2B5EF4-FFF2-40B4-BE49-F238E27FC236}">
                <a16:creationId xmlns:a16="http://schemas.microsoft.com/office/drawing/2014/main" id="{0435E88C-6C9C-3ED9-DCC2-B5EA2B671255}"/>
              </a:ext>
            </a:extLst>
          </p:cNvPr>
          <p:cNvSpPr txBox="1"/>
          <p:nvPr/>
        </p:nvSpPr>
        <p:spPr>
          <a:xfrm>
            <a:off x="9026133" y="106242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8" name="object 58">
            <a:extLst>
              <a:ext uri="{FF2B5EF4-FFF2-40B4-BE49-F238E27FC236}">
                <a16:creationId xmlns:a16="http://schemas.microsoft.com/office/drawing/2014/main" id="{9C520ACA-5D63-78B0-982F-9A025D9469C1}"/>
              </a:ext>
            </a:extLst>
          </p:cNvPr>
          <p:cNvSpPr txBox="1"/>
          <p:nvPr/>
        </p:nvSpPr>
        <p:spPr>
          <a:xfrm>
            <a:off x="9026133" y="182434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9" name="object 59">
            <a:extLst>
              <a:ext uri="{FF2B5EF4-FFF2-40B4-BE49-F238E27FC236}">
                <a16:creationId xmlns:a16="http://schemas.microsoft.com/office/drawing/2014/main" id="{8041B0B0-C4E2-D4D9-1C2B-AE4D06A55690}"/>
              </a:ext>
            </a:extLst>
          </p:cNvPr>
          <p:cNvSpPr txBox="1"/>
          <p:nvPr/>
        </p:nvSpPr>
        <p:spPr>
          <a:xfrm>
            <a:off x="9017785" y="2590504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0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0" name="object 60">
            <a:extLst>
              <a:ext uri="{FF2B5EF4-FFF2-40B4-BE49-F238E27FC236}">
                <a16:creationId xmlns:a16="http://schemas.microsoft.com/office/drawing/2014/main" id="{AF8EF87D-EED8-BBB9-A173-DD6420F66BBF}"/>
              </a:ext>
            </a:extLst>
          </p:cNvPr>
          <p:cNvSpPr txBox="1"/>
          <p:nvPr/>
        </p:nvSpPr>
        <p:spPr>
          <a:xfrm>
            <a:off x="9026133" y="335529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id="{149E72D9-D33A-B50A-BE49-4642BDCAF781}"/>
              </a:ext>
            </a:extLst>
          </p:cNvPr>
          <p:cNvSpPr txBox="1"/>
          <p:nvPr/>
        </p:nvSpPr>
        <p:spPr>
          <a:xfrm>
            <a:off x="9026133" y="412396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2" name="object 62">
            <a:extLst>
              <a:ext uri="{FF2B5EF4-FFF2-40B4-BE49-F238E27FC236}">
                <a16:creationId xmlns:a16="http://schemas.microsoft.com/office/drawing/2014/main" id="{6F50701F-A23B-62B2-E434-73590FFADA77}"/>
              </a:ext>
            </a:extLst>
          </p:cNvPr>
          <p:cNvSpPr txBox="1"/>
          <p:nvPr/>
        </p:nvSpPr>
        <p:spPr>
          <a:xfrm>
            <a:off x="9026133" y="488588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3" name="object 63">
            <a:extLst>
              <a:ext uri="{FF2B5EF4-FFF2-40B4-BE49-F238E27FC236}">
                <a16:creationId xmlns:a16="http://schemas.microsoft.com/office/drawing/2014/main" id="{B9B26920-E42F-B0A8-BA05-5882DB5636F3}"/>
              </a:ext>
            </a:extLst>
          </p:cNvPr>
          <p:cNvSpPr txBox="1"/>
          <p:nvPr/>
        </p:nvSpPr>
        <p:spPr>
          <a:xfrm>
            <a:off x="9026133" y="5651467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4" name="object 64">
            <a:extLst>
              <a:ext uri="{FF2B5EF4-FFF2-40B4-BE49-F238E27FC236}">
                <a16:creationId xmlns:a16="http://schemas.microsoft.com/office/drawing/2014/main" id="{1F4087A1-5124-537F-AF64-855CB3E589A4}"/>
              </a:ext>
            </a:extLst>
          </p:cNvPr>
          <p:cNvSpPr txBox="1"/>
          <p:nvPr/>
        </p:nvSpPr>
        <p:spPr>
          <a:xfrm>
            <a:off x="9844979" y="106242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5" name="object 65">
            <a:extLst>
              <a:ext uri="{FF2B5EF4-FFF2-40B4-BE49-F238E27FC236}">
                <a16:creationId xmlns:a16="http://schemas.microsoft.com/office/drawing/2014/main" id="{658ED6B3-5488-B2AD-2CDF-F0AB31ED7D8F}"/>
              </a:ext>
            </a:extLst>
          </p:cNvPr>
          <p:cNvSpPr txBox="1"/>
          <p:nvPr/>
        </p:nvSpPr>
        <p:spPr>
          <a:xfrm>
            <a:off x="9844979" y="182434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6" name="object 66">
            <a:extLst>
              <a:ext uri="{FF2B5EF4-FFF2-40B4-BE49-F238E27FC236}">
                <a16:creationId xmlns:a16="http://schemas.microsoft.com/office/drawing/2014/main" id="{6ADC77D8-26C6-C4CC-F23F-FA6B6CE6D48C}"/>
              </a:ext>
            </a:extLst>
          </p:cNvPr>
          <p:cNvSpPr txBox="1"/>
          <p:nvPr/>
        </p:nvSpPr>
        <p:spPr>
          <a:xfrm>
            <a:off x="9849944" y="4135218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7" name="object 67">
            <a:extLst>
              <a:ext uri="{FF2B5EF4-FFF2-40B4-BE49-F238E27FC236}">
                <a16:creationId xmlns:a16="http://schemas.microsoft.com/office/drawing/2014/main" id="{2320708E-8B32-FC52-2734-1B792616D968}"/>
              </a:ext>
            </a:extLst>
          </p:cNvPr>
          <p:cNvSpPr txBox="1"/>
          <p:nvPr/>
        </p:nvSpPr>
        <p:spPr>
          <a:xfrm>
            <a:off x="9849944" y="489714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8" name="object 68">
            <a:extLst>
              <a:ext uri="{FF2B5EF4-FFF2-40B4-BE49-F238E27FC236}">
                <a16:creationId xmlns:a16="http://schemas.microsoft.com/office/drawing/2014/main" id="{007401CC-5ABF-9AD2-DE14-B106D84B208D}"/>
              </a:ext>
            </a:extLst>
          </p:cNvPr>
          <p:cNvSpPr txBox="1"/>
          <p:nvPr/>
        </p:nvSpPr>
        <p:spPr>
          <a:xfrm>
            <a:off x="9844979" y="258992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9" name="object 69">
            <a:extLst>
              <a:ext uri="{FF2B5EF4-FFF2-40B4-BE49-F238E27FC236}">
                <a16:creationId xmlns:a16="http://schemas.microsoft.com/office/drawing/2014/main" id="{B68CA49F-2820-DEEC-4A81-F20B174FED0D}"/>
              </a:ext>
            </a:extLst>
          </p:cNvPr>
          <p:cNvSpPr txBox="1"/>
          <p:nvPr/>
        </p:nvSpPr>
        <p:spPr>
          <a:xfrm>
            <a:off x="8203859" y="412333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0" name="object 70">
            <a:extLst>
              <a:ext uri="{FF2B5EF4-FFF2-40B4-BE49-F238E27FC236}">
                <a16:creationId xmlns:a16="http://schemas.microsoft.com/office/drawing/2014/main" id="{BFA4A2A4-8186-D430-6913-88CBE8947736}"/>
              </a:ext>
            </a:extLst>
          </p:cNvPr>
          <p:cNvSpPr txBox="1"/>
          <p:nvPr/>
        </p:nvSpPr>
        <p:spPr>
          <a:xfrm>
            <a:off x="8200659" y="488388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1" name="object 71">
            <a:extLst>
              <a:ext uri="{FF2B5EF4-FFF2-40B4-BE49-F238E27FC236}">
                <a16:creationId xmlns:a16="http://schemas.microsoft.com/office/drawing/2014/main" id="{6D170178-69D9-813C-5281-BFB957E98528}"/>
              </a:ext>
            </a:extLst>
          </p:cNvPr>
          <p:cNvSpPr txBox="1"/>
          <p:nvPr/>
        </p:nvSpPr>
        <p:spPr>
          <a:xfrm>
            <a:off x="5721547" y="5646099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2" name="object 72">
            <a:extLst>
              <a:ext uri="{FF2B5EF4-FFF2-40B4-BE49-F238E27FC236}">
                <a16:creationId xmlns:a16="http://schemas.microsoft.com/office/drawing/2014/main" id="{CAABE679-DBC3-8831-81A6-D8DD8912E3C8}"/>
              </a:ext>
            </a:extLst>
          </p:cNvPr>
          <p:cNvSpPr txBox="1"/>
          <p:nvPr/>
        </p:nvSpPr>
        <p:spPr>
          <a:xfrm>
            <a:off x="8196827" y="5646099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grpSp>
        <p:nvGrpSpPr>
          <p:cNvPr id="73" name="object 73">
            <a:extLst>
              <a:ext uri="{FF2B5EF4-FFF2-40B4-BE49-F238E27FC236}">
                <a16:creationId xmlns:a16="http://schemas.microsoft.com/office/drawing/2014/main" id="{2248BC05-816B-4744-7F2D-10B0F5567789}"/>
              </a:ext>
            </a:extLst>
          </p:cNvPr>
          <p:cNvGrpSpPr/>
          <p:nvPr/>
        </p:nvGrpSpPr>
        <p:grpSpPr>
          <a:xfrm>
            <a:off x="8300027" y="2857408"/>
            <a:ext cx="350023" cy="350023"/>
            <a:chOff x="8300027" y="2857408"/>
            <a:chExt cx="350023" cy="350023"/>
          </a:xfrm>
        </p:grpSpPr>
        <p:pic>
          <p:nvPicPr>
            <p:cNvPr id="74" name="object 74">
              <a:extLst>
                <a:ext uri="{FF2B5EF4-FFF2-40B4-BE49-F238E27FC236}">
                  <a16:creationId xmlns:a16="http://schemas.microsoft.com/office/drawing/2014/main" id="{AEAEB07D-D999-BCC3-D7F3-E0A034E98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00027" y="2857408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5" name="object 75">
              <a:extLst>
                <a:ext uri="{FF2B5EF4-FFF2-40B4-BE49-F238E27FC236}">
                  <a16:creationId xmlns:a16="http://schemas.microsoft.com/office/drawing/2014/main" id="{150E4EDA-CFBF-4BA1-11C2-9849232D4675}"/>
                </a:ext>
              </a:extLst>
            </p:cNvPr>
            <p:cNvSpPr/>
            <p:nvPr/>
          </p:nvSpPr>
          <p:spPr>
            <a:xfrm>
              <a:off x="8300027" y="285740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6" name="object 76">
            <a:extLst>
              <a:ext uri="{FF2B5EF4-FFF2-40B4-BE49-F238E27FC236}">
                <a16:creationId xmlns:a16="http://schemas.microsoft.com/office/drawing/2014/main" id="{1D982AD4-49CD-82B7-2280-AA03AD68C5C5}"/>
              </a:ext>
            </a:extLst>
          </p:cNvPr>
          <p:cNvGrpSpPr/>
          <p:nvPr/>
        </p:nvGrpSpPr>
        <p:grpSpPr>
          <a:xfrm>
            <a:off x="8298024" y="3625431"/>
            <a:ext cx="350023" cy="350023"/>
            <a:chOff x="8298024" y="3625431"/>
            <a:chExt cx="350023" cy="350023"/>
          </a:xfrm>
        </p:grpSpPr>
        <p:pic>
          <p:nvPicPr>
            <p:cNvPr id="77" name="object 77">
              <a:extLst>
                <a:ext uri="{FF2B5EF4-FFF2-40B4-BE49-F238E27FC236}">
                  <a16:creationId xmlns:a16="http://schemas.microsoft.com/office/drawing/2014/main" id="{0513C471-A040-9ABC-DE5C-6C0A07E364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298024" y="3625431"/>
              <a:ext cx="34993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8" name="object 78">
              <a:extLst>
                <a:ext uri="{FF2B5EF4-FFF2-40B4-BE49-F238E27FC236}">
                  <a16:creationId xmlns:a16="http://schemas.microsoft.com/office/drawing/2014/main" id="{4AFD9F39-0EC2-38D6-2990-A0D6C8334CCD}"/>
                </a:ext>
              </a:extLst>
            </p:cNvPr>
            <p:cNvSpPr/>
            <p:nvPr/>
          </p:nvSpPr>
          <p:spPr>
            <a:xfrm>
              <a:off x="8298024" y="362543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9" name="object 79">
            <a:extLst>
              <a:ext uri="{FF2B5EF4-FFF2-40B4-BE49-F238E27FC236}">
                <a16:creationId xmlns:a16="http://schemas.microsoft.com/office/drawing/2014/main" id="{B75BA0F0-70C6-9148-E57F-EF3DF9528E68}"/>
              </a:ext>
            </a:extLst>
          </p:cNvPr>
          <p:cNvGrpSpPr/>
          <p:nvPr/>
        </p:nvGrpSpPr>
        <p:grpSpPr>
          <a:xfrm>
            <a:off x="8298024" y="4376857"/>
            <a:ext cx="350023" cy="350033"/>
            <a:chOff x="8298024" y="4376857"/>
            <a:chExt cx="350023" cy="350033"/>
          </a:xfrm>
        </p:grpSpPr>
        <p:pic>
          <p:nvPicPr>
            <p:cNvPr id="80" name="object 80">
              <a:extLst>
                <a:ext uri="{FF2B5EF4-FFF2-40B4-BE49-F238E27FC236}">
                  <a16:creationId xmlns:a16="http://schemas.microsoft.com/office/drawing/2014/main" id="{7A431A13-06A8-3ECF-F513-C33430BBE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98024" y="4376857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1" name="object 81">
              <a:extLst>
                <a:ext uri="{FF2B5EF4-FFF2-40B4-BE49-F238E27FC236}">
                  <a16:creationId xmlns:a16="http://schemas.microsoft.com/office/drawing/2014/main" id="{CB79C82A-6840-EC17-E965-9E45117C08D8}"/>
                </a:ext>
              </a:extLst>
            </p:cNvPr>
            <p:cNvSpPr/>
            <p:nvPr/>
          </p:nvSpPr>
          <p:spPr>
            <a:xfrm>
              <a:off x="8298024" y="437686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2" name="object 82">
            <a:extLst>
              <a:ext uri="{FF2B5EF4-FFF2-40B4-BE49-F238E27FC236}">
                <a16:creationId xmlns:a16="http://schemas.microsoft.com/office/drawing/2014/main" id="{472D6C14-1D2B-1C73-80ED-967D883B650F}"/>
              </a:ext>
            </a:extLst>
          </p:cNvPr>
          <p:cNvGrpSpPr/>
          <p:nvPr/>
        </p:nvGrpSpPr>
        <p:grpSpPr>
          <a:xfrm>
            <a:off x="8298024" y="5150687"/>
            <a:ext cx="350023" cy="350023"/>
            <a:chOff x="8298024" y="5150687"/>
            <a:chExt cx="350023" cy="350023"/>
          </a:xfrm>
        </p:grpSpPr>
        <p:pic>
          <p:nvPicPr>
            <p:cNvPr id="83" name="object 83">
              <a:extLst>
                <a:ext uri="{FF2B5EF4-FFF2-40B4-BE49-F238E27FC236}">
                  <a16:creationId xmlns:a16="http://schemas.microsoft.com/office/drawing/2014/main" id="{F6F71963-32D9-120B-0BA0-B5E67F1E4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98024" y="5150696"/>
              <a:ext cx="349931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4" name="object 84">
              <a:extLst>
                <a:ext uri="{FF2B5EF4-FFF2-40B4-BE49-F238E27FC236}">
                  <a16:creationId xmlns:a16="http://schemas.microsoft.com/office/drawing/2014/main" id="{2627CAB7-79C4-8EE4-8448-8E078939CE91}"/>
                </a:ext>
              </a:extLst>
            </p:cNvPr>
            <p:cNvSpPr/>
            <p:nvPr/>
          </p:nvSpPr>
          <p:spPr>
            <a:xfrm>
              <a:off x="8298024" y="515068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46"/>
                <a:gd name="f6" fmla="val 573305"/>
                <a:gd name="f7" fmla="val 241743"/>
                <a:gd name="f8" fmla="val 562372"/>
                <a:gd name="f9" fmla="val 197344"/>
                <a:gd name="f10" fmla="val 544876"/>
                <a:gd name="f11" fmla="val 155944"/>
                <a:gd name="f12" fmla="val 521411"/>
                <a:gd name="f13" fmla="val 118135"/>
                <a:gd name="f14" fmla="val 492572"/>
                <a:gd name="f15" fmla="val 84514"/>
                <a:gd name="f16" fmla="val 458952"/>
                <a:gd name="f17" fmla="val 55673"/>
                <a:gd name="f18" fmla="val 421146"/>
                <a:gd name="f19" fmla="val 32207"/>
                <a:gd name="f20" fmla="val 379746"/>
                <a:gd name="f21" fmla="val 14710"/>
                <a:gd name="f22" fmla="val 335348"/>
                <a:gd name="f23" fmla="val 3776"/>
                <a:gd name="f24" fmla="val 335349"/>
                <a:gd name="f25" fmla="val 379747"/>
                <a:gd name="f26" fmla="val 421148"/>
                <a:gd name="f27" fmla="val 458956"/>
                <a:gd name="f28" fmla="val 492577"/>
                <a:gd name="f29" fmla="val 521418"/>
                <a:gd name="f30" fmla="val 544884"/>
                <a:gd name="f31" fmla="val 562381"/>
                <a:gd name="f32" fmla="val 573315"/>
                <a:gd name="f33" fmla="val 577092"/>
                <a:gd name="f34" fmla="*/ f0 1 577215"/>
                <a:gd name="f35" fmla="*/ f1 1 577215"/>
                <a:gd name="f36" fmla="+- f3 0 f2"/>
                <a:gd name="f37" fmla="*/ f36 1 577215"/>
                <a:gd name="f38" fmla="*/ f2 1 f37"/>
                <a:gd name="f39" fmla="*/ f3 1 f37"/>
                <a:gd name="f40" fmla="*/ f38 f34 1"/>
                <a:gd name="f41" fmla="*/ f39 f34 1"/>
                <a:gd name="f42" fmla="*/ f39 f35 1"/>
                <a:gd name="f43" fmla="*/ f38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4"/>
                  </a:lnTo>
                  <a:lnTo>
                    <a:pt x="f21" y="f25"/>
                  </a:lnTo>
                  <a:lnTo>
                    <a:pt x="f19" y="f26"/>
                  </a:lnTo>
                  <a:lnTo>
                    <a:pt x="f17" y="f27"/>
                  </a:lnTo>
                  <a:lnTo>
                    <a:pt x="f15" y="f28"/>
                  </a:lnTo>
                  <a:lnTo>
                    <a:pt x="f13" y="f29"/>
                  </a:lnTo>
                  <a:lnTo>
                    <a:pt x="f11" y="f30"/>
                  </a:lnTo>
                  <a:lnTo>
                    <a:pt x="f9" y="f31"/>
                  </a:lnTo>
                  <a:lnTo>
                    <a:pt x="f7" y="f32"/>
                  </a:lnTo>
                  <a:lnTo>
                    <a:pt x="f5" y="f33"/>
                  </a:lnTo>
                  <a:lnTo>
                    <a:pt x="f22" y="f32"/>
                  </a:lnTo>
                  <a:lnTo>
                    <a:pt x="f20" y="f31"/>
                  </a:lnTo>
                  <a:lnTo>
                    <a:pt x="f18" y="f30"/>
                  </a:lnTo>
                  <a:lnTo>
                    <a:pt x="f16" y="f29"/>
                  </a:lnTo>
                  <a:lnTo>
                    <a:pt x="f14" y="f28"/>
                  </a:lnTo>
                  <a:lnTo>
                    <a:pt x="f12" y="f27"/>
                  </a:lnTo>
                  <a:lnTo>
                    <a:pt x="f10" y="f26"/>
                  </a:lnTo>
                  <a:lnTo>
                    <a:pt x="f8" y="f25"/>
                  </a:lnTo>
                  <a:lnTo>
                    <a:pt x="f6" y="f24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5" name="object 85">
            <a:extLst>
              <a:ext uri="{FF2B5EF4-FFF2-40B4-BE49-F238E27FC236}">
                <a16:creationId xmlns:a16="http://schemas.microsoft.com/office/drawing/2014/main" id="{E6700E59-313C-ABEE-443B-43960BA59A40}"/>
              </a:ext>
            </a:extLst>
          </p:cNvPr>
          <p:cNvGrpSpPr/>
          <p:nvPr/>
        </p:nvGrpSpPr>
        <p:grpSpPr>
          <a:xfrm>
            <a:off x="5009549" y="5149681"/>
            <a:ext cx="350023" cy="350023"/>
            <a:chOff x="5009549" y="5149681"/>
            <a:chExt cx="350023" cy="350023"/>
          </a:xfrm>
        </p:grpSpPr>
        <p:pic>
          <p:nvPicPr>
            <p:cNvPr id="86" name="object 86">
              <a:extLst>
                <a:ext uri="{FF2B5EF4-FFF2-40B4-BE49-F238E27FC236}">
                  <a16:creationId xmlns:a16="http://schemas.microsoft.com/office/drawing/2014/main" id="{1DFBC0D1-9740-19CC-42EB-1C437C0A5C2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09549" y="5149681"/>
              <a:ext cx="349940" cy="34688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7" name="object 87">
              <a:extLst>
                <a:ext uri="{FF2B5EF4-FFF2-40B4-BE49-F238E27FC236}">
                  <a16:creationId xmlns:a16="http://schemas.microsoft.com/office/drawing/2014/main" id="{582F333F-C0FC-0911-4C36-E59A37FBC3E2}"/>
                </a:ext>
              </a:extLst>
            </p:cNvPr>
            <p:cNvSpPr/>
            <p:nvPr/>
          </p:nvSpPr>
          <p:spPr>
            <a:xfrm>
              <a:off x="5009549" y="514968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8" name="object 88">
            <a:extLst>
              <a:ext uri="{FF2B5EF4-FFF2-40B4-BE49-F238E27FC236}">
                <a16:creationId xmlns:a16="http://schemas.microsoft.com/office/drawing/2014/main" id="{EC594A29-0BD2-2745-0C95-FD357AEC330A}"/>
              </a:ext>
            </a:extLst>
          </p:cNvPr>
          <p:cNvGrpSpPr/>
          <p:nvPr/>
        </p:nvGrpSpPr>
        <p:grpSpPr>
          <a:xfrm>
            <a:off x="5010719" y="5906603"/>
            <a:ext cx="350023" cy="350023"/>
            <a:chOff x="5010719" y="5906603"/>
            <a:chExt cx="350023" cy="350023"/>
          </a:xfrm>
        </p:grpSpPr>
        <p:pic>
          <p:nvPicPr>
            <p:cNvPr id="89" name="object 89">
              <a:extLst>
                <a:ext uri="{FF2B5EF4-FFF2-40B4-BE49-F238E27FC236}">
                  <a16:creationId xmlns:a16="http://schemas.microsoft.com/office/drawing/2014/main" id="{232AA41C-52C0-5702-45F5-28A15463E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10719" y="590660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0" name="object 90">
              <a:extLst>
                <a:ext uri="{FF2B5EF4-FFF2-40B4-BE49-F238E27FC236}">
                  <a16:creationId xmlns:a16="http://schemas.microsoft.com/office/drawing/2014/main" id="{F55104DE-0608-18EE-AEAC-CE6C69FD5D0D}"/>
                </a:ext>
              </a:extLst>
            </p:cNvPr>
            <p:cNvSpPr/>
            <p:nvPr/>
          </p:nvSpPr>
          <p:spPr>
            <a:xfrm>
              <a:off x="5010719" y="590660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1" name="object 91">
            <a:extLst>
              <a:ext uri="{FF2B5EF4-FFF2-40B4-BE49-F238E27FC236}">
                <a16:creationId xmlns:a16="http://schemas.microsoft.com/office/drawing/2014/main" id="{049A8E41-F89B-C9BA-5777-61ACDF23B73B}"/>
              </a:ext>
            </a:extLst>
          </p:cNvPr>
          <p:cNvGrpSpPr/>
          <p:nvPr/>
        </p:nvGrpSpPr>
        <p:grpSpPr>
          <a:xfrm>
            <a:off x="5011680" y="4376857"/>
            <a:ext cx="350023" cy="350033"/>
            <a:chOff x="5011680" y="4376857"/>
            <a:chExt cx="350023" cy="350033"/>
          </a:xfrm>
        </p:grpSpPr>
        <p:pic>
          <p:nvPicPr>
            <p:cNvPr id="92" name="object 92">
              <a:extLst>
                <a:ext uri="{FF2B5EF4-FFF2-40B4-BE49-F238E27FC236}">
                  <a16:creationId xmlns:a16="http://schemas.microsoft.com/office/drawing/2014/main" id="{CCBF2530-37BD-3AF9-8130-2FF8D7443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011680" y="4376857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3" name="object 93">
              <a:extLst>
                <a:ext uri="{FF2B5EF4-FFF2-40B4-BE49-F238E27FC236}">
                  <a16:creationId xmlns:a16="http://schemas.microsoft.com/office/drawing/2014/main" id="{B1082F3C-C5DB-F5FB-3E92-70B851840113}"/>
                </a:ext>
              </a:extLst>
            </p:cNvPr>
            <p:cNvSpPr/>
            <p:nvPr/>
          </p:nvSpPr>
          <p:spPr>
            <a:xfrm>
              <a:off x="5011680" y="437686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4" name="object 94">
            <a:extLst>
              <a:ext uri="{FF2B5EF4-FFF2-40B4-BE49-F238E27FC236}">
                <a16:creationId xmlns:a16="http://schemas.microsoft.com/office/drawing/2014/main" id="{BAFD446C-A8BA-2045-10AA-0D99D92F6D90}"/>
              </a:ext>
            </a:extLst>
          </p:cNvPr>
          <p:cNvGrpSpPr/>
          <p:nvPr/>
        </p:nvGrpSpPr>
        <p:grpSpPr>
          <a:xfrm>
            <a:off x="3370560" y="3631713"/>
            <a:ext cx="350023" cy="350032"/>
            <a:chOff x="3370560" y="3631713"/>
            <a:chExt cx="350023" cy="350032"/>
          </a:xfrm>
        </p:grpSpPr>
        <p:pic>
          <p:nvPicPr>
            <p:cNvPr id="95" name="object 95">
              <a:extLst>
                <a:ext uri="{FF2B5EF4-FFF2-40B4-BE49-F238E27FC236}">
                  <a16:creationId xmlns:a16="http://schemas.microsoft.com/office/drawing/2014/main" id="{AFE8AAB1-2A75-81EE-5B2E-0526AF045A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70560" y="3631713"/>
              <a:ext cx="349931" cy="344143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6" name="object 96">
              <a:extLst>
                <a:ext uri="{FF2B5EF4-FFF2-40B4-BE49-F238E27FC236}">
                  <a16:creationId xmlns:a16="http://schemas.microsoft.com/office/drawing/2014/main" id="{300D72CF-5167-3B78-78B0-FE58B4FF7BDB}"/>
                </a:ext>
              </a:extLst>
            </p:cNvPr>
            <p:cNvSpPr/>
            <p:nvPr/>
          </p:nvSpPr>
          <p:spPr>
            <a:xfrm>
              <a:off x="3370560" y="363172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7" name="object 97">
            <a:extLst>
              <a:ext uri="{FF2B5EF4-FFF2-40B4-BE49-F238E27FC236}">
                <a16:creationId xmlns:a16="http://schemas.microsoft.com/office/drawing/2014/main" id="{6CA79A3F-DE0A-2FEA-5AB2-822D737E5334}"/>
              </a:ext>
            </a:extLst>
          </p:cNvPr>
          <p:cNvGrpSpPr/>
          <p:nvPr/>
        </p:nvGrpSpPr>
        <p:grpSpPr>
          <a:xfrm>
            <a:off x="4190000" y="6426915"/>
            <a:ext cx="350023" cy="124239"/>
            <a:chOff x="4190000" y="6426915"/>
            <a:chExt cx="350023" cy="124239"/>
          </a:xfrm>
        </p:grpSpPr>
        <p:sp>
          <p:nvSpPr>
            <p:cNvPr id="98" name="object 98">
              <a:extLst>
                <a:ext uri="{FF2B5EF4-FFF2-40B4-BE49-F238E27FC236}">
                  <a16:creationId xmlns:a16="http://schemas.microsoft.com/office/drawing/2014/main" id="{1534266C-E898-0145-ED55-0B9160800A1D}"/>
                </a:ext>
              </a:extLst>
            </p:cNvPr>
            <p:cNvSpPr/>
            <p:nvPr/>
          </p:nvSpPr>
          <p:spPr>
            <a:xfrm>
              <a:off x="4190000" y="6426915"/>
              <a:ext cx="1890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1784"/>
                <a:gd name="f4" fmla="val 84454"/>
                <a:gd name="f5" fmla="val 311215"/>
                <a:gd name="f6" fmla="val 84123"/>
                <a:gd name="f7" fmla="*/ f0 1 311784"/>
                <a:gd name="f8" fmla="*/ f1 1 84454"/>
                <a:gd name="f9" fmla="+- f4 0 f2"/>
                <a:gd name="f10" fmla="+- f3 0 f2"/>
                <a:gd name="f11" fmla="*/ f10 1 31178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178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" name="object 99">
              <a:extLst>
                <a:ext uri="{FF2B5EF4-FFF2-40B4-BE49-F238E27FC236}">
                  <a16:creationId xmlns:a16="http://schemas.microsoft.com/office/drawing/2014/main" id="{B369D473-4CB2-F8D4-F40D-556D7AC32C8D}"/>
                </a:ext>
              </a:extLst>
            </p:cNvPr>
            <p:cNvSpPr/>
            <p:nvPr/>
          </p:nvSpPr>
          <p:spPr>
            <a:xfrm>
              <a:off x="4399864" y="64396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" name="object 100">
              <a:extLst>
                <a:ext uri="{FF2B5EF4-FFF2-40B4-BE49-F238E27FC236}">
                  <a16:creationId xmlns:a16="http://schemas.microsoft.com/office/drawing/2014/main" id="{B8C69248-8FBC-A251-9C84-426D764541A1}"/>
                </a:ext>
              </a:extLst>
            </p:cNvPr>
            <p:cNvSpPr/>
            <p:nvPr/>
          </p:nvSpPr>
          <p:spPr>
            <a:xfrm>
              <a:off x="4294790" y="64396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" name="object 101">
              <a:extLst>
                <a:ext uri="{FF2B5EF4-FFF2-40B4-BE49-F238E27FC236}">
                  <a16:creationId xmlns:a16="http://schemas.microsoft.com/office/drawing/2014/main" id="{DDFF5298-F6B5-A8C0-3984-81698A7FA538}"/>
                </a:ext>
              </a:extLst>
            </p:cNvPr>
            <p:cNvSpPr/>
            <p:nvPr/>
          </p:nvSpPr>
          <p:spPr>
            <a:xfrm>
              <a:off x="4329885" y="64396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" name="object 102">
              <a:extLst>
                <a:ext uri="{FF2B5EF4-FFF2-40B4-BE49-F238E27FC236}">
                  <a16:creationId xmlns:a16="http://schemas.microsoft.com/office/drawing/2014/main" id="{C3B0566A-2526-E088-02ED-5176434BBCB1}"/>
                </a:ext>
              </a:extLst>
            </p:cNvPr>
            <p:cNvSpPr/>
            <p:nvPr/>
          </p:nvSpPr>
          <p:spPr>
            <a:xfrm>
              <a:off x="4224747" y="64396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" name="object 103">
              <a:extLst>
                <a:ext uri="{FF2B5EF4-FFF2-40B4-BE49-F238E27FC236}">
                  <a16:creationId xmlns:a16="http://schemas.microsoft.com/office/drawing/2014/main" id="{574E1E98-187C-8535-1E81-7781FC39292C}"/>
                </a:ext>
              </a:extLst>
            </p:cNvPr>
            <p:cNvSpPr/>
            <p:nvPr/>
          </p:nvSpPr>
          <p:spPr>
            <a:xfrm>
              <a:off x="4259768" y="64396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" name="object 104">
              <a:extLst>
                <a:ext uri="{FF2B5EF4-FFF2-40B4-BE49-F238E27FC236}">
                  <a16:creationId xmlns:a16="http://schemas.microsoft.com/office/drawing/2014/main" id="{4E1F0659-377A-BD65-1802-1B7AE047389C}"/>
                </a:ext>
              </a:extLst>
            </p:cNvPr>
            <p:cNvSpPr/>
            <p:nvPr/>
          </p:nvSpPr>
          <p:spPr>
            <a:xfrm>
              <a:off x="4364979" y="64269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" name="object 105">
              <a:extLst>
                <a:ext uri="{FF2B5EF4-FFF2-40B4-BE49-F238E27FC236}">
                  <a16:creationId xmlns:a16="http://schemas.microsoft.com/office/drawing/2014/main" id="{333E5582-35F2-B84F-935F-1A262AF7F60C}"/>
                </a:ext>
              </a:extLst>
            </p:cNvPr>
            <p:cNvSpPr/>
            <p:nvPr/>
          </p:nvSpPr>
          <p:spPr>
            <a:xfrm>
              <a:off x="4190000" y="64269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" name="object 106">
              <a:extLst>
                <a:ext uri="{FF2B5EF4-FFF2-40B4-BE49-F238E27FC236}">
                  <a16:creationId xmlns:a16="http://schemas.microsoft.com/office/drawing/2014/main" id="{6D20659E-67DB-13A7-95BA-CB817F5ABA8F}"/>
                </a:ext>
              </a:extLst>
            </p:cNvPr>
            <p:cNvSpPr/>
            <p:nvPr/>
          </p:nvSpPr>
          <p:spPr>
            <a:xfrm>
              <a:off x="4364979" y="64269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" name="object 107">
              <a:extLst>
                <a:ext uri="{FF2B5EF4-FFF2-40B4-BE49-F238E27FC236}">
                  <a16:creationId xmlns:a16="http://schemas.microsoft.com/office/drawing/2014/main" id="{4F1F8C26-8ED6-AB15-1319-DD68E72D8BBF}"/>
                </a:ext>
              </a:extLst>
            </p:cNvPr>
            <p:cNvSpPr/>
            <p:nvPr/>
          </p:nvSpPr>
          <p:spPr>
            <a:xfrm>
              <a:off x="4469907" y="64396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" name="object 108">
              <a:extLst>
                <a:ext uri="{FF2B5EF4-FFF2-40B4-BE49-F238E27FC236}">
                  <a16:creationId xmlns:a16="http://schemas.microsoft.com/office/drawing/2014/main" id="{7DDE38A5-FF9C-8107-59B0-05C55D5BAADF}"/>
                </a:ext>
              </a:extLst>
            </p:cNvPr>
            <p:cNvSpPr/>
            <p:nvPr/>
          </p:nvSpPr>
          <p:spPr>
            <a:xfrm>
              <a:off x="4504928" y="64396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" name="object 109">
              <a:extLst>
                <a:ext uri="{FF2B5EF4-FFF2-40B4-BE49-F238E27FC236}">
                  <a16:creationId xmlns:a16="http://schemas.microsoft.com/office/drawing/2014/main" id="{1D23DFB1-3DF4-471D-96B5-C9B638BC2416}"/>
                </a:ext>
              </a:extLst>
            </p:cNvPr>
            <p:cNvSpPr/>
            <p:nvPr/>
          </p:nvSpPr>
          <p:spPr>
            <a:xfrm>
              <a:off x="4434885" y="64396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" name="object 110">
              <a:extLst>
                <a:ext uri="{FF2B5EF4-FFF2-40B4-BE49-F238E27FC236}">
                  <a16:creationId xmlns:a16="http://schemas.microsoft.com/office/drawing/2014/main" id="{49707108-4F54-7DE0-C50B-7E110EFBBDF3}"/>
                </a:ext>
              </a:extLst>
            </p:cNvPr>
            <p:cNvSpPr/>
            <p:nvPr/>
          </p:nvSpPr>
          <p:spPr>
            <a:xfrm>
              <a:off x="4539950" y="64269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" name="object 111">
              <a:extLst>
                <a:ext uri="{FF2B5EF4-FFF2-40B4-BE49-F238E27FC236}">
                  <a16:creationId xmlns:a16="http://schemas.microsoft.com/office/drawing/2014/main" id="{FB52B70A-5037-697A-FF74-71AC37D609D2}"/>
                </a:ext>
              </a:extLst>
            </p:cNvPr>
            <p:cNvSpPr/>
            <p:nvPr/>
          </p:nvSpPr>
          <p:spPr>
            <a:xfrm>
              <a:off x="4190000" y="645242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" name="object 112">
              <a:extLst>
                <a:ext uri="{FF2B5EF4-FFF2-40B4-BE49-F238E27FC236}">
                  <a16:creationId xmlns:a16="http://schemas.microsoft.com/office/drawing/2014/main" id="{40A8E741-8494-224B-A1A3-81E6B568B3BD}"/>
                </a:ext>
              </a:extLst>
            </p:cNvPr>
            <p:cNvSpPr/>
            <p:nvPr/>
          </p:nvSpPr>
          <p:spPr>
            <a:xfrm>
              <a:off x="4539950" y="64999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" name="object 113">
              <a:extLst>
                <a:ext uri="{FF2B5EF4-FFF2-40B4-BE49-F238E27FC236}">
                  <a16:creationId xmlns:a16="http://schemas.microsoft.com/office/drawing/2014/main" id="{90BE7C18-3DA6-67B3-EFCE-2A4BD1D9C911}"/>
                </a:ext>
              </a:extLst>
            </p:cNvPr>
            <p:cNvSpPr/>
            <p:nvPr/>
          </p:nvSpPr>
          <p:spPr>
            <a:xfrm>
              <a:off x="4364979" y="64999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" name="object 114">
              <a:extLst>
                <a:ext uri="{FF2B5EF4-FFF2-40B4-BE49-F238E27FC236}">
                  <a16:creationId xmlns:a16="http://schemas.microsoft.com/office/drawing/2014/main" id="{0B2DA1AD-2BB9-2D76-DEF1-D5A9F2E1AB2C}"/>
                </a:ext>
              </a:extLst>
            </p:cNvPr>
            <p:cNvSpPr/>
            <p:nvPr/>
          </p:nvSpPr>
          <p:spPr>
            <a:xfrm>
              <a:off x="4190000" y="64999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" name="object 115">
              <a:extLst>
                <a:ext uri="{FF2B5EF4-FFF2-40B4-BE49-F238E27FC236}">
                  <a16:creationId xmlns:a16="http://schemas.microsoft.com/office/drawing/2014/main" id="{425FF0DD-DFC5-1AF7-C1D5-CF712572FA0A}"/>
                </a:ext>
              </a:extLst>
            </p:cNvPr>
            <p:cNvSpPr/>
            <p:nvPr/>
          </p:nvSpPr>
          <p:spPr>
            <a:xfrm>
              <a:off x="4364979" y="64999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" name="object 116">
              <a:extLst>
                <a:ext uri="{FF2B5EF4-FFF2-40B4-BE49-F238E27FC236}">
                  <a16:creationId xmlns:a16="http://schemas.microsoft.com/office/drawing/2014/main" id="{D967E062-0121-BB85-886C-50F43AFD3A38}"/>
                </a:ext>
              </a:extLst>
            </p:cNvPr>
            <p:cNvSpPr/>
            <p:nvPr/>
          </p:nvSpPr>
          <p:spPr>
            <a:xfrm>
              <a:off x="4469907" y="65126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" name="object 117">
              <a:extLst>
                <a:ext uri="{FF2B5EF4-FFF2-40B4-BE49-F238E27FC236}">
                  <a16:creationId xmlns:a16="http://schemas.microsoft.com/office/drawing/2014/main" id="{3868B983-6CC4-EA15-E5D2-F2E1D9C2641F}"/>
                </a:ext>
              </a:extLst>
            </p:cNvPr>
            <p:cNvSpPr/>
            <p:nvPr/>
          </p:nvSpPr>
          <p:spPr>
            <a:xfrm>
              <a:off x="4504928" y="65126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" name="object 118">
              <a:extLst>
                <a:ext uri="{FF2B5EF4-FFF2-40B4-BE49-F238E27FC236}">
                  <a16:creationId xmlns:a16="http://schemas.microsoft.com/office/drawing/2014/main" id="{64CD6189-2272-D3CB-3BA0-9C5A910C7FA9}"/>
                </a:ext>
              </a:extLst>
            </p:cNvPr>
            <p:cNvSpPr/>
            <p:nvPr/>
          </p:nvSpPr>
          <p:spPr>
            <a:xfrm>
              <a:off x="4399864" y="65126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" name="object 119">
              <a:extLst>
                <a:ext uri="{FF2B5EF4-FFF2-40B4-BE49-F238E27FC236}">
                  <a16:creationId xmlns:a16="http://schemas.microsoft.com/office/drawing/2014/main" id="{2CADEE7F-26D1-168A-019B-7476D1B3AADD}"/>
                </a:ext>
              </a:extLst>
            </p:cNvPr>
            <p:cNvSpPr/>
            <p:nvPr/>
          </p:nvSpPr>
          <p:spPr>
            <a:xfrm>
              <a:off x="4294790" y="65126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" name="object 120">
              <a:extLst>
                <a:ext uri="{FF2B5EF4-FFF2-40B4-BE49-F238E27FC236}">
                  <a16:creationId xmlns:a16="http://schemas.microsoft.com/office/drawing/2014/main" id="{70AE38B2-48EE-5F5D-9117-0C47A7FEA682}"/>
                </a:ext>
              </a:extLst>
            </p:cNvPr>
            <p:cNvSpPr/>
            <p:nvPr/>
          </p:nvSpPr>
          <p:spPr>
            <a:xfrm>
              <a:off x="4329885" y="65126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" name="object 121">
              <a:extLst>
                <a:ext uri="{FF2B5EF4-FFF2-40B4-BE49-F238E27FC236}">
                  <a16:creationId xmlns:a16="http://schemas.microsoft.com/office/drawing/2014/main" id="{BA102119-3C0F-727B-F2A4-2EEE28BCF3C0}"/>
                </a:ext>
              </a:extLst>
            </p:cNvPr>
            <p:cNvSpPr/>
            <p:nvPr/>
          </p:nvSpPr>
          <p:spPr>
            <a:xfrm>
              <a:off x="4224747" y="65126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" name="object 122">
              <a:extLst>
                <a:ext uri="{FF2B5EF4-FFF2-40B4-BE49-F238E27FC236}">
                  <a16:creationId xmlns:a16="http://schemas.microsoft.com/office/drawing/2014/main" id="{CC8EE8B6-78E8-3E4F-239C-40A6CABCCE8D}"/>
                </a:ext>
              </a:extLst>
            </p:cNvPr>
            <p:cNvSpPr/>
            <p:nvPr/>
          </p:nvSpPr>
          <p:spPr>
            <a:xfrm>
              <a:off x="4434885" y="65126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" name="object 123">
              <a:extLst>
                <a:ext uri="{FF2B5EF4-FFF2-40B4-BE49-F238E27FC236}">
                  <a16:creationId xmlns:a16="http://schemas.microsoft.com/office/drawing/2014/main" id="{A7B9303D-6F24-4FE6-7FA7-A00B06160E22}"/>
                </a:ext>
              </a:extLst>
            </p:cNvPr>
            <p:cNvSpPr/>
            <p:nvPr/>
          </p:nvSpPr>
          <p:spPr>
            <a:xfrm>
              <a:off x="4259768" y="65126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" name="object 124">
              <a:extLst>
                <a:ext uri="{FF2B5EF4-FFF2-40B4-BE49-F238E27FC236}">
                  <a16:creationId xmlns:a16="http://schemas.microsoft.com/office/drawing/2014/main" id="{30A63725-AA51-206F-6B31-90FF2A471111}"/>
                </a:ext>
              </a:extLst>
            </p:cNvPr>
            <p:cNvSpPr/>
            <p:nvPr/>
          </p:nvSpPr>
          <p:spPr>
            <a:xfrm>
              <a:off x="4190000" y="652544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25" name="object 125">
            <a:extLst>
              <a:ext uri="{FF2B5EF4-FFF2-40B4-BE49-F238E27FC236}">
                <a16:creationId xmlns:a16="http://schemas.microsoft.com/office/drawing/2014/main" id="{97C6BD95-75F0-85B2-5407-8E6C2CCF8371}"/>
              </a:ext>
            </a:extLst>
          </p:cNvPr>
          <p:cNvGrpSpPr/>
          <p:nvPr/>
        </p:nvGrpSpPr>
        <p:grpSpPr>
          <a:xfrm>
            <a:off x="9121743" y="1080253"/>
            <a:ext cx="350370" cy="123517"/>
            <a:chOff x="9121743" y="1080253"/>
            <a:chExt cx="350370" cy="123517"/>
          </a:xfrm>
        </p:grpSpPr>
        <p:sp>
          <p:nvSpPr>
            <p:cNvPr id="126" name="object 126">
              <a:extLst>
                <a:ext uri="{FF2B5EF4-FFF2-40B4-BE49-F238E27FC236}">
                  <a16:creationId xmlns:a16="http://schemas.microsoft.com/office/drawing/2014/main" id="{F6FB3B34-2BD1-285F-A55C-BFBBA68A3ED8}"/>
                </a:ext>
              </a:extLst>
            </p:cNvPr>
            <p:cNvSpPr/>
            <p:nvPr/>
          </p:nvSpPr>
          <p:spPr>
            <a:xfrm>
              <a:off x="9401988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" name="object 127">
              <a:extLst>
                <a:ext uri="{FF2B5EF4-FFF2-40B4-BE49-F238E27FC236}">
                  <a16:creationId xmlns:a16="http://schemas.microsoft.com/office/drawing/2014/main" id="{32FB75E2-3475-AC49-6414-D58FBFF99BC2}"/>
                </a:ext>
              </a:extLst>
            </p:cNvPr>
            <p:cNvSpPr/>
            <p:nvPr/>
          </p:nvSpPr>
          <p:spPr>
            <a:xfrm>
              <a:off x="9437019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" name="object 128">
              <a:extLst>
                <a:ext uri="{FF2B5EF4-FFF2-40B4-BE49-F238E27FC236}">
                  <a16:creationId xmlns:a16="http://schemas.microsoft.com/office/drawing/2014/main" id="{5FF77043-8493-3DEC-836A-AEC5FED8D765}"/>
                </a:ext>
              </a:extLst>
            </p:cNvPr>
            <p:cNvSpPr/>
            <p:nvPr/>
          </p:nvSpPr>
          <p:spPr>
            <a:xfrm>
              <a:off x="9331945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" name="object 129">
              <a:extLst>
                <a:ext uri="{FF2B5EF4-FFF2-40B4-BE49-F238E27FC236}">
                  <a16:creationId xmlns:a16="http://schemas.microsoft.com/office/drawing/2014/main" id="{5669C940-D293-B465-58AE-9B3A1F6C6A72}"/>
                </a:ext>
              </a:extLst>
            </p:cNvPr>
            <p:cNvSpPr/>
            <p:nvPr/>
          </p:nvSpPr>
          <p:spPr>
            <a:xfrm>
              <a:off x="9226881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" name="object 130">
              <a:extLst>
                <a:ext uri="{FF2B5EF4-FFF2-40B4-BE49-F238E27FC236}">
                  <a16:creationId xmlns:a16="http://schemas.microsoft.com/office/drawing/2014/main" id="{883868DC-4F50-5018-EEDC-41606AAB7A29}"/>
                </a:ext>
              </a:extLst>
            </p:cNvPr>
            <p:cNvSpPr/>
            <p:nvPr/>
          </p:nvSpPr>
          <p:spPr>
            <a:xfrm>
              <a:off x="9261975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" name="object 131">
              <a:extLst>
                <a:ext uri="{FF2B5EF4-FFF2-40B4-BE49-F238E27FC236}">
                  <a16:creationId xmlns:a16="http://schemas.microsoft.com/office/drawing/2014/main" id="{C2438EE6-C6D0-B76A-AF62-E60C0203FFBA}"/>
                </a:ext>
              </a:extLst>
            </p:cNvPr>
            <p:cNvSpPr/>
            <p:nvPr/>
          </p:nvSpPr>
          <p:spPr>
            <a:xfrm>
              <a:off x="9156838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" name="object 132">
              <a:extLst>
                <a:ext uri="{FF2B5EF4-FFF2-40B4-BE49-F238E27FC236}">
                  <a16:creationId xmlns:a16="http://schemas.microsoft.com/office/drawing/2014/main" id="{AC677B2E-472E-9BB8-0BCB-66B426294CAA}"/>
                </a:ext>
              </a:extLst>
            </p:cNvPr>
            <p:cNvSpPr/>
            <p:nvPr/>
          </p:nvSpPr>
          <p:spPr>
            <a:xfrm>
              <a:off x="9366976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" name="object 133">
              <a:extLst>
                <a:ext uri="{FF2B5EF4-FFF2-40B4-BE49-F238E27FC236}">
                  <a16:creationId xmlns:a16="http://schemas.microsoft.com/office/drawing/2014/main" id="{0B66A419-35E9-35F7-6A2C-0B946215C3A8}"/>
                </a:ext>
              </a:extLst>
            </p:cNvPr>
            <p:cNvSpPr/>
            <p:nvPr/>
          </p:nvSpPr>
          <p:spPr>
            <a:xfrm>
              <a:off x="9191859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" name="object 134">
              <a:extLst>
                <a:ext uri="{FF2B5EF4-FFF2-40B4-BE49-F238E27FC236}">
                  <a16:creationId xmlns:a16="http://schemas.microsoft.com/office/drawing/2014/main" id="{9541E7CC-0507-F1B1-31A4-BDD328DEDFEE}"/>
                </a:ext>
              </a:extLst>
            </p:cNvPr>
            <p:cNvSpPr/>
            <p:nvPr/>
          </p:nvSpPr>
          <p:spPr>
            <a:xfrm>
              <a:off x="9472041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" name="object 135">
              <a:extLst>
                <a:ext uri="{FF2B5EF4-FFF2-40B4-BE49-F238E27FC236}">
                  <a16:creationId xmlns:a16="http://schemas.microsoft.com/office/drawing/2014/main" id="{6E6EC0E8-2293-57A2-7E9C-A3F329EF5242}"/>
                </a:ext>
              </a:extLst>
            </p:cNvPr>
            <p:cNvSpPr/>
            <p:nvPr/>
          </p:nvSpPr>
          <p:spPr>
            <a:xfrm>
              <a:off x="9297070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" name="object 136">
              <a:extLst>
                <a:ext uri="{FF2B5EF4-FFF2-40B4-BE49-F238E27FC236}">
                  <a16:creationId xmlns:a16="http://schemas.microsoft.com/office/drawing/2014/main" id="{5DFC8166-F5C2-E230-E9E3-F12B845E6E6F}"/>
                </a:ext>
              </a:extLst>
            </p:cNvPr>
            <p:cNvSpPr/>
            <p:nvPr/>
          </p:nvSpPr>
          <p:spPr>
            <a:xfrm>
              <a:off x="9122090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" name="object 137">
              <a:extLst>
                <a:ext uri="{FF2B5EF4-FFF2-40B4-BE49-F238E27FC236}">
                  <a16:creationId xmlns:a16="http://schemas.microsoft.com/office/drawing/2014/main" id="{8736D58F-E2A8-07B7-E412-85EE619DDDF5}"/>
                </a:ext>
              </a:extLst>
            </p:cNvPr>
            <p:cNvSpPr/>
            <p:nvPr/>
          </p:nvSpPr>
          <p:spPr>
            <a:xfrm>
              <a:off x="9122090" y="11057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" name="object 138">
              <a:extLst>
                <a:ext uri="{FF2B5EF4-FFF2-40B4-BE49-F238E27FC236}">
                  <a16:creationId xmlns:a16="http://schemas.microsoft.com/office/drawing/2014/main" id="{03F96E31-C457-6A02-51BA-64DECABDC1A9}"/>
                </a:ext>
              </a:extLst>
            </p:cNvPr>
            <p:cNvSpPr/>
            <p:nvPr/>
          </p:nvSpPr>
          <p:spPr>
            <a:xfrm>
              <a:off x="9122228" y="1080263"/>
              <a:ext cx="26838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42594"/>
                <a:gd name="f4" fmla="val 84455"/>
                <a:gd name="f5" fmla="val 442593"/>
                <a:gd name="f6" fmla="val 84112"/>
                <a:gd name="f7" fmla="*/ f0 1 442594"/>
                <a:gd name="f8" fmla="*/ f1 1 84455"/>
                <a:gd name="f9" fmla="+- f4 0 f2"/>
                <a:gd name="f10" fmla="+- f3 0 f2"/>
                <a:gd name="f11" fmla="*/ f10 1 44259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4259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" name="object 139">
              <a:extLst>
                <a:ext uri="{FF2B5EF4-FFF2-40B4-BE49-F238E27FC236}">
                  <a16:creationId xmlns:a16="http://schemas.microsoft.com/office/drawing/2014/main" id="{A72EE7D3-9163-F31D-90FC-FC4ED818D3EE}"/>
                </a:ext>
              </a:extLst>
            </p:cNvPr>
            <p:cNvSpPr/>
            <p:nvPr/>
          </p:nvSpPr>
          <p:spPr>
            <a:xfrm>
              <a:off x="9122228" y="1152555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19"/>
                <a:gd name="f4" fmla="val 84455"/>
                <a:gd name="f5" fmla="val 172560"/>
                <a:gd name="f6" fmla="val 84112"/>
                <a:gd name="f7" fmla="*/ f0 1 172719"/>
                <a:gd name="f8" fmla="*/ f1 1 84455"/>
                <a:gd name="f9" fmla="+- f4 0 f2"/>
                <a:gd name="f10" fmla="+- f3 0 f2"/>
                <a:gd name="f11" fmla="*/ f10 1 17271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1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" name="object 140">
              <a:extLst>
                <a:ext uri="{FF2B5EF4-FFF2-40B4-BE49-F238E27FC236}">
                  <a16:creationId xmlns:a16="http://schemas.microsoft.com/office/drawing/2014/main" id="{F4F08C5D-B409-5C42-5325-7859A5DCB4D2}"/>
                </a:ext>
              </a:extLst>
            </p:cNvPr>
            <p:cNvSpPr/>
            <p:nvPr/>
          </p:nvSpPr>
          <p:spPr>
            <a:xfrm>
              <a:off x="940165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" name="object 141">
              <a:extLst>
                <a:ext uri="{FF2B5EF4-FFF2-40B4-BE49-F238E27FC236}">
                  <a16:creationId xmlns:a16="http://schemas.microsoft.com/office/drawing/2014/main" id="{EAC5F1BB-68DF-5760-DB6E-C1E47E024B3E}"/>
                </a:ext>
              </a:extLst>
            </p:cNvPr>
            <p:cNvSpPr/>
            <p:nvPr/>
          </p:nvSpPr>
          <p:spPr>
            <a:xfrm>
              <a:off x="9436672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" name="object 142">
              <a:extLst>
                <a:ext uri="{FF2B5EF4-FFF2-40B4-BE49-F238E27FC236}">
                  <a16:creationId xmlns:a16="http://schemas.microsoft.com/office/drawing/2014/main" id="{FCA2B67C-1862-5E8D-BE37-FB4389237026}"/>
                </a:ext>
              </a:extLst>
            </p:cNvPr>
            <p:cNvSpPr/>
            <p:nvPr/>
          </p:nvSpPr>
          <p:spPr>
            <a:xfrm>
              <a:off x="9331607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" name="object 143">
              <a:extLst>
                <a:ext uri="{FF2B5EF4-FFF2-40B4-BE49-F238E27FC236}">
                  <a16:creationId xmlns:a16="http://schemas.microsoft.com/office/drawing/2014/main" id="{2E84ED98-422A-F1C3-BB90-C5FB0002DD3D}"/>
                </a:ext>
              </a:extLst>
            </p:cNvPr>
            <p:cNvSpPr/>
            <p:nvPr/>
          </p:nvSpPr>
          <p:spPr>
            <a:xfrm>
              <a:off x="9226533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" name="object 144">
              <a:extLst>
                <a:ext uri="{FF2B5EF4-FFF2-40B4-BE49-F238E27FC236}">
                  <a16:creationId xmlns:a16="http://schemas.microsoft.com/office/drawing/2014/main" id="{689F6974-96EC-36BF-AE43-F36DD316F320}"/>
                </a:ext>
              </a:extLst>
            </p:cNvPr>
            <p:cNvSpPr/>
            <p:nvPr/>
          </p:nvSpPr>
          <p:spPr>
            <a:xfrm>
              <a:off x="926162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" name="object 145">
              <a:extLst>
                <a:ext uri="{FF2B5EF4-FFF2-40B4-BE49-F238E27FC236}">
                  <a16:creationId xmlns:a16="http://schemas.microsoft.com/office/drawing/2014/main" id="{C0AFD26C-1E71-21A5-78B5-C17FFE9034A9}"/>
                </a:ext>
              </a:extLst>
            </p:cNvPr>
            <p:cNvSpPr/>
            <p:nvPr/>
          </p:nvSpPr>
          <p:spPr>
            <a:xfrm>
              <a:off x="915649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" name="object 146">
              <a:extLst>
                <a:ext uri="{FF2B5EF4-FFF2-40B4-BE49-F238E27FC236}">
                  <a16:creationId xmlns:a16="http://schemas.microsoft.com/office/drawing/2014/main" id="{9914F3D2-0F3F-B418-536A-A00B454F2A6F}"/>
                </a:ext>
              </a:extLst>
            </p:cNvPr>
            <p:cNvSpPr/>
            <p:nvPr/>
          </p:nvSpPr>
          <p:spPr>
            <a:xfrm>
              <a:off x="936662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" name="object 147">
              <a:extLst>
                <a:ext uri="{FF2B5EF4-FFF2-40B4-BE49-F238E27FC236}">
                  <a16:creationId xmlns:a16="http://schemas.microsoft.com/office/drawing/2014/main" id="{17167F8C-3D19-0174-EB7B-5F706E0C081D}"/>
                </a:ext>
              </a:extLst>
            </p:cNvPr>
            <p:cNvSpPr/>
            <p:nvPr/>
          </p:nvSpPr>
          <p:spPr>
            <a:xfrm>
              <a:off x="9191512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" name="object 148">
              <a:extLst>
                <a:ext uri="{FF2B5EF4-FFF2-40B4-BE49-F238E27FC236}">
                  <a16:creationId xmlns:a16="http://schemas.microsoft.com/office/drawing/2014/main" id="{56728C36-47C6-3AD6-96B9-4E4F29479F6B}"/>
                </a:ext>
              </a:extLst>
            </p:cNvPr>
            <p:cNvSpPr/>
            <p:nvPr/>
          </p:nvSpPr>
          <p:spPr>
            <a:xfrm>
              <a:off x="9471693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" name="object 149">
              <a:extLst>
                <a:ext uri="{FF2B5EF4-FFF2-40B4-BE49-F238E27FC236}">
                  <a16:creationId xmlns:a16="http://schemas.microsoft.com/office/drawing/2014/main" id="{AD2A1769-6C87-FD25-FCB7-32FF905CD3D4}"/>
                </a:ext>
              </a:extLst>
            </p:cNvPr>
            <p:cNvSpPr/>
            <p:nvPr/>
          </p:nvSpPr>
          <p:spPr>
            <a:xfrm>
              <a:off x="9296723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" name="object 150">
              <a:extLst>
                <a:ext uri="{FF2B5EF4-FFF2-40B4-BE49-F238E27FC236}">
                  <a16:creationId xmlns:a16="http://schemas.microsoft.com/office/drawing/2014/main" id="{5B984FA6-F725-ED53-E49F-EDC0D2E3BC8F}"/>
                </a:ext>
              </a:extLst>
            </p:cNvPr>
            <p:cNvSpPr/>
            <p:nvPr/>
          </p:nvSpPr>
          <p:spPr>
            <a:xfrm>
              <a:off x="9121743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" name="object 151">
              <a:extLst>
                <a:ext uri="{FF2B5EF4-FFF2-40B4-BE49-F238E27FC236}">
                  <a16:creationId xmlns:a16="http://schemas.microsoft.com/office/drawing/2014/main" id="{1E50B478-93BA-8E16-3933-6C9152E1400C}"/>
                </a:ext>
              </a:extLst>
            </p:cNvPr>
            <p:cNvSpPr/>
            <p:nvPr/>
          </p:nvSpPr>
          <p:spPr>
            <a:xfrm>
              <a:off x="9296723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" name="object 152">
              <a:extLst>
                <a:ext uri="{FF2B5EF4-FFF2-40B4-BE49-F238E27FC236}">
                  <a16:creationId xmlns:a16="http://schemas.microsoft.com/office/drawing/2014/main" id="{6CAB1A33-1322-C3AA-36F2-08921298E069}"/>
                </a:ext>
              </a:extLst>
            </p:cNvPr>
            <p:cNvSpPr/>
            <p:nvPr/>
          </p:nvSpPr>
          <p:spPr>
            <a:xfrm>
              <a:off x="9121743" y="11780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3" name="object 153">
            <a:extLst>
              <a:ext uri="{FF2B5EF4-FFF2-40B4-BE49-F238E27FC236}">
                <a16:creationId xmlns:a16="http://schemas.microsoft.com/office/drawing/2014/main" id="{E8F60CA4-530C-3CB8-6374-2BAB1AB4A339}"/>
              </a:ext>
            </a:extLst>
          </p:cNvPr>
          <p:cNvGrpSpPr/>
          <p:nvPr/>
        </p:nvGrpSpPr>
        <p:grpSpPr>
          <a:xfrm>
            <a:off x="9943048" y="1080253"/>
            <a:ext cx="350370" cy="123517"/>
            <a:chOff x="9943048" y="1080253"/>
            <a:chExt cx="350370" cy="123517"/>
          </a:xfrm>
        </p:grpSpPr>
        <p:sp>
          <p:nvSpPr>
            <p:cNvPr id="154" name="object 154">
              <a:extLst>
                <a:ext uri="{FF2B5EF4-FFF2-40B4-BE49-F238E27FC236}">
                  <a16:creationId xmlns:a16="http://schemas.microsoft.com/office/drawing/2014/main" id="{8ED3831D-EC91-9376-9907-37BEAF4B8A91}"/>
                </a:ext>
              </a:extLst>
            </p:cNvPr>
            <p:cNvSpPr/>
            <p:nvPr/>
          </p:nvSpPr>
          <p:spPr>
            <a:xfrm>
              <a:off x="10223293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" name="object 155">
              <a:extLst>
                <a:ext uri="{FF2B5EF4-FFF2-40B4-BE49-F238E27FC236}">
                  <a16:creationId xmlns:a16="http://schemas.microsoft.com/office/drawing/2014/main" id="{683A92AD-CAFB-5DE8-A600-3B705985B3EC}"/>
                </a:ext>
              </a:extLst>
            </p:cNvPr>
            <p:cNvSpPr/>
            <p:nvPr/>
          </p:nvSpPr>
          <p:spPr>
            <a:xfrm>
              <a:off x="10258315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" name="object 156">
              <a:extLst>
                <a:ext uri="{FF2B5EF4-FFF2-40B4-BE49-F238E27FC236}">
                  <a16:creationId xmlns:a16="http://schemas.microsoft.com/office/drawing/2014/main" id="{AB447EF0-996E-EB25-7C14-BD5F6FE02263}"/>
                </a:ext>
              </a:extLst>
            </p:cNvPr>
            <p:cNvSpPr/>
            <p:nvPr/>
          </p:nvSpPr>
          <p:spPr>
            <a:xfrm>
              <a:off x="10153241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" name="object 157">
              <a:extLst>
                <a:ext uri="{FF2B5EF4-FFF2-40B4-BE49-F238E27FC236}">
                  <a16:creationId xmlns:a16="http://schemas.microsoft.com/office/drawing/2014/main" id="{8FF7C08A-4273-6A4F-388B-6B7E7D3FDD09}"/>
                </a:ext>
              </a:extLst>
            </p:cNvPr>
            <p:cNvSpPr/>
            <p:nvPr/>
          </p:nvSpPr>
          <p:spPr>
            <a:xfrm>
              <a:off x="10048177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" name="object 158">
              <a:extLst>
                <a:ext uri="{FF2B5EF4-FFF2-40B4-BE49-F238E27FC236}">
                  <a16:creationId xmlns:a16="http://schemas.microsoft.com/office/drawing/2014/main" id="{EB695B50-D945-D4F8-C3A0-25BEBC2144D3}"/>
                </a:ext>
              </a:extLst>
            </p:cNvPr>
            <p:cNvSpPr/>
            <p:nvPr/>
          </p:nvSpPr>
          <p:spPr>
            <a:xfrm>
              <a:off x="10083271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" name="object 159">
              <a:extLst>
                <a:ext uri="{FF2B5EF4-FFF2-40B4-BE49-F238E27FC236}">
                  <a16:creationId xmlns:a16="http://schemas.microsoft.com/office/drawing/2014/main" id="{9F3E82E4-DEAA-D86D-71F2-A44633FDDC90}"/>
                </a:ext>
              </a:extLst>
            </p:cNvPr>
            <p:cNvSpPr/>
            <p:nvPr/>
          </p:nvSpPr>
          <p:spPr>
            <a:xfrm>
              <a:off x="9978133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" name="object 160">
              <a:extLst>
                <a:ext uri="{FF2B5EF4-FFF2-40B4-BE49-F238E27FC236}">
                  <a16:creationId xmlns:a16="http://schemas.microsoft.com/office/drawing/2014/main" id="{57579776-5189-8A9E-F783-F49B975F0B18}"/>
                </a:ext>
              </a:extLst>
            </p:cNvPr>
            <p:cNvSpPr/>
            <p:nvPr/>
          </p:nvSpPr>
          <p:spPr>
            <a:xfrm>
              <a:off x="10188263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" name="object 161">
              <a:extLst>
                <a:ext uri="{FF2B5EF4-FFF2-40B4-BE49-F238E27FC236}">
                  <a16:creationId xmlns:a16="http://schemas.microsoft.com/office/drawing/2014/main" id="{FE849AF7-085A-03CA-1889-AC6509D5244E}"/>
                </a:ext>
              </a:extLst>
            </p:cNvPr>
            <p:cNvSpPr/>
            <p:nvPr/>
          </p:nvSpPr>
          <p:spPr>
            <a:xfrm>
              <a:off x="10013155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" name="object 162">
              <a:extLst>
                <a:ext uri="{FF2B5EF4-FFF2-40B4-BE49-F238E27FC236}">
                  <a16:creationId xmlns:a16="http://schemas.microsoft.com/office/drawing/2014/main" id="{2812AA39-EB6A-8B08-D7B2-E0913A89F9C0}"/>
                </a:ext>
              </a:extLst>
            </p:cNvPr>
            <p:cNvSpPr/>
            <p:nvPr/>
          </p:nvSpPr>
          <p:spPr>
            <a:xfrm>
              <a:off x="10293336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" name="object 163">
              <a:extLst>
                <a:ext uri="{FF2B5EF4-FFF2-40B4-BE49-F238E27FC236}">
                  <a16:creationId xmlns:a16="http://schemas.microsoft.com/office/drawing/2014/main" id="{3597C5F1-3AD8-31D7-3266-965449BC23EB}"/>
                </a:ext>
              </a:extLst>
            </p:cNvPr>
            <p:cNvSpPr/>
            <p:nvPr/>
          </p:nvSpPr>
          <p:spPr>
            <a:xfrm>
              <a:off x="10118366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" name="object 164">
              <a:extLst>
                <a:ext uri="{FF2B5EF4-FFF2-40B4-BE49-F238E27FC236}">
                  <a16:creationId xmlns:a16="http://schemas.microsoft.com/office/drawing/2014/main" id="{B966E62E-124C-4D54-F0C3-5A888F3B4C09}"/>
                </a:ext>
              </a:extLst>
            </p:cNvPr>
            <p:cNvSpPr/>
            <p:nvPr/>
          </p:nvSpPr>
          <p:spPr>
            <a:xfrm>
              <a:off x="9943386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" name="object 165">
              <a:extLst>
                <a:ext uri="{FF2B5EF4-FFF2-40B4-BE49-F238E27FC236}">
                  <a16:creationId xmlns:a16="http://schemas.microsoft.com/office/drawing/2014/main" id="{35FCA902-19B0-18BA-C34B-F17272F5B5AD}"/>
                </a:ext>
              </a:extLst>
            </p:cNvPr>
            <p:cNvSpPr/>
            <p:nvPr/>
          </p:nvSpPr>
          <p:spPr>
            <a:xfrm>
              <a:off x="9943395" y="11057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" name="object 166">
              <a:extLst>
                <a:ext uri="{FF2B5EF4-FFF2-40B4-BE49-F238E27FC236}">
                  <a16:creationId xmlns:a16="http://schemas.microsoft.com/office/drawing/2014/main" id="{C555F47F-E49C-BD8C-83EA-6D32C1882BF4}"/>
                </a:ext>
              </a:extLst>
            </p:cNvPr>
            <p:cNvSpPr/>
            <p:nvPr/>
          </p:nvSpPr>
          <p:spPr>
            <a:xfrm>
              <a:off x="9943514" y="1080263"/>
              <a:ext cx="696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4934"/>
                <a:gd name="f4" fmla="val 84455"/>
                <a:gd name="f5" fmla="val 114844"/>
                <a:gd name="f6" fmla="val 84112"/>
                <a:gd name="f7" fmla="*/ f0 1 114934"/>
                <a:gd name="f8" fmla="*/ f1 1 84455"/>
                <a:gd name="f9" fmla="+- f4 0 f2"/>
                <a:gd name="f10" fmla="+- f3 0 f2"/>
                <a:gd name="f11" fmla="*/ f10 1 114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4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" name="object 167">
              <a:extLst>
                <a:ext uri="{FF2B5EF4-FFF2-40B4-BE49-F238E27FC236}">
                  <a16:creationId xmlns:a16="http://schemas.microsoft.com/office/drawing/2014/main" id="{923A43DC-5DA6-DACF-ED1D-E08FC0A77B52}"/>
                </a:ext>
              </a:extLst>
            </p:cNvPr>
            <p:cNvSpPr/>
            <p:nvPr/>
          </p:nvSpPr>
          <p:spPr>
            <a:xfrm>
              <a:off x="10292989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" name="object 168">
              <a:extLst>
                <a:ext uri="{FF2B5EF4-FFF2-40B4-BE49-F238E27FC236}">
                  <a16:creationId xmlns:a16="http://schemas.microsoft.com/office/drawing/2014/main" id="{15E18941-755A-86FD-94C6-75627016F85C}"/>
                </a:ext>
              </a:extLst>
            </p:cNvPr>
            <p:cNvSpPr/>
            <p:nvPr/>
          </p:nvSpPr>
          <p:spPr>
            <a:xfrm>
              <a:off x="10118018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" name="object 169">
              <a:extLst>
                <a:ext uri="{FF2B5EF4-FFF2-40B4-BE49-F238E27FC236}">
                  <a16:creationId xmlns:a16="http://schemas.microsoft.com/office/drawing/2014/main" id="{4256E586-B40A-18B7-0313-CD3E45DE5C90}"/>
                </a:ext>
              </a:extLst>
            </p:cNvPr>
            <p:cNvSpPr/>
            <p:nvPr/>
          </p:nvSpPr>
          <p:spPr>
            <a:xfrm>
              <a:off x="9943048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" name="object 170">
              <a:extLst>
                <a:ext uri="{FF2B5EF4-FFF2-40B4-BE49-F238E27FC236}">
                  <a16:creationId xmlns:a16="http://schemas.microsoft.com/office/drawing/2014/main" id="{E495F595-FFDE-20D8-DB68-69664E87808D}"/>
                </a:ext>
              </a:extLst>
            </p:cNvPr>
            <p:cNvSpPr/>
            <p:nvPr/>
          </p:nvSpPr>
          <p:spPr>
            <a:xfrm>
              <a:off x="10118018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" name="object 171">
              <a:extLst>
                <a:ext uri="{FF2B5EF4-FFF2-40B4-BE49-F238E27FC236}">
                  <a16:creationId xmlns:a16="http://schemas.microsoft.com/office/drawing/2014/main" id="{36CFF251-C551-0EA5-1DB9-57F7EDBFC0EC}"/>
                </a:ext>
              </a:extLst>
            </p:cNvPr>
            <p:cNvSpPr/>
            <p:nvPr/>
          </p:nvSpPr>
          <p:spPr>
            <a:xfrm>
              <a:off x="10222946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" name="object 172">
              <a:extLst>
                <a:ext uri="{FF2B5EF4-FFF2-40B4-BE49-F238E27FC236}">
                  <a16:creationId xmlns:a16="http://schemas.microsoft.com/office/drawing/2014/main" id="{6DDA1F10-5FC7-A5EE-03C5-46374C11A9AC}"/>
                </a:ext>
              </a:extLst>
            </p:cNvPr>
            <p:cNvSpPr/>
            <p:nvPr/>
          </p:nvSpPr>
          <p:spPr>
            <a:xfrm>
              <a:off x="10257967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" name="object 173">
              <a:extLst>
                <a:ext uri="{FF2B5EF4-FFF2-40B4-BE49-F238E27FC236}">
                  <a16:creationId xmlns:a16="http://schemas.microsoft.com/office/drawing/2014/main" id="{25001607-4FDF-C7E0-617D-3B78DDFABACF}"/>
                </a:ext>
              </a:extLst>
            </p:cNvPr>
            <p:cNvSpPr/>
            <p:nvPr/>
          </p:nvSpPr>
          <p:spPr>
            <a:xfrm>
              <a:off x="10152903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" name="object 174">
              <a:extLst>
                <a:ext uri="{FF2B5EF4-FFF2-40B4-BE49-F238E27FC236}">
                  <a16:creationId xmlns:a16="http://schemas.microsoft.com/office/drawing/2014/main" id="{0B17593B-C8D5-DDED-A71D-581E6845C467}"/>
                </a:ext>
              </a:extLst>
            </p:cNvPr>
            <p:cNvSpPr/>
            <p:nvPr/>
          </p:nvSpPr>
          <p:spPr>
            <a:xfrm>
              <a:off x="10047829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" name="object 175">
              <a:extLst>
                <a:ext uri="{FF2B5EF4-FFF2-40B4-BE49-F238E27FC236}">
                  <a16:creationId xmlns:a16="http://schemas.microsoft.com/office/drawing/2014/main" id="{2DBC50B9-FA4A-D73E-6F03-D05BF68AAB50}"/>
                </a:ext>
              </a:extLst>
            </p:cNvPr>
            <p:cNvSpPr/>
            <p:nvPr/>
          </p:nvSpPr>
          <p:spPr>
            <a:xfrm>
              <a:off x="10082924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" name="object 176">
              <a:extLst>
                <a:ext uri="{FF2B5EF4-FFF2-40B4-BE49-F238E27FC236}">
                  <a16:creationId xmlns:a16="http://schemas.microsoft.com/office/drawing/2014/main" id="{CDCF6475-85D9-7A16-E833-C39183D6CE1F}"/>
                </a:ext>
              </a:extLst>
            </p:cNvPr>
            <p:cNvSpPr/>
            <p:nvPr/>
          </p:nvSpPr>
          <p:spPr>
            <a:xfrm>
              <a:off x="9977786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" name="object 177">
              <a:extLst>
                <a:ext uri="{FF2B5EF4-FFF2-40B4-BE49-F238E27FC236}">
                  <a16:creationId xmlns:a16="http://schemas.microsoft.com/office/drawing/2014/main" id="{BB99E58D-557D-3AA8-9891-D8B792A05F9A}"/>
                </a:ext>
              </a:extLst>
            </p:cNvPr>
            <p:cNvSpPr/>
            <p:nvPr/>
          </p:nvSpPr>
          <p:spPr>
            <a:xfrm>
              <a:off x="10187924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" name="object 178">
              <a:extLst>
                <a:ext uri="{FF2B5EF4-FFF2-40B4-BE49-F238E27FC236}">
                  <a16:creationId xmlns:a16="http://schemas.microsoft.com/office/drawing/2014/main" id="{45209FA6-DC92-48E4-26C7-686E4F0DAB6E}"/>
                </a:ext>
              </a:extLst>
            </p:cNvPr>
            <p:cNvSpPr/>
            <p:nvPr/>
          </p:nvSpPr>
          <p:spPr>
            <a:xfrm>
              <a:off x="1001280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" name="object 179">
              <a:extLst>
                <a:ext uri="{FF2B5EF4-FFF2-40B4-BE49-F238E27FC236}">
                  <a16:creationId xmlns:a16="http://schemas.microsoft.com/office/drawing/2014/main" id="{D95148E4-7EA8-5DDD-D2B1-381F0A216E68}"/>
                </a:ext>
              </a:extLst>
            </p:cNvPr>
            <p:cNvSpPr/>
            <p:nvPr/>
          </p:nvSpPr>
          <p:spPr>
            <a:xfrm>
              <a:off x="9943048" y="11780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0" name="object 180">
            <a:extLst>
              <a:ext uri="{FF2B5EF4-FFF2-40B4-BE49-F238E27FC236}">
                <a16:creationId xmlns:a16="http://schemas.microsoft.com/office/drawing/2014/main" id="{00325E5D-E37D-4732-0FFF-B0595A7827F0}"/>
              </a:ext>
            </a:extLst>
          </p:cNvPr>
          <p:cNvGrpSpPr/>
          <p:nvPr/>
        </p:nvGrpSpPr>
        <p:grpSpPr>
          <a:xfrm>
            <a:off x="8299130" y="1843668"/>
            <a:ext cx="350371" cy="123525"/>
            <a:chOff x="8299130" y="1843668"/>
            <a:chExt cx="350371" cy="123525"/>
          </a:xfrm>
        </p:grpSpPr>
        <p:sp>
          <p:nvSpPr>
            <p:cNvPr id="181" name="object 181">
              <a:extLst>
                <a:ext uri="{FF2B5EF4-FFF2-40B4-BE49-F238E27FC236}">
                  <a16:creationId xmlns:a16="http://schemas.microsoft.com/office/drawing/2014/main" id="{3012E110-E30D-9649-B2BA-6173AA2E3885}"/>
                </a:ext>
              </a:extLst>
            </p:cNvPr>
            <p:cNvSpPr/>
            <p:nvPr/>
          </p:nvSpPr>
          <p:spPr>
            <a:xfrm>
              <a:off x="8579376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" name="object 182">
              <a:extLst>
                <a:ext uri="{FF2B5EF4-FFF2-40B4-BE49-F238E27FC236}">
                  <a16:creationId xmlns:a16="http://schemas.microsoft.com/office/drawing/2014/main" id="{22963EA1-7D75-846F-A678-EFA2914DF8DA}"/>
                </a:ext>
              </a:extLst>
            </p:cNvPr>
            <p:cNvSpPr/>
            <p:nvPr/>
          </p:nvSpPr>
          <p:spPr>
            <a:xfrm>
              <a:off x="8614397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" name="object 183">
              <a:extLst>
                <a:ext uri="{FF2B5EF4-FFF2-40B4-BE49-F238E27FC236}">
                  <a16:creationId xmlns:a16="http://schemas.microsoft.com/office/drawing/2014/main" id="{5AEDD5B8-7982-9992-F5F7-1EF9EE55920F}"/>
                </a:ext>
              </a:extLst>
            </p:cNvPr>
            <p:cNvSpPr/>
            <p:nvPr/>
          </p:nvSpPr>
          <p:spPr>
            <a:xfrm>
              <a:off x="8509333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" name="object 184">
              <a:extLst>
                <a:ext uri="{FF2B5EF4-FFF2-40B4-BE49-F238E27FC236}">
                  <a16:creationId xmlns:a16="http://schemas.microsoft.com/office/drawing/2014/main" id="{0880D069-0122-104A-46F4-6FC266CD07CA}"/>
                </a:ext>
              </a:extLst>
            </p:cNvPr>
            <p:cNvSpPr/>
            <p:nvPr/>
          </p:nvSpPr>
          <p:spPr>
            <a:xfrm>
              <a:off x="8404268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" name="object 185">
              <a:extLst>
                <a:ext uri="{FF2B5EF4-FFF2-40B4-BE49-F238E27FC236}">
                  <a16:creationId xmlns:a16="http://schemas.microsoft.com/office/drawing/2014/main" id="{6B65B6FE-1F45-8C7A-4C99-EB530A7E20F9}"/>
                </a:ext>
              </a:extLst>
            </p:cNvPr>
            <p:cNvSpPr/>
            <p:nvPr/>
          </p:nvSpPr>
          <p:spPr>
            <a:xfrm>
              <a:off x="8439354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" name="object 186">
              <a:extLst>
                <a:ext uri="{FF2B5EF4-FFF2-40B4-BE49-F238E27FC236}">
                  <a16:creationId xmlns:a16="http://schemas.microsoft.com/office/drawing/2014/main" id="{154D92DE-A9F0-CDB2-261A-029578576F8C}"/>
                </a:ext>
              </a:extLst>
            </p:cNvPr>
            <p:cNvSpPr/>
            <p:nvPr/>
          </p:nvSpPr>
          <p:spPr>
            <a:xfrm>
              <a:off x="8334225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" name="object 187">
              <a:extLst>
                <a:ext uri="{FF2B5EF4-FFF2-40B4-BE49-F238E27FC236}">
                  <a16:creationId xmlns:a16="http://schemas.microsoft.com/office/drawing/2014/main" id="{8CC9E023-27FF-0CD1-3263-4364ACEA760F}"/>
                </a:ext>
              </a:extLst>
            </p:cNvPr>
            <p:cNvSpPr/>
            <p:nvPr/>
          </p:nvSpPr>
          <p:spPr>
            <a:xfrm>
              <a:off x="8544354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" name="object 188">
              <a:extLst>
                <a:ext uri="{FF2B5EF4-FFF2-40B4-BE49-F238E27FC236}">
                  <a16:creationId xmlns:a16="http://schemas.microsoft.com/office/drawing/2014/main" id="{5CBBC6B0-E3B4-6BE2-98DE-2DC0342BE035}"/>
                </a:ext>
              </a:extLst>
            </p:cNvPr>
            <p:cNvSpPr/>
            <p:nvPr/>
          </p:nvSpPr>
          <p:spPr>
            <a:xfrm>
              <a:off x="8369247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" name="object 189">
              <a:extLst>
                <a:ext uri="{FF2B5EF4-FFF2-40B4-BE49-F238E27FC236}">
                  <a16:creationId xmlns:a16="http://schemas.microsoft.com/office/drawing/2014/main" id="{7DBBBA4D-167B-044C-7874-2ECFD72622C3}"/>
                </a:ext>
              </a:extLst>
            </p:cNvPr>
            <p:cNvSpPr/>
            <p:nvPr/>
          </p:nvSpPr>
          <p:spPr>
            <a:xfrm>
              <a:off x="8649419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" name="object 190">
              <a:extLst>
                <a:ext uri="{FF2B5EF4-FFF2-40B4-BE49-F238E27FC236}">
                  <a16:creationId xmlns:a16="http://schemas.microsoft.com/office/drawing/2014/main" id="{EF2C73E0-8890-3089-507A-3007313BF1E8}"/>
                </a:ext>
              </a:extLst>
            </p:cNvPr>
            <p:cNvSpPr/>
            <p:nvPr/>
          </p:nvSpPr>
          <p:spPr>
            <a:xfrm>
              <a:off x="8474448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" name="object 191">
              <a:extLst>
                <a:ext uri="{FF2B5EF4-FFF2-40B4-BE49-F238E27FC236}">
                  <a16:creationId xmlns:a16="http://schemas.microsoft.com/office/drawing/2014/main" id="{16814805-95ED-B547-C532-C0DCA2C9623D}"/>
                </a:ext>
              </a:extLst>
            </p:cNvPr>
            <p:cNvSpPr/>
            <p:nvPr/>
          </p:nvSpPr>
          <p:spPr>
            <a:xfrm>
              <a:off x="8299478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" name="object 192">
              <a:extLst>
                <a:ext uri="{FF2B5EF4-FFF2-40B4-BE49-F238E27FC236}">
                  <a16:creationId xmlns:a16="http://schemas.microsoft.com/office/drawing/2014/main" id="{D93C0E8C-E6C5-9557-BFCB-33C5F7089D38}"/>
                </a:ext>
              </a:extLst>
            </p:cNvPr>
            <p:cNvSpPr/>
            <p:nvPr/>
          </p:nvSpPr>
          <p:spPr>
            <a:xfrm>
              <a:off x="8299478" y="186917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" name="object 193">
              <a:extLst>
                <a:ext uri="{FF2B5EF4-FFF2-40B4-BE49-F238E27FC236}">
                  <a16:creationId xmlns:a16="http://schemas.microsoft.com/office/drawing/2014/main" id="{5813B0AE-061B-71BB-43A2-5F866A848317}"/>
                </a:ext>
              </a:extLst>
            </p:cNvPr>
            <p:cNvSpPr/>
            <p:nvPr/>
          </p:nvSpPr>
          <p:spPr>
            <a:xfrm>
              <a:off x="8299588" y="1843668"/>
              <a:ext cx="1151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9865"/>
                <a:gd name="f4" fmla="val 84455"/>
                <a:gd name="f5" fmla="val 189585"/>
                <a:gd name="f6" fmla="val 84112"/>
                <a:gd name="f7" fmla="*/ f0 1 189865"/>
                <a:gd name="f8" fmla="*/ f1 1 84455"/>
                <a:gd name="f9" fmla="+- f4 0 f2"/>
                <a:gd name="f10" fmla="+- f3 0 f2"/>
                <a:gd name="f11" fmla="*/ f10 1 18986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986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" name="object 194">
              <a:extLst>
                <a:ext uri="{FF2B5EF4-FFF2-40B4-BE49-F238E27FC236}">
                  <a16:creationId xmlns:a16="http://schemas.microsoft.com/office/drawing/2014/main" id="{A986F8BB-44EF-CF58-C255-0DBC2F8319F3}"/>
                </a:ext>
              </a:extLst>
            </p:cNvPr>
            <p:cNvSpPr/>
            <p:nvPr/>
          </p:nvSpPr>
          <p:spPr>
            <a:xfrm>
              <a:off x="8299588" y="1915978"/>
              <a:ext cx="951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56844"/>
                <a:gd name="f4" fmla="val 84455"/>
                <a:gd name="f5" fmla="val 156675"/>
                <a:gd name="f6" fmla="val 84081"/>
                <a:gd name="f7" fmla="*/ f0 1 156844"/>
                <a:gd name="f8" fmla="*/ f1 1 84455"/>
                <a:gd name="f9" fmla="+- f4 0 f2"/>
                <a:gd name="f10" fmla="+- f3 0 f2"/>
                <a:gd name="f11" fmla="*/ f10 1 15684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5684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" name="object 195">
              <a:extLst>
                <a:ext uri="{FF2B5EF4-FFF2-40B4-BE49-F238E27FC236}">
                  <a16:creationId xmlns:a16="http://schemas.microsoft.com/office/drawing/2014/main" id="{C98BCD08-C5B5-EB87-D041-E60E5DD242F0}"/>
                </a:ext>
              </a:extLst>
            </p:cNvPr>
            <p:cNvSpPr/>
            <p:nvPr/>
          </p:nvSpPr>
          <p:spPr>
            <a:xfrm>
              <a:off x="8579028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" name="object 196">
              <a:extLst>
                <a:ext uri="{FF2B5EF4-FFF2-40B4-BE49-F238E27FC236}">
                  <a16:creationId xmlns:a16="http://schemas.microsoft.com/office/drawing/2014/main" id="{B1290317-F135-55B6-E5F6-E98DCB67E1D8}"/>
                </a:ext>
              </a:extLst>
            </p:cNvPr>
            <p:cNvSpPr/>
            <p:nvPr/>
          </p:nvSpPr>
          <p:spPr>
            <a:xfrm>
              <a:off x="8614050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" name="object 197">
              <a:extLst>
                <a:ext uri="{FF2B5EF4-FFF2-40B4-BE49-F238E27FC236}">
                  <a16:creationId xmlns:a16="http://schemas.microsoft.com/office/drawing/2014/main" id="{A2590587-1BD9-4CD4-D81A-C5F81BF7AADD}"/>
                </a:ext>
              </a:extLst>
            </p:cNvPr>
            <p:cNvSpPr/>
            <p:nvPr/>
          </p:nvSpPr>
          <p:spPr>
            <a:xfrm>
              <a:off x="8508985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" name="object 198">
              <a:extLst>
                <a:ext uri="{FF2B5EF4-FFF2-40B4-BE49-F238E27FC236}">
                  <a16:creationId xmlns:a16="http://schemas.microsoft.com/office/drawing/2014/main" id="{0D72026A-79CB-F969-9EED-A130F9900BCA}"/>
                </a:ext>
              </a:extLst>
            </p:cNvPr>
            <p:cNvSpPr/>
            <p:nvPr/>
          </p:nvSpPr>
          <p:spPr>
            <a:xfrm>
              <a:off x="8403921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" name="object 199">
              <a:extLst>
                <a:ext uri="{FF2B5EF4-FFF2-40B4-BE49-F238E27FC236}">
                  <a16:creationId xmlns:a16="http://schemas.microsoft.com/office/drawing/2014/main" id="{F2B8FAC0-BEA5-C8B2-80BA-BE9FB8F1D94F}"/>
                </a:ext>
              </a:extLst>
            </p:cNvPr>
            <p:cNvSpPr/>
            <p:nvPr/>
          </p:nvSpPr>
          <p:spPr>
            <a:xfrm>
              <a:off x="8439015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" name="object 200">
              <a:extLst>
                <a:ext uri="{FF2B5EF4-FFF2-40B4-BE49-F238E27FC236}">
                  <a16:creationId xmlns:a16="http://schemas.microsoft.com/office/drawing/2014/main" id="{C5677B2F-6152-31AB-F369-EE72BB459371}"/>
                </a:ext>
              </a:extLst>
            </p:cNvPr>
            <p:cNvSpPr/>
            <p:nvPr/>
          </p:nvSpPr>
          <p:spPr>
            <a:xfrm>
              <a:off x="8333878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" name="object 201">
              <a:extLst>
                <a:ext uri="{FF2B5EF4-FFF2-40B4-BE49-F238E27FC236}">
                  <a16:creationId xmlns:a16="http://schemas.microsoft.com/office/drawing/2014/main" id="{474B7674-64C1-8BD5-1E40-FE8586E74807}"/>
                </a:ext>
              </a:extLst>
            </p:cNvPr>
            <p:cNvSpPr/>
            <p:nvPr/>
          </p:nvSpPr>
          <p:spPr>
            <a:xfrm>
              <a:off x="8544007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" name="object 202">
              <a:extLst>
                <a:ext uri="{FF2B5EF4-FFF2-40B4-BE49-F238E27FC236}">
                  <a16:creationId xmlns:a16="http://schemas.microsoft.com/office/drawing/2014/main" id="{DC6AB285-FE83-1761-5E76-EB5E873C4FD4}"/>
                </a:ext>
              </a:extLst>
            </p:cNvPr>
            <p:cNvSpPr/>
            <p:nvPr/>
          </p:nvSpPr>
          <p:spPr>
            <a:xfrm>
              <a:off x="8368899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" name="object 203">
              <a:extLst>
                <a:ext uri="{FF2B5EF4-FFF2-40B4-BE49-F238E27FC236}">
                  <a16:creationId xmlns:a16="http://schemas.microsoft.com/office/drawing/2014/main" id="{6A47DC53-5479-3AAC-EC47-FEFEBA092853}"/>
                </a:ext>
              </a:extLst>
            </p:cNvPr>
            <p:cNvSpPr/>
            <p:nvPr/>
          </p:nvSpPr>
          <p:spPr>
            <a:xfrm>
              <a:off x="8649071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4" name="object 204">
              <a:extLst>
                <a:ext uri="{FF2B5EF4-FFF2-40B4-BE49-F238E27FC236}">
                  <a16:creationId xmlns:a16="http://schemas.microsoft.com/office/drawing/2014/main" id="{5D95BF3D-52CF-4718-13AC-C014D3A6C4B0}"/>
                </a:ext>
              </a:extLst>
            </p:cNvPr>
            <p:cNvSpPr/>
            <p:nvPr/>
          </p:nvSpPr>
          <p:spPr>
            <a:xfrm>
              <a:off x="8474101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5" name="object 205">
              <a:extLst>
                <a:ext uri="{FF2B5EF4-FFF2-40B4-BE49-F238E27FC236}">
                  <a16:creationId xmlns:a16="http://schemas.microsoft.com/office/drawing/2014/main" id="{5EFB53FC-FCA3-1CB5-2DDF-7127395DEEB5}"/>
                </a:ext>
              </a:extLst>
            </p:cNvPr>
            <p:cNvSpPr/>
            <p:nvPr/>
          </p:nvSpPr>
          <p:spPr>
            <a:xfrm>
              <a:off x="8299130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6" name="object 206">
              <a:extLst>
                <a:ext uri="{FF2B5EF4-FFF2-40B4-BE49-F238E27FC236}">
                  <a16:creationId xmlns:a16="http://schemas.microsoft.com/office/drawing/2014/main" id="{25F6D541-3D3E-46BA-8FDE-6F62273A98DC}"/>
                </a:ext>
              </a:extLst>
            </p:cNvPr>
            <p:cNvSpPr/>
            <p:nvPr/>
          </p:nvSpPr>
          <p:spPr>
            <a:xfrm>
              <a:off x="8474101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7" name="object 207">
              <a:extLst>
                <a:ext uri="{FF2B5EF4-FFF2-40B4-BE49-F238E27FC236}">
                  <a16:creationId xmlns:a16="http://schemas.microsoft.com/office/drawing/2014/main" id="{645359B5-8CD9-7018-FB8B-72F21549DFED}"/>
                </a:ext>
              </a:extLst>
            </p:cNvPr>
            <p:cNvSpPr/>
            <p:nvPr/>
          </p:nvSpPr>
          <p:spPr>
            <a:xfrm>
              <a:off x="8299130" y="19414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08" name="object 208">
            <a:extLst>
              <a:ext uri="{FF2B5EF4-FFF2-40B4-BE49-F238E27FC236}">
                <a16:creationId xmlns:a16="http://schemas.microsoft.com/office/drawing/2014/main" id="{F437B553-E131-223C-934E-35EC3B3448B0}"/>
              </a:ext>
            </a:extLst>
          </p:cNvPr>
          <p:cNvGrpSpPr/>
          <p:nvPr/>
        </p:nvGrpSpPr>
        <p:grpSpPr>
          <a:xfrm>
            <a:off x="8299130" y="2607457"/>
            <a:ext cx="350371" cy="123526"/>
            <a:chOff x="8299130" y="2607457"/>
            <a:chExt cx="350371" cy="123526"/>
          </a:xfrm>
        </p:grpSpPr>
        <p:sp>
          <p:nvSpPr>
            <p:cNvPr id="209" name="object 209">
              <a:extLst>
                <a:ext uri="{FF2B5EF4-FFF2-40B4-BE49-F238E27FC236}">
                  <a16:creationId xmlns:a16="http://schemas.microsoft.com/office/drawing/2014/main" id="{325F3586-B53C-3A6F-0210-3A7EAB26C722}"/>
                </a:ext>
              </a:extLst>
            </p:cNvPr>
            <p:cNvSpPr/>
            <p:nvPr/>
          </p:nvSpPr>
          <p:spPr>
            <a:xfrm>
              <a:off x="8579376" y="26202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0" name="object 210">
              <a:extLst>
                <a:ext uri="{FF2B5EF4-FFF2-40B4-BE49-F238E27FC236}">
                  <a16:creationId xmlns:a16="http://schemas.microsoft.com/office/drawing/2014/main" id="{E17FE1DF-F116-44FD-F2A8-D7C7BEA5D9B5}"/>
                </a:ext>
              </a:extLst>
            </p:cNvPr>
            <p:cNvSpPr/>
            <p:nvPr/>
          </p:nvSpPr>
          <p:spPr>
            <a:xfrm>
              <a:off x="8614397" y="26202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1" name="object 211">
              <a:extLst>
                <a:ext uri="{FF2B5EF4-FFF2-40B4-BE49-F238E27FC236}">
                  <a16:creationId xmlns:a16="http://schemas.microsoft.com/office/drawing/2014/main" id="{D2557164-B79B-97BC-4AAB-66D275888DC8}"/>
                </a:ext>
              </a:extLst>
            </p:cNvPr>
            <p:cNvSpPr/>
            <p:nvPr/>
          </p:nvSpPr>
          <p:spPr>
            <a:xfrm>
              <a:off x="8509333" y="26202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2" name="object 212">
              <a:extLst>
                <a:ext uri="{FF2B5EF4-FFF2-40B4-BE49-F238E27FC236}">
                  <a16:creationId xmlns:a16="http://schemas.microsoft.com/office/drawing/2014/main" id="{9BE841F0-1F4B-0411-2601-80B5CA2BE90B}"/>
                </a:ext>
              </a:extLst>
            </p:cNvPr>
            <p:cNvSpPr/>
            <p:nvPr/>
          </p:nvSpPr>
          <p:spPr>
            <a:xfrm>
              <a:off x="8404268" y="26202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3" name="object 213">
              <a:extLst>
                <a:ext uri="{FF2B5EF4-FFF2-40B4-BE49-F238E27FC236}">
                  <a16:creationId xmlns:a16="http://schemas.microsoft.com/office/drawing/2014/main" id="{F568DE6A-C336-D44E-AA52-DFFB7F032BFF}"/>
                </a:ext>
              </a:extLst>
            </p:cNvPr>
            <p:cNvSpPr/>
            <p:nvPr/>
          </p:nvSpPr>
          <p:spPr>
            <a:xfrm>
              <a:off x="8439354" y="26202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4" name="object 214">
              <a:extLst>
                <a:ext uri="{FF2B5EF4-FFF2-40B4-BE49-F238E27FC236}">
                  <a16:creationId xmlns:a16="http://schemas.microsoft.com/office/drawing/2014/main" id="{613425A8-3050-E20A-F01C-A8601DB26C1A}"/>
                </a:ext>
              </a:extLst>
            </p:cNvPr>
            <p:cNvSpPr/>
            <p:nvPr/>
          </p:nvSpPr>
          <p:spPr>
            <a:xfrm>
              <a:off x="8334225" y="26202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5" name="object 215">
              <a:extLst>
                <a:ext uri="{FF2B5EF4-FFF2-40B4-BE49-F238E27FC236}">
                  <a16:creationId xmlns:a16="http://schemas.microsoft.com/office/drawing/2014/main" id="{5BBB9885-99C1-255A-AB43-488B8BDCD713}"/>
                </a:ext>
              </a:extLst>
            </p:cNvPr>
            <p:cNvSpPr/>
            <p:nvPr/>
          </p:nvSpPr>
          <p:spPr>
            <a:xfrm>
              <a:off x="8544354" y="26202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6" name="object 216">
              <a:extLst>
                <a:ext uri="{FF2B5EF4-FFF2-40B4-BE49-F238E27FC236}">
                  <a16:creationId xmlns:a16="http://schemas.microsoft.com/office/drawing/2014/main" id="{D0CCE8AB-E93A-5CF0-FA9D-B9CDEF920EEF}"/>
                </a:ext>
              </a:extLst>
            </p:cNvPr>
            <p:cNvSpPr/>
            <p:nvPr/>
          </p:nvSpPr>
          <p:spPr>
            <a:xfrm>
              <a:off x="8369247" y="26202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7" name="object 217">
              <a:extLst>
                <a:ext uri="{FF2B5EF4-FFF2-40B4-BE49-F238E27FC236}">
                  <a16:creationId xmlns:a16="http://schemas.microsoft.com/office/drawing/2014/main" id="{7744B35F-CC08-8D06-495E-A08C6EB2263B}"/>
                </a:ext>
              </a:extLst>
            </p:cNvPr>
            <p:cNvSpPr/>
            <p:nvPr/>
          </p:nvSpPr>
          <p:spPr>
            <a:xfrm>
              <a:off x="8649419" y="260745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8" name="object 218">
              <a:extLst>
                <a:ext uri="{FF2B5EF4-FFF2-40B4-BE49-F238E27FC236}">
                  <a16:creationId xmlns:a16="http://schemas.microsoft.com/office/drawing/2014/main" id="{485B2086-F36B-C1FD-23D0-9B7E8DB8E958}"/>
                </a:ext>
              </a:extLst>
            </p:cNvPr>
            <p:cNvSpPr/>
            <p:nvPr/>
          </p:nvSpPr>
          <p:spPr>
            <a:xfrm>
              <a:off x="8474448" y="260745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9" name="object 219">
              <a:extLst>
                <a:ext uri="{FF2B5EF4-FFF2-40B4-BE49-F238E27FC236}">
                  <a16:creationId xmlns:a16="http://schemas.microsoft.com/office/drawing/2014/main" id="{2E6F74CF-ABA2-E46C-7402-2D2B17F7E87D}"/>
                </a:ext>
              </a:extLst>
            </p:cNvPr>
            <p:cNvSpPr/>
            <p:nvPr/>
          </p:nvSpPr>
          <p:spPr>
            <a:xfrm>
              <a:off x="8299478" y="260745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0" name="object 220">
              <a:extLst>
                <a:ext uri="{FF2B5EF4-FFF2-40B4-BE49-F238E27FC236}">
                  <a16:creationId xmlns:a16="http://schemas.microsoft.com/office/drawing/2014/main" id="{765F7856-C1F4-5602-71CE-4F638CC9B030}"/>
                </a:ext>
              </a:extLst>
            </p:cNvPr>
            <p:cNvSpPr/>
            <p:nvPr/>
          </p:nvSpPr>
          <p:spPr>
            <a:xfrm>
              <a:off x="8299478" y="263296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1" name="object 221">
              <a:extLst>
                <a:ext uri="{FF2B5EF4-FFF2-40B4-BE49-F238E27FC236}">
                  <a16:creationId xmlns:a16="http://schemas.microsoft.com/office/drawing/2014/main" id="{146AC2C0-46B9-4EA9-15BC-3B05E816427A}"/>
                </a:ext>
              </a:extLst>
            </p:cNvPr>
            <p:cNvSpPr/>
            <p:nvPr/>
          </p:nvSpPr>
          <p:spPr>
            <a:xfrm>
              <a:off x="8299588" y="2607457"/>
              <a:ext cx="978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1290"/>
                <a:gd name="f4" fmla="val 84454"/>
                <a:gd name="f5" fmla="val 161125"/>
                <a:gd name="f6" fmla="val 84112"/>
                <a:gd name="f7" fmla="*/ f0 1 161290"/>
                <a:gd name="f8" fmla="*/ f1 1 84454"/>
                <a:gd name="f9" fmla="+- f4 0 f2"/>
                <a:gd name="f10" fmla="+- f3 0 f2"/>
                <a:gd name="f11" fmla="*/ f10 1 161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1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2" name="object 222">
              <a:extLst>
                <a:ext uri="{FF2B5EF4-FFF2-40B4-BE49-F238E27FC236}">
                  <a16:creationId xmlns:a16="http://schemas.microsoft.com/office/drawing/2014/main" id="{C65C631F-9C5D-267F-D55F-9036AD84BC1A}"/>
                </a:ext>
              </a:extLst>
            </p:cNvPr>
            <p:cNvSpPr/>
            <p:nvPr/>
          </p:nvSpPr>
          <p:spPr>
            <a:xfrm>
              <a:off x="8299588" y="2679768"/>
              <a:ext cx="2391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94334"/>
                <a:gd name="f4" fmla="val 84454"/>
                <a:gd name="f5" fmla="val 393736"/>
                <a:gd name="f6" fmla="val 84102"/>
                <a:gd name="f7" fmla="*/ f0 1 394334"/>
                <a:gd name="f8" fmla="*/ f1 1 84454"/>
                <a:gd name="f9" fmla="+- f4 0 f2"/>
                <a:gd name="f10" fmla="+- f3 0 f2"/>
                <a:gd name="f11" fmla="*/ f10 1 3943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943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3" name="object 223">
              <a:extLst>
                <a:ext uri="{FF2B5EF4-FFF2-40B4-BE49-F238E27FC236}">
                  <a16:creationId xmlns:a16="http://schemas.microsoft.com/office/drawing/2014/main" id="{FE926ADC-09D8-4338-2EBA-5B6448A5197F}"/>
                </a:ext>
              </a:extLst>
            </p:cNvPr>
            <p:cNvSpPr/>
            <p:nvPr/>
          </p:nvSpPr>
          <p:spPr>
            <a:xfrm>
              <a:off x="8579028" y="269250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4" name="object 224">
              <a:extLst>
                <a:ext uri="{FF2B5EF4-FFF2-40B4-BE49-F238E27FC236}">
                  <a16:creationId xmlns:a16="http://schemas.microsoft.com/office/drawing/2014/main" id="{113F4013-0726-54BD-41E5-591C8F48CD10}"/>
                </a:ext>
              </a:extLst>
            </p:cNvPr>
            <p:cNvSpPr/>
            <p:nvPr/>
          </p:nvSpPr>
          <p:spPr>
            <a:xfrm>
              <a:off x="8614050" y="269250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5" name="object 225">
              <a:extLst>
                <a:ext uri="{FF2B5EF4-FFF2-40B4-BE49-F238E27FC236}">
                  <a16:creationId xmlns:a16="http://schemas.microsoft.com/office/drawing/2014/main" id="{E316353D-1E30-5702-1DC7-F2779C561D18}"/>
                </a:ext>
              </a:extLst>
            </p:cNvPr>
            <p:cNvSpPr/>
            <p:nvPr/>
          </p:nvSpPr>
          <p:spPr>
            <a:xfrm>
              <a:off x="8508985" y="269250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6" name="object 226">
              <a:extLst>
                <a:ext uri="{FF2B5EF4-FFF2-40B4-BE49-F238E27FC236}">
                  <a16:creationId xmlns:a16="http://schemas.microsoft.com/office/drawing/2014/main" id="{706826EB-3D86-346D-4382-31577812BA6E}"/>
                </a:ext>
              </a:extLst>
            </p:cNvPr>
            <p:cNvSpPr/>
            <p:nvPr/>
          </p:nvSpPr>
          <p:spPr>
            <a:xfrm>
              <a:off x="8403921" y="269250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7" name="object 227">
              <a:extLst>
                <a:ext uri="{FF2B5EF4-FFF2-40B4-BE49-F238E27FC236}">
                  <a16:creationId xmlns:a16="http://schemas.microsoft.com/office/drawing/2014/main" id="{5EBB2593-4C13-9336-5819-E1A8BCC2E472}"/>
                </a:ext>
              </a:extLst>
            </p:cNvPr>
            <p:cNvSpPr/>
            <p:nvPr/>
          </p:nvSpPr>
          <p:spPr>
            <a:xfrm>
              <a:off x="8439015" y="269250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8" name="object 228">
              <a:extLst>
                <a:ext uri="{FF2B5EF4-FFF2-40B4-BE49-F238E27FC236}">
                  <a16:creationId xmlns:a16="http://schemas.microsoft.com/office/drawing/2014/main" id="{CFC66B43-C8DA-6EB1-D826-EA1CCC939427}"/>
                </a:ext>
              </a:extLst>
            </p:cNvPr>
            <p:cNvSpPr/>
            <p:nvPr/>
          </p:nvSpPr>
          <p:spPr>
            <a:xfrm>
              <a:off x="8333878" y="269250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9" name="object 229">
              <a:extLst>
                <a:ext uri="{FF2B5EF4-FFF2-40B4-BE49-F238E27FC236}">
                  <a16:creationId xmlns:a16="http://schemas.microsoft.com/office/drawing/2014/main" id="{AF386D63-0A6F-C13D-FBD6-7BF61DF55B80}"/>
                </a:ext>
              </a:extLst>
            </p:cNvPr>
            <p:cNvSpPr/>
            <p:nvPr/>
          </p:nvSpPr>
          <p:spPr>
            <a:xfrm>
              <a:off x="8544007" y="269250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0" name="object 230">
              <a:extLst>
                <a:ext uri="{FF2B5EF4-FFF2-40B4-BE49-F238E27FC236}">
                  <a16:creationId xmlns:a16="http://schemas.microsoft.com/office/drawing/2014/main" id="{1DA5440D-1E7B-70FF-B434-2B6995A0CCA8}"/>
                </a:ext>
              </a:extLst>
            </p:cNvPr>
            <p:cNvSpPr/>
            <p:nvPr/>
          </p:nvSpPr>
          <p:spPr>
            <a:xfrm>
              <a:off x="8368899" y="269250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1" name="object 231">
              <a:extLst>
                <a:ext uri="{FF2B5EF4-FFF2-40B4-BE49-F238E27FC236}">
                  <a16:creationId xmlns:a16="http://schemas.microsoft.com/office/drawing/2014/main" id="{8592D3D2-EA49-0DAD-288B-D52A099D0624}"/>
                </a:ext>
              </a:extLst>
            </p:cNvPr>
            <p:cNvSpPr/>
            <p:nvPr/>
          </p:nvSpPr>
          <p:spPr>
            <a:xfrm>
              <a:off x="8649071" y="267974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2" name="object 232">
              <a:extLst>
                <a:ext uri="{FF2B5EF4-FFF2-40B4-BE49-F238E27FC236}">
                  <a16:creationId xmlns:a16="http://schemas.microsoft.com/office/drawing/2014/main" id="{C0AC214C-BDBB-7D92-3D9B-C93016EC8AFD}"/>
                </a:ext>
              </a:extLst>
            </p:cNvPr>
            <p:cNvSpPr/>
            <p:nvPr/>
          </p:nvSpPr>
          <p:spPr>
            <a:xfrm>
              <a:off x="8474101" y="267974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3" name="object 233">
              <a:extLst>
                <a:ext uri="{FF2B5EF4-FFF2-40B4-BE49-F238E27FC236}">
                  <a16:creationId xmlns:a16="http://schemas.microsoft.com/office/drawing/2014/main" id="{42F5C867-F689-2E0D-8F5D-CB2E1765316E}"/>
                </a:ext>
              </a:extLst>
            </p:cNvPr>
            <p:cNvSpPr/>
            <p:nvPr/>
          </p:nvSpPr>
          <p:spPr>
            <a:xfrm>
              <a:off x="8299130" y="267974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4" name="object 234">
              <a:extLst>
                <a:ext uri="{FF2B5EF4-FFF2-40B4-BE49-F238E27FC236}">
                  <a16:creationId xmlns:a16="http://schemas.microsoft.com/office/drawing/2014/main" id="{E8A4C1C4-16C4-D15F-D062-634016D62C8A}"/>
                </a:ext>
              </a:extLst>
            </p:cNvPr>
            <p:cNvSpPr/>
            <p:nvPr/>
          </p:nvSpPr>
          <p:spPr>
            <a:xfrm>
              <a:off x="8474101" y="267974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5" name="object 235">
              <a:extLst>
                <a:ext uri="{FF2B5EF4-FFF2-40B4-BE49-F238E27FC236}">
                  <a16:creationId xmlns:a16="http://schemas.microsoft.com/office/drawing/2014/main" id="{8CE73B4B-B15B-1663-1DE5-184292001B59}"/>
                </a:ext>
              </a:extLst>
            </p:cNvPr>
            <p:cNvSpPr/>
            <p:nvPr/>
          </p:nvSpPr>
          <p:spPr>
            <a:xfrm>
              <a:off x="8299130" y="270526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36" name="object 236">
            <a:extLst>
              <a:ext uri="{FF2B5EF4-FFF2-40B4-BE49-F238E27FC236}">
                <a16:creationId xmlns:a16="http://schemas.microsoft.com/office/drawing/2014/main" id="{557B90D0-C985-0187-720F-863E22EAAD65}"/>
              </a:ext>
            </a:extLst>
          </p:cNvPr>
          <p:cNvGrpSpPr/>
          <p:nvPr/>
        </p:nvGrpSpPr>
        <p:grpSpPr>
          <a:xfrm>
            <a:off x="8299130" y="4139955"/>
            <a:ext cx="350371" cy="123507"/>
            <a:chOff x="8299130" y="4139955"/>
            <a:chExt cx="350371" cy="123507"/>
          </a:xfrm>
        </p:grpSpPr>
        <p:sp>
          <p:nvSpPr>
            <p:cNvPr id="237" name="object 237">
              <a:extLst>
                <a:ext uri="{FF2B5EF4-FFF2-40B4-BE49-F238E27FC236}">
                  <a16:creationId xmlns:a16="http://schemas.microsoft.com/office/drawing/2014/main" id="{F8DA1D72-6595-63E9-28B2-AB507469EC72}"/>
                </a:ext>
              </a:extLst>
            </p:cNvPr>
            <p:cNvSpPr/>
            <p:nvPr/>
          </p:nvSpPr>
          <p:spPr>
            <a:xfrm>
              <a:off x="8579376" y="41527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8" name="object 238">
              <a:extLst>
                <a:ext uri="{FF2B5EF4-FFF2-40B4-BE49-F238E27FC236}">
                  <a16:creationId xmlns:a16="http://schemas.microsoft.com/office/drawing/2014/main" id="{96498566-1C83-21B6-7376-9C4C354F0954}"/>
                </a:ext>
              </a:extLst>
            </p:cNvPr>
            <p:cNvSpPr/>
            <p:nvPr/>
          </p:nvSpPr>
          <p:spPr>
            <a:xfrm>
              <a:off x="8614397" y="41527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9" name="object 239">
              <a:extLst>
                <a:ext uri="{FF2B5EF4-FFF2-40B4-BE49-F238E27FC236}">
                  <a16:creationId xmlns:a16="http://schemas.microsoft.com/office/drawing/2014/main" id="{C90CD961-E857-79AC-B823-01381FE8759D}"/>
                </a:ext>
              </a:extLst>
            </p:cNvPr>
            <p:cNvSpPr/>
            <p:nvPr/>
          </p:nvSpPr>
          <p:spPr>
            <a:xfrm>
              <a:off x="8509333" y="41527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0" name="object 240">
              <a:extLst>
                <a:ext uri="{FF2B5EF4-FFF2-40B4-BE49-F238E27FC236}">
                  <a16:creationId xmlns:a16="http://schemas.microsoft.com/office/drawing/2014/main" id="{09D6C9AF-1843-4067-128D-3F9940541882}"/>
                </a:ext>
              </a:extLst>
            </p:cNvPr>
            <p:cNvSpPr/>
            <p:nvPr/>
          </p:nvSpPr>
          <p:spPr>
            <a:xfrm>
              <a:off x="8404268" y="41527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1" name="object 241">
              <a:extLst>
                <a:ext uri="{FF2B5EF4-FFF2-40B4-BE49-F238E27FC236}">
                  <a16:creationId xmlns:a16="http://schemas.microsoft.com/office/drawing/2014/main" id="{3E56B167-3FB1-7ACC-0629-99074AD4A6FC}"/>
                </a:ext>
              </a:extLst>
            </p:cNvPr>
            <p:cNvSpPr/>
            <p:nvPr/>
          </p:nvSpPr>
          <p:spPr>
            <a:xfrm>
              <a:off x="8439354" y="41527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2" name="object 242">
              <a:extLst>
                <a:ext uri="{FF2B5EF4-FFF2-40B4-BE49-F238E27FC236}">
                  <a16:creationId xmlns:a16="http://schemas.microsoft.com/office/drawing/2014/main" id="{236CF813-2515-DF94-E6F6-8E7DFA5A6284}"/>
                </a:ext>
              </a:extLst>
            </p:cNvPr>
            <p:cNvSpPr/>
            <p:nvPr/>
          </p:nvSpPr>
          <p:spPr>
            <a:xfrm>
              <a:off x="8334225" y="41527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3" name="object 243">
              <a:extLst>
                <a:ext uri="{FF2B5EF4-FFF2-40B4-BE49-F238E27FC236}">
                  <a16:creationId xmlns:a16="http://schemas.microsoft.com/office/drawing/2014/main" id="{422997BF-F215-7186-13E0-05CDE66F07CA}"/>
                </a:ext>
              </a:extLst>
            </p:cNvPr>
            <p:cNvSpPr/>
            <p:nvPr/>
          </p:nvSpPr>
          <p:spPr>
            <a:xfrm>
              <a:off x="8544354" y="41527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4" name="object 244">
              <a:extLst>
                <a:ext uri="{FF2B5EF4-FFF2-40B4-BE49-F238E27FC236}">
                  <a16:creationId xmlns:a16="http://schemas.microsoft.com/office/drawing/2014/main" id="{674DA22D-219F-E939-6C0F-6B1CA222A034}"/>
                </a:ext>
              </a:extLst>
            </p:cNvPr>
            <p:cNvSpPr/>
            <p:nvPr/>
          </p:nvSpPr>
          <p:spPr>
            <a:xfrm>
              <a:off x="8369247" y="41527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5" name="object 245">
              <a:extLst>
                <a:ext uri="{FF2B5EF4-FFF2-40B4-BE49-F238E27FC236}">
                  <a16:creationId xmlns:a16="http://schemas.microsoft.com/office/drawing/2014/main" id="{0D4F30EB-46C1-64C6-69FF-1A9AFA2BE80C}"/>
                </a:ext>
              </a:extLst>
            </p:cNvPr>
            <p:cNvSpPr/>
            <p:nvPr/>
          </p:nvSpPr>
          <p:spPr>
            <a:xfrm>
              <a:off x="8649419" y="41399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6" name="object 246">
              <a:extLst>
                <a:ext uri="{FF2B5EF4-FFF2-40B4-BE49-F238E27FC236}">
                  <a16:creationId xmlns:a16="http://schemas.microsoft.com/office/drawing/2014/main" id="{D36D0A25-490E-5B44-9C82-DB8A3FFD361E}"/>
                </a:ext>
              </a:extLst>
            </p:cNvPr>
            <p:cNvSpPr/>
            <p:nvPr/>
          </p:nvSpPr>
          <p:spPr>
            <a:xfrm>
              <a:off x="8474448" y="41399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7" name="object 247">
              <a:extLst>
                <a:ext uri="{FF2B5EF4-FFF2-40B4-BE49-F238E27FC236}">
                  <a16:creationId xmlns:a16="http://schemas.microsoft.com/office/drawing/2014/main" id="{C0D4D524-C057-D2B7-C64E-1691ADC452AB}"/>
                </a:ext>
              </a:extLst>
            </p:cNvPr>
            <p:cNvSpPr/>
            <p:nvPr/>
          </p:nvSpPr>
          <p:spPr>
            <a:xfrm>
              <a:off x="8299478" y="41399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8" name="object 248">
              <a:extLst>
                <a:ext uri="{FF2B5EF4-FFF2-40B4-BE49-F238E27FC236}">
                  <a16:creationId xmlns:a16="http://schemas.microsoft.com/office/drawing/2014/main" id="{0998F248-ABE9-53A0-C4CC-4E150A34537E}"/>
                </a:ext>
              </a:extLst>
            </p:cNvPr>
            <p:cNvSpPr/>
            <p:nvPr/>
          </p:nvSpPr>
          <p:spPr>
            <a:xfrm>
              <a:off x="8299478" y="416545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9" name="object 249">
              <a:extLst>
                <a:ext uri="{FF2B5EF4-FFF2-40B4-BE49-F238E27FC236}">
                  <a16:creationId xmlns:a16="http://schemas.microsoft.com/office/drawing/2014/main" id="{81CF5420-D1C4-019C-18D1-5A0207847EB5}"/>
                </a:ext>
              </a:extLst>
            </p:cNvPr>
            <p:cNvSpPr/>
            <p:nvPr/>
          </p:nvSpPr>
          <p:spPr>
            <a:xfrm>
              <a:off x="8299588" y="4139955"/>
              <a:ext cx="15017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7650"/>
                <a:gd name="f4" fmla="val 84454"/>
                <a:gd name="f5" fmla="val 247458"/>
                <a:gd name="f6" fmla="val 84123"/>
                <a:gd name="f7" fmla="*/ f0 1 247650"/>
                <a:gd name="f8" fmla="*/ f1 1 84454"/>
                <a:gd name="f9" fmla="+- f4 0 f2"/>
                <a:gd name="f10" fmla="+- f3 0 f2"/>
                <a:gd name="f11" fmla="*/ f10 1 2476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76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0" name="object 250">
              <a:extLst>
                <a:ext uri="{FF2B5EF4-FFF2-40B4-BE49-F238E27FC236}">
                  <a16:creationId xmlns:a16="http://schemas.microsoft.com/office/drawing/2014/main" id="{FC0EBACD-FCDA-CAB5-2558-9457C2C6CFB4}"/>
                </a:ext>
              </a:extLst>
            </p:cNvPr>
            <p:cNvSpPr/>
            <p:nvPr/>
          </p:nvSpPr>
          <p:spPr>
            <a:xfrm>
              <a:off x="8299588" y="4212247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80"/>
                <a:gd name="f4" fmla="val 84454"/>
                <a:gd name="f5" fmla="val 576296"/>
                <a:gd name="f6" fmla="val 84123"/>
                <a:gd name="f7" fmla="*/ f0 1 576580"/>
                <a:gd name="f8" fmla="*/ f1 1 84454"/>
                <a:gd name="f9" fmla="+- f4 0 f2"/>
                <a:gd name="f10" fmla="+- f3 0 f2"/>
                <a:gd name="f11" fmla="*/ f10 1 57658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8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1" name="object 251">
              <a:extLst>
                <a:ext uri="{FF2B5EF4-FFF2-40B4-BE49-F238E27FC236}">
                  <a16:creationId xmlns:a16="http://schemas.microsoft.com/office/drawing/2014/main" id="{47C3642F-59BE-0CFD-04BD-58AE264629B0}"/>
                </a:ext>
              </a:extLst>
            </p:cNvPr>
            <p:cNvSpPr/>
            <p:nvPr/>
          </p:nvSpPr>
          <p:spPr>
            <a:xfrm>
              <a:off x="8579028" y="4225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2" name="object 252">
              <a:extLst>
                <a:ext uri="{FF2B5EF4-FFF2-40B4-BE49-F238E27FC236}">
                  <a16:creationId xmlns:a16="http://schemas.microsoft.com/office/drawing/2014/main" id="{524079D6-3C15-8B66-4FF7-6C5B84DB419F}"/>
                </a:ext>
              </a:extLst>
            </p:cNvPr>
            <p:cNvSpPr/>
            <p:nvPr/>
          </p:nvSpPr>
          <p:spPr>
            <a:xfrm>
              <a:off x="8614050" y="4225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3" name="object 253">
              <a:extLst>
                <a:ext uri="{FF2B5EF4-FFF2-40B4-BE49-F238E27FC236}">
                  <a16:creationId xmlns:a16="http://schemas.microsoft.com/office/drawing/2014/main" id="{DA466237-1BBF-FF51-AB6F-2034D62B4A58}"/>
                </a:ext>
              </a:extLst>
            </p:cNvPr>
            <p:cNvSpPr/>
            <p:nvPr/>
          </p:nvSpPr>
          <p:spPr>
            <a:xfrm>
              <a:off x="8508985" y="4225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4" name="object 254">
              <a:extLst>
                <a:ext uri="{FF2B5EF4-FFF2-40B4-BE49-F238E27FC236}">
                  <a16:creationId xmlns:a16="http://schemas.microsoft.com/office/drawing/2014/main" id="{86C66C96-3C6E-04EC-F291-241E2996EBEA}"/>
                </a:ext>
              </a:extLst>
            </p:cNvPr>
            <p:cNvSpPr/>
            <p:nvPr/>
          </p:nvSpPr>
          <p:spPr>
            <a:xfrm>
              <a:off x="8403921" y="4225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5" name="object 255">
              <a:extLst>
                <a:ext uri="{FF2B5EF4-FFF2-40B4-BE49-F238E27FC236}">
                  <a16:creationId xmlns:a16="http://schemas.microsoft.com/office/drawing/2014/main" id="{E4FE4524-EBAE-919E-7409-6EDD3B039B6A}"/>
                </a:ext>
              </a:extLst>
            </p:cNvPr>
            <p:cNvSpPr/>
            <p:nvPr/>
          </p:nvSpPr>
          <p:spPr>
            <a:xfrm>
              <a:off x="8439015" y="4225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6" name="object 256">
              <a:extLst>
                <a:ext uri="{FF2B5EF4-FFF2-40B4-BE49-F238E27FC236}">
                  <a16:creationId xmlns:a16="http://schemas.microsoft.com/office/drawing/2014/main" id="{151ED03F-07EC-6727-4F08-55E9F1DED185}"/>
                </a:ext>
              </a:extLst>
            </p:cNvPr>
            <p:cNvSpPr/>
            <p:nvPr/>
          </p:nvSpPr>
          <p:spPr>
            <a:xfrm>
              <a:off x="8333878" y="4225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7" name="object 257">
              <a:extLst>
                <a:ext uri="{FF2B5EF4-FFF2-40B4-BE49-F238E27FC236}">
                  <a16:creationId xmlns:a16="http://schemas.microsoft.com/office/drawing/2014/main" id="{F58F8572-6D63-981F-AFE0-B28F04BAF8FD}"/>
                </a:ext>
              </a:extLst>
            </p:cNvPr>
            <p:cNvSpPr/>
            <p:nvPr/>
          </p:nvSpPr>
          <p:spPr>
            <a:xfrm>
              <a:off x="8544007" y="4225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8" name="object 258">
              <a:extLst>
                <a:ext uri="{FF2B5EF4-FFF2-40B4-BE49-F238E27FC236}">
                  <a16:creationId xmlns:a16="http://schemas.microsoft.com/office/drawing/2014/main" id="{715FA3A0-A7AB-CF11-3035-4D5C51CEEE8F}"/>
                </a:ext>
              </a:extLst>
            </p:cNvPr>
            <p:cNvSpPr/>
            <p:nvPr/>
          </p:nvSpPr>
          <p:spPr>
            <a:xfrm>
              <a:off x="8368899" y="4225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9" name="object 259">
              <a:extLst>
                <a:ext uri="{FF2B5EF4-FFF2-40B4-BE49-F238E27FC236}">
                  <a16:creationId xmlns:a16="http://schemas.microsoft.com/office/drawing/2014/main" id="{B5E32C57-5D9E-C813-EE9B-0EE1C19F0ECF}"/>
                </a:ext>
              </a:extLst>
            </p:cNvPr>
            <p:cNvSpPr/>
            <p:nvPr/>
          </p:nvSpPr>
          <p:spPr>
            <a:xfrm>
              <a:off x="8649071" y="421224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0" name="object 260">
              <a:extLst>
                <a:ext uri="{FF2B5EF4-FFF2-40B4-BE49-F238E27FC236}">
                  <a16:creationId xmlns:a16="http://schemas.microsoft.com/office/drawing/2014/main" id="{6EDF588D-ECF7-9FBA-A444-25DB3E44B9B5}"/>
                </a:ext>
              </a:extLst>
            </p:cNvPr>
            <p:cNvSpPr/>
            <p:nvPr/>
          </p:nvSpPr>
          <p:spPr>
            <a:xfrm>
              <a:off x="8474101" y="421224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1" name="object 261">
              <a:extLst>
                <a:ext uri="{FF2B5EF4-FFF2-40B4-BE49-F238E27FC236}">
                  <a16:creationId xmlns:a16="http://schemas.microsoft.com/office/drawing/2014/main" id="{5093440B-8959-5C15-5286-DBA8078B5FB8}"/>
                </a:ext>
              </a:extLst>
            </p:cNvPr>
            <p:cNvSpPr/>
            <p:nvPr/>
          </p:nvSpPr>
          <p:spPr>
            <a:xfrm>
              <a:off x="8299130" y="421224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2" name="object 262">
              <a:extLst>
                <a:ext uri="{FF2B5EF4-FFF2-40B4-BE49-F238E27FC236}">
                  <a16:creationId xmlns:a16="http://schemas.microsoft.com/office/drawing/2014/main" id="{004B5A88-4703-9F40-32A1-00A35BCC5D43}"/>
                </a:ext>
              </a:extLst>
            </p:cNvPr>
            <p:cNvSpPr/>
            <p:nvPr/>
          </p:nvSpPr>
          <p:spPr>
            <a:xfrm>
              <a:off x="8474101" y="421224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3" name="object 263">
              <a:extLst>
                <a:ext uri="{FF2B5EF4-FFF2-40B4-BE49-F238E27FC236}">
                  <a16:creationId xmlns:a16="http://schemas.microsoft.com/office/drawing/2014/main" id="{04F67E23-37C8-6C4F-BAC4-89CEDB65A4F4}"/>
                </a:ext>
              </a:extLst>
            </p:cNvPr>
            <p:cNvSpPr/>
            <p:nvPr/>
          </p:nvSpPr>
          <p:spPr>
            <a:xfrm>
              <a:off x="8299130" y="423775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64" name="object 264">
            <a:extLst>
              <a:ext uri="{FF2B5EF4-FFF2-40B4-BE49-F238E27FC236}">
                <a16:creationId xmlns:a16="http://schemas.microsoft.com/office/drawing/2014/main" id="{C1BDFEAC-B24D-B5A9-CA4A-F6D1DFE69F0B}"/>
              </a:ext>
            </a:extLst>
          </p:cNvPr>
          <p:cNvGrpSpPr/>
          <p:nvPr/>
        </p:nvGrpSpPr>
        <p:grpSpPr>
          <a:xfrm>
            <a:off x="8299130" y="4901421"/>
            <a:ext cx="350371" cy="123517"/>
            <a:chOff x="8299130" y="4901421"/>
            <a:chExt cx="350371" cy="123517"/>
          </a:xfrm>
        </p:grpSpPr>
        <p:sp>
          <p:nvSpPr>
            <p:cNvPr id="265" name="object 265">
              <a:extLst>
                <a:ext uri="{FF2B5EF4-FFF2-40B4-BE49-F238E27FC236}">
                  <a16:creationId xmlns:a16="http://schemas.microsoft.com/office/drawing/2014/main" id="{778877A8-6F62-CDDA-FCFF-A9F6A65DCC29}"/>
                </a:ext>
              </a:extLst>
            </p:cNvPr>
            <p:cNvSpPr/>
            <p:nvPr/>
          </p:nvSpPr>
          <p:spPr>
            <a:xfrm>
              <a:off x="8579376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6" name="object 266">
              <a:extLst>
                <a:ext uri="{FF2B5EF4-FFF2-40B4-BE49-F238E27FC236}">
                  <a16:creationId xmlns:a16="http://schemas.microsoft.com/office/drawing/2014/main" id="{5B1DC56D-7CAA-49CC-ADC9-1D4220436A6C}"/>
                </a:ext>
              </a:extLst>
            </p:cNvPr>
            <p:cNvSpPr/>
            <p:nvPr/>
          </p:nvSpPr>
          <p:spPr>
            <a:xfrm>
              <a:off x="8614397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7" name="object 267">
              <a:extLst>
                <a:ext uri="{FF2B5EF4-FFF2-40B4-BE49-F238E27FC236}">
                  <a16:creationId xmlns:a16="http://schemas.microsoft.com/office/drawing/2014/main" id="{75DB9C6D-831D-92AE-5073-A0907A00DAF0}"/>
                </a:ext>
              </a:extLst>
            </p:cNvPr>
            <p:cNvSpPr/>
            <p:nvPr/>
          </p:nvSpPr>
          <p:spPr>
            <a:xfrm>
              <a:off x="8509333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8" name="object 268">
              <a:extLst>
                <a:ext uri="{FF2B5EF4-FFF2-40B4-BE49-F238E27FC236}">
                  <a16:creationId xmlns:a16="http://schemas.microsoft.com/office/drawing/2014/main" id="{DE1AAE6C-D053-2BDF-AD6C-C4031900876F}"/>
                </a:ext>
              </a:extLst>
            </p:cNvPr>
            <p:cNvSpPr/>
            <p:nvPr/>
          </p:nvSpPr>
          <p:spPr>
            <a:xfrm>
              <a:off x="8404268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9" name="object 269">
              <a:extLst>
                <a:ext uri="{FF2B5EF4-FFF2-40B4-BE49-F238E27FC236}">
                  <a16:creationId xmlns:a16="http://schemas.microsoft.com/office/drawing/2014/main" id="{4475B035-486C-DCFC-A86C-5092F4F2C677}"/>
                </a:ext>
              </a:extLst>
            </p:cNvPr>
            <p:cNvSpPr/>
            <p:nvPr/>
          </p:nvSpPr>
          <p:spPr>
            <a:xfrm>
              <a:off x="8439354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0" name="object 270">
              <a:extLst>
                <a:ext uri="{FF2B5EF4-FFF2-40B4-BE49-F238E27FC236}">
                  <a16:creationId xmlns:a16="http://schemas.microsoft.com/office/drawing/2014/main" id="{27B9CFCE-3D30-D789-B308-4FEEE64800B0}"/>
                </a:ext>
              </a:extLst>
            </p:cNvPr>
            <p:cNvSpPr/>
            <p:nvPr/>
          </p:nvSpPr>
          <p:spPr>
            <a:xfrm>
              <a:off x="8334225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1" name="object 271">
              <a:extLst>
                <a:ext uri="{FF2B5EF4-FFF2-40B4-BE49-F238E27FC236}">
                  <a16:creationId xmlns:a16="http://schemas.microsoft.com/office/drawing/2014/main" id="{CEDB2D78-C44C-FD85-82FA-024895FB5955}"/>
                </a:ext>
              </a:extLst>
            </p:cNvPr>
            <p:cNvSpPr/>
            <p:nvPr/>
          </p:nvSpPr>
          <p:spPr>
            <a:xfrm>
              <a:off x="8544354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2" name="object 272">
              <a:extLst>
                <a:ext uri="{FF2B5EF4-FFF2-40B4-BE49-F238E27FC236}">
                  <a16:creationId xmlns:a16="http://schemas.microsoft.com/office/drawing/2014/main" id="{77903E51-9D22-746E-2AA6-F66A58F1946F}"/>
                </a:ext>
              </a:extLst>
            </p:cNvPr>
            <p:cNvSpPr/>
            <p:nvPr/>
          </p:nvSpPr>
          <p:spPr>
            <a:xfrm>
              <a:off x="8369247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3" name="object 273">
              <a:extLst>
                <a:ext uri="{FF2B5EF4-FFF2-40B4-BE49-F238E27FC236}">
                  <a16:creationId xmlns:a16="http://schemas.microsoft.com/office/drawing/2014/main" id="{2BB9A0D6-920F-A9F9-CC2E-C27B96266EC4}"/>
                </a:ext>
              </a:extLst>
            </p:cNvPr>
            <p:cNvSpPr/>
            <p:nvPr/>
          </p:nvSpPr>
          <p:spPr>
            <a:xfrm>
              <a:off x="8649419" y="49014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4" name="object 274">
              <a:extLst>
                <a:ext uri="{FF2B5EF4-FFF2-40B4-BE49-F238E27FC236}">
                  <a16:creationId xmlns:a16="http://schemas.microsoft.com/office/drawing/2014/main" id="{30F619A1-464F-F3AF-74A1-01AF987593C1}"/>
                </a:ext>
              </a:extLst>
            </p:cNvPr>
            <p:cNvSpPr/>
            <p:nvPr/>
          </p:nvSpPr>
          <p:spPr>
            <a:xfrm>
              <a:off x="8474448" y="49014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5" name="object 275">
              <a:extLst>
                <a:ext uri="{FF2B5EF4-FFF2-40B4-BE49-F238E27FC236}">
                  <a16:creationId xmlns:a16="http://schemas.microsoft.com/office/drawing/2014/main" id="{91862093-0484-0B36-C8EC-D812B161B51E}"/>
                </a:ext>
              </a:extLst>
            </p:cNvPr>
            <p:cNvSpPr/>
            <p:nvPr/>
          </p:nvSpPr>
          <p:spPr>
            <a:xfrm>
              <a:off x="8299478" y="49014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6" name="object 276">
              <a:extLst>
                <a:ext uri="{FF2B5EF4-FFF2-40B4-BE49-F238E27FC236}">
                  <a16:creationId xmlns:a16="http://schemas.microsoft.com/office/drawing/2014/main" id="{E646F23B-EE7B-ED39-1115-C582411C99BC}"/>
                </a:ext>
              </a:extLst>
            </p:cNvPr>
            <p:cNvSpPr/>
            <p:nvPr/>
          </p:nvSpPr>
          <p:spPr>
            <a:xfrm>
              <a:off x="8299478" y="492693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7" name="object 277">
              <a:extLst>
                <a:ext uri="{FF2B5EF4-FFF2-40B4-BE49-F238E27FC236}">
                  <a16:creationId xmlns:a16="http://schemas.microsoft.com/office/drawing/2014/main" id="{A1A93B0B-04E5-D554-FF95-AA586BCFA7E9}"/>
                </a:ext>
              </a:extLst>
            </p:cNvPr>
            <p:cNvSpPr/>
            <p:nvPr/>
          </p:nvSpPr>
          <p:spPr>
            <a:xfrm>
              <a:off x="8299588" y="4901421"/>
              <a:ext cx="4505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4294"/>
                <a:gd name="f4" fmla="val 84454"/>
                <a:gd name="f5" fmla="val 74060"/>
                <a:gd name="f6" fmla="val 84123"/>
                <a:gd name="f7" fmla="*/ f0 1 74294"/>
                <a:gd name="f8" fmla="*/ f1 1 84454"/>
                <a:gd name="f9" fmla="+- f4 0 f2"/>
                <a:gd name="f10" fmla="+- f3 0 f2"/>
                <a:gd name="f11" fmla="*/ f10 1 7429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7429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8" name="object 278">
              <a:extLst>
                <a:ext uri="{FF2B5EF4-FFF2-40B4-BE49-F238E27FC236}">
                  <a16:creationId xmlns:a16="http://schemas.microsoft.com/office/drawing/2014/main" id="{B1ED5B61-A9C6-4E60-E6D7-329180247C46}"/>
                </a:ext>
              </a:extLst>
            </p:cNvPr>
            <p:cNvSpPr/>
            <p:nvPr/>
          </p:nvSpPr>
          <p:spPr>
            <a:xfrm>
              <a:off x="8299588" y="4973723"/>
              <a:ext cx="8702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3509"/>
                <a:gd name="f4" fmla="val 84454"/>
                <a:gd name="f5" fmla="val 143116"/>
                <a:gd name="f6" fmla="val 84123"/>
                <a:gd name="f7" fmla="*/ f0 1 143509"/>
                <a:gd name="f8" fmla="*/ f1 1 84454"/>
                <a:gd name="f9" fmla="+- f4 0 f2"/>
                <a:gd name="f10" fmla="+- f3 0 f2"/>
                <a:gd name="f11" fmla="*/ f10 1 1435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35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9" name="object 279">
              <a:extLst>
                <a:ext uri="{FF2B5EF4-FFF2-40B4-BE49-F238E27FC236}">
                  <a16:creationId xmlns:a16="http://schemas.microsoft.com/office/drawing/2014/main" id="{59CDBD70-CC7F-50C8-220A-F6AB2F83CFF5}"/>
                </a:ext>
              </a:extLst>
            </p:cNvPr>
            <p:cNvSpPr/>
            <p:nvPr/>
          </p:nvSpPr>
          <p:spPr>
            <a:xfrm>
              <a:off x="8579028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0" name="object 280">
              <a:extLst>
                <a:ext uri="{FF2B5EF4-FFF2-40B4-BE49-F238E27FC236}">
                  <a16:creationId xmlns:a16="http://schemas.microsoft.com/office/drawing/2014/main" id="{BD3EFD38-0275-8B16-3549-457CB2C3E013}"/>
                </a:ext>
              </a:extLst>
            </p:cNvPr>
            <p:cNvSpPr/>
            <p:nvPr/>
          </p:nvSpPr>
          <p:spPr>
            <a:xfrm>
              <a:off x="8614050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1" name="object 281">
              <a:extLst>
                <a:ext uri="{FF2B5EF4-FFF2-40B4-BE49-F238E27FC236}">
                  <a16:creationId xmlns:a16="http://schemas.microsoft.com/office/drawing/2014/main" id="{EF8195E0-2CDB-9859-53BB-313DB24844BC}"/>
                </a:ext>
              </a:extLst>
            </p:cNvPr>
            <p:cNvSpPr/>
            <p:nvPr/>
          </p:nvSpPr>
          <p:spPr>
            <a:xfrm>
              <a:off x="8508985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2" name="object 282">
              <a:extLst>
                <a:ext uri="{FF2B5EF4-FFF2-40B4-BE49-F238E27FC236}">
                  <a16:creationId xmlns:a16="http://schemas.microsoft.com/office/drawing/2014/main" id="{23059223-241A-F3D0-4359-CF2018769C59}"/>
                </a:ext>
              </a:extLst>
            </p:cNvPr>
            <p:cNvSpPr/>
            <p:nvPr/>
          </p:nvSpPr>
          <p:spPr>
            <a:xfrm>
              <a:off x="8403921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3" name="object 283">
              <a:extLst>
                <a:ext uri="{FF2B5EF4-FFF2-40B4-BE49-F238E27FC236}">
                  <a16:creationId xmlns:a16="http://schemas.microsoft.com/office/drawing/2014/main" id="{BFC3F1C7-4E96-F76E-D0DA-D7C89409B64C}"/>
                </a:ext>
              </a:extLst>
            </p:cNvPr>
            <p:cNvSpPr/>
            <p:nvPr/>
          </p:nvSpPr>
          <p:spPr>
            <a:xfrm>
              <a:off x="8439015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4" name="object 284">
              <a:extLst>
                <a:ext uri="{FF2B5EF4-FFF2-40B4-BE49-F238E27FC236}">
                  <a16:creationId xmlns:a16="http://schemas.microsoft.com/office/drawing/2014/main" id="{B3335ED0-C351-23E1-ADD2-28BC4029E581}"/>
                </a:ext>
              </a:extLst>
            </p:cNvPr>
            <p:cNvSpPr/>
            <p:nvPr/>
          </p:nvSpPr>
          <p:spPr>
            <a:xfrm>
              <a:off x="8333878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5" name="object 285">
              <a:extLst>
                <a:ext uri="{FF2B5EF4-FFF2-40B4-BE49-F238E27FC236}">
                  <a16:creationId xmlns:a16="http://schemas.microsoft.com/office/drawing/2014/main" id="{71F91B88-DCBB-4C60-DBCD-4DFD6ECC2E3E}"/>
                </a:ext>
              </a:extLst>
            </p:cNvPr>
            <p:cNvSpPr/>
            <p:nvPr/>
          </p:nvSpPr>
          <p:spPr>
            <a:xfrm>
              <a:off x="8544007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6" name="object 286">
              <a:extLst>
                <a:ext uri="{FF2B5EF4-FFF2-40B4-BE49-F238E27FC236}">
                  <a16:creationId xmlns:a16="http://schemas.microsoft.com/office/drawing/2014/main" id="{D6C26093-83E2-BC38-BD99-57D36E975750}"/>
                </a:ext>
              </a:extLst>
            </p:cNvPr>
            <p:cNvSpPr/>
            <p:nvPr/>
          </p:nvSpPr>
          <p:spPr>
            <a:xfrm>
              <a:off x="8368899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7" name="object 287">
              <a:extLst>
                <a:ext uri="{FF2B5EF4-FFF2-40B4-BE49-F238E27FC236}">
                  <a16:creationId xmlns:a16="http://schemas.microsoft.com/office/drawing/2014/main" id="{560824B4-7E0A-969E-7F48-5F9D83377F57}"/>
                </a:ext>
              </a:extLst>
            </p:cNvPr>
            <p:cNvSpPr/>
            <p:nvPr/>
          </p:nvSpPr>
          <p:spPr>
            <a:xfrm>
              <a:off x="8649071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8" name="object 288">
              <a:extLst>
                <a:ext uri="{FF2B5EF4-FFF2-40B4-BE49-F238E27FC236}">
                  <a16:creationId xmlns:a16="http://schemas.microsoft.com/office/drawing/2014/main" id="{3407D871-D77E-905F-AA28-3FE133A7CDE8}"/>
                </a:ext>
              </a:extLst>
            </p:cNvPr>
            <p:cNvSpPr/>
            <p:nvPr/>
          </p:nvSpPr>
          <p:spPr>
            <a:xfrm>
              <a:off x="8474101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9" name="object 289">
              <a:extLst>
                <a:ext uri="{FF2B5EF4-FFF2-40B4-BE49-F238E27FC236}">
                  <a16:creationId xmlns:a16="http://schemas.microsoft.com/office/drawing/2014/main" id="{C1DF8EBA-36F1-BBB0-BD87-6D406A7B54B7}"/>
                </a:ext>
              </a:extLst>
            </p:cNvPr>
            <p:cNvSpPr/>
            <p:nvPr/>
          </p:nvSpPr>
          <p:spPr>
            <a:xfrm>
              <a:off x="8299130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0" name="object 290">
              <a:extLst>
                <a:ext uri="{FF2B5EF4-FFF2-40B4-BE49-F238E27FC236}">
                  <a16:creationId xmlns:a16="http://schemas.microsoft.com/office/drawing/2014/main" id="{9C7A10E1-00CD-A1BF-D39B-6E9629993A3D}"/>
                </a:ext>
              </a:extLst>
            </p:cNvPr>
            <p:cNvSpPr/>
            <p:nvPr/>
          </p:nvSpPr>
          <p:spPr>
            <a:xfrm>
              <a:off x="8474101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1" name="object 291">
              <a:extLst>
                <a:ext uri="{FF2B5EF4-FFF2-40B4-BE49-F238E27FC236}">
                  <a16:creationId xmlns:a16="http://schemas.microsoft.com/office/drawing/2014/main" id="{1D420694-28D7-3222-705F-FE28B4A71306}"/>
                </a:ext>
              </a:extLst>
            </p:cNvPr>
            <p:cNvSpPr/>
            <p:nvPr/>
          </p:nvSpPr>
          <p:spPr>
            <a:xfrm>
              <a:off x="8299130" y="499922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92" name="object 292">
            <a:extLst>
              <a:ext uri="{FF2B5EF4-FFF2-40B4-BE49-F238E27FC236}">
                <a16:creationId xmlns:a16="http://schemas.microsoft.com/office/drawing/2014/main" id="{FBD52AE6-906E-30DF-D6BF-9D7454FDB40D}"/>
              </a:ext>
            </a:extLst>
          </p:cNvPr>
          <p:cNvGrpSpPr/>
          <p:nvPr/>
        </p:nvGrpSpPr>
        <p:grpSpPr>
          <a:xfrm>
            <a:off x="8299130" y="5664451"/>
            <a:ext cx="350371" cy="123526"/>
            <a:chOff x="8299130" y="5664451"/>
            <a:chExt cx="350371" cy="123526"/>
          </a:xfrm>
        </p:grpSpPr>
        <p:sp>
          <p:nvSpPr>
            <p:cNvPr id="293" name="object 293">
              <a:extLst>
                <a:ext uri="{FF2B5EF4-FFF2-40B4-BE49-F238E27FC236}">
                  <a16:creationId xmlns:a16="http://schemas.microsoft.com/office/drawing/2014/main" id="{433730DC-0ED5-F58A-5E7A-B7BF81AD6ED4}"/>
                </a:ext>
              </a:extLst>
            </p:cNvPr>
            <p:cNvSpPr/>
            <p:nvPr/>
          </p:nvSpPr>
          <p:spPr>
            <a:xfrm>
              <a:off x="8579376" y="56772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4" name="object 294">
              <a:extLst>
                <a:ext uri="{FF2B5EF4-FFF2-40B4-BE49-F238E27FC236}">
                  <a16:creationId xmlns:a16="http://schemas.microsoft.com/office/drawing/2014/main" id="{4C15139A-06EB-277C-2568-2EF46827FDA4}"/>
                </a:ext>
              </a:extLst>
            </p:cNvPr>
            <p:cNvSpPr/>
            <p:nvPr/>
          </p:nvSpPr>
          <p:spPr>
            <a:xfrm>
              <a:off x="8614397" y="56772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5" name="object 295">
              <a:extLst>
                <a:ext uri="{FF2B5EF4-FFF2-40B4-BE49-F238E27FC236}">
                  <a16:creationId xmlns:a16="http://schemas.microsoft.com/office/drawing/2014/main" id="{3CFFD78F-3375-DF3D-1ED6-21129C192B52}"/>
                </a:ext>
              </a:extLst>
            </p:cNvPr>
            <p:cNvSpPr/>
            <p:nvPr/>
          </p:nvSpPr>
          <p:spPr>
            <a:xfrm>
              <a:off x="8509333" y="56772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6" name="object 296">
              <a:extLst>
                <a:ext uri="{FF2B5EF4-FFF2-40B4-BE49-F238E27FC236}">
                  <a16:creationId xmlns:a16="http://schemas.microsoft.com/office/drawing/2014/main" id="{D69E405B-3FE1-3D53-1E9A-B438A386FA49}"/>
                </a:ext>
              </a:extLst>
            </p:cNvPr>
            <p:cNvSpPr/>
            <p:nvPr/>
          </p:nvSpPr>
          <p:spPr>
            <a:xfrm>
              <a:off x="8404268" y="56772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7" name="object 297">
              <a:extLst>
                <a:ext uri="{FF2B5EF4-FFF2-40B4-BE49-F238E27FC236}">
                  <a16:creationId xmlns:a16="http://schemas.microsoft.com/office/drawing/2014/main" id="{6E8A8958-8EC4-1EEC-4965-4C65262FC440}"/>
                </a:ext>
              </a:extLst>
            </p:cNvPr>
            <p:cNvSpPr/>
            <p:nvPr/>
          </p:nvSpPr>
          <p:spPr>
            <a:xfrm>
              <a:off x="8439354" y="56772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8" name="object 298">
              <a:extLst>
                <a:ext uri="{FF2B5EF4-FFF2-40B4-BE49-F238E27FC236}">
                  <a16:creationId xmlns:a16="http://schemas.microsoft.com/office/drawing/2014/main" id="{220E6DD5-269C-68C0-7CDC-C4E570AB119E}"/>
                </a:ext>
              </a:extLst>
            </p:cNvPr>
            <p:cNvSpPr/>
            <p:nvPr/>
          </p:nvSpPr>
          <p:spPr>
            <a:xfrm>
              <a:off x="8334225" y="56772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9" name="object 299">
              <a:extLst>
                <a:ext uri="{FF2B5EF4-FFF2-40B4-BE49-F238E27FC236}">
                  <a16:creationId xmlns:a16="http://schemas.microsoft.com/office/drawing/2014/main" id="{533CD1E1-CFEA-7872-0739-23A7C28F4800}"/>
                </a:ext>
              </a:extLst>
            </p:cNvPr>
            <p:cNvSpPr/>
            <p:nvPr/>
          </p:nvSpPr>
          <p:spPr>
            <a:xfrm>
              <a:off x="8544354" y="56772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0" name="object 300">
              <a:extLst>
                <a:ext uri="{FF2B5EF4-FFF2-40B4-BE49-F238E27FC236}">
                  <a16:creationId xmlns:a16="http://schemas.microsoft.com/office/drawing/2014/main" id="{93D910EA-96C0-B85E-C334-B7B9F88C8904}"/>
                </a:ext>
              </a:extLst>
            </p:cNvPr>
            <p:cNvSpPr/>
            <p:nvPr/>
          </p:nvSpPr>
          <p:spPr>
            <a:xfrm>
              <a:off x="8369247" y="56772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1" name="object 301">
              <a:extLst>
                <a:ext uri="{FF2B5EF4-FFF2-40B4-BE49-F238E27FC236}">
                  <a16:creationId xmlns:a16="http://schemas.microsoft.com/office/drawing/2014/main" id="{11F3AA8E-C2FE-4F61-85C4-86D1BBB2C34F}"/>
                </a:ext>
              </a:extLst>
            </p:cNvPr>
            <p:cNvSpPr/>
            <p:nvPr/>
          </p:nvSpPr>
          <p:spPr>
            <a:xfrm>
              <a:off x="8649419" y="56644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2" name="object 302">
              <a:extLst>
                <a:ext uri="{FF2B5EF4-FFF2-40B4-BE49-F238E27FC236}">
                  <a16:creationId xmlns:a16="http://schemas.microsoft.com/office/drawing/2014/main" id="{57B2B817-7368-285C-95DE-7E68920733BE}"/>
                </a:ext>
              </a:extLst>
            </p:cNvPr>
            <p:cNvSpPr/>
            <p:nvPr/>
          </p:nvSpPr>
          <p:spPr>
            <a:xfrm>
              <a:off x="8474448" y="56644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3" name="object 303">
              <a:extLst>
                <a:ext uri="{FF2B5EF4-FFF2-40B4-BE49-F238E27FC236}">
                  <a16:creationId xmlns:a16="http://schemas.microsoft.com/office/drawing/2014/main" id="{40B65691-B04D-2B06-450E-0D7223240B16}"/>
                </a:ext>
              </a:extLst>
            </p:cNvPr>
            <p:cNvSpPr/>
            <p:nvPr/>
          </p:nvSpPr>
          <p:spPr>
            <a:xfrm>
              <a:off x="8299478" y="56644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4" name="object 304">
              <a:extLst>
                <a:ext uri="{FF2B5EF4-FFF2-40B4-BE49-F238E27FC236}">
                  <a16:creationId xmlns:a16="http://schemas.microsoft.com/office/drawing/2014/main" id="{FCC128E7-6404-E178-0A15-B22CDAA685FD}"/>
                </a:ext>
              </a:extLst>
            </p:cNvPr>
            <p:cNvSpPr/>
            <p:nvPr/>
          </p:nvSpPr>
          <p:spPr>
            <a:xfrm>
              <a:off x="8299478" y="568996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5" name="object 305">
              <a:extLst>
                <a:ext uri="{FF2B5EF4-FFF2-40B4-BE49-F238E27FC236}">
                  <a16:creationId xmlns:a16="http://schemas.microsoft.com/office/drawing/2014/main" id="{CA577757-DB2E-7A77-2D92-513A90D13AA9}"/>
                </a:ext>
              </a:extLst>
            </p:cNvPr>
            <p:cNvSpPr/>
            <p:nvPr/>
          </p:nvSpPr>
          <p:spPr>
            <a:xfrm>
              <a:off x="8299588" y="5664461"/>
              <a:ext cx="7662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6365"/>
                <a:gd name="f4" fmla="val 84454"/>
                <a:gd name="f5" fmla="val 126195"/>
                <a:gd name="f6" fmla="val 84123"/>
                <a:gd name="f7" fmla="*/ f0 1 126365"/>
                <a:gd name="f8" fmla="*/ f1 1 84454"/>
                <a:gd name="f9" fmla="+- f4 0 f2"/>
                <a:gd name="f10" fmla="+- f3 0 f2"/>
                <a:gd name="f11" fmla="*/ f10 1 1263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63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6" name="object 306">
              <a:extLst>
                <a:ext uri="{FF2B5EF4-FFF2-40B4-BE49-F238E27FC236}">
                  <a16:creationId xmlns:a16="http://schemas.microsoft.com/office/drawing/2014/main" id="{2571C5F1-D78B-536E-B0F6-F5E29FA83D03}"/>
                </a:ext>
              </a:extLst>
            </p:cNvPr>
            <p:cNvSpPr/>
            <p:nvPr/>
          </p:nvSpPr>
          <p:spPr>
            <a:xfrm>
              <a:off x="8299588" y="5736762"/>
              <a:ext cx="1239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04469"/>
                <a:gd name="f4" fmla="val 84454"/>
                <a:gd name="f5" fmla="val 204161"/>
                <a:gd name="f6" fmla="val 84123"/>
                <a:gd name="f7" fmla="*/ f0 1 204469"/>
                <a:gd name="f8" fmla="*/ f1 1 84454"/>
                <a:gd name="f9" fmla="+- f4 0 f2"/>
                <a:gd name="f10" fmla="+- f3 0 f2"/>
                <a:gd name="f11" fmla="*/ f10 1 20446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0446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7" name="object 307">
              <a:extLst>
                <a:ext uri="{FF2B5EF4-FFF2-40B4-BE49-F238E27FC236}">
                  <a16:creationId xmlns:a16="http://schemas.microsoft.com/office/drawing/2014/main" id="{B4F608D0-3ADD-F04C-F0C3-FEEB34FE7648}"/>
                </a:ext>
              </a:extLst>
            </p:cNvPr>
            <p:cNvSpPr/>
            <p:nvPr/>
          </p:nvSpPr>
          <p:spPr>
            <a:xfrm>
              <a:off x="8579028" y="57495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8" name="object 308">
              <a:extLst>
                <a:ext uri="{FF2B5EF4-FFF2-40B4-BE49-F238E27FC236}">
                  <a16:creationId xmlns:a16="http://schemas.microsoft.com/office/drawing/2014/main" id="{9AB75B21-350B-39AB-DFA1-BDDDA702FFE0}"/>
                </a:ext>
              </a:extLst>
            </p:cNvPr>
            <p:cNvSpPr/>
            <p:nvPr/>
          </p:nvSpPr>
          <p:spPr>
            <a:xfrm>
              <a:off x="8614050" y="57495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9" name="object 309">
              <a:extLst>
                <a:ext uri="{FF2B5EF4-FFF2-40B4-BE49-F238E27FC236}">
                  <a16:creationId xmlns:a16="http://schemas.microsoft.com/office/drawing/2014/main" id="{F8CC5919-955D-65FF-ED2A-3B85CB0B2239}"/>
                </a:ext>
              </a:extLst>
            </p:cNvPr>
            <p:cNvSpPr/>
            <p:nvPr/>
          </p:nvSpPr>
          <p:spPr>
            <a:xfrm>
              <a:off x="8508985" y="57495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0" name="object 310">
              <a:extLst>
                <a:ext uri="{FF2B5EF4-FFF2-40B4-BE49-F238E27FC236}">
                  <a16:creationId xmlns:a16="http://schemas.microsoft.com/office/drawing/2014/main" id="{F7D6B5C7-A9CC-AACE-21BC-C3CB3C2ABB17}"/>
                </a:ext>
              </a:extLst>
            </p:cNvPr>
            <p:cNvSpPr/>
            <p:nvPr/>
          </p:nvSpPr>
          <p:spPr>
            <a:xfrm>
              <a:off x="8403921" y="57495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1" name="object 311">
              <a:extLst>
                <a:ext uri="{FF2B5EF4-FFF2-40B4-BE49-F238E27FC236}">
                  <a16:creationId xmlns:a16="http://schemas.microsoft.com/office/drawing/2014/main" id="{EBF6D8D8-1BCF-4031-B786-69DFBBDF368C}"/>
                </a:ext>
              </a:extLst>
            </p:cNvPr>
            <p:cNvSpPr/>
            <p:nvPr/>
          </p:nvSpPr>
          <p:spPr>
            <a:xfrm>
              <a:off x="8439015" y="57495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2" name="object 312">
              <a:extLst>
                <a:ext uri="{FF2B5EF4-FFF2-40B4-BE49-F238E27FC236}">
                  <a16:creationId xmlns:a16="http://schemas.microsoft.com/office/drawing/2014/main" id="{CCEFD744-39EA-55D8-93A7-85A73E7D06BB}"/>
                </a:ext>
              </a:extLst>
            </p:cNvPr>
            <p:cNvSpPr/>
            <p:nvPr/>
          </p:nvSpPr>
          <p:spPr>
            <a:xfrm>
              <a:off x="8333878" y="57495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3" name="object 313">
              <a:extLst>
                <a:ext uri="{FF2B5EF4-FFF2-40B4-BE49-F238E27FC236}">
                  <a16:creationId xmlns:a16="http://schemas.microsoft.com/office/drawing/2014/main" id="{F7E745FF-2417-5480-FC9D-F0240BF8EDE3}"/>
                </a:ext>
              </a:extLst>
            </p:cNvPr>
            <p:cNvSpPr/>
            <p:nvPr/>
          </p:nvSpPr>
          <p:spPr>
            <a:xfrm>
              <a:off x="8544007" y="57495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4" name="object 314">
              <a:extLst>
                <a:ext uri="{FF2B5EF4-FFF2-40B4-BE49-F238E27FC236}">
                  <a16:creationId xmlns:a16="http://schemas.microsoft.com/office/drawing/2014/main" id="{D89BE92E-9F6A-1132-D5B4-F840CA7160B6}"/>
                </a:ext>
              </a:extLst>
            </p:cNvPr>
            <p:cNvSpPr/>
            <p:nvPr/>
          </p:nvSpPr>
          <p:spPr>
            <a:xfrm>
              <a:off x="8368899" y="57495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5" name="object 315">
              <a:extLst>
                <a:ext uri="{FF2B5EF4-FFF2-40B4-BE49-F238E27FC236}">
                  <a16:creationId xmlns:a16="http://schemas.microsoft.com/office/drawing/2014/main" id="{478C4CD9-E896-5A1F-75DF-E55349E8094F}"/>
                </a:ext>
              </a:extLst>
            </p:cNvPr>
            <p:cNvSpPr/>
            <p:nvPr/>
          </p:nvSpPr>
          <p:spPr>
            <a:xfrm>
              <a:off x="8649071" y="57367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6" name="object 316">
              <a:extLst>
                <a:ext uri="{FF2B5EF4-FFF2-40B4-BE49-F238E27FC236}">
                  <a16:creationId xmlns:a16="http://schemas.microsoft.com/office/drawing/2014/main" id="{C61C7A1D-9C14-63F3-762E-AD6E74A6830F}"/>
                </a:ext>
              </a:extLst>
            </p:cNvPr>
            <p:cNvSpPr/>
            <p:nvPr/>
          </p:nvSpPr>
          <p:spPr>
            <a:xfrm>
              <a:off x="8474101" y="57367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7" name="object 317">
              <a:extLst>
                <a:ext uri="{FF2B5EF4-FFF2-40B4-BE49-F238E27FC236}">
                  <a16:creationId xmlns:a16="http://schemas.microsoft.com/office/drawing/2014/main" id="{AFC8E631-5714-C9F8-83C8-8FE8D532909E}"/>
                </a:ext>
              </a:extLst>
            </p:cNvPr>
            <p:cNvSpPr/>
            <p:nvPr/>
          </p:nvSpPr>
          <p:spPr>
            <a:xfrm>
              <a:off x="8299130" y="57367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8" name="object 318">
              <a:extLst>
                <a:ext uri="{FF2B5EF4-FFF2-40B4-BE49-F238E27FC236}">
                  <a16:creationId xmlns:a16="http://schemas.microsoft.com/office/drawing/2014/main" id="{98F6E5A5-1053-8F63-0FC6-1C122EE56FB3}"/>
                </a:ext>
              </a:extLst>
            </p:cNvPr>
            <p:cNvSpPr/>
            <p:nvPr/>
          </p:nvSpPr>
          <p:spPr>
            <a:xfrm>
              <a:off x="8474101" y="57367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9" name="object 319">
              <a:extLst>
                <a:ext uri="{FF2B5EF4-FFF2-40B4-BE49-F238E27FC236}">
                  <a16:creationId xmlns:a16="http://schemas.microsoft.com/office/drawing/2014/main" id="{D56025F7-E631-1783-157B-1BB3C4C59ED9}"/>
                </a:ext>
              </a:extLst>
            </p:cNvPr>
            <p:cNvSpPr/>
            <p:nvPr/>
          </p:nvSpPr>
          <p:spPr>
            <a:xfrm>
              <a:off x="8299130" y="576225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20" name="object 320">
            <a:extLst>
              <a:ext uri="{FF2B5EF4-FFF2-40B4-BE49-F238E27FC236}">
                <a16:creationId xmlns:a16="http://schemas.microsoft.com/office/drawing/2014/main" id="{F8634551-6DFF-54C7-0A47-923416BDDA94}"/>
              </a:ext>
            </a:extLst>
          </p:cNvPr>
          <p:cNvGrpSpPr/>
          <p:nvPr/>
        </p:nvGrpSpPr>
        <p:grpSpPr>
          <a:xfrm>
            <a:off x="8299130" y="6427052"/>
            <a:ext cx="350371" cy="123517"/>
            <a:chOff x="8299130" y="6427052"/>
            <a:chExt cx="350371" cy="123517"/>
          </a:xfrm>
        </p:grpSpPr>
        <p:sp>
          <p:nvSpPr>
            <p:cNvPr id="321" name="object 321">
              <a:extLst>
                <a:ext uri="{FF2B5EF4-FFF2-40B4-BE49-F238E27FC236}">
                  <a16:creationId xmlns:a16="http://schemas.microsoft.com/office/drawing/2014/main" id="{92CD11B8-EDFA-5A16-A96E-5FEF45E657B2}"/>
                </a:ext>
              </a:extLst>
            </p:cNvPr>
            <p:cNvSpPr/>
            <p:nvPr/>
          </p:nvSpPr>
          <p:spPr>
            <a:xfrm>
              <a:off x="8579376" y="64397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2" name="object 322">
              <a:extLst>
                <a:ext uri="{FF2B5EF4-FFF2-40B4-BE49-F238E27FC236}">
                  <a16:creationId xmlns:a16="http://schemas.microsoft.com/office/drawing/2014/main" id="{9C457A7D-13EA-FB1B-BB4B-57C06DB41985}"/>
                </a:ext>
              </a:extLst>
            </p:cNvPr>
            <p:cNvSpPr/>
            <p:nvPr/>
          </p:nvSpPr>
          <p:spPr>
            <a:xfrm>
              <a:off x="8614397" y="64397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3" name="object 323">
              <a:extLst>
                <a:ext uri="{FF2B5EF4-FFF2-40B4-BE49-F238E27FC236}">
                  <a16:creationId xmlns:a16="http://schemas.microsoft.com/office/drawing/2014/main" id="{372FCBE5-CBA0-D52D-236D-B181FB010D59}"/>
                </a:ext>
              </a:extLst>
            </p:cNvPr>
            <p:cNvSpPr/>
            <p:nvPr/>
          </p:nvSpPr>
          <p:spPr>
            <a:xfrm>
              <a:off x="8509333" y="64397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4" name="object 324">
              <a:extLst>
                <a:ext uri="{FF2B5EF4-FFF2-40B4-BE49-F238E27FC236}">
                  <a16:creationId xmlns:a16="http://schemas.microsoft.com/office/drawing/2014/main" id="{74B2E58D-9A3D-523D-5689-17806D552E99}"/>
                </a:ext>
              </a:extLst>
            </p:cNvPr>
            <p:cNvSpPr/>
            <p:nvPr/>
          </p:nvSpPr>
          <p:spPr>
            <a:xfrm>
              <a:off x="8404268" y="64397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5" name="object 325">
              <a:extLst>
                <a:ext uri="{FF2B5EF4-FFF2-40B4-BE49-F238E27FC236}">
                  <a16:creationId xmlns:a16="http://schemas.microsoft.com/office/drawing/2014/main" id="{3C9B56F0-3DBC-9FB8-43DF-C70B18CA888B}"/>
                </a:ext>
              </a:extLst>
            </p:cNvPr>
            <p:cNvSpPr/>
            <p:nvPr/>
          </p:nvSpPr>
          <p:spPr>
            <a:xfrm>
              <a:off x="8439354" y="64397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6" name="object 326">
              <a:extLst>
                <a:ext uri="{FF2B5EF4-FFF2-40B4-BE49-F238E27FC236}">
                  <a16:creationId xmlns:a16="http://schemas.microsoft.com/office/drawing/2014/main" id="{894EC7BF-B637-A7CD-769D-F32188611E36}"/>
                </a:ext>
              </a:extLst>
            </p:cNvPr>
            <p:cNvSpPr/>
            <p:nvPr/>
          </p:nvSpPr>
          <p:spPr>
            <a:xfrm>
              <a:off x="8334225" y="64397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7" name="object 327">
              <a:extLst>
                <a:ext uri="{FF2B5EF4-FFF2-40B4-BE49-F238E27FC236}">
                  <a16:creationId xmlns:a16="http://schemas.microsoft.com/office/drawing/2014/main" id="{70A639ED-A729-162A-3A92-9AEEEBAF488F}"/>
                </a:ext>
              </a:extLst>
            </p:cNvPr>
            <p:cNvSpPr/>
            <p:nvPr/>
          </p:nvSpPr>
          <p:spPr>
            <a:xfrm>
              <a:off x="8544354" y="64397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8" name="object 328">
              <a:extLst>
                <a:ext uri="{FF2B5EF4-FFF2-40B4-BE49-F238E27FC236}">
                  <a16:creationId xmlns:a16="http://schemas.microsoft.com/office/drawing/2014/main" id="{094B8043-7D42-B6AD-00E6-87CA47A90EFC}"/>
                </a:ext>
              </a:extLst>
            </p:cNvPr>
            <p:cNvSpPr/>
            <p:nvPr/>
          </p:nvSpPr>
          <p:spPr>
            <a:xfrm>
              <a:off x="8369247" y="64397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9" name="object 329">
              <a:extLst>
                <a:ext uri="{FF2B5EF4-FFF2-40B4-BE49-F238E27FC236}">
                  <a16:creationId xmlns:a16="http://schemas.microsoft.com/office/drawing/2014/main" id="{40FBC8A5-2010-7256-847D-532DCABCCA49}"/>
                </a:ext>
              </a:extLst>
            </p:cNvPr>
            <p:cNvSpPr/>
            <p:nvPr/>
          </p:nvSpPr>
          <p:spPr>
            <a:xfrm>
              <a:off x="8649419" y="642705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0" name="object 330">
              <a:extLst>
                <a:ext uri="{FF2B5EF4-FFF2-40B4-BE49-F238E27FC236}">
                  <a16:creationId xmlns:a16="http://schemas.microsoft.com/office/drawing/2014/main" id="{CC481D58-A7C3-5F0C-D07E-46FA306619E6}"/>
                </a:ext>
              </a:extLst>
            </p:cNvPr>
            <p:cNvSpPr/>
            <p:nvPr/>
          </p:nvSpPr>
          <p:spPr>
            <a:xfrm>
              <a:off x="8474448" y="642705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1" name="object 331">
              <a:extLst>
                <a:ext uri="{FF2B5EF4-FFF2-40B4-BE49-F238E27FC236}">
                  <a16:creationId xmlns:a16="http://schemas.microsoft.com/office/drawing/2014/main" id="{C9185039-0B84-B7F4-D0C3-96DE4267FAF9}"/>
                </a:ext>
              </a:extLst>
            </p:cNvPr>
            <p:cNvSpPr/>
            <p:nvPr/>
          </p:nvSpPr>
          <p:spPr>
            <a:xfrm>
              <a:off x="8299478" y="642705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2" name="object 332">
              <a:extLst>
                <a:ext uri="{FF2B5EF4-FFF2-40B4-BE49-F238E27FC236}">
                  <a16:creationId xmlns:a16="http://schemas.microsoft.com/office/drawing/2014/main" id="{2EA0519A-CA88-5B84-EB0A-A501D1FE8ED3}"/>
                </a:ext>
              </a:extLst>
            </p:cNvPr>
            <p:cNvSpPr/>
            <p:nvPr/>
          </p:nvSpPr>
          <p:spPr>
            <a:xfrm>
              <a:off x="8299478" y="645256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3" name="object 333">
              <a:extLst>
                <a:ext uri="{FF2B5EF4-FFF2-40B4-BE49-F238E27FC236}">
                  <a16:creationId xmlns:a16="http://schemas.microsoft.com/office/drawing/2014/main" id="{E340BBFD-5129-F5CB-B55A-2D36697E4011}"/>
                </a:ext>
              </a:extLst>
            </p:cNvPr>
            <p:cNvSpPr/>
            <p:nvPr/>
          </p:nvSpPr>
          <p:spPr>
            <a:xfrm>
              <a:off x="8299588" y="6427052"/>
              <a:ext cx="6199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2234"/>
                <a:gd name="f4" fmla="val 84454"/>
                <a:gd name="f5" fmla="val 102070"/>
                <a:gd name="f6" fmla="val 84123"/>
                <a:gd name="f7" fmla="*/ f0 1 102234"/>
                <a:gd name="f8" fmla="*/ f1 1 84454"/>
                <a:gd name="f9" fmla="+- f4 0 f2"/>
                <a:gd name="f10" fmla="+- f3 0 f2"/>
                <a:gd name="f11" fmla="*/ f10 1 1022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22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4" name="object 334">
              <a:extLst>
                <a:ext uri="{FF2B5EF4-FFF2-40B4-BE49-F238E27FC236}">
                  <a16:creationId xmlns:a16="http://schemas.microsoft.com/office/drawing/2014/main" id="{45813BAA-B378-DC6C-2790-BF470ADBC10A}"/>
                </a:ext>
              </a:extLst>
            </p:cNvPr>
            <p:cNvSpPr/>
            <p:nvPr/>
          </p:nvSpPr>
          <p:spPr>
            <a:xfrm>
              <a:off x="8299588" y="6499354"/>
              <a:ext cx="13014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14630"/>
                <a:gd name="f4" fmla="val 84454"/>
                <a:gd name="f5" fmla="val 214579"/>
                <a:gd name="f6" fmla="val 84123"/>
                <a:gd name="f7" fmla="*/ f0 1 214630"/>
                <a:gd name="f8" fmla="*/ f1 1 84454"/>
                <a:gd name="f9" fmla="+- f4 0 f2"/>
                <a:gd name="f10" fmla="+- f3 0 f2"/>
                <a:gd name="f11" fmla="*/ f10 1 2146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146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5" name="object 335">
              <a:extLst>
                <a:ext uri="{FF2B5EF4-FFF2-40B4-BE49-F238E27FC236}">
                  <a16:creationId xmlns:a16="http://schemas.microsoft.com/office/drawing/2014/main" id="{4027B963-9B76-61C6-1FB1-C636C644BBA8}"/>
                </a:ext>
              </a:extLst>
            </p:cNvPr>
            <p:cNvSpPr/>
            <p:nvPr/>
          </p:nvSpPr>
          <p:spPr>
            <a:xfrm>
              <a:off x="8579028" y="651210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6" name="object 336">
              <a:extLst>
                <a:ext uri="{FF2B5EF4-FFF2-40B4-BE49-F238E27FC236}">
                  <a16:creationId xmlns:a16="http://schemas.microsoft.com/office/drawing/2014/main" id="{F98CAE19-F462-E89B-1EA1-F69B36BD48CF}"/>
                </a:ext>
              </a:extLst>
            </p:cNvPr>
            <p:cNvSpPr/>
            <p:nvPr/>
          </p:nvSpPr>
          <p:spPr>
            <a:xfrm>
              <a:off x="8614050" y="651210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7" name="object 337">
              <a:extLst>
                <a:ext uri="{FF2B5EF4-FFF2-40B4-BE49-F238E27FC236}">
                  <a16:creationId xmlns:a16="http://schemas.microsoft.com/office/drawing/2014/main" id="{E8188592-6A59-A0FD-5876-9AE3F2A7763C}"/>
                </a:ext>
              </a:extLst>
            </p:cNvPr>
            <p:cNvSpPr/>
            <p:nvPr/>
          </p:nvSpPr>
          <p:spPr>
            <a:xfrm>
              <a:off x="8508985" y="651210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8" name="object 338">
              <a:extLst>
                <a:ext uri="{FF2B5EF4-FFF2-40B4-BE49-F238E27FC236}">
                  <a16:creationId xmlns:a16="http://schemas.microsoft.com/office/drawing/2014/main" id="{38622DD7-511A-CBE1-6437-3312EE86C7C9}"/>
                </a:ext>
              </a:extLst>
            </p:cNvPr>
            <p:cNvSpPr/>
            <p:nvPr/>
          </p:nvSpPr>
          <p:spPr>
            <a:xfrm>
              <a:off x="8403921" y="651210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9" name="object 339">
              <a:extLst>
                <a:ext uri="{FF2B5EF4-FFF2-40B4-BE49-F238E27FC236}">
                  <a16:creationId xmlns:a16="http://schemas.microsoft.com/office/drawing/2014/main" id="{F71D3826-9F9A-CCC5-4F3E-F0734E0369E6}"/>
                </a:ext>
              </a:extLst>
            </p:cNvPr>
            <p:cNvSpPr/>
            <p:nvPr/>
          </p:nvSpPr>
          <p:spPr>
            <a:xfrm>
              <a:off x="8439015" y="651210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0" name="object 340">
              <a:extLst>
                <a:ext uri="{FF2B5EF4-FFF2-40B4-BE49-F238E27FC236}">
                  <a16:creationId xmlns:a16="http://schemas.microsoft.com/office/drawing/2014/main" id="{C70992D1-A871-F87B-2613-6E028D0B23A5}"/>
                </a:ext>
              </a:extLst>
            </p:cNvPr>
            <p:cNvSpPr/>
            <p:nvPr/>
          </p:nvSpPr>
          <p:spPr>
            <a:xfrm>
              <a:off x="8333878" y="651210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1" name="object 341">
              <a:extLst>
                <a:ext uri="{FF2B5EF4-FFF2-40B4-BE49-F238E27FC236}">
                  <a16:creationId xmlns:a16="http://schemas.microsoft.com/office/drawing/2014/main" id="{58580728-0759-B1C3-DBE2-0DB414476248}"/>
                </a:ext>
              </a:extLst>
            </p:cNvPr>
            <p:cNvSpPr/>
            <p:nvPr/>
          </p:nvSpPr>
          <p:spPr>
            <a:xfrm>
              <a:off x="8544007" y="651210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2" name="object 342">
              <a:extLst>
                <a:ext uri="{FF2B5EF4-FFF2-40B4-BE49-F238E27FC236}">
                  <a16:creationId xmlns:a16="http://schemas.microsoft.com/office/drawing/2014/main" id="{3802C97D-AD72-CD57-63A1-18A1E5276AB6}"/>
                </a:ext>
              </a:extLst>
            </p:cNvPr>
            <p:cNvSpPr/>
            <p:nvPr/>
          </p:nvSpPr>
          <p:spPr>
            <a:xfrm>
              <a:off x="8368899" y="651210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3" name="object 343">
              <a:extLst>
                <a:ext uri="{FF2B5EF4-FFF2-40B4-BE49-F238E27FC236}">
                  <a16:creationId xmlns:a16="http://schemas.microsoft.com/office/drawing/2014/main" id="{E92E99D3-7311-D110-481A-F4C1570EFE9F}"/>
                </a:ext>
              </a:extLst>
            </p:cNvPr>
            <p:cNvSpPr/>
            <p:nvPr/>
          </p:nvSpPr>
          <p:spPr>
            <a:xfrm>
              <a:off x="8649071" y="649934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4" name="object 344">
              <a:extLst>
                <a:ext uri="{FF2B5EF4-FFF2-40B4-BE49-F238E27FC236}">
                  <a16:creationId xmlns:a16="http://schemas.microsoft.com/office/drawing/2014/main" id="{035AEAB9-10F4-48CF-F338-8F7496403722}"/>
                </a:ext>
              </a:extLst>
            </p:cNvPr>
            <p:cNvSpPr/>
            <p:nvPr/>
          </p:nvSpPr>
          <p:spPr>
            <a:xfrm>
              <a:off x="8474101" y="649934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5" name="object 345">
              <a:extLst>
                <a:ext uri="{FF2B5EF4-FFF2-40B4-BE49-F238E27FC236}">
                  <a16:creationId xmlns:a16="http://schemas.microsoft.com/office/drawing/2014/main" id="{C9B61500-7DB5-03AE-9CC5-E681BC039A4A}"/>
                </a:ext>
              </a:extLst>
            </p:cNvPr>
            <p:cNvSpPr/>
            <p:nvPr/>
          </p:nvSpPr>
          <p:spPr>
            <a:xfrm>
              <a:off x="8299130" y="649934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6" name="object 346">
              <a:extLst>
                <a:ext uri="{FF2B5EF4-FFF2-40B4-BE49-F238E27FC236}">
                  <a16:creationId xmlns:a16="http://schemas.microsoft.com/office/drawing/2014/main" id="{0F30EC31-FF92-1AB2-B2F6-3788B17DE52B}"/>
                </a:ext>
              </a:extLst>
            </p:cNvPr>
            <p:cNvSpPr/>
            <p:nvPr/>
          </p:nvSpPr>
          <p:spPr>
            <a:xfrm>
              <a:off x="8474101" y="649934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7" name="object 347">
              <a:extLst>
                <a:ext uri="{FF2B5EF4-FFF2-40B4-BE49-F238E27FC236}">
                  <a16:creationId xmlns:a16="http://schemas.microsoft.com/office/drawing/2014/main" id="{7AE84305-BAD5-F3D1-4727-A9D4DADFC12C}"/>
                </a:ext>
              </a:extLst>
            </p:cNvPr>
            <p:cNvSpPr/>
            <p:nvPr/>
          </p:nvSpPr>
          <p:spPr>
            <a:xfrm>
              <a:off x="8299130" y="652485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48" name="object 348">
            <a:extLst>
              <a:ext uri="{FF2B5EF4-FFF2-40B4-BE49-F238E27FC236}">
                <a16:creationId xmlns:a16="http://schemas.microsoft.com/office/drawing/2014/main" id="{B74C5218-E03F-FBA5-4993-F6CF9BFF1F40}"/>
              </a:ext>
            </a:extLst>
          </p:cNvPr>
          <p:cNvGrpSpPr/>
          <p:nvPr/>
        </p:nvGrpSpPr>
        <p:grpSpPr>
          <a:xfrm>
            <a:off x="8299130" y="3372828"/>
            <a:ext cx="350371" cy="123517"/>
            <a:chOff x="8299130" y="3372828"/>
            <a:chExt cx="350371" cy="123517"/>
          </a:xfrm>
        </p:grpSpPr>
        <p:sp>
          <p:nvSpPr>
            <p:cNvPr id="349" name="object 349">
              <a:extLst>
                <a:ext uri="{FF2B5EF4-FFF2-40B4-BE49-F238E27FC236}">
                  <a16:creationId xmlns:a16="http://schemas.microsoft.com/office/drawing/2014/main" id="{81036415-B11E-ABC1-4F4C-E4804E65335D}"/>
                </a:ext>
              </a:extLst>
            </p:cNvPr>
            <p:cNvSpPr/>
            <p:nvPr/>
          </p:nvSpPr>
          <p:spPr>
            <a:xfrm>
              <a:off x="8579376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0" name="object 350">
              <a:extLst>
                <a:ext uri="{FF2B5EF4-FFF2-40B4-BE49-F238E27FC236}">
                  <a16:creationId xmlns:a16="http://schemas.microsoft.com/office/drawing/2014/main" id="{36F61D19-6D72-A339-30DA-BDFCDA14D567}"/>
                </a:ext>
              </a:extLst>
            </p:cNvPr>
            <p:cNvSpPr/>
            <p:nvPr/>
          </p:nvSpPr>
          <p:spPr>
            <a:xfrm>
              <a:off x="8614397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1" name="object 351">
              <a:extLst>
                <a:ext uri="{FF2B5EF4-FFF2-40B4-BE49-F238E27FC236}">
                  <a16:creationId xmlns:a16="http://schemas.microsoft.com/office/drawing/2014/main" id="{5C17C49D-D9C0-D230-3E33-B54F1DD26C66}"/>
                </a:ext>
              </a:extLst>
            </p:cNvPr>
            <p:cNvSpPr/>
            <p:nvPr/>
          </p:nvSpPr>
          <p:spPr>
            <a:xfrm>
              <a:off x="8509333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2" name="object 352">
              <a:extLst>
                <a:ext uri="{FF2B5EF4-FFF2-40B4-BE49-F238E27FC236}">
                  <a16:creationId xmlns:a16="http://schemas.microsoft.com/office/drawing/2014/main" id="{4618137E-6AFF-7F46-4353-57D8E83E4E97}"/>
                </a:ext>
              </a:extLst>
            </p:cNvPr>
            <p:cNvSpPr/>
            <p:nvPr/>
          </p:nvSpPr>
          <p:spPr>
            <a:xfrm>
              <a:off x="8404268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3" name="object 353">
              <a:extLst>
                <a:ext uri="{FF2B5EF4-FFF2-40B4-BE49-F238E27FC236}">
                  <a16:creationId xmlns:a16="http://schemas.microsoft.com/office/drawing/2014/main" id="{1C2EAB2C-C564-4747-8D35-7E896A0BB1F2}"/>
                </a:ext>
              </a:extLst>
            </p:cNvPr>
            <p:cNvSpPr/>
            <p:nvPr/>
          </p:nvSpPr>
          <p:spPr>
            <a:xfrm>
              <a:off x="8439354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4" name="object 354">
              <a:extLst>
                <a:ext uri="{FF2B5EF4-FFF2-40B4-BE49-F238E27FC236}">
                  <a16:creationId xmlns:a16="http://schemas.microsoft.com/office/drawing/2014/main" id="{768DDEF6-19D1-188C-DF43-893B2E3ADF07}"/>
                </a:ext>
              </a:extLst>
            </p:cNvPr>
            <p:cNvSpPr/>
            <p:nvPr/>
          </p:nvSpPr>
          <p:spPr>
            <a:xfrm>
              <a:off x="8334225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5" name="object 355">
              <a:extLst>
                <a:ext uri="{FF2B5EF4-FFF2-40B4-BE49-F238E27FC236}">
                  <a16:creationId xmlns:a16="http://schemas.microsoft.com/office/drawing/2014/main" id="{4A29C2BF-4868-AF1E-3D9F-B9617AF21426}"/>
                </a:ext>
              </a:extLst>
            </p:cNvPr>
            <p:cNvSpPr/>
            <p:nvPr/>
          </p:nvSpPr>
          <p:spPr>
            <a:xfrm>
              <a:off x="8544354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6" name="object 356">
              <a:extLst>
                <a:ext uri="{FF2B5EF4-FFF2-40B4-BE49-F238E27FC236}">
                  <a16:creationId xmlns:a16="http://schemas.microsoft.com/office/drawing/2014/main" id="{0169F370-8564-1EA4-020C-3B6A75BE167B}"/>
                </a:ext>
              </a:extLst>
            </p:cNvPr>
            <p:cNvSpPr/>
            <p:nvPr/>
          </p:nvSpPr>
          <p:spPr>
            <a:xfrm>
              <a:off x="8369247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7" name="object 357">
              <a:extLst>
                <a:ext uri="{FF2B5EF4-FFF2-40B4-BE49-F238E27FC236}">
                  <a16:creationId xmlns:a16="http://schemas.microsoft.com/office/drawing/2014/main" id="{772A2ABC-E1EE-B86E-5174-6B11B0178397}"/>
                </a:ext>
              </a:extLst>
            </p:cNvPr>
            <p:cNvSpPr/>
            <p:nvPr/>
          </p:nvSpPr>
          <p:spPr>
            <a:xfrm>
              <a:off x="8649419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8" name="object 358">
              <a:extLst>
                <a:ext uri="{FF2B5EF4-FFF2-40B4-BE49-F238E27FC236}">
                  <a16:creationId xmlns:a16="http://schemas.microsoft.com/office/drawing/2014/main" id="{F4AABC2E-E8EC-6144-7C52-16CE412F3D94}"/>
                </a:ext>
              </a:extLst>
            </p:cNvPr>
            <p:cNvSpPr/>
            <p:nvPr/>
          </p:nvSpPr>
          <p:spPr>
            <a:xfrm>
              <a:off x="8474448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9" name="object 359">
              <a:extLst>
                <a:ext uri="{FF2B5EF4-FFF2-40B4-BE49-F238E27FC236}">
                  <a16:creationId xmlns:a16="http://schemas.microsoft.com/office/drawing/2014/main" id="{BE5D69AE-1B5F-C929-1C97-1B4939EB78A9}"/>
                </a:ext>
              </a:extLst>
            </p:cNvPr>
            <p:cNvSpPr/>
            <p:nvPr/>
          </p:nvSpPr>
          <p:spPr>
            <a:xfrm>
              <a:off x="8299478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0" name="object 360">
              <a:extLst>
                <a:ext uri="{FF2B5EF4-FFF2-40B4-BE49-F238E27FC236}">
                  <a16:creationId xmlns:a16="http://schemas.microsoft.com/office/drawing/2014/main" id="{5DC950D0-6F1F-7DAF-DCAC-ABBF1A50ED32}"/>
                </a:ext>
              </a:extLst>
            </p:cNvPr>
            <p:cNvSpPr/>
            <p:nvPr/>
          </p:nvSpPr>
          <p:spPr>
            <a:xfrm>
              <a:off x="8299478" y="33983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1" name="object 361">
              <a:extLst>
                <a:ext uri="{FF2B5EF4-FFF2-40B4-BE49-F238E27FC236}">
                  <a16:creationId xmlns:a16="http://schemas.microsoft.com/office/drawing/2014/main" id="{BFE05792-B63D-B1E2-4B63-6CFF2CC793AD}"/>
                </a:ext>
              </a:extLst>
            </p:cNvPr>
            <p:cNvSpPr/>
            <p:nvPr/>
          </p:nvSpPr>
          <p:spPr>
            <a:xfrm>
              <a:off x="8299588" y="3372837"/>
              <a:ext cx="696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4934"/>
                <a:gd name="f4" fmla="val 84454"/>
                <a:gd name="f5" fmla="val 114834"/>
                <a:gd name="f6" fmla="val 84112"/>
                <a:gd name="f7" fmla="*/ f0 1 114934"/>
                <a:gd name="f8" fmla="*/ f1 1 84454"/>
                <a:gd name="f9" fmla="+- f4 0 f2"/>
                <a:gd name="f10" fmla="+- f3 0 f2"/>
                <a:gd name="f11" fmla="*/ f10 1 1149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49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2" name="object 362">
              <a:extLst>
                <a:ext uri="{FF2B5EF4-FFF2-40B4-BE49-F238E27FC236}">
                  <a16:creationId xmlns:a16="http://schemas.microsoft.com/office/drawing/2014/main" id="{47C32DC8-D3A3-6C6B-B7EA-11A291B06956}"/>
                </a:ext>
              </a:extLst>
            </p:cNvPr>
            <p:cNvSpPr/>
            <p:nvPr/>
          </p:nvSpPr>
          <p:spPr>
            <a:xfrm>
              <a:off x="8649071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3" name="object 363">
              <a:extLst>
                <a:ext uri="{FF2B5EF4-FFF2-40B4-BE49-F238E27FC236}">
                  <a16:creationId xmlns:a16="http://schemas.microsoft.com/office/drawing/2014/main" id="{F1ED122D-3BF9-7CBD-BD60-D833BE3E6F29}"/>
                </a:ext>
              </a:extLst>
            </p:cNvPr>
            <p:cNvSpPr/>
            <p:nvPr/>
          </p:nvSpPr>
          <p:spPr>
            <a:xfrm>
              <a:off x="8474101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4" name="object 364">
              <a:extLst>
                <a:ext uri="{FF2B5EF4-FFF2-40B4-BE49-F238E27FC236}">
                  <a16:creationId xmlns:a16="http://schemas.microsoft.com/office/drawing/2014/main" id="{82AAE16B-45D4-BF2B-1499-03641F10CA80}"/>
                </a:ext>
              </a:extLst>
            </p:cNvPr>
            <p:cNvSpPr/>
            <p:nvPr/>
          </p:nvSpPr>
          <p:spPr>
            <a:xfrm>
              <a:off x="8299130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5" name="object 365">
              <a:extLst>
                <a:ext uri="{FF2B5EF4-FFF2-40B4-BE49-F238E27FC236}">
                  <a16:creationId xmlns:a16="http://schemas.microsoft.com/office/drawing/2014/main" id="{D2738597-1651-F525-2B60-B8E5292B4626}"/>
                </a:ext>
              </a:extLst>
            </p:cNvPr>
            <p:cNvSpPr/>
            <p:nvPr/>
          </p:nvSpPr>
          <p:spPr>
            <a:xfrm>
              <a:off x="8474101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6" name="object 366">
              <a:extLst>
                <a:ext uri="{FF2B5EF4-FFF2-40B4-BE49-F238E27FC236}">
                  <a16:creationId xmlns:a16="http://schemas.microsoft.com/office/drawing/2014/main" id="{F3F905C6-174B-29D7-4605-1AC11FCD0EDA}"/>
                </a:ext>
              </a:extLst>
            </p:cNvPr>
            <p:cNvSpPr/>
            <p:nvPr/>
          </p:nvSpPr>
          <p:spPr>
            <a:xfrm>
              <a:off x="8579028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7" name="object 367">
              <a:extLst>
                <a:ext uri="{FF2B5EF4-FFF2-40B4-BE49-F238E27FC236}">
                  <a16:creationId xmlns:a16="http://schemas.microsoft.com/office/drawing/2014/main" id="{750CEC69-4A92-81DE-D041-873B32E1F771}"/>
                </a:ext>
              </a:extLst>
            </p:cNvPr>
            <p:cNvSpPr/>
            <p:nvPr/>
          </p:nvSpPr>
          <p:spPr>
            <a:xfrm>
              <a:off x="8614050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8" name="object 368">
              <a:extLst>
                <a:ext uri="{FF2B5EF4-FFF2-40B4-BE49-F238E27FC236}">
                  <a16:creationId xmlns:a16="http://schemas.microsoft.com/office/drawing/2014/main" id="{F4193CA0-283B-B5B6-3CE6-FD53EA16979A}"/>
                </a:ext>
              </a:extLst>
            </p:cNvPr>
            <p:cNvSpPr/>
            <p:nvPr/>
          </p:nvSpPr>
          <p:spPr>
            <a:xfrm>
              <a:off x="8508985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9" name="object 369">
              <a:extLst>
                <a:ext uri="{FF2B5EF4-FFF2-40B4-BE49-F238E27FC236}">
                  <a16:creationId xmlns:a16="http://schemas.microsoft.com/office/drawing/2014/main" id="{AF7599B9-F166-E1F1-FB33-03C3FA866C9F}"/>
                </a:ext>
              </a:extLst>
            </p:cNvPr>
            <p:cNvSpPr/>
            <p:nvPr/>
          </p:nvSpPr>
          <p:spPr>
            <a:xfrm>
              <a:off x="8403921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0" name="object 370">
              <a:extLst>
                <a:ext uri="{FF2B5EF4-FFF2-40B4-BE49-F238E27FC236}">
                  <a16:creationId xmlns:a16="http://schemas.microsoft.com/office/drawing/2014/main" id="{E8BADCFF-A0E2-BCAB-D90E-E9ECCB63211B}"/>
                </a:ext>
              </a:extLst>
            </p:cNvPr>
            <p:cNvSpPr/>
            <p:nvPr/>
          </p:nvSpPr>
          <p:spPr>
            <a:xfrm>
              <a:off x="8439015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1" name="object 371">
              <a:extLst>
                <a:ext uri="{FF2B5EF4-FFF2-40B4-BE49-F238E27FC236}">
                  <a16:creationId xmlns:a16="http://schemas.microsoft.com/office/drawing/2014/main" id="{74993F1C-F742-B4C6-F582-0BA3E5FD0FC8}"/>
                </a:ext>
              </a:extLst>
            </p:cNvPr>
            <p:cNvSpPr/>
            <p:nvPr/>
          </p:nvSpPr>
          <p:spPr>
            <a:xfrm>
              <a:off x="8333878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2" name="object 372">
              <a:extLst>
                <a:ext uri="{FF2B5EF4-FFF2-40B4-BE49-F238E27FC236}">
                  <a16:creationId xmlns:a16="http://schemas.microsoft.com/office/drawing/2014/main" id="{FDB62F1F-C946-FC1B-D859-4384F43BDD43}"/>
                </a:ext>
              </a:extLst>
            </p:cNvPr>
            <p:cNvSpPr/>
            <p:nvPr/>
          </p:nvSpPr>
          <p:spPr>
            <a:xfrm>
              <a:off x="8544007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3" name="object 373">
              <a:extLst>
                <a:ext uri="{FF2B5EF4-FFF2-40B4-BE49-F238E27FC236}">
                  <a16:creationId xmlns:a16="http://schemas.microsoft.com/office/drawing/2014/main" id="{221C8C54-87F2-E9C1-6352-12CC6E4A8372}"/>
                </a:ext>
              </a:extLst>
            </p:cNvPr>
            <p:cNvSpPr/>
            <p:nvPr/>
          </p:nvSpPr>
          <p:spPr>
            <a:xfrm>
              <a:off x="8368899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4" name="object 374">
              <a:extLst>
                <a:ext uri="{FF2B5EF4-FFF2-40B4-BE49-F238E27FC236}">
                  <a16:creationId xmlns:a16="http://schemas.microsoft.com/office/drawing/2014/main" id="{603DA916-B90E-14D1-6F63-85B9CF981C0A}"/>
                </a:ext>
              </a:extLst>
            </p:cNvPr>
            <p:cNvSpPr/>
            <p:nvPr/>
          </p:nvSpPr>
          <p:spPr>
            <a:xfrm>
              <a:off x="8299130" y="347063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75" name="object 375">
            <a:extLst>
              <a:ext uri="{FF2B5EF4-FFF2-40B4-BE49-F238E27FC236}">
                <a16:creationId xmlns:a16="http://schemas.microsoft.com/office/drawing/2014/main" id="{089CE1A4-4054-DE7C-51EB-A096793AE873}"/>
              </a:ext>
            </a:extLst>
          </p:cNvPr>
          <p:cNvGrpSpPr/>
          <p:nvPr/>
        </p:nvGrpSpPr>
        <p:grpSpPr>
          <a:xfrm>
            <a:off x="7477954" y="1843668"/>
            <a:ext cx="350370" cy="123525"/>
            <a:chOff x="7477954" y="1843668"/>
            <a:chExt cx="350370" cy="123525"/>
          </a:xfrm>
        </p:grpSpPr>
        <p:sp>
          <p:nvSpPr>
            <p:cNvPr id="376" name="object 376">
              <a:extLst>
                <a:ext uri="{FF2B5EF4-FFF2-40B4-BE49-F238E27FC236}">
                  <a16:creationId xmlns:a16="http://schemas.microsoft.com/office/drawing/2014/main" id="{13E0F2A8-E9F9-B8E5-C456-78BD7AD7C17E}"/>
                </a:ext>
              </a:extLst>
            </p:cNvPr>
            <p:cNvSpPr/>
            <p:nvPr/>
          </p:nvSpPr>
          <p:spPr>
            <a:xfrm>
              <a:off x="7758199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7" name="object 377">
              <a:extLst>
                <a:ext uri="{FF2B5EF4-FFF2-40B4-BE49-F238E27FC236}">
                  <a16:creationId xmlns:a16="http://schemas.microsoft.com/office/drawing/2014/main" id="{81B6E8EA-F5D7-D889-82AA-901F40A51742}"/>
                </a:ext>
              </a:extLst>
            </p:cNvPr>
            <p:cNvSpPr/>
            <p:nvPr/>
          </p:nvSpPr>
          <p:spPr>
            <a:xfrm>
              <a:off x="7793220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8" name="object 378">
              <a:extLst>
                <a:ext uri="{FF2B5EF4-FFF2-40B4-BE49-F238E27FC236}">
                  <a16:creationId xmlns:a16="http://schemas.microsoft.com/office/drawing/2014/main" id="{DF0709A7-6676-0CC0-FC69-ADA1697CA751}"/>
                </a:ext>
              </a:extLst>
            </p:cNvPr>
            <p:cNvSpPr/>
            <p:nvPr/>
          </p:nvSpPr>
          <p:spPr>
            <a:xfrm>
              <a:off x="7688156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9" name="object 379">
              <a:extLst>
                <a:ext uri="{FF2B5EF4-FFF2-40B4-BE49-F238E27FC236}">
                  <a16:creationId xmlns:a16="http://schemas.microsoft.com/office/drawing/2014/main" id="{C22AD0AE-A1AF-0CB6-DB67-79625EAB1BFC}"/>
                </a:ext>
              </a:extLst>
            </p:cNvPr>
            <p:cNvSpPr/>
            <p:nvPr/>
          </p:nvSpPr>
          <p:spPr>
            <a:xfrm>
              <a:off x="7583091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0" name="object 380">
              <a:extLst>
                <a:ext uri="{FF2B5EF4-FFF2-40B4-BE49-F238E27FC236}">
                  <a16:creationId xmlns:a16="http://schemas.microsoft.com/office/drawing/2014/main" id="{56914DFB-8D57-C1F0-A2CF-034AA989C549}"/>
                </a:ext>
              </a:extLst>
            </p:cNvPr>
            <p:cNvSpPr/>
            <p:nvPr/>
          </p:nvSpPr>
          <p:spPr>
            <a:xfrm>
              <a:off x="7618186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1" name="object 381">
              <a:extLst>
                <a:ext uri="{FF2B5EF4-FFF2-40B4-BE49-F238E27FC236}">
                  <a16:creationId xmlns:a16="http://schemas.microsoft.com/office/drawing/2014/main" id="{343656B2-F04E-FD3B-5074-76F88D91B80B}"/>
                </a:ext>
              </a:extLst>
            </p:cNvPr>
            <p:cNvSpPr/>
            <p:nvPr/>
          </p:nvSpPr>
          <p:spPr>
            <a:xfrm>
              <a:off x="7513048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2" name="object 382">
              <a:extLst>
                <a:ext uri="{FF2B5EF4-FFF2-40B4-BE49-F238E27FC236}">
                  <a16:creationId xmlns:a16="http://schemas.microsoft.com/office/drawing/2014/main" id="{D3A190D7-57A2-6192-1A4E-8EAABAF3FA31}"/>
                </a:ext>
              </a:extLst>
            </p:cNvPr>
            <p:cNvSpPr/>
            <p:nvPr/>
          </p:nvSpPr>
          <p:spPr>
            <a:xfrm>
              <a:off x="7723177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3" name="object 383">
              <a:extLst>
                <a:ext uri="{FF2B5EF4-FFF2-40B4-BE49-F238E27FC236}">
                  <a16:creationId xmlns:a16="http://schemas.microsoft.com/office/drawing/2014/main" id="{14CB44E1-14DB-C911-F3CB-B4A207138011}"/>
                </a:ext>
              </a:extLst>
            </p:cNvPr>
            <p:cNvSpPr/>
            <p:nvPr/>
          </p:nvSpPr>
          <p:spPr>
            <a:xfrm>
              <a:off x="7548070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4" name="object 384">
              <a:extLst>
                <a:ext uri="{FF2B5EF4-FFF2-40B4-BE49-F238E27FC236}">
                  <a16:creationId xmlns:a16="http://schemas.microsoft.com/office/drawing/2014/main" id="{AD09BAB2-D0DE-B8CA-A297-7632BC51D934}"/>
                </a:ext>
              </a:extLst>
            </p:cNvPr>
            <p:cNvSpPr/>
            <p:nvPr/>
          </p:nvSpPr>
          <p:spPr>
            <a:xfrm>
              <a:off x="7828242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5" name="object 385">
              <a:extLst>
                <a:ext uri="{FF2B5EF4-FFF2-40B4-BE49-F238E27FC236}">
                  <a16:creationId xmlns:a16="http://schemas.microsoft.com/office/drawing/2014/main" id="{547CFD6E-45AF-2446-CC59-D755706BFA5D}"/>
                </a:ext>
              </a:extLst>
            </p:cNvPr>
            <p:cNvSpPr/>
            <p:nvPr/>
          </p:nvSpPr>
          <p:spPr>
            <a:xfrm>
              <a:off x="7653271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6" name="object 386">
              <a:extLst>
                <a:ext uri="{FF2B5EF4-FFF2-40B4-BE49-F238E27FC236}">
                  <a16:creationId xmlns:a16="http://schemas.microsoft.com/office/drawing/2014/main" id="{ABD32413-3754-F677-7990-F6003AD46D7D}"/>
                </a:ext>
              </a:extLst>
            </p:cNvPr>
            <p:cNvSpPr/>
            <p:nvPr/>
          </p:nvSpPr>
          <p:spPr>
            <a:xfrm>
              <a:off x="7478301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7" name="object 387">
              <a:extLst>
                <a:ext uri="{FF2B5EF4-FFF2-40B4-BE49-F238E27FC236}">
                  <a16:creationId xmlns:a16="http://schemas.microsoft.com/office/drawing/2014/main" id="{4BC280FB-9D97-26FE-00F1-DAFCA8490AA1}"/>
                </a:ext>
              </a:extLst>
            </p:cNvPr>
            <p:cNvSpPr/>
            <p:nvPr/>
          </p:nvSpPr>
          <p:spPr>
            <a:xfrm>
              <a:off x="7478301" y="186917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8" name="object 388">
              <a:extLst>
                <a:ext uri="{FF2B5EF4-FFF2-40B4-BE49-F238E27FC236}">
                  <a16:creationId xmlns:a16="http://schemas.microsoft.com/office/drawing/2014/main" id="{27D932A1-0DEE-A558-85DD-734683283DE4}"/>
                </a:ext>
              </a:extLst>
            </p:cNvPr>
            <p:cNvSpPr/>
            <p:nvPr/>
          </p:nvSpPr>
          <p:spPr>
            <a:xfrm>
              <a:off x="7478429" y="1843668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5"/>
                <a:gd name="f5" fmla="val 241594"/>
                <a:gd name="f6" fmla="val 84112"/>
                <a:gd name="f7" fmla="*/ f0 1 241934"/>
                <a:gd name="f8" fmla="*/ f1 1 84455"/>
                <a:gd name="f9" fmla="+- f4 0 f2"/>
                <a:gd name="f10" fmla="+- f3 0 f2"/>
                <a:gd name="f11" fmla="*/ f10 1 241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9" name="object 389">
              <a:extLst>
                <a:ext uri="{FF2B5EF4-FFF2-40B4-BE49-F238E27FC236}">
                  <a16:creationId xmlns:a16="http://schemas.microsoft.com/office/drawing/2014/main" id="{C78527FA-7859-5376-E4FF-31D84E6E81FC}"/>
                </a:ext>
              </a:extLst>
            </p:cNvPr>
            <p:cNvSpPr/>
            <p:nvPr/>
          </p:nvSpPr>
          <p:spPr>
            <a:xfrm>
              <a:off x="7478429" y="1915978"/>
              <a:ext cx="29727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90220"/>
                <a:gd name="f4" fmla="val 84455"/>
                <a:gd name="f5" fmla="val 489618"/>
                <a:gd name="f6" fmla="val 84081"/>
                <a:gd name="f7" fmla="*/ f0 1 490220"/>
                <a:gd name="f8" fmla="*/ f1 1 84455"/>
                <a:gd name="f9" fmla="+- f4 0 f2"/>
                <a:gd name="f10" fmla="+- f3 0 f2"/>
                <a:gd name="f11" fmla="*/ f10 1 49022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9022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0" name="object 390">
              <a:extLst>
                <a:ext uri="{FF2B5EF4-FFF2-40B4-BE49-F238E27FC236}">
                  <a16:creationId xmlns:a16="http://schemas.microsoft.com/office/drawing/2014/main" id="{135339E4-7A99-6AD9-E258-FF8B4417C8B8}"/>
                </a:ext>
              </a:extLst>
            </p:cNvPr>
            <p:cNvSpPr/>
            <p:nvPr/>
          </p:nvSpPr>
          <p:spPr>
            <a:xfrm>
              <a:off x="7757851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1" name="object 391">
              <a:extLst>
                <a:ext uri="{FF2B5EF4-FFF2-40B4-BE49-F238E27FC236}">
                  <a16:creationId xmlns:a16="http://schemas.microsoft.com/office/drawing/2014/main" id="{DC073F5F-170B-E596-11EC-98A6A82BB900}"/>
                </a:ext>
              </a:extLst>
            </p:cNvPr>
            <p:cNvSpPr/>
            <p:nvPr/>
          </p:nvSpPr>
          <p:spPr>
            <a:xfrm>
              <a:off x="7792873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2" name="object 392">
              <a:extLst>
                <a:ext uri="{FF2B5EF4-FFF2-40B4-BE49-F238E27FC236}">
                  <a16:creationId xmlns:a16="http://schemas.microsoft.com/office/drawing/2014/main" id="{AC11DFE9-EF32-29A1-F789-F21E9FF29246}"/>
                </a:ext>
              </a:extLst>
            </p:cNvPr>
            <p:cNvSpPr/>
            <p:nvPr/>
          </p:nvSpPr>
          <p:spPr>
            <a:xfrm>
              <a:off x="7687808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3" name="object 393">
              <a:extLst>
                <a:ext uri="{FF2B5EF4-FFF2-40B4-BE49-F238E27FC236}">
                  <a16:creationId xmlns:a16="http://schemas.microsoft.com/office/drawing/2014/main" id="{0F15DFE4-F6C2-D66D-6C81-598E6201D1A9}"/>
                </a:ext>
              </a:extLst>
            </p:cNvPr>
            <p:cNvSpPr/>
            <p:nvPr/>
          </p:nvSpPr>
          <p:spPr>
            <a:xfrm>
              <a:off x="7582744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4" name="object 394">
              <a:extLst>
                <a:ext uri="{FF2B5EF4-FFF2-40B4-BE49-F238E27FC236}">
                  <a16:creationId xmlns:a16="http://schemas.microsoft.com/office/drawing/2014/main" id="{3B3B87B1-F1E1-5034-1F16-CCA904DA84E9}"/>
                </a:ext>
              </a:extLst>
            </p:cNvPr>
            <p:cNvSpPr/>
            <p:nvPr/>
          </p:nvSpPr>
          <p:spPr>
            <a:xfrm>
              <a:off x="7617838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5" name="object 395">
              <a:extLst>
                <a:ext uri="{FF2B5EF4-FFF2-40B4-BE49-F238E27FC236}">
                  <a16:creationId xmlns:a16="http://schemas.microsoft.com/office/drawing/2014/main" id="{8091D46E-9AAD-4F7C-07F6-E2BFDC858D40}"/>
                </a:ext>
              </a:extLst>
            </p:cNvPr>
            <p:cNvSpPr/>
            <p:nvPr/>
          </p:nvSpPr>
          <p:spPr>
            <a:xfrm>
              <a:off x="7512701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6" name="object 396">
              <a:extLst>
                <a:ext uri="{FF2B5EF4-FFF2-40B4-BE49-F238E27FC236}">
                  <a16:creationId xmlns:a16="http://schemas.microsoft.com/office/drawing/2014/main" id="{AF24808A-EA97-C570-3DEA-A9E83CA48605}"/>
                </a:ext>
              </a:extLst>
            </p:cNvPr>
            <p:cNvSpPr/>
            <p:nvPr/>
          </p:nvSpPr>
          <p:spPr>
            <a:xfrm>
              <a:off x="7722830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7" name="object 397">
              <a:extLst>
                <a:ext uri="{FF2B5EF4-FFF2-40B4-BE49-F238E27FC236}">
                  <a16:creationId xmlns:a16="http://schemas.microsoft.com/office/drawing/2014/main" id="{23D5D1C5-D3BC-D896-EFCC-BA59A1C453D9}"/>
                </a:ext>
              </a:extLst>
            </p:cNvPr>
            <p:cNvSpPr/>
            <p:nvPr/>
          </p:nvSpPr>
          <p:spPr>
            <a:xfrm>
              <a:off x="7547722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8" name="object 398">
              <a:extLst>
                <a:ext uri="{FF2B5EF4-FFF2-40B4-BE49-F238E27FC236}">
                  <a16:creationId xmlns:a16="http://schemas.microsoft.com/office/drawing/2014/main" id="{8792F827-BD3A-9C1D-F7E7-7EF9EF3D89E6}"/>
                </a:ext>
              </a:extLst>
            </p:cNvPr>
            <p:cNvSpPr/>
            <p:nvPr/>
          </p:nvSpPr>
          <p:spPr>
            <a:xfrm>
              <a:off x="7827894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9" name="object 399">
              <a:extLst>
                <a:ext uri="{FF2B5EF4-FFF2-40B4-BE49-F238E27FC236}">
                  <a16:creationId xmlns:a16="http://schemas.microsoft.com/office/drawing/2014/main" id="{A55C60B5-DD02-8FA8-2695-F0EC22542250}"/>
                </a:ext>
              </a:extLst>
            </p:cNvPr>
            <p:cNvSpPr/>
            <p:nvPr/>
          </p:nvSpPr>
          <p:spPr>
            <a:xfrm>
              <a:off x="7652924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0" name="object 400">
              <a:extLst>
                <a:ext uri="{FF2B5EF4-FFF2-40B4-BE49-F238E27FC236}">
                  <a16:creationId xmlns:a16="http://schemas.microsoft.com/office/drawing/2014/main" id="{EA56DD05-91E9-BA43-F3D8-0D36BB632B42}"/>
                </a:ext>
              </a:extLst>
            </p:cNvPr>
            <p:cNvSpPr/>
            <p:nvPr/>
          </p:nvSpPr>
          <p:spPr>
            <a:xfrm>
              <a:off x="7477954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1" name="object 401">
              <a:extLst>
                <a:ext uri="{FF2B5EF4-FFF2-40B4-BE49-F238E27FC236}">
                  <a16:creationId xmlns:a16="http://schemas.microsoft.com/office/drawing/2014/main" id="{3C6A76E6-1750-DAB6-E60D-27BFD427F430}"/>
                </a:ext>
              </a:extLst>
            </p:cNvPr>
            <p:cNvSpPr/>
            <p:nvPr/>
          </p:nvSpPr>
          <p:spPr>
            <a:xfrm>
              <a:off x="7652924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2" name="object 402">
              <a:extLst>
                <a:ext uri="{FF2B5EF4-FFF2-40B4-BE49-F238E27FC236}">
                  <a16:creationId xmlns:a16="http://schemas.microsoft.com/office/drawing/2014/main" id="{1B775172-CF94-110F-37C6-C084E5104638}"/>
                </a:ext>
              </a:extLst>
            </p:cNvPr>
            <p:cNvSpPr/>
            <p:nvPr/>
          </p:nvSpPr>
          <p:spPr>
            <a:xfrm>
              <a:off x="7477954" y="19414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03" name="object 403">
            <a:extLst>
              <a:ext uri="{FF2B5EF4-FFF2-40B4-BE49-F238E27FC236}">
                <a16:creationId xmlns:a16="http://schemas.microsoft.com/office/drawing/2014/main" id="{56555734-973E-3CFD-E363-35225880F36C}"/>
              </a:ext>
            </a:extLst>
          </p:cNvPr>
          <p:cNvGrpSpPr/>
          <p:nvPr/>
        </p:nvGrpSpPr>
        <p:grpSpPr>
          <a:xfrm>
            <a:off x="7477954" y="2608060"/>
            <a:ext cx="350370" cy="123517"/>
            <a:chOff x="7477954" y="2608060"/>
            <a:chExt cx="350370" cy="123517"/>
          </a:xfrm>
        </p:grpSpPr>
        <p:sp>
          <p:nvSpPr>
            <p:cNvPr id="404" name="object 404">
              <a:extLst>
                <a:ext uri="{FF2B5EF4-FFF2-40B4-BE49-F238E27FC236}">
                  <a16:creationId xmlns:a16="http://schemas.microsoft.com/office/drawing/2014/main" id="{C41659FF-2255-227A-E6C0-925921F2D22F}"/>
                </a:ext>
              </a:extLst>
            </p:cNvPr>
            <p:cNvSpPr/>
            <p:nvPr/>
          </p:nvSpPr>
          <p:spPr>
            <a:xfrm>
              <a:off x="7758199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5" name="object 405">
              <a:extLst>
                <a:ext uri="{FF2B5EF4-FFF2-40B4-BE49-F238E27FC236}">
                  <a16:creationId xmlns:a16="http://schemas.microsoft.com/office/drawing/2014/main" id="{C314B53C-9CB4-41E2-9F8D-A16E007FCAB5}"/>
                </a:ext>
              </a:extLst>
            </p:cNvPr>
            <p:cNvSpPr/>
            <p:nvPr/>
          </p:nvSpPr>
          <p:spPr>
            <a:xfrm>
              <a:off x="7793220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6" name="object 406">
              <a:extLst>
                <a:ext uri="{FF2B5EF4-FFF2-40B4-BE49-F238E27FC236}">
                  <a16:creationId xmlns:a16="http://schemas.microsoft.com/office/drawing/2014/main" id="{806F852E-B1D7-9C8A-2967-D3BD6AC1697C}"/>
                </a:ext>
              </a:extLst>
            </p:cNvPr>
            <p:cNvSpPr/>
            <p:nvPr/>
          </p:nvSpPr>
          <p:spPr>
            <a:xfrm>
              <a:off x="7688156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7" name="object 407">
              <a:extLst>
                <a:ext uri="{FF2B5EF4-FFF2-40B4-BE49-F238E27FC236}">
                  <a16:creationId xmlns:a16="http://schemas.microsoft.com/office/drawing/2014/main" id="{07C674B1-C0BB-FCF6-7679-7EF058637C7A}"/>
                </a:ext>
              </a:extLst>
            </p:cNvPr>
            <p:cNvSpPr/>
            <p:nvPr/>
          </p:nvSpPr>
          <p:spPr>
            <a:xfrm>
              <a:off x="7583091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8" name="object 408">
              <a:extLst>
                <a:ext uri="{FF2B5EF4-FFF2-40B4-BE49-F238E27FC236}">
                  <a16:creationId xmlns:a16="http://schemas.microsoft.com/office/drawing/2014/main" id="{8928ED67-2B9C-86C9-FEFC-4F9C7C12B72A}"/>
                </a:ext>
              </a:extLst>
            </p:cNvPr>
            <p:cNvSpPr/>
            <p:nvPr/>
          </p:nvSpPr>
          <p:spPr>
            <a:xfrm>
              <a:off x="7618186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9" name="object 409">
              <a:extLst>
                <a:ext uri="{FF2B5EF4-FFF2-40B4-BE49-F238E27FC236}">
                  <a16:creationId xmlns:a16="http://schemas.microsoft.com/office/drawing/2014/main" id="{2CBD7474-0E93-1B87-61C9-7415C216329D}"/>
                </a:ext>
              </a:extLst>
            </p:cNvPr>
            <p:cNvSpPr/>
            <p:nvPr/>
          </p:nvSpPr>
          <p:spPr>
            <a:xfrm>
              <a:off x="7513048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0" name="object 410">
              <a:extLst>
                <a:ext uri="{FF2B5EF4-FFF2-40B4-BE49-F238E27FC236}">
                  <a16:creationId xmlns:a16="http://schemas.microsoft.com/office/drawing/2014/main" id="{0B3F882C-3C76-FC65-5366-060B018A2389}"/>
                </a:ext>
              </a:extLst>
            </p:cNvPr>
            <p:cNvSpPr/>
            <p:nvPr/>
          </p:nvSpPr>
          <p:spPr>
            <a:xfrm>
              <a:off x="7723177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1" name="object 411">
              <a:extLst>
                <a:ext uri="{FF2B5EF4-FFF2-40B4-BE49-F238E27FC236}">
                  <a16:creationId xmlns:a16="http://schemas.microsoft.com/office/drawing/2014/main" id="{37111393-A559-C771-8F9D-9E5C62279886}"/>
                </a:ext>
              </a:extLst>
            </p:cNvPr>
            <p:cNvSpPr/>
            <p:nvPr/>
          </p:nvSpPr>
          <p:spPr>
            <a:xfrm>
              <a:off x="7548070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2" name="object 412">
              <a:extLst>
                <a:ext uri="{FF2B5EF4-FFF2-40B4-BE49-F238E27FC236}">
                  <a16:creationId xmlns:a16="http://schemas.microsoft.com/office/drawing/2014/main" id="{53C68A24-C087-2477-003B-256DEBD876CC}"/>
                </a:ext>
              </a:extLst>
            </p:cNvPr>
            <p:cNvSpPr/>
            <p:nvPr/>
          </p:nvSpPr>
          <p:spPr>
            <a:xfrm>
              <a:off x="7828242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3" name="object 413">
              <a:extLst>
                <a:ext uri="{FF2B5EF4-FFF2-40B4-BE49-F238E27FC236}">
                  <a16:creationId xmlns:a16="http://schemas.microsoft.com/office/drawing/2014/main" id="{F5E971DC-4F71-0B93-606A-6688DAC6F064}"/>
                </a:ext>
              </a:extLst>
            </p:cNvPr>
            <p:cNvSpPr/>
            <p:nvPr/>
          </p:nvSpPr>
          <p:spPr>
            <a:xfrm>
              <a:off x="7653271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4" name="object 414">
              <a:extLst>
                <a:ext uri="{FF2B5EF4-FFF2-40B4-BE49-F238E27FC236}">
                  <a16:creationId xmlns:a16="http://schemas.microsoft.com/office/drawing/2014/main" id="{5B5260EB-057C-BA77-578A-7EED519F9E8F}"/>
                </a:ext>
              </a:extLst>
            </p:cNvPr>
            <p:cNvSpPr/>
            <p:nvPr/>
          </p:nvSpPr>
          <p:spPr>
            <a:xfrm>
              <a:off x="7478301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5" name="object 415">
              <a:extLst>
                <a:ext uri="{FF2B5EF4-FFF2-40B4-BE49-F238E27FC236}">
                  <a16:creationId xmlns:a16="http://schemas.microsoft.com/office/drawing/2014/main" id="{46D841F9-F96C-A377-499F-D48BFA5C3E63}"/>
                </a:ext>
              </a:extLst>
            </p:cNvPr>
            <p:cNvSpPr/>
            <p:nvPr/>
          </p:nvSpPr>
          <p:spPr>
            <a:xfrm>
              <a:off x="7478301" y="26335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6" name="object 416">
              <a:extLst>
                <a:ext uri="{FF2B5EF4-FFF2-40B4-BE49-F238E27FC236}">
                  <a16:creationId xmlns:a16="http://schemas.microsoft.com/office/drawing/2014/main" id="{4079743E-0BF2-8E1F-661E-0DB4508395A2}"/>
                </a:ext>
              </a:extLst>
            </p:cNvPr>
            <p:cNvSpPr/>
            <p:nvPr/>
          </p:nvSpPr>
          <p:spPr>
            <a:xfrm>
              <a:off x="7478429" y="2608069"/>
              <a:ext cx="34232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64515"/>
                <a:gd name="f4" fmla="val 84454"/>
                <a:gd name="f5" fmla="val 564359"/>
                <a:gd name="f6" fmla="val 84102"/>
                <a:gd name="f7" fmla="*/ f0 1 564515"/>
                <a:gd name="f8" fmla="*/ f1 1 84454"/>
                <a:gd name="f9" fmla="+- f4 0 f2"/>
                <a:gd name="f10" fmla="+- f3 0 f2"/>
                <a:gd name="f11" fmla="*/ f10 1 56451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6451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7" name="object 417">
              <a:extLst>
                <a:ext uri="{FF2B5EF4-FFF2-40B4-BE49-F238E27FC236}">
                  <a16:creationId xmlns:a16="http://schemas.microsoft.com/office/drawing/2014/main" id="{F65C35AD-621A-D076-5964-CB682157D32C}"/>
                </a:ext>
              </a:extLst>
            </p:cNvPr>
            <p:cNvSpPr/>
            <p:nvPr/>
          </p:nvSpPr>
          <p:spPr>
            <a:xfrm>
              <a:off x="7827894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8" name="object 418">
              <a:extLst>
                <a:ext uri="{FF2B5EF4-FFF2-40B4-BE49-F238E27FC236}">
                  <a16:creationId xmlns:a16="http://schemas.microsoft.com/office/drawing/2014/main" id="{FDC6B0CA-D20B-3EF9-58C1-00EC1F6C2679}"/>
                </a:ext>
              </a:extLst>
            </p:cNvPr>
            <p:cNvSpPr/>
            <p:nvPr/>
          </p:nvSpPr>
          <p:spPr>
            <a:xfrm>
              <a:off x="7652924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9" name="object 419">
              <a:extLst>
                <a:ext uri="{FF2B5EF4-FFF2-40B4-BE49-F238E27FC236}">
                  <a16:creationId xmlns:a16="http://schemas.microsoft.com/office/drawing/2014/main" id="{B4FD0718-789A-A1BF-6D69-8B902B19BB5D}"/>
                </a:ext>
              </a:extLst>
            </p:cNvPr>
            <p:cNvSpPr/>
            <p:nvPr/>
          </p:nvSpPr>
          <p:spPr>
            <a:xfrm>
              <a:off x="7477954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0" name="object 420">
              <a:extLst>
                <a:ext uri="{FF2B5EF4-FFF2-40B4-BE49-F238E27FC236}">
                  <a16:creationId xmlns:a16="http://schemas.microsoft.com/office/drawing/2014/main" id="{625D9BD9-F925-C587-1502-CB056876A4BE}"/>
                </a:ext>
              </a:extLst>
            </p:cNvPr>
            <p:cNvSpPr/>
            <p:nvPr/>
          </p:nvSpPr>
          <p:spPr>
            <a:xfrm>
              <a:off x="7652924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1" name="object 421">
              <a:extLst>
                <a:ext uri="{FF2B5EF4-FFF2-40B4-BE49-F238E27FC236}">
                  <a16:creationId xmlns:a16="http://schemas.microsoft.com/office/drawing/2014/main" id="{66BE5CAB-E4A7-16F4-A5A9-6DA39DBFBF98}"/>
                </a:ext>
              </a:extLst>
            </p:cNvPr>
            <p:cNvSpPr/>
            <p:nvPr/>
          </p:nvSpPr>
          <p:spPr>
            <a:xfrm>
              <a:off x="7757851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2" name="object 422">
              <a:extLst>
                <a:ext uri="{FF2B5EF4-FFF2-40B4-BE49-F238E27FC236}">
                  <a16:creationId xmlns:a16="http://schemas.microsoft.com/office/drawing/2014/main" id="{1F40554F-EE51-DEBA-8086-B4029F1CB046}"/>
                </a:ext>
              </a:extLst>
            </p:cNvPr>
            <p:cNvSpPr/>
            <p:nvPr/>
          </p:nvSpPr>
          <p:spPr>
            <a:xfrm>
              <a:off x="7792873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3" name="object 423">
              <a:extLst>
                <a:ext uri="{FF2B5EF4-FFF2-40B4-BE49-F238E27FC236}">
                  <a16:creationId xmlns:a16="http://schemas.microsoft.com/office/drawing/2014/main" id="{DF10A2BB-D9E1-514E-502D-76261D62D76C}"/>
                </a:ext>
              </a:extLst>
            </p:cNvPr>
            <p:cNvSpPr/>
            <p:nvPr/>
          </p:nvSpPr>
          <p:spPr>
            <a:xfrm>
              <a:off x="7687808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4" name="object 424">
              <a:extLst>
                <a:ext uri="{FF2B5EF4-FFF2-40B4-BE49-F238E27FC236}">
                  <a16:creationId xmlns:a16="http://schemas.microsoft.com/office/drawing/2014/main" id="{68252601-A3BE-6548-8F94-6A4D5121AEFF}"/>
                </a:ext>
              </a:extLst>
            </p:cNvPr>
            <p:cNvSpPr/>
            <p:nvPr/>
          </p:nvSpPr>
          <p:spPr>
            <a:xfrm>
              <a:off x="7582744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5" name="object 425">
              <a:extLst>
                <a:ext uri="{FF2B5EF4-FFF2-40B4-BE49-F238E27FC236}">
                  <a16:creationId xmlns:a16="http://schemas.microsoft.com/office/drawing/2014/main" id="{AE2B18D4-0B43-7819-46D4-F268960032CD}"/>
                </a:ext>
              </a:extLst>
            </p:cNvPr>
            <p:cNvSpPr/>
            <p:nvPr/>
          </p:nvSpPr>
          <p:spPr>
            <a:xfrm>
              <a:off x="7617838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6" name="object 426">
              <a:extLst>
                <a:ext uri="{FF2B5EF4-FFF2-40B4-BE49-F238E27FC236}">
                  <a16:creationId xmlns:a16="http://schemas.microsoft.com/office/drawing/2014/main" id="{3E306832-D5A5-1A46-A6AE-76F35F6DB1D1}"/>
                </a:ext>
              </a:extLst>
            </p:cNvPr>
            <p:cNvSpPr/>
            <p:nvPr/>
          </p:nvSpPr>
          <p:spPr>
            <a:xfrm>
              <a:off x="7512701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7" name="object 427">
              <a:extLst>
                <a:ext uri="{FF2B5EF4-FFF2-40B4-BE49-F238E27FC236}">
                  <a16:creationId xmlns:a16="http://schemas.microsoft.com/office/drawing/2014/main" id="{2C12D870-DB35-CD47-BB84-9A5372F7155E}"/>
                </a:ext>
              </a:extLst>
            </p:cNvPr>
            <p:cNvSpPr/>
            <p:nvPr/>
          </p:nvSpPr>
          <p:spPr>
            <a:xfrm>
              <a:off x="7722830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8" name="object 428">
              <a:extLst>
                <a:ext uri="{FF2B5EF4-FFF2-40B4-BE49-F238E27FC236}">
                  <a16:creationId xmlns:a16="http://schemas.microsoft.com/office/drawing/2014/main" id="{6E7C9414-DD09-9C31-5B02-3E43BEC4393D}"/>
                </a:ext>
              </a:extLst>
            </p:cNvPr>
            <p:cNvSpPr/>
            <p:nvPr/>
          </p:nvSpPr>
          <p:spPr>
            <a:xfrm>
              <a:off x="7547722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9" name="object 429">
              <a:extLst>
                <a:ext uri="{FF2B5EF4-FFF2-40B4-BE49-F238E27FC236}">
                  <a16:creationId xmlns:a16="http://schemas.microsoft.com/office/drawing/2014/main" id="{15BFEF5E-BD53-2287-2837-D696843E3C32}"/>
                </a:ext>
              </a:extLst>
            </p:cNvPr>
            <p:cNvSpPr/>
            <p:nvPr/>
          </p:nvSpPr>
          <p:spPr>
            <a:xfrm>
              <a:off x="7477954" y="27058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30" name="object 430">
            <a:extLst>
              <a:ext uri="{FF2B5EF4-FFF2-40B4-BE49-F238E27FC236}">
                <a16:creationId xmlns:a16="http://schemas.microsoft.com/office/drawing/2014/main" id="{65B4CA8A-C46C-A0B5-FE4E-DDA4CBAC6D30}"/>
              </a:ext>
            </a:extLst>
          </p:cNvPr>
          <p:cNvGrpSpPr/>
          <p:nvPr/>
        </p:nvGrpSpPr>
        <p:grpSpPr>
          <a:xfrm>
            <a:off x="6656054" y="3372828"/>
            <a:ext cx="350371" cy="123517"/>
            <a:chOff x="6656054" y="3372828"/>
            <a:chExt cx="350371" cy="123517"/>
          </a:xfrm>
        </p:grpSpPr>
        <p:sp>
          <p:nvSpPr>
            <p:cNvPr id="431" name="object 431">
              <a:extLst>
                <a:ext uri="{FF2B5EF4-FFF2-40B4-BE49-F238E27FC236}">
                  <a16:creationId xmlns:a16="http://schemas.microsoft.com/office/drawing/2014/main" id="{E860972B-24B6-CBE5-5EF0-CCC6EB9430D2}"/>
                </a:ext>
              </a:extLst>
            </p:cNvPr>
            <p:cNvSpPr/>
            <p:nvPr/>
          </p:nvSpPr>
          <p:spPr>
            <a:xfrm>
              <a:off x="6936300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2" name="object 432">
              <a:extLst>
                <a:ext uri="{FF2B5EF4-FFF2-40B4-BE49-F238E27FC236}">
                  <a16:creationId xmlns:a16="http://schemas.microsoft.com/office/drawing/2014/main" id="{46AAD6AC-8925-1245-BD23-EF8250E492B5}"/>
                </a:ext>
              </a:extLst>
            </p:cNvPr>
            <p:cNvSpPr/>
            <p:nvPr/>
          </p:nvSpPr>
          <p:spPr>
            <a:xfrm>
              <a:off x="6971330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3" name="object 433">
              <a:extLst>
                <a:ext uri="{FF2B5EF4-FFF2-40B4-BE49-F238E27FC236}">
                  <a16:creationId xmlns:a16="http://schemas.microsoft.com/office/drawing/2014/main" id="{6B48A433-9F60-2FD1-5C4B-19FB73C4B96F}"/>
                </a:ext>
              </a:extLst>
            </p:cNvPr>
            <p:cNvSpPr/>
            <p:nvPr/>
          </p:nvSpPr>
          <p:spPr>
            <a:xfrm>
              <a:off x="6866257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4" name="object 434">
              <a:extLst>
                <a:ext uri="{FF2B5EF4-FFF2-40B4-BE49-F238E27FC236}">
                  <a16:creationId xmlns:a16="http://schemas.microsoft.com/office/drawing/2014/main" id="{0C498950-80D7-BC7A-DDB9-F34E12C2CD42}"/>
                </a:ext>
              </a:extLst>
            </p:cNvPr>
            <p:cNvSpPr/>
            <p:nvPr/>
          </p:nvSpPr>
          <p:spPr>
            <a:xfrm>
              <a:off x="6761192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5" name="object 435">
              <a:extLst>
                <a:ext uri="{FF2B5EF4-FFF2-40B4-BE49-F238E27FC236}">
                  <a16:creationId xmlns:a16="http://schemas.microsoft.com/office/drawing/2014/main" id="{9D9896B8-1120-06AB-9039-1A83DF752712}"/>
                </a:ext>
              </a:extLst>
            </p:cNvPr>
            <p:cNvSpPr/>
            <p:nvPr/>
          </p:nvSpPr>
          <p:spPr>
            <a:xfrm>
              <a:off x="6796287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6" name="object 436">
              <a:extLst>
                <a:ext uri="{FF2B5EF4-FFF2-40B4-BE49-F238E27FC236}">
                  <a16:creationId xmlns:a16="http://schemas.microsoft.com/office/drawing/2014/main" id="{CABDFB0B-7A5E-DCBA-E697-0BA7F1BBBD01}"/>
                </a:ext>
              </a:extLst>
            </p:cNvPr>
            <p:cNvSpPr/>
            <p:nvPr/>
          </p:nvSpPr>
          <p:spPr>
            <a:xfrm>
              <a:off x="6691149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7" name="object 437">
              <a:extLst>
                <a:ext uri="{FF2B5EF4-FFF2-40B4-BE49-F238E27FC236}">
                  <a16:creationId xmlns:a16="http://schemas.microsoft.com/office/drawing/2014/main" id="{830FE001-6782-576E-0691-0D3A26DF59A3}"/>
                </a:ext>
              </a:extLst>
            </p:cNvPr>
            <p:cNvSpPr/>
            <p:nvPr/>
          </p:nvSpPr>
          <p:spPr>
            <a:xfrm>
              <a:off x="6901278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8" name="object 438">
              <a:extLst>
                <a:ext uri="{FF2B5EF4-FFF2-40B4-BE49-F238E27FC236}">
                  <a16:creationId xmlns:a16="http://schemas.microsoft.com/office/drawing/2014/main" id="{765A818F-64B6-159A-C496-446B3F050358}"/>
                </a:ext>
              </a:extLst>
            </p:cNvPr>
            <p:cNvSpPr/>
            <p:nvPr/>
          </p:nvSpPr>
          <p:spPr>
            <a:xfrm>
              <a:off x="6726170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9" name="object 439">
              <a:extLst>
                <a:ext uri="{FF2B5EF4-FFF2-40B4-BE49-F238E27FC236}">
                  <a16:creationId xmlns:a16="http://schemas.microsoft.com/office/drawing/2014/main" id="{DC9C8E08-2F9E-7A67-661C-A474F4BFB641}"/>
                </a:ext>
              </a:extLst>
            </p:cNvPr>
            <p:cNvSpPr/>
            <p:nvPr/>
          </p:nvSpPr>
          <p:spPr>
            <a:xfrm>
              <a:off x="7006352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0" name="object 440">
              <a:extLst>
                <a:ext uri="{FF2B5EF4-FFF2-40B4-BE49-F238E27FC236}">
                  <a16:creationId xmlns:a16="http://schemas.microsoft.com/office/drawing/2014/main" id="{8C779119-E54C-6F11-E71F-139ED79165BB}"/>
                </a:ext>
              </a:extLst>
            </p:cNvPr>
            <p:cNvSpPr/>
            <p:nvPr/>
          </p:nvSpPr>
          <p:spPr>
            <a:xfrm>
              <a:off x="6831372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1" name="object 441">
              <a:extLst>
                <a:ext uri="{FF2B5EF4-FFF2-40B4-BE49-F238E27FC236}">
                  <a16:creationId xmlns:a16="http://schemas.microsoft.com/office/drawing/2014/main" id="{09218733-56A1-CE1A-C53D-BDC6254F445C}"/>
                </a:ext>
              </a:extLst>
            </p:cNvPr>
            <p:cNvSpPr/>
            <p:nvPr/>
          </p:nvSpPr>
          <p:spPr>
            <a:xfrm>
              <a:off x="6656402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2" name="object 442">
              <a:extLst>
                <a:ext uri="{FF2B5EF4-FFF2-40B4-BE49-F238E27FC236}">
                  <a16:creationId xmlns:a16="http://schemas.microsoft.com/office/drawing/2014/main" id="{BEFBFDCA-3F31-A060-1B7D-7A633043EE18}"/>
                </a:ext>
              </a:extLst>
            </p:cNvPr>
            <p:cNvSpPr/>
            <p:nvPr/>
          </p:nvSpPr>
          <p:spPr>
            <a:xfrm>
              <a:off x="6656402" y="33983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3" name="object 443">
              <a:extLst>
                <a:ext uri="{FF2B5EF4-FFF2-40B4-BE49-F238E27FC236}">
                  <a16:creationId xmlns:a16="http://schemas.microsoft.com/office/drawing/2014/main" id="{3D0C7FB0-B3A3-1721-A151-92D63CA8D7D7}"/>
                </a:ext>
              </a:extLst>
            </p:cNvPr>
            <p:cNvSpPr/>
            <p:nvPr/>
          </p:nvSpPr>
          <p:spPr>
            <a:xfrm>
              <a:off x="6656539" y="3372837"/>
              <a:ext cx="800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079"/>
                <a:gd name="f4" fmla="val 84454"/>
                <a:gd name="f5" fmla="val 131807"/>
                <a:gd name="f6" fmla="val 84112"/>
                <a:gd name="f7" fmla="*/ f0 1 132079"/>
                <a:gd name="f8" fmla="*/ f1 1 84454"/>
                <a:gd name="f9" fmla="+- f4 0 f2"/>
                <a:gd name="f10" fmla="+- f3 0 f2"/>
                <a:gd name="f11" fmla="*/ f10 1 1320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0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4" name="object 444">
              <a:extLst>
                <a:ext uri="{FF2B5EF4-FFF2-40B4-BE49-F238E27FC236}">
                  <a16:creationId xmlns:a16="http://schemas.microsoft.com/office/drawing/2014/main" id="{1DF45C05-E470-C0DD-D04A-D2D0BA0CB6EC}"/>
                </a:ext>
              </a:extLst>
            </p:cNvPr>
            <p:cNvSpPr/>
            <p:nvPr/>
          </p:nvSpPr>
          <p:spPr>
            <a:xfrm>
              <a:off x="7006004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5" name="object 445">
              <a:extLst>
                <a:ext uri="{FF2B5EF4-FFF2-40B4-BE49-F238E27FC236}">
                  <a16:creationId xmlns:a16="http://schemas.microsoft.com/office/drawing/2014/main" id="{F8C1DB96-074E-A2FC-2193-F5E7D9C8A29E}"/>
                </a:ext>
              </a:extLst>
            </p:cNvPr>
            <p:cNvSpPr/>
            <p:nvPr/>
          </p:nvSpPr>
          <p:spPr>
            <a:xfrm>
              <a:off x="6831034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6" name="object 446">
              <a:extLst>
                <a:ext uri="{FF2B5EF4-FFF2-40B4-BE49-F238E27FC236}">
                  <a16:creationId xmlns:a16="http://schemas.microsoft.com/office/drawing/2014/main" id="{F715583B-09AB-D43A-63A6-FC9E6B233ADE}"/>
                </a:ext>
              </a:extLst>
            </p:cNvPr>
            <p:cNvSpPr/>
            <p:nvPr/>
          </p:nvSpPr>
          <p:spPr>
            <a:xfrm>
              <a:off x="6656054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7" name="object 447">
              <a:extLst>
                <a:ext uri="{FF2B5EF4-FFF2-40B4-BE49-F238E27FC236}">
                  <a16:creationId xmlns:a16="http://schemas.microsoft.com/office/drawing/2014/main" id="{9C12A3EB-DD9A-1143-A03F-E925AFEBAA14}"/>
                </a:ext>
              </a:extLst>
            </p:cNvPr>
            <p:cNvSpPr/>
            <p:nvPr/>
          </p:nvSpPr>
          <p:spPr>
            <a:xfrm>
              <a:off x="6831034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8" name="object 448">
              <a:extLst>
                <a:ext uri="{FF2B5EF4-FFF2-40B4-BE49-F238E27FC236}">
                  <a16:creationId xmlns:a16="http://schemas.microsoft.com/office/drawing/2014/main" id="{265213BA-D408-CACC-524D-C81AEFBBE777}"/>
                </a:ext>
              </a:extLst>
            </p:cNvPr>
            <p:cNvSpPr/>
            <p:nvPr/>
          </p:nvSpPr>
          <p:spPr>
            <a:xfrm>
              <a:off x="6935961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9" name="object 449">
              <a:extLst>
                <a:ext uri="{FF2B5EF4-FFF2-40B4-BE49-F238E27FC236}">
                  <a16:creationId xmlns:a16="http://schemas.microsoft.com/office/drawing/2014/main" id="{835C6557-98F7-746B-A100-5640B052D1F2}"/>
                </a:ext>
              </a:extLst>
            </p:cNvPr>
            <p:cNvSpPr/>
            <p:nvPr/>
          </p:nvSpPr>
          <p:spPr>
            <a:xfrm>
              <a:off x="6970983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0" name="object 450">
              <a:extLst>
                <a:ext uri="{FF2B5EF4-FFF2-40B4-BE49-F238E27FC236}">
                  <a16:creationId xmlns:a16="http://schemas.microsoft.com/office/drawing/2014/main" id="{7C65B7EB-0A72-2B5E-F604-3DBAE3328C7D}"/>
                </a:ext>
              </a:extLst>
            </p:cNvPr>
            <p:cNvSpPr/>
            <p:nvPr/>
          </p:nvSpPr>
          <p:spPr>
            <a:xfrm>
              <a:off x="6865918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1" name="object 451">
              <a:extLst>
                <a:ext uri="{FF2B5EF4-FFF2-40B4-BE49-F238E27FC236}">
                  <a16:creationId xmlns:a16="http://schemas.microsoft.com/office/drawing/2014/main" id="{FE07ED91-45B6-6E10-91F0-3D573AECBDA0}"/>
                </a:ext>
              </a:extLst>
            </p:cNvPr>
            <p:cNvSpPr/>
            <p:nvPr/>
          </p:nvSpPr>
          <p:spPr>
            <a:xfrm>
              <a:off x="6760845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2" name="object 452">
              <a:extLst>
                <a:ext uri="{FF2B5EF4-FFF2-40B4-BE49-F238E27FC236}">
                  <a16:creationId xmlns:a16="http://schemas.microsoft.com/office/drawing/2014/main" id="{B103683B-2252-4C4A-3374-0C993E2231AB}"/>
                </a:ext>
              </a:extLst>
            </p:cNvPr>
            <p:cNvSpPr/>
            <p:nvPr/>
          </p:nvSpPr>
          <p:spPr>
            <a:xfrm>
              <a:off x="6795939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3" name="object 453">
              <a:extLst>
                <a:ext uri="{FF2B5EF4-FFF2-40B4-BE49-F238E27FC236}">
                  <a16:creationId xmlns:a16="http://schemas.microsoft.com/office/drawing/2014/main" id="{E3323942-7077-6414-40BB-A8001C77E32A}"/>
                </a:ext>
              </a:extLst>
            </p:cNvPr>
            <p:cNvSpPr/>
            <p:nvPr/>
          </p:nvSpPr>
          <p:spPr>
            <a:xfrm>
              <a:off x="6690801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4" name="object 454">
              <a:extLst>
                <a:ext uri="{FF2B5EF4-FFF2-40B4-BE49-F238E27FC236}">
                  <a16:creationId xmlns:a16="http://schemas.microsoft.com/office/drawing/2014/main" id="{5A34A416-8886-EFA2-76D1-46443C8C5485}"/>
                </a:ext>
              </a:extLst>
            </p:cNvPr>
            <p:cNvSpPr/>
            <p:nvPr/>
          </p:nvSpPr>
          <p:spPr>
            <a:xfrm>
              <a:off x="6900940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5" name="object 455">
              <a:extLst>
                <a:ext uri="{FF2B5EF4-FFF2-40B4-BE49-F238E27FC236}">
                  <a16:creationId xmlns:a16="http://schemas.microsoft.com/office/drawing/2014/main" id="{754041EB-E52A-B456-FFD2-CC29BFF2DE89}"/>
                </a:ext>
              </a:extLst>
            </p:cNvPr>
            <p:cNvSpPr/>
            <p:nvPr/>
          </p:nvSpPr>
          <p:spPr>
            <a:xfrm>
              <a:off x="6725823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6" name="object 456">
              <a:extLst>
                <a:ext uri="{FF2B5EF4-FFF2-40B4-BE49-F238E27FC236}">
                  <a16:creationId xmlns:a16="http://schemas.microsoft.com/office/drawing/2014/main" id="{BF48DB6B-380A-4FE1-03EE-7D5F108A7F3C}"/>
                </a:ext>
              </a:extLst>
            </p:cNvPr>
            <p:cNvSpPr/>
            <p:nvPr/>
          </p:nvSpPr>
          <p:spPr>
            <a:xfrm>
              <a:off x="6656054" y="347063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57" name="object 457">
            <a:extLst>
              <a:ext uri="{FF2B5EF4-FFF2-40B4-BE49-F238E27FC236}">
                <a16:creationId xmlns:a16="http://schemas.microsoft.com/office/drawing/2014/main" id="{12F97071-E927-E314-CA3F-1D66AF291D8A}"/>
              </a:ext>
            </a:extLst>
          </p:cNvPr>
          <p:cNvGrpSpPr/>
          <p:nvPr/>
        </p:nvGrpSpPr>
        <p:grpSpPr>
          <a:xfrm>
            <a:off x="5833725" y="3372828"/>
            <a:ext cx="350371" cy="123535"/>
            <a:chOff x="5833725" y="3372828"/>
            <a:chExt cx="350371" cy="123535"/>
          </a:xfrm>
        </p:grpSpPr>
        <p:sp>
          <p:nvSpPr>
            <p:cNvPr id="458" name="object 458">
              <a:extLst>
                <a:ext uri="{FF2B5EF4-FFF2-40B4-BE49-F238E27FC236}">
                  <a16:creationId xmlns:a16="http://schemas.microsoft.com/office/drawing/2014/main" id="{4608A734-6C8E-1D1B-06E8-18E8A2C99B3B}"/>
                </a:ext>
              </a:extLst>
            </p:cNvPr>
            <p:cNvSpPr/>
            <p:nvPr/>
          </p:nvSpPr>
          <p:spPr>
            <a:xfrm>
              <a:off x="6113971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9" name="object 459">
              <a:extLst>
                <a:ext uri="{FF2B5EF4-FFF2-40B4-BE49-F238E27FC236}">
                  <a16:creationId xmlns:a16="http://schemas.microsoft.com/office/drawing/2014/main" id="{2F32456C-2E3A-8157-AC2E-D60BF751C058}"/>
                </a:ext>
              </a:extLst>
            </p:cNvPr>
            <p:cNvSpPr/>
            <p:nvPr/>
          </p:nvSpPr>
          <p:spPr>
            <a:xfrm>
              <a:off x="6148992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0" name="object 460">
              <a:extLst>
                <a:ext uri="{FF2B5EF4-FFF2-40B4-BE49-F238E27FC236}">
                  <a16:creationId xmlns:a16="http://schemas.microsoft.com/office/drawing/2014/main" id="{9C85B930-2D58-EA79-F074-3F398342BB78}"/>
                </a:ext>
              </a:extLst>
            </p:cNvPr>
            <p:cNvSpPr/>
            <p:nvPr/>
          </p:nvSpPr>
          <p:spPr>
            <a:xfrm>
              <a:off x="6043927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1" name="object 461">
              <a:extLst>
                <a:ext uri="{FF2B5EF4-FFF2-40B4-BE49-F238E27FC236}">
                  <a16:creationId xmlns:a16="http://schemas.microsoft.com/office/drawing/2014/main" id="{36ED0C08-A4AA-5D9D-1771-707682E94481}"/>
                </a:ext>
              </a:extLst>
            </p:cNvPr>
            <p:cNvSpPr/>
            <p:nvPr/>
          </p:nvSpPr>
          <p:spPr>
            <a:xfrm>
              <a:off x="5938863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2" name="object 462">
              <a:extLst>
                <a:ext uri="{FF2B5EF4-FFF2-40B4-BE49-F238E27FC236}">
                  <a16:creationId xmlns:a16="http://schemas.microsoft.com/office/drawing/2014/main" id="{D2EE2F07-4FB3-1C5E-AF68-2753D6983EF6}"/>
                </a:ext>
              </a:extLst>
            </p:cNvPr>
            <p:cNvSpPr/>
            <p:nvPr/>
          </p:nvSpPr>
          <p:spPr>
            <a:xfrm>
              <a:off x="5973958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3" name="object 463">
              <a:extLst>
                <a:ext uri="{FF2B5EF4-FFF2-40B4-BE49-F238E27FC236}">
                  <a16:creationId xmlns:a16="http://schemas.microsoft.com/office/drawing/2014/main" id="{36446538-A05E-E212-F81B-7848374CEE5E}"/>
                </a:ext>
              </a:extLst>
            </p:cNvPr>
            <p:cNvSpPr/>
            <p:nvPr/>
          </p:nvSpPr>
          <p:spPr>
            <a:xfrm>
              <a:off x="5868820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4" name="object 464">
              <a:extLst>
                <a:ext uri="{FF2B5EF4-FFF2-40B4-BE49-F238E27FC236}">
                  <a16:creationId xmlns:a16="http://schemas.microsoft.com/office/drawing/2014/main" id="{13B55277-D0B2-ABCA-18AC-C19B5A02F9C0}"/>
                </a:ext>
              </a:extLst>
            </p:cNvPr>
            <p:cNvSpPr/>
            <p:nvPr/>
          </p:nvSpPr>
          <p:spPr>
            <a:xfrm>
              <a:off x="6078949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5" name="object 465">
              <a:extLst>
                <a:ext uri="{FF2B5EF4-FFF2-40B4-BE49-F238E27FC236}">
                  <a16:creationId xmlns:a16="http://schemas.microsoft.com/office/drawing/2014/main" id="{E61F6ABC-9247-14AA-4C49-484099538BEE}"/>
                </a:ext>
              </a:extLst>
            </p:cNvPr>
            <p:cNvSpPr/>
            <p:nvPr/>
          </p:nvSpPr>
          <p:spPr>
            <a:xfrm>
              <a:off x="5903841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6" name="object 466">
              <a:extLst>
                <a:ext uri="{FF2B5EF4-FFF2-40B4-BE49-F238E27FC236}">
                  <a16:creationId xmlns:a16="http://schemas.microsoft.com/office/drawing/2014/main" id="{D5E9EB5A-454A-9B0D-AF49-038F35238857}"/>
                </a:ext>
              </a:extLst>
            </p:cNvPr>
            <p:cNvSpPr/>
            <p:nvPr/>
          </p:nvSpPr>
          <p:spPr>
            <a:xfrm>
              <a:off x="6184014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7" name="object 467">
              <a:extLst>
                <a:ext uri="{FF2B5EF4-FFF2-40B4-BE49-F238E27FC236}">
                  <a16:creationId xmlns:a16="http://schemas.microsoft.com/office/drawing/2014/main" id="{261072A5-9E16-0096-D86D-4D0E3F50F0B6}"/>
                </a:ext>
              </a:extLst>
            </p:cNvPr>
            <p:cNvSpPr/>
            <p:nvPr/>
          </p:nvSpPr>
          <p:spPr>
            <a:xfrm>
              <a:off x="6009043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8" name="object 468">
              <a:extLst>
                <a:ext uri="{FF2B5EF4-FFF2-40B4-BE49-F238E27FC236}">
                  <a16:creationId xmlns:a16="http://schemas.microsoft.com/office/drawing/2014/main" id="{86A5342D-0C34-C65B-A807-9992AB1734CE}"/>
                </a:ext>
              </a:extLst>
            </p:cNvPr>
            <p:cNvSpPr/>
            <p:nvPr/>
          </p:nvSpPr>
          <p:spPr>
            <a:xfrm>
              <a:off x="5834073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9" name="object 469">
              <a:extLst>
                <a:ext uri="{FF2B5EF4-FFF2-40B4-BE49-F238E27FC236}">
                  <a16:creationId xmlns:a16="http://schemas.microsoft.com/office/drawing/2014/main" id="{903ACA46-386D-5FA2-40C5-78862BDDD2FC}"/>
                </a:ext>
              </a:extLst>
            </p:cNvPr>
            <p:cNvSpPr/>
            <p:nvPr/>
          </p:nvSpPr>
          <p:spPr>
            <a:xfrm>
              <a:off x="5834073" y="33983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0" name="object 470">
              <a:extLst>
                <a:ext uri="{FF2B5EF4-FFF2-40B4-BE49-F238E27FC236}">
                  <a16:creationId xmlns:a16="http://schemas.microsoft.com/office/drawing/2014/main" id="{1C9D5FCE-81A0-C711-8051-3EC7A1D2F76C}"/>
                </a:ext>
              </a:extLst>
            </p:cNvPr>
            <p:cNvSpPr/>
            <p:nvPr/>
          </p:nvSpPr>
          <p:spPr>
            <a:xfrm>
              <a:off x="5834192" y="3372837"/>
              <a:ext cx="770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7000"/>
                <a:gd name="f4" fmla="val 84454"/>
                <a:gd name="f5" fmla="val 126613"/>
                <a:gd name="f6" fmla="val 84112"/>
                <a:gd name="f7" fmla="*/ f0 1 127000"/>
                <a:gd name="f8" fmla="*/ f1 1 84454"/>
                <a:gd name="f9" fmla="+- f4 0 f2"/>
                <a:gd name="f10" fmla="+- f3 0 f2"/>
                <a:gd name="f11" fmla="*/ f10 1 12700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700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1" name="object 471">
              <a:extLst>
                <a:ext uri="{FF2B5EF4-FFF2-40B4-BE49-F238E27FC236}">
                  <a16:creationId xmlns:a16="http://schemas.microsoft.com/office/drawing/2014/main" id="{46F86CC2-723D-80B9-9425-0FCE020962B2}"/>
                </a:ext>
              </a:extLst>
            </p:cNvPr>
            <p:cNvSpPr/>
            <p:nvPr/>
          </p:nvSpPr>
          <p:spPr>
            <a:xfrm>
              <a:off x="5834192" y="3445148"/>
              <a:ext cx="1725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4479"/>
                <a:gd name="f4" fmla="val 84454"/>
                <a:gd name="f5" fmla="val 284054"/>
                <a:gd name="f6" fmla="val 84102"/>
                <a:gd name="f7" fmla="*/ f0 1 284479"/>
                <a:gd name="f8" fmla="*/ f1 1 84454"/>
                <a:gd name="f9" fmla="+- f4 0 f2"/>
                <a:gd name="f10" fmla="+- f3 0 f2"/>
                <a:gd name="f11" fmla="*/ f10 1 2844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844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2" name="object 472">
              <a:extLst>
                <a:ext uri="{FF2B5EF4-FFF2-40B4-BE49-F238E27FC236}">
                  <a16:creationId xmlns:a16="http://schemas.microsoft.com/office/drawing/2014/main" id="{E90F0640-E3E3-4D03-9B50-2B24DDC0AA34}"/>
                </a:ext>
              </a:extLst>
            </p:cNvPr>
            <p:cNvSpPr/>
            <p:nvPr/>
          </p:nvSpPr>
          <p:spPr>
            <a:xfrm>
              <a:off x="6113623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3" name="object 473">
              <a:extLst>
                <a:ext uri="{FF2B5EF4-FFF2-40B4-BE49-F238E27FC236}">
                  <a16:creationId xmlns:a16="http://schemas.microsoft.com/office/drawing/2014/main" id="{964B301D-4C21-D527-6A16-B90BEA4CCBD3}"/>
                </a:ext>
              </a:extLst>
            </p:cNvPr>
            <p:cNvSpPr/>
            <p:nvPr/>
          </p:nvSpPr>
          <p:spPr>
            <a:xfrm>
              <a:off x="6148645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4" name="object 474">
              <a:extLst>
                <a:ext uri="{FF2B5EF4-FFF2-40B4-BE49-F238E27FC236}">
                  <a16:creationId xmlns:a16="http://schemas.microsoft.com/office/drawing/2014/main" id="{FC027142-5CE4-567B-744A-6C8E3F407EC2}"/>
                </a:ext>
              </a:extLst>
            </p:cNvPr>
            <p:cNvSpPr/>
            <p:nvPr/>
          </p:nvSpPr>
          <p:spPr>
            <a:xfrm>
              <a:off x="6043580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5" name="object 475">
              <a:extLst>
                <a:ext uri="{FF2B5EF4-FFF2-40B4-BE49-F238E27FC236}">
                  <a16:creationId xmlns:a16="http://schemas.microsoft.com/office/drawing/2014/main" id="{4A4AC014-8BC0-69FB-9EC8-393FC5C8F4FE}"/>
                </a:ext>
              </a:extLst>
            </p:cNvPr>
            <p:cNvSpPr/>
            <p:nvPr/>
          </p:nvSpPr>
          <p:spPr>
            <a:xfrm>
              <a:off x="5938515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6" name="object 476">
              <a:extLst>
                <a:ext uri="{FF2B5EF4-FFF2-40B4-BE49-F238E27FC236}">
                  <a16:creationId xmlns:a16="http://schemas.microsoft.com/office/drawing/2014/main" id="{48E15B96-3C6A-6E6B-E0D2-32AC40456CA3}"/>
                </a:ext>
              </a:extLst>
            </p:cNvPr>
            <p:cNvSpPr/>
            <p:nvPr/>
          </p:nvSpPr>
          <p:spPr>
            <a:xfrm>
              <a:off x="5973610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7" name="object 477">
              <a:extLst>
                <a:ext uri="{FF2B5EF4-FFF2-40B4-BE49-F238E27FC236}">
                  <a16:creationId xmlns:a16="http://schemas.microsoft.com/office/drawing/2014/main" id="{F1FBD18A-45DF-CF7B-130D-CA58EDE74FE2}"/>
                </a:ext>
              </a:extLst>
            </p:cNvPr>
            <p:cNvSpPr/>
            <p:nvPr/>
          </p:nvSpPr>
          <p:spPr>
            <a:xfrm>
              <a:off x="5868472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8" name="object 478">
              <a:extLst>
                <a:ext uri="{FF2B5EF4-FFF2-40B4-BE49-F238E27FC236}">
                  <a16:creationId xmlns:a16="http://schemas.microsoft.com/office/drawing/2014/main" id="{907AC66A-3C95-933F-933C-2B01081340EF}"/>
                </a:ext>
              </a:extLst>
            </p:cNvPr>
            <p:cNvSpPr/>
            <p:nvPr/>
          </p:nvSpPr>
          <p:spPr>
            <a:xfrm>
              <a:off x="6078602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9" name="object 479">
              <a:extLst>
                <a:ext uri="{FF2B5EF4-FFF2-40B4-BE49-F238E27FC236}">
                  <a16:creationId xmlns:a16="http://schemas.microsoft.com/office/drawing/2014/main" id="{1873CF94-908D-E215-3C3D-C0641E42E79E}"/>
                </a:ext>
              </a:extLst>
            </p:cNvPr>
            <p:cNvSpPr/>
            <p:nvPr/>
          </p:nvSpPr>
          <p:spPr>
            <a:xfrm>
              <a:off x="5903494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0" name="object 480">
              <a:extLst>
                <a:ext uri="{FF2B5EF4-FFF2-40B4-BE49-F238E27FC236}">
                  <a16:creationId xmlns:a16="http://schemas.microsoft.com/office/drawing/2014/main" id="{B9FFEB2D-C0D2-88DF-01D2-0C44378AF640}"/>
                </a:ext>
              </a:extLst>
            </p:cNvPr>
            <p:cNvSpPr/>
            <p:nvPr/>
          </p:nvSpPr>
          <p:spPr>
            <a:xfrm>
              <a:off x="6183666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1" name="object 481">
              <a:extLst>
                <a:ext uri="{FF2B5EF4-FFF2-40B4-BE49-F238E27FC236}">
                  <a16:creationId xmlns:a16="http://schemas.microsoft.com/office/drawing/2014/main" id="{D801CBB8-0803-517E-158E-72DE60097936}"/>
                </a:ext>
              </a:extLst>
            </p:cNvPr>
            <p:cNvSpPr/>
            <p:nvPr/>
          </p:nvSpPr>
          <p:spPr>
            <a:xfrm>
              <a:off x="6008696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2" name="object 482">
              <a:extLst>
                <a:ext uri="{FF2B5EF4-FFF2-40B4-BE49-F238E27FC236}">
                  <a16:creationId xmlns:a16="http://schemas.microsoft.com/office/drawing/2014/main" id="{DB169B5D-20EC-4626-0898-146D36C9DB07}"/>
                </a:ext>
              </a:extLst>
            </p:cNvPr>
            <p:cNvSpPr/>
            <p:nvPr/>
          </p:nvSpPr>
          <p:spPr>
            <a:xfrm>
              <a:off x="5833725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3" name="object 483">
              <a:extLst>
                <a:ext uri="{FF2B5EF4-FFF2-40B4-BE49-F238E27FC236}">
                  <a16:creationId xmlns:a16="http://schemas.microsoft.com/office/drawing/2014/main" id="{1FDED736-35DF-3051-4BF7-CEAAEBFF6C85}"/>
                </a:ext>
              </a:extLst>
            </p:cNvPr>
            <p:cNvSpPr/>
            <p:nvPr/>
          </p:nvSpPr>
          <p:spPr>
            <a:xfrm>
              <a:off x="6008696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4" name="object 484">
              <a:extLst>
                <a:ext uri="{FF2B5EF4-FFF2-40B4-BE49-F238E27FC236}">
                  <a16:creationId xmlns:a16="http://schemas.microsoft.com/office/drawing/2014/main" id="{CB2E7D43-3C95-9042-482E-83A1B5726A40}"/>
                </a:ext>
              </a:extLst>
            </p:cNvPr>
            <p:cNvSpPr/>
            <p:nvPr/>
          </p:nvSpPr>
          <p:spPr>
            <a:xfrm>
              <a:off x="5833725" y="347063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85" name="object 485">
            <a:extLst>
              <a:ext uri="{FF2B5EF4-FFF2-40B4-BE49-F238E27FC236}">
                <a16:creationId xmlns:a16="http://schemas.microsoft.com/office/drawing/2014/main" id="{7ABF2EDA-9977-38B9-33A2-8DA6CBBAB651}"/>
              </a:ext>
            </a:extLst>
          </p:cNvPr>
          <p:cNvGrpSpPr/>
          <p:nvPr/>
        </p:nvGrpSpPr>
        <p:grpSpPr>
          <a:xfrm>
            <a:off x="5833725" y="4140887"/>
            <a:ext cx="350371" cy="123508"/>
            <a:chOff x="5833725" y="4140887"/>
            <a:chExt cx="350371" cy="123508"/>
          </a:xfrm>
        </p:grpSpPr>
        <p:sp>
          <p:nvSpPr>
            <p:cNvPr id="486" name="object 486">
              <a:extLst>
                <a:ext uri="{FF2B5EF4-FFF2-40B4-BE49-F238E27FC236}">
                  <a16:creationId xmlns:a16="http://schemas.microsoft.com/office/drawing/2014/main" id="{3B9BFC91-C93E-F51C-6A29-081C61EAACF1}"/>
                </a:ext>
              </a:extLst>
            </p:cNvPr>
            <p:cNvSpPr/>
            <p:nvPr/>
          </p:nvSpPr>
          <p:spPr>
            <a:xfrm>
              <a:off x="6113971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7" name="object 487">
              <a:extLst>
                <a:ext uri="{FF2B5EF4-FFF2-40B4-BE49-F238E27FC236}">
                  <a16:creationId xmlns:a16="http://schemas.microsoft.com/office/drawing/2014/main" id="{6557857D-80F3-453D-E546-EFEA33E33859}"/>
                </a:ext>
              </a:extLst>
            </p:cNvPr>
            <p:cNvSpPr/>
            <p:nvPr/>
          </p:nvSpPr>
          <p:spPr>
            <a:xfrm>
              <a:off x="6148992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8" name="object 488">
              <a:extLst>
                <a:ext uri="{FF2B5EF4-FFF2-40B4-BE49-F238E27FC236}">
                  <a16:creationId xmlns:a16="http://schemas.microsoft.com/office/drawing/2014/main" id="{C54F38AA-88E6-0B38-A22B-C9BE0139C6E7}"/>
                </a:ext>
              </a:extLst>
            </p:cNvPr>
            <p:cNvSpPr/>
            <p:nvPr/>
          </p:nvSpPr>
          <p:spPr>
            <a:xfrm>
              <a:off x="6043927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9" name="object 489">
              <a:extLst>
                <a:ext uri="{FF2B5EF4-FFF2-40B4-BE49-F238E27FC236}">
                  <a16:creationId xmlns:a16="http://schemas.microsoft.com/office/drawing/2014/main" id="{1E693BA9-3880-C891-DBA3-6CCC8B0C04D0}"/>
                </a:ext>
              </a:extLst>
            </p:cNvPr>
            <p:cNvSpPr/>
            <p:nvPr/>
          </p:nvSpPr>
          <p:spPr>
            <a:xfrm>
              <a:off x="5938863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0" name="object 490">
              <a:extLst>
                <a:ext uri="{FF2B5EF4-FFF2-40B4-BE49-F238E27FC236}">
                  <a16:creationId xmlns:a16="http://schemas.microsoft.com/office/drawing/2014/main" id="{D6FFA434-4F69-2307-08EB-09C934E5E023}"/>
                </a:ext>
              </a:extLst>
            </p:cNvPr>
            <p:cNvSpPr/>
            <p:nvPr/>
          </p:nvSpPr>
          <p:spPr>
            <a:xfrm>
              <a:off x="5973958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1" name="object 491">
              <a:extLst>
                <a:ext uri="{FF2B5EF4-FFF2-40B4-BE49-F238E27FC236}">
                  <a16:creationId xmlns:a16="http://schemas.microsoft.com/office/drawing/2014/main" id="{98F4F351-13D3-BA33-953D-7CC7B24862AE}"/>
                </a:ext>
              </a:extLst>
            </p:cNvPr>
            <p:cNvSpPr/>
            <p:nvPr/>
          </p:nvSpPr>
          <p:spPr>
            <a:xfrm>
              <a:off x="5868820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2" name="object 492">
              <a:extLst>
                <a:ext uri="{FF2B5EF4-FFF2-40B4-BE49-F238E27FC236}">
                  <a16:creationId xmlns:a16="http://schemas.microsoft.com/office/drawing/2014/main" id="{0BE9B073-1F4E-1F68-33C6-25955441C0B9}"/>
                </a:ext>
              </a:extLst>
            </p:cNvPr>
            <p:cNvSpPr/>
            <p:nvPr/>
          </p:nvSpPr>
          <p:spPr>
            <a:xfrm>
              <a:off x="6078949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3" name="object 493">
              <a:extLst>
                <a:ext uri="{FF2B5EF4-FFF2-40B4-BE49-F238E27FC236}">
                  <a16:creationId xmlns:a16="http://schemas.microsoft.com/office/drawing/2014/main" id="{BD8848DB-1E39-5CAF-644C-F82E2FB9175C}"/>
                </a:ext>
              </a:extLst>
            </p:cNvPr>
            <p:cNvSpPr/>
            <p:nvPr/>
          </p:nvSpPr>
          <p:spPr>
            <a:xfrm>
              <a:off x="5903841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4" name="object 494">
              <a:extLst>
                <a:ext uri="{FF2B5EF4-FFF2-40B4-BE49-F238E27FC236}">
                  <a16:creationId xmlns:a16="http://schemas.microsoft.com/office/drawing/2014/main" id="{42E7F2BB-E528-3531-15AF-5BDBA9F1BC35}"/>
                </a:ext>
              </a:extLst>
            </p:cNvPr>
            <p:cNvSpPr/>
            <p:nvPr/>
          </p:nvSpPr>
          <p:spPr>
            <a:xfrm>
              <a:off x="6184014" y="41408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5" name="object 495">
              <a:extLst>
                <a:ext uri="{FF2B5EF4-FFF2-40B4-BE49-F238E27FC236}">
                  <a16:creationId xmlns:a16="http://schemas.microsoft.com/office/drawing/2014/main" id="{2D5A1BC4-411B-36F3-D626-56A6C3303B31}"/>
                </a:ext>
              </a:extLst>
            </p:cNvPr>
            <p:cNvSpPr/>
            <p:nvPr/>
          </p:nvSpPr>
          <p:spPr>
            <a:xfrm>
              <a:off x="6009043" y="41408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6" name="object 496">
              <a:extLst>
                <a:ext uri="{FF2B5EF4-FFF2-40B4-BE49-F238E27FC236}">
                  <a16:creationId xmlns:a16="http://schemas.microsoft.com/office/drawing/2014/main" id="{BB3D691C-6535-A35B-1040-0B8B1A61C9C6}"/>
                </a:ext>
              </a:extLst>
            </p:cNvPr>
            <p:cNvSpPr/>
            <p:nvPr/>
          </p:nvSpPr>
          <p:spPr>
            <a:xfrm>
              <a:off x="5834073" y="41408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7" name="object 497">
              <a:extLst>
                <a:ext uri="{FF2B5EF4-FFF2-40B4-BE49-F238E27FC236}">
                  <a16:creationId xmlns:a16="http://schemas.microsoft.com/office/drawing/2014/main" id="{8E847114-2226-D34F-7BF9-0405F5EA75A7}"/>
                </a:ext>
              </a:extLst>
            </p:cNvPr>
            <p:cNvSpPr/>
            <p:nvPr/>
          </p:nvSpPr>
          <p:spPr>
            <a:xfrm>
              <a:off x="5834073" y="416639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8" name="object 498">
              <a:extLst>
                <a:ext uri="{FF2B5EF4-FFF2-40B4-BE49-F238E27FC236}">
                  <a16:creationId xmlns:a16="http://schemas.microsoft.com/office/drawing/2014/main" id="{477C6DF8-BA16-2F1E-B9E3-5F858DE3DBBC}"/>
                </a:ext>
              </a:extLst>
            </p:cNvPr>
            <p:cNvSpPr/>
            <p:nvPr/>
          </p:nvSpPr>
          <p:spPr>
            <a:xfrm>
              <a:off x="5834192" y="4140887"/>
              <a:ext cx="2425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0004"/>
                <a:gd name="f4" fmla="val 84454"/>
                <a:gd name="f5" fmla="val 39716"/>
                <a:gd name="f6" fmla="val 84123"/>
                <a:gd name="f7" fmla="*/ f0 1 40004"/>
                <a:gd name="f8" fmla="*/ f1 1 84454"/>
                <a:gd name="f9" fmla="+- f4 0 f2"/>
                <a:gd name="f10" fmla="+- f3 0 f2"/>
                <a:gd name="f11" fmla="*/ f10 1 400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00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9" name="object 499">
              <a:extLst>
                <a:ext uri="{FF2B5EF4-FFF2-40B4-BE49-F238E27FC236}">
                  <a16:creationId xmlns:a16="http://schemas.microsoft.com/office/drawing/2014/main" id="{BC375EDE-C27E-2B41-725F-B1DA8EB5EE35}"/>
                </a:ext>
              </a:extLst>
            </p:cNvPr>
            <p:cNvSpPr/>
            <p:nvPr/>
          </p:nvSpPr>
          <p:spPr>
            <a:xfrm>
              <a:off x="5834192" y="4213180"/>
              <a:ext cx="26223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2434"/>
                <a:gd name="f4" fmla="val 84454"/>
                <a:gd name="f5" fmla="val 431892"/>
                <a:gd name="f6" fmla="val 84123"/>
                <a:gd name="f7" fmla="*/ f0 1 432434"/>
                <a:gd name="f8" fmla="*/ f1 1 84454"/>
                <a:gd name="f9" fmla="+- f4 0 f2"/>
                <a:gd name="f10" fmla="+- f3 0 f2"/>
                <a:gd name="f11" fmla="*/ f10 1 4324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24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0" name="object 500">
              <a:extLst>
                <a:ext uri="{FF2B5EF4-FFF2-40B4-BE49-F238E27FC236}">
                  <a16:creationId xmlns:a16="http://schemas.microsoft.com/office/drawing/2014/main" id="{CDC68F35-D310-551A-78C1-122AFE2A9049}"/>
                </a:ext>
              </a:extLst>
            </p:cNvPr>
            <p:cNvSpPr/>
            <p:nvPr/>
          </p:nvSpPr>
          <p:spPr>
            <a:xfrm>
              <a:off x="6113623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1" name="object 501">
              <a:extLst>
                <a:ext uri="{FF2B5EF4-FFF2-40B4-BE49-F238E27FC236}">
                  <a16:creationId xmlns:a16="http://schemas.microsoft.com/office/drawing/2014/main" id="{48B5CAB4-0CCF-6FB6-C40E-3C1869198E78}"/>
                </a:ext>
              </a:extLst>
            </p:cNvPr>
            <p:cNvSpPr/>
            <p:nvPr/>
          </p:nvSpPr>
          <p:spPr>
            <a:xfrm>
              <a:off x="6148645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2" name="object 502">
              <a:extLst>
                <a:ext uri="{FF2B5EF4-FFF2-40B4-BE49-F238E27FC236}">
                  <a16:creationId xmlns:a16="http://schemas.microsoft.com/office/drawing/2014/main" id="{C962FB09-C5D2-F921-13A5-C8C966EA9164}"/>
                </a:ext>
              </a:extLst>
            </p:cNvPr>
            <p:cNvSpPr/>
            <p:nvPr/>
          </p:nvSpPr>
          <p:spPr>
            <a:xfrm>
              <a:off x="6043580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3" name="object 503">
              <a:extLst>
                <a:ext uri="{FF2B5EF4-FFF2-40B4-BE49-F238E27FC236}">
                  <a16:creationId xmlns:a16="http://schemas.microsoft.com/office/drawing/2014/main" id="{6DC0D7B8-0A79-8831-7271-D8F75008C74F}"/>
                </a:ext>
              </a:extLst>
            </p:cNvPr>
            <p:cNvSpPr/>
            <p:nvPr/>
          </p:nvSpPr>
          <p:spPr>
            <a:xfrm>
              <a:off x="5938515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4" name="object 504">
              <a:extLst>
                <a:ext uri="{FF2B5EF4-FFF2-40B4-BE49-F238E27FC236}">
                  <a16:creationId xmlns:a16="http://schemas.microsoft.com/office/drawing/2014/main" id="{F1F627D7-CB35-1546-0801-776F1FCC0693}"/>
                </a:ext>
              </a:extLst>
            </p:cNvPr>
            <p:cNvSpPr/>
            <p:nvPr/>
          </p:nvSpPr>
          <p:spPr>
            <a:xfrm>
              <a:off x="5973610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5" name="object 505">
              <a:extLst>
                <a:ext uri="{FF2B5EF4-FFF2-40B4-BE49-F238E27FC236}">
                  <a16:creationId xmlns:a16="http://schemas.microsoft.com/office/drawing/2014/main" id="{30F2113A-A070-3A93-758E-4B3B39E2DF6A}"/>
                </a:ext>
              </a:extLst>
            </p:cNvPr>
            <p:cNvSpPr/>
            <p:nvPr/>
          </p:nvSpPr>
          <p:spPr>
            <a:xfrm>
              <a:off x="5868472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6" name="object 506">
              <a:extLst>
                <a:ext uri="{FF2B5EF4-FFF2-40B4-BE49-F238E27FC236}">
                  <a16:creationId xmlns:a16="http://schemas.microsoft.com/office/drawing/2014/main" id="{574F2AB3-A7B6-7FB8-8098-059A11E3C4D1}"/>
                </a:ext>
              </a:extLst>
            </p:cNvPr>
            <p:cNvSpPr/>
            <p:nvPr/>
          </p:nvSpPr>
          <p:spPr>
            <a:xfrm>
              <a:off x="6078602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7" name="object 507">
              <a:extLst>
                <a:ext uri="{FF2B5EF4-FFF2-40B4-BE49-F238E27FC236}">
                  <a16:creationId xmlns:a16="http://schemas.microsoft.com/office/drawing/2014/main" id="{21A53FEB-D019-2B6A-304D-8B3A768AE692}"/>
                </a:ext>
              </a:extLst>
            </p:cNvPr>
            <p:cNvSpPr/>
            <p:nvPr/>
          </p:nvSpPr>
          <p:spPr>
            <a:xfrm>
              <a:off x="5903494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8" name="object 508">
              <a:extLst>
                <a:ext uri="{FF2B5EF4-FFF2-40B4-BE49-F238E27FC236}">
                  <a16:creationId xmlns:a16="http://schemas.microsoft.com/office/drawing/2014/main" id="{1EE2CB64-6C6C-BE86-AD97-A829B71D7817}"/>
                </a:ext>
              </a:extLst>
            </p:cNvPr>
            <p:cNvSpPr/>
            <p:nvPr/>
          </p:nvSpPr>
          <p:spPr>
            <a:xfrm>
              <a:off x="6183666" y="42131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9" name="object 509">
              <a:extLst>
                <a:ext uri="{FF2B5EF4-FFF2-40B4-BE49-F238E27FC236}">
                  <a16:creationId xmlns:a16="http://schemas.microsoft.com/office/drawing/2014/main" id="{7F2A7A55-BF0E-A3A6-1832-5A361A6A7834}"/>
                </a:ext>
              </a:extLst>
            </p:cNvPr>
            <p:cNvSpPr/>
            <p:nvPr/>
          </p:nvSpPr>
          <p:spPr>
            <a:xfrm>
              <a:off x="6008696" y="42131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0" name="object 510">
              <a:extLst>
                <a:ext uri="{FF2B5EF4-FFF2-40B4-BE49-F238E27FC236}">
                  <a16:creationId xmlns:a16="http://schemas.microsoft.com/office/drawing/2014/main" id="{CD503E17-5B7E-BA1B-FDEB-21225A206AAC}"/>
                </a:ext>
              </a:extLst>
            </p:cNvPr>
            <p:cNvSpPr/>
            <p:nvPr/>
          </p:nvSpPr>
          <p:spPr>
            <a:xfrm>
              <a:off x="5833725" y="42131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1" name="object 511">
              <a:extLst>
                <a:ext uri="{FF2B5EF4-FFF2-40B4-BE49-F238E27FC236}">
                  <a16:creationId xmlns:a16="http://schemas.microsoft.com/office/drawing/2014/main" id="{31CA5229-02EF-A1A6-92A2-BF4EBA8DADCA}"/>
                </a:ext>
              </a:extLst>
            </p:cNvPr>
            <p:cNvSpPr/>
            <p:nvPr/>
          </p:nvSpPr>
          <p:spPr>
            <a:xfrm>
              <a:off x="6008696" y="42131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2" name="object 512">
              <a:extLst>
                <a:ext uri="{FF2B5EF4-FFF2-40B4-BE49-F238E27FC236}">
                  <a16:creationId xmlns:a16="http://schemas.microsoft.com/office/drawing/2014/main" id="{BD431DCD-537F-F6D5-1B48-D48E8034A0DD}"/>
                </a:ext>
              </a:extLst>
            </p:cNvPr>
            <p:cNvSpPr/>
            <p:nvPr/>
          </p:nvSpPr>
          <p:spPr>
            <a:xfrm>
              <a:off x="5833725" y="423869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13" name="object 513">
            <a:extLst>
              <a:ext uri="{FF2B5EF4-FFF2-40B4-BE49-F238E27FC236}">
                <a16:creationId xmlns:a16="http://schemas.microsoft.com/office/drawing/2014/main" id="{A4BDCC38-F0B3-F3A9-DBD8-B42BFFC01DFE}"/>
              </a:ext>
            </a:extLst>
          </p:cNvPr>
          <p:cNvGrpSpPr/>
          <p:nvPr/>
        </p:nvGrpSpPr>
        <p:grpSpPr>
          <a:xfrm>
            <a:off x="5833725" y="4901421"/>
            <a:ext cx="350371" cy="123517"/>
            <a:chOff x="5833725" y="4901421"/>
            <a:chExt cx="350371" cy="123517"/>
          </a:xfrm>
        </p:grpSpPr>
        <p:sp>
          <p:nvSpPr>
            <p:cNvPr id="514" name="object 514">
              <a:extLst>
                <a:ext uri="{FF2B5EF4-FFF2-40B4-BE49-F238E27FC236}">
                  <a16:creationId xmlns:a16="http://schemas.microsoft.com/office/drawing/2014/main" id="{34D23D3D-2DDC-0334-EF44-CC6929873726}"/>
                </a:ext>
              </a:extLst>
            </p:cNvPr>
            <p:cNvSpPr/>
            <p:nvPr/>
          </p:nvSpPr>
          <p:spPr>
            <a:xfrm>
              <a:off x="6113971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5" name="object 515">
              <a:extLst>
                <a:ext uri="{FF2B5EF4-FFF2-40B4-BE49-F238E27FC236}">
                  <a16:creationId xmlns:a16="http://schemas.microsoft.com/office/drawing/2014/main" id="{2B0DA7B7-87B2-B4F1-A2B7-D335934186AF}"/>
                </a:ext>
              </a:extLst>
            </p:cNvPr>
            <p:cNvSpPr/>
            <p:nvPr/>
          </p:nvSpPr>
          <p:spPr>
            <a:xfrm>
              <a:off x="6148992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6" name="object 516">
              <a:extLst>
                <a:ext uri="{FF2B5EF4-FFF2-40B4-BE49-F238E27FC236}">
                  <a16:creationId xmlns:a16="http://schemas.microsoft.com/office/drawing/2014/main" id="{67D41054-45D2-A91D-F1B2-9F6A86B825EC}"/>
                </a:ext>
              </a:extLst>
            </p:cNvPr>
            <p:cNvSpPr/>
            <p:nvPr/>
          </p:nvSpPr>
          <p:spPr>
            <a:xfrm>
              <a:off x="6043927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7" name="object 517">
              <a:extLst>
                <a:ext uri="{FF2B5EF4-FFF2-40B4-BE49-F238E27FC236}">
                  <a16:creationId xmlns:a16="http://schemas.microsoft.com/office/drawing/2014/main" id="{D5EF5D1B-B3B7-2AFB-5925-2D2A1546EC53}"/>
                </a:ext>
              </a:extLst>
            </p:cNvPr>
            <p:cNvSpPr/>
            <p:nvPr/>
          </p:nvSpPr>
          <p:spPr>
            <a:xfrm>
              <a:off x="5938863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8" name="object 518">
              <a:extLst>
                <a:ext uri="{FF2B5EF4-FFF2-40B4-BE49-F238E27FC236}">
                  <a16:creationId xmlns:a16="http://schemas.microsoft.com/office/drawing/2014/main" id="{FB5809D2-CAF8-75A6-AA28-6FCC9C838B4F}"/>
                </a:ext>
              </a:extLst>
            </p:cNvPr>
            <p:cNvSpPr/>
            <p:nvPr/>
          </p:nvSpPr>
          <p:spPr>
            <a:xfrm>
              <a:off x="5973958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9" name="object 519">
              <a:extLst>
                <a:ext uri="{FF2B5EF4-FFF2-40B4-BE49-F238E27FC236}">
                  <a16:creationId xmlns:a16="http://schemas.microsoft.com/office/drawing/2014/main" id="{F291D245-A976-FFCE-317E-3A2EBAFA9A9C}"/>
                </a:ext>
              </a:extLst>
            </p:cNvPr>
            <p:cNvSpPr/>
            <p:nvPr/>
          </p:nvSpPr>
          <p:spPr>
            <a:xfrm>
              <a:off x="5868820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0" name="object 520">
              <a:extLst>
                <a:ext uri="{FF2B5EF4-FFF2-40B4-BE49-F238E27FC236}">
                  <a16:creationId xmlns:a16="http://schemas.microsoft.com/office/drawing/2014/main" id="{369F08F9-BD4B-D056-41ED-E171A0A8499A}"/>
                </a:ext>
              </a:extLst>
            </p:cNvPr>
            <p:cNvSpPr/>
            <p:nvPr/>
          </p:nvSpPr>
          <p:spPr>
            <a:xfrm>
              <a:off x="6078949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1" name="object 521">
              <a:extLst>
                <a:ext uri="{FF2B5EF4-FFF2-40B4-BE49-F238E27FC236}">
                  <a16:creationId xmlns:a16="http://schemas.microsoft.com/office/drawing/2014/main" id="{E743A130-E878-1E9C-D2FB-CC131299879E}"/>
                </a:ext>
              </a:extLst>
            </p:cNvPr>
            <p:cNvSpPr/>
            <p:nvPr/>
          </p:nvSpPr>
          <p:spPr>
            <a:xfrm>
              <a:off x="5903841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2" name="object 522">
              <a:extLst>
                <a:ext uri="{FF2B5EF4-FFF2-40B4-BE49-F238E27FC236}">
                  <a16:creationId xmlns:a16="http://schemas.microsoft.com/office/drawing/2014/main" id="{31708EA8-AA8E-6353-C2F0-23578D0124E6}"/>
                </a:ext>
              </a:extLst>
            </p:cNvPr>
            <p:cNvSpPr/>
            <p:nvPr/>
          </p:nvSpPr>
          <p:spPr>
            <a:xfrm>
              <a:off x="6184014" y="49014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3" name="object 523">
              <a:extLst>
                <a:ext uri="{FF2B5EF4-FFF2-40B4-BE49-F238E27FC236}">
                  <a16:creationId xmlns:a16="http://schemas.microsoft.com/office/drawing/2014/main" id="{E75EEB09-09D8-A15F-C199-C95C2C505E0D}"/>
                </a:ext>
              </a:extLst>
            </p:cNvPr>
            <p:cNvSpPr/>
            <p:nvPr/>
          </p:nvSpPr>
          <p:spPr>
            <a:xfrm>
              <a:off x="6009043" y="49014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4" name="object 524">
              <a:extLst>
                <a:ext uri="{FF2B5EF4-FFF2-40B4-BE49-F238E27FC236}">
                  <a16:creationId xmlns:a16="http://schemas.microsoft.com/office/drawing/2014/main" id="{F323737F-5DE1-C6E3-C75C-478F7F4B40E4}"/>
                </a:ext>
              </a:extLst>
            </p:cNvPr>
            <p:cNvSpPr/>
            <p:nvPr/>
          </p:nvSpPr>
          <p:spPr>
            <a:xfrm>
              <a:off x="5834073" y="49014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5" name="object 525">
              <a:extLst>
                <a:ext uri="{FF2B5EF4-FFF2-40B4-BE49-F238E27FC236}">
                  <a16:creationId xmlns:a16="http://schemas.microsoft.com/office/drawing/2014/main" id="{AEA5A01B-8390-A590-9DF9-1586AE37B491}"/>
                </a:ext>
              </a:extLst>
            </p:cNvPr>
            <p:cNvSpPr/>
            <p:nvPr/>
          </p:nvSpPr>
          <p:spPr>
            <a:xfrm>
              <a:off x="5834073" y="492693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6" name="object 526">
              <a:extLst>
                <a:ext uri="{FF2B5EF4-FFF2-40B4-BE49-F238E27FC236}">
                  <a16:creationId xmlns:a16="http://schemas.microsoft.com/office/drawing/2014/main" id="{FED94209-B791-5096-820D-69248067CF72}"/>
                </a:ext>
              </a:extLst>
            </p:cNvPr>
            <p:cNvSpPr/>
            <p:nvPr/>
          </p:nvSpPr>
          <p:spPr>
            <a:xfrm>
              <a:off x="5834192" y="4901421"/>
              <a:ext cx="18598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6704"/>
                <a:gd name="f4" fmla="val 84454"/>
                <a:gd name="f5" fmla="val 306545"/>
                <a:gd name="f6" fmla="val 84123"/>
                <a:gd name="f7" fmla="*/ f0 1 306704"/>
                <a:gd name="f8" fmla="*/ f1 1 84454"/>
                <a:gd name="f9" fmla="+- f4 0 f2"/>
                <a:gd name="f10" fmla="+- f3 0 f2"/>
                <a:gd name="f11" fmla="*/ f10 1 3067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67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7" name="object 527">
              <a:extLst>
                <a:ext uri="{FF2B5EF4-FFF2-40B4-BE49-F238E27FC236}">
                  <a16:creationId xmlns:a16="http://schemas.microsoft.com/office/drawing/2014/main" id="{F6895FF6-4526-85C0-F792-3158F11F4C67}"/>
                </a:ext>
              </a:extLst>
            </p:cNvPr>
            <p:cNvSpPr/>
            <p:nvPr/>
          </p:nvSpPr>
          <p:spPr>
            <a:xfrm>
              <a:off x="5834192" y="4973723"/>
              <a:ext cx="20100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1470"/>
                <a:gd name="f4" fmla="val 84454"/>
                <a:gd name="f5" fmla="val 331047"/>
                <a:gd name="f6" fmla="val 84123"/>
                <a:gd name="f7" fmla="*/ f0 1 331470"/>
                <a:gd name="f8" fmla="*/ f1 1 84454"/>
                <a:gd name="f9" fmla="+- f4 0 f2"/>
                <a:gd name="f10" fmla="+- f3 0 f2"/>
                <a:gd name="f11" fmla="*/ f10 1 33147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3147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8" name="object 528">
              <a:extLst>
                <a:ext uri="{FF2B5EF4-FFF2-40B4-BE49-F238E27FC236}">
                  <a16:creationId xmlns:a16="http://schemas.microsoft.com/office/drawing/2014/main" id="{FE1EEEBF-1E93-7AF8-513B-B324F7CBF3A2}"/>
                </a:ext>
              </a:extLst>
            </p:cNvPr>
            <p:cNvSpPr/>
            <p:nvPr/>
          </p:nvSpPr>
          <p:spPr>
            <a:xfrm>
              <a:off x="6113623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9" name="object 529">
              <a:extLst>
                <a:ext uri="{FF2B5EF4-FFF2-40B4-BE49-F238E27FC236}">
                  <a16:creationId xmlns:a16="http://schemas.microsoft.com/office/drawing/2014/main" id="{492FCEA6-16DC-210B-E15F-0573AABEDBEA}"/>
                </a:ext>
              </a:extLst>
            </p:cNvPr>
            <p:cNvSpPr/>
            <p:nvPr/>
          </p:nvSpPr>
          <p:spPr>
            <a:xfrm>
              <a:off x="6148645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0" name="object 530">
              <a:extLst>
                <a:ext uri="{FF2B5EF4-FFF2-40B4-BE49-F238E27FC236}">
                  <a16:creationId xmlns:a16="http://schemas.microsoft.com/office/drawing/2014/main" id="{239CE901-4F4B-4D74-0A75-0B601535AC2B}"/>
                </a:ext>
              </a:extLst>
            </p:cNvPr>
            <p:cNvSpPr/>
            <p:nvPr/>
          </p:nvSpPr>
          <p:spPr>
            <a:xfrm>
              <a:off x="6043580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1" name="object 531">
              <a:extLst>
                <a:ext uri="{FF2B5EF4-FFF2-40B4-BE49-F238E27FC236}">
                  <a16:creationId xmlns:a16="http://schemas.microsoft.com/office/drawing/2014/main" id="{A460D526-27C2-3EFD-F029-9862D34C4A06}"/>
                </a:ext>
              </a:extLst>
            </p:cNvPr>
            <p:cNvSpPr/>
            <p:nvPr/>
          </p:nvSpPr>
          <p:spPr>
            <a:xfrm>
              <a:off x="5938515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2" name="object 532">
              <a:extLst>
                <a:ext uri="{FF2B5EF4-FFF2-40B4-BE49-F238E27FC236}">
                  <a16:creationId xmlns:a16="http://schemas.microsoft.com/office/drawing/2014/main" id="{17B58BB2-3FB3-2546-711A-82190C423CBE}"/>
                </a:ext>
              </a:extLst>
            </p:cNvPr>
            <p:cNvSpPr/>
            <p:nvPr/>
          </p:nvSpPr>
          <p:spPr>
            <a:xfrm>
              <a:off x="5973610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3" name="object 533">
              <a:extLst>
                <a:ext uri="{FF2B5EF4-FFF2-40B4-BE49-F238E27FC236}">
                  <a16:creationId xmlns:a16="http://schemas.microsoft.com/office/drawing/2014/main" id="{AABBA85D-BFFC-9BED-8FF8-955D5E1A0230}"/>
                </a:ext>
              </a:extLst>
            </p:cNvPr>
            <p:cNvSpPr/>
            <p:nvPr/>
          </p:nvSpPr>
          <p:spPr>
            <a:xfrm>
              <a:off x="5868472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4" name="object 534">
              <a:extLst>
                <a:ext uri="{FF2B5EF4-FFF2-40B4-BE49-F238E27FC236}">
                  <a16:creationId xmlns:a16="http://schemas.microsoft.com/office/drawing/2014/main" id="{56F80C95-DF40-F84F-56F2-4E8D041B0835}"/>
                </a:ext>
              </a:extLst>
            </p:cNvPr>
            <p:cNvSpPr/>
            <p:nvPr/>
          </p:nvSpPr>
          <p:spPr>
            <a:xfrm>
              <a:off x="6078602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5" name="object 535">
              <a:extLst>
                <a:ext uri="{FF2B5EF4-FFF2-40B4-BE49-F238E27FC236}">
                  <a16:creationId xmlns:a16="http://schemas.microsoft.com/office/drawing/2014/main" id="{4B2388DC-95FE-7293-83D7-5103C12F67DC}"/>
                </a:ext>
              </a:extLst>
            </p:cNvPr>
            <p:cNvSpPr/>
            <p:nvPr/>
          </p:nvSpPr>
          <p:spPr>
            <a:xfrm>
              <a:off x="5903494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6" name="object 536">
              <a:extLst>
                <a:ext uri="{FF2B5EF4-FFF2-40B4-BE49-F238E27FC236}">
                  <a16:creationId xmlns:a16="http://schemas.microsoft.com/office/drawing/2014/main" id="{2F20C55A-2F13-103A-FB0E-15F030C729E0}"/>
                </a:ext>
              </a:extLst>
            </p:cNvPr>
            <p:cNvSpPr/>
            <p:nvPr/>
          </p:nvSpPr>
          <p:spPr>
            <a:xfrm>
              <a:off x="6183666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7" name="object 537">
              <a:extLst>
                <a:ext uri="{FF2B5EF4-FFF2-40B4-BE49-F238E27FC236}">
                  <a16:creationId xmlns:a16="http://schemas.microsoft.com/office/drawing/2014/main" id="{33323446-400D-3720-3049-F02C56142C17}"/>
                </a:ext>
              </a:extLst>
            </p:cNvPr>
            <p:cNvSpPr/>
            <p:nvPr/>
          </p:nvSpPr>
          <p:spPr>
            <a:xfrm>
              <a:off x="6008696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8" name="object 538">
              <a:extLst>
                <a:ext uri="{FF2B5EF4-FFF2-40B4-BE49-F238E27FC236}">
                  <a16:creationId xmlns:a16="http://schemas.microsoft.com/office/drawing/2014/main" id="{B3BA35FC-21EA-2F38-2818-F2B0EB99F1AD}"/>
                </a:ext>
              </a:extLst>
            </p:cNvPr>
            <p:cNvSpPr/>
            <p:nvPr/>
          </p:nvSpPr>
          <p:spPr>
            <a:xfrm>
              <a:off x="5833725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9" name="object 539">
              <a:extLst>
                <a:ext uri="{FF2B5EF4-FFF2-40B4-BE49-F238E27FC236}">
                  <a16:creationId xmlns:a16="http://schemas.microsoft.com/office/drawing/2014/main" id="{DDCA86C7-8769-C888-BD73-BF8A3A34A676}"/>
                </a:ext>
              </a:extLst>
            </p:cNvPr>
            <p:cNvSpPr/>
            <p:nvPr/>
          </p:nvSpPr>
          <p:spPr>
            <a:xfrm>
              <a:off x="6008696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0" name="object 540">
              <a:extLst>
                <a:ext uri="{FF2B5EF4-FFF2-40B4-BE49-F238E27FC236}">
                  <a16:creationId xmlns:a16="http://schemas.microsoft.com/office/drawing/2014/main" id="{64BCCDA5-0CB7-4226-D5B2-28106B8F8F0A}"/>
                </a:ext>
              </a:extLst>
            </p:cNvPr>
            <p:cNvSpPr/>
            <p:nvPr/>
          </p:nvSpPr>
          <p:spPr>
            <a:xfrm>
              <a:off x="5833725" y="499922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41" name="object 541">
            <a:extLst>
              <a:ext uri="{FF2B5EF4-FFF2-40B4-BE49-F238E27FC236}">
                <a16:creationId xmlns:a16="http://schemas.microsoft.com/office/drawing/2014/main" id="{55918616-BA9E-4911-B8C4-651C1BF90981}"/>
              </a:ext>
            </a:extLst>
          </p:cNvPr>
          <p:cNvGrpSpPr/>
          <p:nvPr/>
        </p:nvGrpSpPr>
        <p:grpSpPr>
          <a:xfrm>
            <a:off x="5833725" y="5663610"/>
            <a:ext cx="350371" cy="123517"/>
            <a:chOff x="5833725" y="5663610"/>
            <a:chExt cx="350371" cy="123517"/>
          </a:xfrm>
        </p:grpSpPr>
        <p:sp>
          <p:nvSpPr>
            <p:cNvPr id="542" name="object 542">
              <a:extLst>
                <a:ext uri="{FF2B5EF4-FFF2-40B4-BE49-F238E27FC236}">
                  <a16:creationId xmlns:a16="http://schemas.microsoft.com/office/drawing/2014/main" id="{A3ED40AF-C733-6B32-C56B-3605469FDC94}"/>
                </a:ext>
              </a:extLst>
            </p:cNvPr>
            <p:cNvSpPr/>
            <p:nvPr/>
          </p:nvSpPr>
          <p:spPr>
            <a:xfrm>
              <a:off x="6113971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3" name="object 543">
              <a:extLst>
                <a:ext uri="{FF2B5EF4-FFF2-40B4-BE49-F238E27FC236}">
                  <a16:creationId xmlns:a16="http://schemas.microsoft.com/office/drawing/2014/main" id="{0BEFB8F4-7669-5540-D19D-21E4BCA8F79C}"/>
                </a:ext>
              </a:extLst>
            </p:cNvPr>
            <p:cNvSpPr/>
            <p:nvPr/>
          </p:nvSpPr>
          <p:spPr>
            <a:xfrm>
              <a:off x="6148992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4" name="object 544">
              <a:extLst>
                <a:ext uri="{FF2B5EF4-FFF2-40B4-BE49-F238E27FC236}">
                  <a16:creationId xmlns:a16="http://schemas.microsoft.com/office/drawing/2014/main" id="{74155823-F91F-D216-2445-64746D71D6A5}"/>
                </a:ext>
              </a:extLst>
            </p:cNvPr>
            <p:cNvSpPr/>
            <p:nvPr/>
          </p:nvSpPr>
          <p:spPr>
            <a:xfrm>
              <a:off x="6043927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5" name="object 545">
              <a:extLst>
                <a:ext uri="{FF2B5EF4-FFF2-40B4-BE49-F238E27FC236}">
                  <a16:creationId xmlns:a16="http://schemas.microsoft.com/office/drawing/2014/main" id="{98B77BEC-8A9B-E572-3C9D-EE52D267F503}"/>
                </a:ext>
              </a:extLst>
            </p:cNvPr>
            <p:cNvSpPr/>
            <p:nvPr/>
          </p:nvSpPr>
          <p:spPr>
            <a:xfrm>
              <a:off x="5938863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6" name="object 546">
              <a:extLst>
                <a:ext uri="{FF2B5EF4-FFF2-40B4-BE49-F238E27FC236}">
                  <a16:creationId xmlns:a16="http://schemas.microsoft.com/office/drawing/2014/main" id="{CC59D205-F047-B763-863E-56DC61EFB5BB}"/>
                </a:ext>
              </a:extLst>
            </p:cNvPr>
            <p:cNvSpPr/>
            <p:nvPr/>
          </p:nvSpPr>
          <p:spPr>
            <a:xfrm>
              <a:off x="5973958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7" name="object 547">
              <a:extLst>
                <a:ext uri="{FF2B5EF4-FFF2-40B4-BE49-F238E27FC236}">
                  <a16:creationId xmlns:a16="http://schemas.microsoft.com/office/drawing/2014/main" id="{D07838E5-74E7-E589-B381-4758D58FAFC4}"/>
                </a:ext>
              </a:extLst>
            </p:cNvPr>
            <p:cNvSpPr/>
            <p:nvPr/>
          </p:nvSpPr>
          <p:spPr>
            <a:xfrm>
              <a:off x="5868820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8" name="object 548">
              <a:extLst>
                <a:ext uri="{FF2B5EF4-FFF2-40B4-BE49-F238E27FC236}">
                  <a16:creationId xmlns:a16="http://schemas.microsoft.com/office/drawing/2014/main" id="{E2B87C55-6134-4415-39D5-A796CFD22F9C}"/>
                </a:ext>
              </a:extLst>
            </p:cNvPr>
            <p:cNvSpPr/>
            <p:nvPr/>
          </p:nvSpPr>
          <p:spPr>
            <a:xfrm>
              <a:off x="6078949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9" name="object 549">
              <a:extLst>
                <a:ext uri="{FF2B5EF4-FFF2-40B4-BE49-F238E27FC236}">
                  <a16:creationId xmlns:a16="http://schemas.microsoft.com/office/drawing/2014/main" id="{54D52348-B38B-904D-9544-AC3A241108FC}"/>
                </a:ext>
              </a:extLst>
            </p:cNvPr>
            <p:cNvSpPr/>
            <p:nvPr/>
          </p:nvSpPr>
          <p:spPr>
            <a:xfrm>
              <a:off x="5903841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0" name="object 550">
              <a:extLst>
                <a:ext uri="{FF2B5EF4-FFF2-40B4-BE49-F238E27FC236}">
                  <a16:creationId xmlns:a16="http://schemas.microsoft.com/office/drawing/2014/main" id="{891246D8-9DBC-AD90-7700-2A89D09CD7BD}"/>
                </a:ext>
              </a:extLst>
            </p:cNvPr>
            <p:cNvSpPr/>
            <p:nvPr/>
          </p:nvSpPr>
          <p:spPr>
            <a:xfrm>
              <a:off x="6184014" y="56636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1" name="object 551">
              <a:extLst>
                <a:ext uri="{FF2B5EF4-FFF2-40B4-BE49-F238E27FC236}">
                  <a16:creationId xmlns:a16="http://schemas.microsoft.com/office/drawing/2014/main" id="{7334B873-99E6-1546-56A2-027EC2BB7CEA}"/>
                </a:ext>
              </a:extLst>
            </p:cNvPr>
            <p:cNvSpPr/>
            <p:nvPr/>
          </p:nvSpPr>
          <p:spPr>
            <a:xfrm>
              <a:off x="6009043" y="56636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2" name="object 552">
              <a:extLst>
                <a:ext uri="{FF2B5EF4-FFF2-40B4-BE49-F238E27FC236}">
                  <a16:creationId xmlns:a16="http://schemas.microsoft.com/office/drawing/2014/main" id="{28243F61-77CA-BD45-6E54-06D485D546F3}"/>
                </a:ext>
              </a:extLst>
            </p:cNvPr>
            <p:cNvSpPr/>
            <p:nvPr/>
          </p:nvSpPr>
          <p:spPr>
            <a:xfrm>
              <a:off x="5834073" y="56636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3" name="object 553">
              <a:extLst>
                <a:ext uri="{FF2B5EF4-FFF2-40B4-BE49-F238E27FC236}">
                  <a16:creationId xmlns:a16="http://schemas.microsoft.com/office/drawing/2014/main" id="{7651FA15-0D43-AB91-CD1A-3EDB8AD47542}"/>
                </a:ext>
              </a:extLst>
            </p:cNvPr>
            <p:cNvSpPr/>
            <p:nvPr/>
          </p:nvSpPr>
          <p:spPr>
            <a:xfrm>
              <a:off x="5834073" y="568912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4" name="object 554">
              <a:extLst>
                <a:ext uri="{FF2B5EF4-FFF2-40B4-BE49-F238E27FC236}">
                  <a16:creationId xmlns:a16="http://schemas.microsoft.com/office/drawing/2014/main" id="{03ADE34F-8960-8099-C615-C374735852A6}"/>
                </a:ext>
              </a:extLst>
            </p:cNvPr>
            <p:cNvSpPr/>
            <p:nvPr/>
          </p:nvSpPr>
          <p:spPr>
            <a:xfrm>
              <a:off x="5834192" y="5663610"/>
              <a:ext cx="18175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9720"/>
                <a:gd name="f4" fmla="val 84454"/>
                <a:gd name="f5" fmla="val 299624"/>
                <a:gd name="f6" fmla="val 84133"/>
                <a:gd name="f7" fmla="*/ f0 1 299720"/>
                <a:gd name="f8" fmla="*/ f1 1 84454"/>
                <a:gd name="f9" fmla="+- f4 0 f2"/>
                <a:gd name="f10" fmla="+- f3 0 f2"/>
                <a:gd name="f11" fmla="*/ f10 1 2997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97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5" name="object 555">
              <a:extLst>
                <a:ext uri="{FF2B5EF4-FFF2-40B4-BE49-F238E27FC236}">
                  <a16:creationId xmlns:a16="http://schemas.microsoft.com/office/drawing/2014/main" id="{EC153E0D-CB74-6C22-5269-48937FB73546}"/>
                </a:ext>
              </a:extLst>
            </p:cNvPr>
            <p:cNvSpPr/>
            <p:nvPr/>
          </p:nvSpPr>
          <p:spPr>
            <a:xfrm>
              <a:off x="5834192" y="5735912"/>
              <a:ext cx="19214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6865"/>
                <a:gd name="f4" fmla="val 84454"/>
                <a:gd name="f5" fmla="val 316608"/>
                <a:gd name="f6" fmla="val 84133"/>
                <a:gd name="f7" fmla="*/ f0 1 316865"/>
                <a:gd name="f8" fmla="*/ f1 1 84454"/>
                <a:gd name="f9" fmla="+- f4 0 f2"/>
                <a:gd name="f10" fmla="+- f3 0 f2"/>
                <a:gd name="f11" fmla="*/ f10 1 3168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68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6" name="object 556">
              <a:extLst>
                <a:ext uri="{FF2B5EF4-FFF2-40B4-BE49-F238E27FC236}">
                  <a16:creationId xmlns:a16="http://schemas.microsoft.com/office/drawing/2014/main" id="{DF711984-D8FF-5F9F-B8FD-4AF9FB737A21}"/>
                </a:ext>
              </a:extLst>
            </p:cNvPr>
            <p:cNvSpPr/>
            <p:nvPr/>
          </p:nvSpPr>
          <p:spPr>
            <a:xfrm>
              <a:off x="6113623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7" name="object 557">
              <a:extLst>
                <a:ext uri="{FF2B5EF4-FFF2-40B4-BE49-F238E27FC236}">
                  <a16:creationId xmlns:a16="http://schemas.microsoft.com/office/drawing/2014/main" id="{EC390FE3-F5E4-9566-7620-503F50BAA015}"/>
                </a:ext>
              </a:extLst>
            </p:cNvPr>
            <p:cNvSpPr/>
            <p:nvPr/>
          </p:nvSpPr>
          <p:spPr>
            <a:xfrm>
              <a:off x="6148645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8" name="object 558">
              <a:extLst>
                <a:ext uri="{FF2B5EF4-FFF2-40B4-BE49-F238E27FC236}">
                  <a16:creationId xmlns:a16="http://schemas.microsoft.com/office/drawing/2014/main" id="{362A96AD-5EBF-EBD5-DF6A-6BB0847653CA}"/>
                </a:ext>
              </a:extLst>
            </p:cNvPr>
            <p:cNvSpPr/>
            <p:nvPr/>
          </p:nvSpPr>
          <p:spPr>
            <a:xfrm>
              <a:off x="6043580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9" name="object 559">
              <a:extLst>
                <a:ext uri="{FF2B5EF4-FFF2-40B4-BE49-F238E27FC236}">
                  <a16:creationId xmlns:a16="http://schemas.microsoft.com/office/drawing/2014/main" id="{62F2C394-011D-352C-5DA6-762EAB766906}"/>
                </a:ext>
              </a:extLst>
            </p:cNvPr>
            <p:cNvSpPr/>
            <p:nvPr/>
          </p:nvSpPr>
          <p:spPr>
            <a:xfrm>
              <a:off x="5938515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0" name="object 560">
              <a:extLst>
                <a:ext uri="{FF2B5EF4-FFF2-40B4-BE49-F238E27FC236}">
                  <a16:creationId xmlns:a16="http://schemas.microsoft.com/office/drawing/2014/main" id="{F9A01673-2FAE-EDC8-61A8-A25CA3234237}"/>
                </a:ext>
              </a:extLst>
            </p:cNvPr>
            <p:cNvSpPr/>
            <p:nvPr/>
          </p:nvSpPr>
          <p:spPr>
            <a:xfrm>
              <a:off x="5973610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1" name="object 561">
              <a:extLst>
                <a:ext uri="{FF2B5EF4-FFF2-40B4-BE49-F238E27FC236}">
                  <a16:creationId xmlns:a16="http://schemas.microsoft.com/office/drawing/2014/main" id="{5CFAA356-8331-A145-7FAE-F78B2C5DCE39}"/>
                </a:ext>
              </a:extLst>
            </p:cNvPr>
            <p:cNvSpPr/>
            <p:nvPr/>
          </p:nvSpPr>
          <p:spPr>
            <a:xfrm>
              <a:off x="5868472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2" name="object 562">
              <a:extLst>
                <a:ext uri="{FF2B5EF4-FFF2-40B4-BE49-F238E27FC236}">
                  <a16:creationId xmlns:a16="http://schemas.microsoft.com/office/drawing/2014/main" id="{0BBDE19D-5FDC-8B33-E6C9-EB9762E7D881}"/>
                </a:ext>
              </a:extLst>
            </p:cNvPr>
            <p:cNvSpPr/>
            <p:nvPr/>
          </p:nvSpPr>
          <p:spPr>
            <a:xfrm>
              <a:off x="6078602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3" name="object 563">
              <a:extLst>
                <a:ext uri="{FF2B5EF4-FFF2-40B4-BE49-F238E27FC236}">
                  <a16:creationId xmlns:a16="http://schemas.microsoft.com/office/drawing/2014/main" id="{778F90AE-CD03-B61B-2FAD-2573DD42E78A}"/>
                </a:ext>
              </a:extLst>
            </p:cNvPr>
            <p:cNvSpPr/>
            <p:nvPr/>
          </p:nvSpPr>
          <p:spPr>
            <a:xfrm>
              <a:off x="5903494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4" name="object 564">
              <a:extLst>
                <a:ext uri="{FF2B5EF4-FFF2-40B4-BE49-F238E27FC236}">
                  <a16:creationId xmlns:a16="http://schemas.microsoft.com/office/drawing/2014/main" id="{7537BEAB-9A50-8F99-A5DC-C88A92E85C99}"/>
                </a:ext>
              </a:extLst>
            </p:cNvPr>
            <p:cNvSpPr/>
            <p:nvPr/>
          </p:nvSpPr>
          <p:spPr>
            <a:xfrm>
              <a:off x="6183666" y="573591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5" name="object 565">
              <a:extLst>
                <a:ext uri="{FF2B5EF4-FFF2-40B4-BE49-F238E27FC236}">
                  <a16:creationId xmlns:a16="http://schemas.microsoft.com/office/drawing/2014/main" id="{BD5783A9-B66E-0C8D-61FC-458678B6FA89}"/>
                </a:ext>
              </a:extLst>
            </p:cNvPr>
            <p:cNvSpPr/>
            <p:nvPr/>
          </p:nvSpPr>
          <p:spPr>
            <a:xfrm>
              <a:off x="6008696" y="573591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6" name="object 566">
              <a:extLst>
                <a:ext uri="{FF2B5EF4-FFF2-40B4-BE49-F238E27FC236}">
                  <a16:creationId xmlns:a16="http://schemas.microsoft.com/office/drawing/2014/main" id="{C71D108A-F057-7235-B8D8-489F6FDA755A}"/>
                </a:ext>
              </a:extLst>
            </p:cNvPr>
            <p:cNvSpPr/>
            <p:nvPr/>
          </p:nvSpPr>
          <p:spPr>
            <a:xfrm>
              <a:off x="5833725" y="573591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7" name="object 567">
              <a:extLst>
                <a:ext uri="{FF2B5EF4-FFF2-40B4-BE49-F238E27FC236}">
                  <a16:creationId xmlns:a16="http://schemas.microsoft.com/office/drawing/2014/main" id="{73A6218D-B928-F00F-F60A-9BD50D9850F3}"/>
                </a:ext>
              </a:extLst>
            </p:cNvPr>
            <p:cNvSpPr/>
            <p:nvPr/>
          </p:nvSpPr>
          <p:spPr>
            <a:xfrm>
              <a:off x="6008696" y="573591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8" name="object 568">
              <a:extLst>
                <a:ext uri="{FF2B5EF4-FFF2-40B4-BE49-F238E27FC236}">
                  <a16:creationId xmlns:a16="http://schemas.microsoft.com/office/drawing/2014/main" id="{F7BC217A-C290-DD84-38DB-73FAE3B5EEB9}"/>
                </a:ext>
              </a:extLst>
            </p:cNvPr>
            <p:cNvSpPr/>
            <p:nvPr/>
          </p:nvSpPr>
          <p:spPr>
            <a:xfrm>
              <a:off x="5833725" y="576142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69" name="object 569">
            <a:extLst>
              <a:ext uri="{FF2B5EF4-FFF2-40B4-BE49-F238E27FC236}">
                <a16:creationId xmlns:a16="http://schemas.microsoft.com/office/drawing/2014/main" id="{B94E79F0-BC14-AB71-6B9C-9D0B62CA22A8}"/>
              </a:ext>
            </a:extLst>
          </p:cNvPr>
          <p:cNvGrpSpPr/>
          <p:nvPr/>
        </p:nvGrpSpPr>
        <p:grpSpPr>
          <a:xfrm>
            <a:off x="5833725" y="6427683"/>
            <a:ext cx="350371" cy="123507"/>
            <a:chOff x="5833725" y="6427683"/>
            <a:chExt cx="350371" cy="123507"/>
          </a:xfrm>
        </p:grpSpPr>
        <p:sp>
          <p:nvSpPr>
            <p:cNvPr id="570" name="object 570">
              <a:extLst>
                <a:ext uri="{FF2B5EF4-FFF2-40B4-BE49-F238E27FC236}">
                  <a16:creationId xmlns:a16="http://schemas.microsoft.com/office/drawing/2014/main" id="{B821823B-A918-685C-45E8-F7C292E153C4}"/>
                </a:ext>
              </a:extLst>
            </p:cNvPr>
            <p:cNvSpPr/>
            <p:nvPr/>
          </p:nvSpPr>
          <p:spPr>
            <a:xfrm>
              <a:off x="6113971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1" name="object 571">
              <a:extLst>
                <a:ext uri="{FF2B5EF4-FFF2-40B4-BE49-F238E27FC236}">
                  <a16:creationId xmlns:a16="http://schemas.microsoft.com/office/drawing/2014/main" id="{4FE9C54C-5269-40BC-4B4E-C1346042B72A}"/>
                </a:ext>
              </a:extLst>
            </p:cNvPr>
            <p:cNvSpPr/>
            <p:nvPr/>
          </p:nvSpPr>
          <p:spPr>
            <a:xfrm>
              <a:off x="6148992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2" name="object 572">
              <a:extLst>
                <a:ext uri="{FF2B5EF4-FFF2-40B4-BE49-F238E27FC236}">
                  <a16:creationId xmlns:a16="http://schemas.microsoft.com/office/drawing/2014/main" id="{EB47C11C-F6F8-02FB-7E3D-0D74DE7874B0}"/>
                </a:ext>
              </a:extLst>
            </p:cNvPr>
            <p:cNvSpPr/>
            <p:nvPr/>
          </p:nvSpPr>
          <p:spPr>
            <a:xfrm>
              <a:off x="6043927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3" name="object 573">
              <a:extLst>
                <a:ext uri="{FF2B5EF4-FFF2-40B4-BE49-F238E27FC236}">
                  <a16:creationId xmlns:a16="http://schemas.microsoft.com/office/drawing/2014/main" id="{7A1C9CA5-2B91-80E2-049B-3002C12588D9}"/>
                </a:ext>
              </a:extLst>
            </p:cNvPr>
            <p:cNvSpPr/>
            <p:nvPr/>
          </p:nvSpPr>
          <p:spPr>
            <a:xfrm>
              <a:off x="5938863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4" name="object 574">
              <a:extLst>
                <a:ext uri="{FF2B5EF4-FFF2-40B4-BE49-F238E27FC236}">
                  <a16:creationId xmlns:a16="http://schemas.microsoft.com/office/drawing/2014/main" id="{B3C7B6EC-469F-0791-61DA-6B8BCDA8E210}"/>
                </a:ext>
              </a:extLst>
            </p:cNvPr>
            <p:cNvSpPr/>
            <p:nvPr/>
          </p:nvSpPr>
          <p:spPr>
            <a:xfrm>
              <a:off x="5973958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5" name="object 575">
              <a:extLst>
                <a:ext uri="{FF2B5EF4-FFF2-40B4-BE49-F238E27FC236}">
                  <a16:creationId xmlns:a16="http://schemas.microsoft.com/office/drawing/2014/main" id="{4CB1BC58-895F-D7B5-1C4F-1BF59FA64BC5}"/>
                </a:ext>
              </a:extLst>
            </p:cNvPr>
            <p:cNvSpPr/>
            <p:nvPr/>
          </p:nvSpPr>
          <p:spPr>
            <a:xfrm>
              <a:off x="5868820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6" name="object 576">
              <a:extLst>
                <a:ext uri="{FF2B5EF4-FFF2-40B4-BE49-F238E27FC236}">
                  <a16:creationId xmlns:a16="http://schemas.microsoft.com/office/drawing/2014/main" id="{7074D99D-5D18-CA88-F78D-DD96A96EA11E}"/>
                </a:ext>
              </a:extLst>
            </p:cNvPr>
            <p:cNvSpPr/>
            <p:nvPr/>
          </p:nvSpPr>
          <p:spPr>
            <a:xfrm>
              <a:off x="6078949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7" name="object 577">
              <a:extLst>
                <a:ext uri="{FF2B5EF4-FFF2-40B4-BE49-F238E27FC236}">
                  <a16:creationId xmlns:a16="http://schemas.microsoft.com/office/drawing/2014/main" id="{98BF698C-BC8C-2B14-3B06-03A38DB2E587}"/>
                </a:ext>
              </a:extLst>
            </p:cNvPr>
            <p:cNvSpPr/>
            <p:nvPr/>
          </p:nvSpPr>
          <p:spPr>
            <a:xfrm>
              <a:off x="5903841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8" name="object 578">
              <a:extLst>
                <a:ext uri="{FF2B5EF4-FFF2-40B4-BE49-F238E27FC236}">
                  <a16:creationId xmlns:a16="http://schemas.microsoft.com/office/drawing/2014/main" id="{BA42C217-FB49-ED56-2496-36F9C11A8F4D}"/>
                </a:ext>
              </a:extLst>
            </p:cNvPr>
            <p:cNvSpPr/>
            <p:nvPr/>
          </p:nvSpPr>
          <p:spPr>
            <a:xfrm>
              <a:off x="6184014" y="642768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9" name="object 579">
              <a:extLst>
                <a:ext uri="{FF2B5EF4-FFF2-40B4-BE49-F238E27FC236}">
                  <a16:creationId xmlns:a16="http://schemas.microsoft.com/office/drawing/2014/main" id="{C80DA5CE-DCA8-2883-059D-96C404538C92}"/>
                </a:ext>
              </a:extLst>
            </p:cNvPr>
            <p:cNvSpPr/>
            <p:nvPr/>
          </p:nvSpPr>
          <p:spPr>
            <a:xfrm>
              <a:off x="6009043" y="642768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0" name="object 580">
              <a:extLst>
                <a:ext uri="{FF2B5EF4-FFF2-40B4-BE49-F238E27FC236}">
                  <a16:creationId xmlns:a16="http://schemas.microsoft.com/office/drawing/2014/main" id="{783456B5-6CBA-8EF0-D7C2-9552F0CCDD3D}"/>
                </a:ext>
              </a:extLst>
            </p:cNvPr>
            <p:cNvSpPr/>
            <p:nvPr/>
          </p:nvSpPr>
          <p:spPr>
            <a:xfrm>
              <a:off x="5834073" y="642768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1" name="object 581">
              <a:extLst>
                <a:ext uri="{FF2B5EF4-FFF2-40B4-BE49-F238E27FC236}">
                  <a16:creationId xmlns:a16="http://schemas.microsoft.com/office/drawing/2014/main" id="{346B8FD8-DAAF-D2BD-08F8-5D447C395B9D}"/>
                </a:ext>
              </a:extLst>
            </p:cNvPr>
            <p:cNvSpPr/>
            <p:nvPr/>
          </p:nvSpPr>
          <p:spPr>
            <a:xfrm>
              <a:off x="5834073" y="645318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2" name="object 582">
              <a:extLst>
                <a:ext uri="{FF2B5EF4-FFF2-40B4-BE49-F238E27FC236}">
                  <a16:creationId xmlns:a16="http://schemas.microsoft.com/office/drawing/2014/main" id="{10F08719-C426-92E2-6BE7-CDFE10059324}"/>
                </a:ext>
              </a:extLst>
            </p:cNvPr>
            <p:cNvSpPr/>
            <p:nvPr/>
          </p:nvSpPr>
          <p:spPr>
            <a:xfrm>
              <a:off x="5834192" y="6427683"/>
              <a:ext cx="10088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6370"/>
                <a:gd name="f4" fmla="val 84454"/>
                <a:gd name="f5" fmla="val 166089"/>
                <a:gd name="f6" fmla="val 84123"/>
                <a:gd name="f7" fmla="*/ f0 1 166370"/>
                <a:gd name="f8" fmla="*/ f1 1 84454"/>
                <a:gd name="f9" fmla="+- f4 0 f2"/>
                <a:gd name="f10" fmla="+- f3 0 f2"/>
                <a:gd name="f11" fmla="*/ f10 1 16637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637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3" name="object 583">
              <a:extLst>
                <a:ext uri="{FF2B5EF4-FFF2-40B4-BE49-F238E27FC236}">
                  <a16:creationId xmlns:a16="http://schemas.microsoft.com/office/drawing/2014/main" id="{AD0A155F-ECF9-1165-220B-6D974DEF0DFF}"/>
                </a:ext>
              </a:extLst>
            </p:cNvPr>
            <p:cNvSpPr/>
            <p:nvPr/>
          </p:nvSpPr>
          <p:spPr>
            <a:xfrm>
              <a:off x="5834192" y="6499975"/>
              <a:ext cx="23565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88620"/>
                <a:gd name="f4" fmla="val 84454"/>
                <a:gd name="f5" fmla="val 388270"/>
                <a:gd name="f6" fmla="val 84133"/>
                <a:gd name="f7" fmla="*/ f0 1 388620"/>
                <a:gd name="f8" fmla="*/ f1 1 84454"/>
                <a:gd name="f9" fmla="+- f4 0 f2"/>
                <a:gd name="f10" fmla="+- f3 0 f2"/>
                <a:gd name="f11" fmla="*/ f10 1 3886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886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4" name="object 584">
              <a:extLst>
                <a:ext uri="{FF2B5EF4-FFF2-40B4-BE49-F238E27FC236}">
                  <a16:creationId xmlns:a16="http://schemas.microsoft.com/office/drawing/2014/main" id="{BDCE58CD-31E5-F597-13F2-E635F8FFC31F}"/>
                </a:ext>
              </a:extLst>
            </p:cNvPr>
            <p:cNvSpPr/>
            <p:nvPr/>
          </p:nvSpPr>
          <p:spPr>
            <a:xfrm>
              <a:off x="6113623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5" name="object 585">
              <a:extLst>
                <a:ext uri="{FF2B5EF4-FFF2-40B4-BE49-F238E27FC236}">
                  <a16:creationId xmlns:a16="http://schemas.microsoft.com/office/drawing/2014/main" id="{D4D76422-7222-A9BD-6307-E1B2220FF7E0}"/>
                </a:ext>
              </a:extLst>
            </p:cNvPr>
            <p:cNvSpPr/>
            <p:nvPr/>
          </p:nvSpPr>
          <p:spPr>
            <a:xfrm>
              <a:off x="6148645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6" name="object 586">
              <a:extLst>
                <a:ext uri="{FF2B5EF4-FFF2-40B4-BE49-F238E27FC236}">
                  <a16:creationId xmlns:a16="http://schemas.microsoft.com/office/drawing/2014/main" id="{1B939CD2-359F-A7F4-2928-BDBBA03A69CC}"/>
                </a:ext>
              </a:extLst>
            </p:cNvPr>
            <p:cNvSpPr/>
            <p:nvPr/>
          </p:nvSpPr>
          <p:spPr>
            <a:xfrm>
              <a:off x="6043580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7" name="object 587">
              <a:extLst>
                <a:ext uri="{FF2B5EF4-FFF2-40B4-BE49-F238E27FC236}">
                  <a16:creationId xmlns:a16="http://schemas.microsoft.com/office/drawing/2014/main" id="{E7FDEBC0-9E7D-271C-8776-01AECD8AECAD}"/>
                </a:ext>
              </a:extLst>
            </p:cNvPr>
            <p:cNvSpPr/>
            <p:nvPr/>
          </p:nvSpPr>
          <p:spPr>
            <a:xfrm>
              <a:off x="5938515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8" name="object 588">
              <a:extLst>
                <a:ext uri="{FF2B5EF4-FFF2-40B4-BE49-F238E27FC236}">
                  <a16:creationId xmlns:a16="http://schemas.microsoft.com/office/drawing/2014/main" id="{938E56D1-4ECF-8A60-FAC4-08EBE03041A6}"/>
                </a:ext>
              </a:extLst>
            </p:cNvPr>
            <p:cNvSpPr/>
            <p:nvPr/>
          </p:nvSpPr>
          <p:spPr>
            <a:xfrm>
              <a:off x="5973610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9" name="object 589">
              <a:extLst>
                <a:ext uri="{FF2B5EF4-FFF2-40B4-BE49-F238E27FC236}">
                  <a16:creationId xmlns:a16="http://schemas.microsoft.com/office/drawing/2014/main" id="{11A124BB-2F45-E021-49CB-484B409CCB2F}"/>
                </a:ext>
              </a:extLst>
            </p:cNvPr>
            <p:cNvSpPr/>
            <p:nvPr/>
          </p:nvSpPr>
          <p:spPr>
            <a:xfrm>
              <a:off x="5868472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0" name="object 590">
              <a:extLst>
                <a:ext uri="{FF2B5EF4-FFF2-40B4-BE49-F238E27FC236}">
                  <a16:creationId xmlns:a16="http://schemas.microsoft.com/office/drawing/2014/main" id="{A38116C7-67DB-E9B8-9C28-D62A5C10268D}"/>
                </a:ext>
              </a:extLst>
            </p:cNvPr>
            <p:cNvSpPr/>
            <p:nvPr/>
          </p:nvSpPr>
          <p:spPr>
            <a:xfrm>
              <a:off x="6078602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1" name="object 591">
              <a:extLst>
                <a:ext uri="{FF2B5EF4-FFF2-40B4-BE49-F238E27FC236}">
                  <a16:creationId xmlns:a16="http://schemas.microsoft.com/office/drawing/2014/main" id="{15650E25-CE51-3E3F-DA33-BADC435A3774}"/>
                </a:ext>
              </a:extLst>
            </p:cNvPr>
            <p:cNvSpPr/>
            <p:nvPr/>
          </p:nvSpPr>
          <p:spPr>
            <a:xfrm>
              <a:off x="5903494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2" name="object 592">
              <a:extLst>
                <a:ext uri="{FF2B5EF4-FFF2-40B4-BE49-F238E27FC236}">
                  <a16:creationId xmlns:a16="http://schemas.microsoft.com/office/drawing/2014/main" id="{2245C80C-B484-49F0-D98B-42B8FC55B34E}"/>
                </a:ext>
              </a:extLst>
            </p:cNvPr>
            <p:cNvSpPr/>
            <p:nvPr/>
          </p:nvSpPr>
          <p:spPr>
            <a:xfrm>
              <a:off x="6183666" y="64999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3" name="object 593">
              <a:extLst>
                <a:ext uri="{FF2B5EF4-FFF2-40B4-BE49-F238E27FC236}">
                  <a16:creationId xmlns:a16="http://schemas.microsoft.com/office/drawing/2014/main" id="{831FFBC4-E4FB-659E-6BF2-C90D6EFF0626}"/>
                </a:ext>
              </a:extLst>
            </p:cNvPr>
            <p:cNvSpPr/>
            <p:nvPr/>
          </p:nvSpPr>
          <p:spPr>
            <a:xfrm>
              <a:off x="6008696" y="64999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4" name="object 594">
              <a:extLst>
                <a:ext uri="{FF2B5EF4-FFF2-40B4-BE49-F238E27FC236}">
                  <a16:creationId xmlns:a16="http://schemas.microsoft.com/office/drawing/2014/main" id="{F6399A72-136E-AA2F-B60D-89E3B28B3299}"/>
                </a:ext>
              </a:extLst>
            </p:cNvPr>
            <p:cNvSpPr/>
            <p:nvPr/>
          </p:nvSpPr>
          <p:spPr>
            <a:xfrm>
              <a:off x="5833725" y="64999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5" name="object 595">
              <a:extLst>
                <a:ext uri="{FF2B5EF4-FFF2-40B4-BE49-F238E27FC236}">
                  <a16:creationId xmlns:a16="http://schemas.microsoft.com/office/drawing/2014/main" id="{B423EA5D-D8F5-DF83-8536-BE8CA0DCBC09}"/>
                </a:ext>
              </a:extLst>
            </p:cNvPr>
            <p:cNvSpPr/>
            <p:nvPr/>
          </p:nvSpPr>
          <p:spPr>
            <a:xfrm>
              <a:off x="6008696" y="64999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6" name="object 596">
              <a:extLst>
                <a:ext uri="{FF2B5EF4-FFF2-40B4-BE49-F238E27FC236}">
                  <a16:creationId xmlns:a16="http://schemas.microsoft.com/office/drawing/2014/main" id="{D878FEE1-7E04-E228-8C81-1F2D3A279E3A}"/>
                </a:ext>
              </a:extLst>
            </p:cNvPr>
            <p:cNvSpPr/>
            <p:nvPr/>
          </p:nvSpPr>
          <p:spPr>
            <a:xfrm>
              <a:off x="5833725" y="652547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97" name="object 597">
            <a:extLst>
              <a:ext uri="{FF2B5EF4-FFF2-40B4-BE49-F238E27FC236}">
                <a16:creationId xmlns:a16="http://schemas.microsoft.com/office/drawing/2014/main" id="{D6CA50A4-0B9A-1F4B-87AD-8BCF9AF67F15}"/>
              </a:ext>
            </a:extLst>
          </p:cNvPr>
          <p:cNvGrpSpPr/>
          <p:nvPr/>
        </p:nvGrpSpPr>
        <p:grpSpPr>
          <a:xfrm>
            <a:off x="5012411" y="3372828"/>
            <a:ext cx="350371" cy="123535"/>
            <a:chOff x="5012411" y="3372828"/>
            <a:chExt cx="350371" cy="123535"/>
          </a:xfrm>
        </p:grpSpPr>
        <p:sp>
          <p:nvSpPr>
            <p:cNvPr id="598" name="object 598">
              <a:extLst>
                <a:ext uri="{FF2B5EF4-FFF2-40B4-BE49-F238E27FC236}">
                  <a16:creationId xmlns:a16="http://schemas.microsoft.com/office/drawing/2014/main" id="{43DF7098-AD08-4E76-EB74-1263CCDBDB69}"/>
                </a:ext>
              </a:extLst>
            </p:cNvPr>
            <p:cNvSpPr/>
            <p:nvPr/>
          </p:nvSpPr>
          <p:spPr>
            <a:xfrm>
              <a:off x="5292656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9" name="object 599">
              <a:extLst>
                <a:ext uri="{FF2B5EF4-FFF2-40B4-BE49-F238E27FC236}">
                  <a16:creationId xmlns:a16="http://schemas.microsoft.com/office/drawing/2014/main" id="{00AB7AB9-87D7-1C78-BD23-EABEB837EBE1}"/>
                </a:ext>
              </a:extLst>
            </p:cNvPr>
            <p:cNvSpPr/>
            <p:nvPr/>
          </p:nvSpPr>
          <p:spPr>
            <a:xfrm>
              <a:off x="5327678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0" name="object 600">
              <a:extLst>
                <a:ext uri="{FF2B5EF4-FFF2-40B4-BE49-F238E27FC236}">
                  <a16:creationId xmlns:a16="http://schemas.microsoft.com/office/drawing/2014/main" id="{FECA20B7-B05C-C704-9178-6A303DFD14E7}"/>
                </a:ext>
              </a:extLst>
            </p:cNvPr>
            <p:cNvSpPr/>
            <p:nvPr/>
          </p:nvSpPr>
          <p:spPr>
            <a:xfrm>
              <a:off x="5222613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1" name="object 601">
              <a:extLst>
                <a:ext uri="{FF2B5EF4-FFF2-40B4-BE49-F238E27FC236}">
                  <a16:creationId xmlns:a16="http://schemas.microsoft.com/office/drawing/2014/main" id="{7C22A077-A266-8817-AC9B-C67EE73437C5}"/>
                </a:ext>
              </a:extLst>
            </p:cNvPr>
            <p:cNvSpPr/>
            <p:nvPr/>
          </p:nvSpPr>
          <p:spPr>
            <a:xfrm>
              <a:off x="5117549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2" name="object 602">
              <a:extLst>
                <a:ext uri="{FF2B5EF4-FFF2-40B4-BE49-F238E27FC236}">
                  <a16:creationId xmlns:a16="http://schemas.microsoft.com/office/drawing/2014/main" id="{96845181-3D74-92CD-CC6E-91569F73050E}"/>
                </a:ext>
              </a:extLst>
            </p:cNvPr>
            <p:cNvSpPr/>
            <p:nvPr/>
          </p:nvSpPr>
          <p:spPr>
            <a:xfrm>
              <a:off x="5152634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3" name="object 603">
              <a:extLst>
                <a:ext uri="{FF2B5EF4-FFF2-40B4-BE49-F238E27FC236}">
                  <a16:creationId xmlns:a16="http://schemas.microsoft.com/office/drawing/2014/main" id="{930CE637-1945-4811-C628-D9FA29E926E7}"/>
                </a:ext>
              </a:extLst>
            </p:cNvPr>
            <p:cNvSpPr/>
            <p:nvPr/>
          </p:nvSpPr>
          <p:spPr>
            <a:xfrm>
              <a:off x="5047506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4" name="object 604">
              <a:extLst>
                <a:ext uri="{FF2B5EF4-FFF2-40B4-BE49-F238E27FC236}">
                  <a16:creationId xmlns:a16="http://schemas.microsoft.com/office/drawing/2014/main" id="{E8FD0B95-A58A-B9D3-05C7-B1BE55D8F4F2}"/>
                </a:ext>
              </a:extLst>
            </p:cNvPr>
            <p:cNvSpPr/>
            <p:nvPr/>
          </p:nvSpPr>
          <p:spPr>
            <a:xfrm>
              <a:off x="5257635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5" name="object 605">
              <a:extLst>
                <a:ext uri="{FF2B5EF4-FFF2-40B4-BE49-F238E27FC236}">
                  <a16:creationId xmlns:a16="http://schemas.microsoft.com/office/drawing/2014/main" id="{45AEF121-11E6-75D4-6826-F11035A11DA6}"/>
                </a:ext>
              </a:extLst>
            </p:cNvPr>
            <p:cNvSpPr/>
            <p:nvPr/>
          </p:nvSpPr>
          <p:spPr>
            <a:xfrm>
              <a:off x="5082527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6" name="object 606">
              <a:extLst>
                <a:ext uri="{FF2B5EF4-FFF2-40B4-BE49-F238E27FC236}">
                  <a16:creationId xmlns:a16="http://schemas.microsoft.com/office/drawing/2014/main" id="{235E5AC4-58BC-F040-C640-667776583EDF}"/>
                </a:ext>
              </a:extLst>
            </p:cNvPr>
            <p:cNvSpPr/>
            <p:nvPr/>
          </p:nvSpPr>
          <p:spPr>
            <a:xfrm>
              <a:off x="5362699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7" name="object 607">
              <a:extLst>
                <a:ext uri="{FF2B5EF4-FFF2-40B4-BE49-F238E27FC236}">
                  <a16:creationId xmlns:a16="http://schemas.microsoft.com/office/drawing/2014/main" id="{5B4D1C17-E2E7-F6D3-9F43-2DC8F08ED9CB}"/>
                </a:ext>
              </a:extLst>
            </p:cNvPr>
            <p:cNvSpPr/>
            <p:nvPr/>
          </p:nvSpPr>
          <p:spPr>
            <a:xfrm>
              <a:off x="5187729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8" name="object 608">
              <a:extLst>
                <a:ext uri="{FF2B5EF4-FFF2-40B4-BE49-F238E27FC236}">
                  <a16:creationId xmlns:a16="http://schemas.microsoft.com/office/drawing/2014/main" id="{790C1F5D-64D9-D33C-F92A-0D3A3B9C6FBE}"/>
                </a:ext>
              </a:extLst>
            </p:cNvPr>
            <p:cNvSpPr/>
            <p:nvPr/>
          </p:nvSpPr>
          <p:spPr>
            <a:xfrm>
              <a:off x="5012759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9" name="object 609">
              <a:extLst>
                <a:ext uri="{FF2B5EF4-FFF2-40B4-BE49-F238E27FC236}">
                  <a16:creationId xmlns:a16="http://schemas.microsoft.com/office/drawing/2014/main" id="{697265C4-4DCA-40B5-A518-CEECABD118C4}"/>
                </a:ext>
              </a:extLst>
            </p:cNvPr>
            <p:cNvSpPr/>
            <p:nvPr/>
          </p:nvSpPr>
          <p:spPr>
            <a:xfrm>
              <a:off x="5012759" y="33983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0" name="object 610">
              <a:extLst>
                <a:ext uri="{FF2B5EF4-FFF2-40B4-BE49-F238E27FC236}">
                  <a16:creationId xmlns:a16="http://schemas.microsoft.com/office/drawing/2014/main" id="{3C3CD2C0-2BAE-94E2-34BE-31F4B71E9053}"/>
                </a:ext>
              </a:extLst>
            </p:cNvPr>
            <p:cNvSpPr/>
            <p:nvPr/>
          </p:nvSpPr>
          <p:spPr>
            <a:xfrm>
              <a:off x="5012877" y="3372837"/>
              <a:ext cx="2133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51790"/>
                <a:gd name="f4" fmla="val 84454"/>
                <a:gd name="f5" fmla="val 351559"/>
                <a:gd name="f6" fmla="val 84112"/>
                <a:gd name="f7" fmla="*/ f0 1 351790"/>
                <a:gd name="f8" fmla="*/ f1 1 84454"/>
                <a:gd name="f9" fmla="+- f4 0 f2"/>
                <a:gd name="f10" fmla="+- f3 0 f2"/>
                <a:gd name="f11" fmla="*/ f10 1 3517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517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1" name="object 611">
              <a:extLst>
                <a:ext uri="{FF2B5EF4-FFF2-40B4-BE49-F238E27FC236}">
                  <a16:creationId xmlns:a16="http://schemas.microsoft.com/office/drawing/2014/main" id="{7130848E-D1DD-A654-F9A0-DAD369D26221}"/>
                </a:ext>
              </a:extLst>
            </p:cNvPr>
            <p:cNvSpPr/>
            <p:nvPr/>
          </p:nvSpPr>
          <p:spPr>
            <a:xfrm>
              <a:off x="5012877" y="3445148"/>
              <a:ext cx="1135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7325"/>
                <a:gd name="f4" fmla="val 84454"/>
                <a:gd name="f5" fmla="val 187030"/>
                <a:gd name="f6" fmla="val 84102"/>
                <a:gd name="f7" fmla="*/ f0 1 187325"/>
                <a:gd name="f8" fmla="*/ f1 1 84454"/>
                <a:gd name="f9" fmla="+- f4 0 f2"/>
                <a:gd name="f10" fmla="+- f3 0 f2"/>
                <a:gd name="f11" fmla="*/ f10 1 1873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73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2" name="object 612">
              <a:extLst>
                <a:ext uri="{FF2B5EF4-FFF2-40B4-BE49-F238E27FC236}">
                  <a16:creationId xmlns:a16="http://schemas.microsoft.com/office/drawing/2014/main" id="{47D48000-62F5-A176-6245-7A58DDC23845}"/>
                </a:ext>
              </a:extLst>
            </p:cNvPr>
            <p:cNvSpPr/>
            <p:nvPr/>
          </p:nvSpPr>
          <p:spPr>
            <a:xfrm>
              <a:off x="5292309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3" name="object 613">
              <a:extLst>
                <a:ext uri="{FF2B5EF4-FFF2-40B4-BE49-F238E27FC236}">
                  <a16:creationId xmlns:a16="http://schemas.microsoft.com/office/drawing/2014/main" id="{065A0E13-E13C-B98E-F7DA-B2BB5274A693}"/>
                </a:ext>
              </a:extLst>
            </p:cNvPr>
            <p:cNvSpPr/>
            <p:nvPr/>
          </p:nvSpPr>
          <p:spPr>
            <a:xfrm>
              <a:off x="5327330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4" name="object 614">
              <a:extLst>
                <a:ext uri="{FF2B5EF4-FFF2-40B4-BE49-F238E27FC236}">
                  <a16:creationId xmlns:a16="http://schemas.microsoft.com/office/drawing/2014/main" id="{119CE2BB-EAE0-ACB9-B43F-18B777E5C0C6}"/>
                </a:ext>
              </a:extLst>
            </p:cNvPr>
            <p:cNvSpPr/>
            <p:nvPr/>
          </p:nvSpPr>
          <p:spPr>
            <a:xfrm>
              <a:off x="5222266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5" name="object 615">
              <a:extLst>
                <a:ext uri="{FF2B5EF4-FFF2-40B4-BE49-F238E27FC236}">
                  <a16:creationId xmlns:a16="http://schemas.microsoft.com/office/drawing/2014/main" id="{8C44B02D-4CA9-DBEC-6065-5DA1B86A8A7D}"/>
                </a:ext>
              </a:extLst>
            </p:cNvPr>
            <p:cNvSpPr/>
            <p:nvPr/>
          </p:nvSpPr>
          <p:spPr>
            <a:xfrm>
              <a:off x="5117201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6" name="object 616">
              <a:extLst>
                <a:ext uri="{FF2B5EF4-FFF2-40B4-BE49-F238E27FC236}">
                  <a16:creationId xmlns:a16="http://schemas.microsoft.com/office/drawing/2014/main" id="{7402E5C1-B787-CF82-0AD3-111C0E8126BC}"/>
                </a:ext>
              </a:extLst>
            </p:cNvPr>
            <p:cNvSpPr/>
            <p:nvPr/>
          </p:nvSpPr>
          <p:spPr>
            <a:xfrm>
              <a:off x="5152296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7" name="object 617">
              <a:extLst>
                <a:ext uri="{FF2B5EF4-FFF2-40B4-BE49-F238E27FC236}">
                  <a16:creationId xmlns:a16="http://schemas.microsoft.com/office/drawing/2014/main" id="{F2E7A591-B809-2B43-0C6B-0411C4FF8AD6}"/>
                </a:ext>
              </a:extLst>
            </p:cNvPr>
            <p:cNvSpPr/>
            <p:nvPr/>
          </p:nvSpPr>
          <p:spPr>
            <a:xfrm>
              <a:off x="5047158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8" name="object 618">
              <a:extLst>
                <a:ext uri="{FF2B5EF4-FFF2-40B4-BE49-F238E27FC236}">
                  <a16:creationId xmlns:a16="http://schemas.microsoft.com/office/drawing/2014/main" id="{9658E3A2-D5DD-DBF3-7884-64256C9EE379}"/>
                </a:ext>
              </a:extLst>
            </p:cNvPr>
            <p:cNvSpPr/>
            <p:nvPr/>
          </p:nvSpPr>
          <p:spPr>
            <a:xfrm>
              <a:off x="5257287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9" name="object 619">
              <a:extLst>
                <a:ext uri="{FF2B5EF4-FFF2-40B4-BE49-F238E27FC236}">
                  <a16:creationId xmlns:a16="http://schemas.microsoft.com/office/drawing/2014/main" id="{E22FA33E-C096-899B-4677-531FD2D01EDA}"/>
                </a:ext>
              </a:extLst>
            </p:cNvPr>
            <p:cNvSpPr/>
            <p:nvPr/>
          </p:nvSpPr>
          <p:spPr>
            <a:xfrm>
              <a:off x="5082180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0" name="object 620">
              <a:extLst>
                <a:ext uri="{FF2B5EF4-FFF2-40B4-BE49-F238E27FC236}">
                  <a16:creationId xmlns:a16="http://schemas.microsoft.com/office/drawing/2014/main" id="{AEA09078-1B36-F215-437A-5441AE2E62DA}"/>
                </a:ext>
              </a:extLst>
            </p:cNvPr>
            <p:cNvSpPr/>
            <p:nvPr/>
          </p:nvSpPr>
          <p:spPr>
            <a:xfrm>
              <a:off x="5362352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1" name="object 621">
              <a:extLst>
                <a:ext uri="{FF2B5EF4-FFF2-40B4-BE49-F238E27FC236}">
                  <a16:creationId xmlns:a16="http://schemas.microsoft.com/office/drawing/2014/main" id="{C73BF461-FB12-9A0F-0CAF-A2CFA531F268}"/>
                </a:ext>
              </a:extLst>
            </p:cNvPr>
            <p:cNvSpPr/>
            <p:nvPr/>
          </p:nvSpPr>
          <p:spPr>
            <a:xfrm>
              <a:off x="5187382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2" name="object 622">
              <a:extLst>
                <a:ext uri="{FF2B5EF4-FFF2-40B4-BE49-F238E27FC236}">
                  <a16:creationId xmlns:a16="http://schemas.microsoft.com/office/drawing/2014/main" id="{16173CD5-BFCE-1920-7995-E7767B7F563E}"/>
                </a:ext>
              </a:extLst>
            </p:cNvPr>
            <p:cNvSpPr/>
            <p:nvPr/>
          </p:nvSpPr>
          <p:spPr>
            <a:xfrm>
              <a:off x="5012411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3" name="object 623">
              <a:extLst>
                <a:ext uri="{FF2B5EF4-FFF2-40B4-BE49-F238E27FC236}">
                  <a16:creationId xmlns:a16="http://schemas.microsoft.com/office/drawing/2014/main" id="{3A42CBD5-09E6-0F8C-8D32-0148E75E6803}"/>
                </a:ext>
              </a:extLst>
            </p:cNvPr>
            <p:cNvSpPr/>
            <p:nvPr/>
          </p:nvSpPr>
          <p:spPr>
            <a:xfrm>
              <a:off x="5187382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4" name="object 624">
              <a:extLst>
                <a:ext uri="{FF2B5EF4-FFF2-40B4-BE49-F238E27FC236}">
                  <a16:creationId xmlns:a16="http://schemas.microsoft.com/office/drawing/2014/main" id="{0FFE3006-046C-FB76-31DD-478F41AB89E2}"/>
                </a:ext>
              </a:extLst>
            </p:cNvPr>
            <p:cNvSpPr/>
            <p:nvPr/>
          </p:nvSpPr>
          <p:spPr>
            <a:xfrm>
              <a:off x="5012411" y="347063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25" name="object 625">
            <a:extLst>
              <a:ext uri="{FF2B5EF4-FFF2-40B4-BE49-F238E27FC236}">
                <a16:creationId xmlns:a16="http://schemas.microsoft.com/office/drawing/2014/main" id="{F2E1F5E8-74C0-758A-1705-6241644C8110}"/>
              </a:ext>
            </a:extLst>
          </p:cNvPr>
          <p:cNvGrpSpPr/>
          <p:nvPr/>
        </p:nvGrpSpPr>
        <p:grpSpPr>
          <a:xfrm>
            <a:off x="5012411" y="4140887"/>
            <a:ext cx="350371" cy="123508"/>
            <a:chOff x="5012411" y="4140887"/>
            <a:chExt cx="350371" cy="123508"/>
          </a:xfrm>
        </p:grpSpPr>
        <p:sp>
          <p:nvSpPr>
            <p:cNvPr id="626" name="object 626">
              <a:extLst>
                <a:ext uri="{FF2B5EF4-FFF2-40B4-BE49-F238E27FC236}">
                  <a16:creationId xmlns:a16="http://schemas.microsoft.com/office/drawing/2014/main" id="{09382A14-3B1E-358C-DDEA-DBD506E55384}"/>
                </a:ext>
              </a:extLst>
            </p:cNvPr>
            <p:cNvSpPr/>
            <p:nvPr/>
          </p:nvSpPr>
          <p:spPr>
            <a:xfrm>
              <a:off x="5292656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7" name="object 627">
              <a:extLst>
                <a:ext uri="{FF2B5EF4-FFF2-40B4-BE49-F238E27FC236}">
                  <a16:creationId xmlns:a16="http://schemas.microsoft.com/office/drawing/2014/main" id="{331E65F8-52DE-0065-D915-D0B090CF9F21}"/>
                </a:ext>
              </a:extLst>
            </p:cNvPr>
            <p:cNvSpPr/>
            <p:nvPr/>
          </p:nvSpPr>
          <p:spPr>
            <a:xfrm>
              <a:off x="5327678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8" name="object 628">
              <a:extLst>
                <a:ext uri="{FF2B5EF4-FFF2-40B4-BE49-F238E27FC236}">
                  <a16:creationId xmlns:a16="http://schemas.microsoft.com/office/drawing/2014/main" id="{DB5B5F05-DE1D-BA12-1EE5-4218D268CA8D}"/>
                </a:ext>
              </a:extLst>
            </p:cNvPr>
            <p:cNvSpPr/>
            <p:nvPr/>
          </p:nvSpPr>
          <p:spPr>
            <a:xfrm>
              <a:off x="5222613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9" name="object 629">
              <a:extLst>
                <a:ext uri="{FF2B5EF4-FFF2-40B4-BE49-F238E27FC236}">
                  <a16:creationId xmlns:a16="http://schemas.microsoft.com/office/drawing/2014/main" id="{468246B5-E0CD-5333-BD8E-20AFB8317985}"/>
                </a:ext>
              </a:extLst>
            </p:cNvPr>
            <p:cNvSpPr/>
            <p:nvPr/>
          </p:nvSpPr>
          <p:spPr>
            <a:xfrm>
              <a:off x="5117549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0" name="object 630">
              <a:extLst>
                <a:ext uri="{FF2B5EF4-FFF2-40B4-BE49-F238E27FC236}">
                  <a16:creationId xmlns:a16="http://schemas.microsoft.com/office/drawing/2014/main" id="{37D9E538-A04B-F3E4-4AE1-0021128D38C2}"/>
                </a:ext>
              </a:extLst>
            </p:cNvPr>
            <p:cNvSpPr/>
            <p:nvPr/>
          </p:nvSpPr>
          <p:spPr>
            <a:xfrm>
              <a:off x="5152634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1" name="object 631">
              <a:extLst>
                <a:ext uri="{FF2B5EF4-FFF2-40B4-BE49-F238E27FC236}">
                  <a16:creationId xmlns:a16="http://schemas.microsoft.com/office/drawing/2014/main" id="{A128A6BA-DB67-6CE2-5623-853B927BA119}"/>
                </a:ext>
              </a:extLst>
            </p:cNvPr>
            <p:cNvSpPr/>
            <p:nvPr/>
          </p:nvSpPr>
          <p:spPr>
            <a:xfrm>
              <a:off x="5047506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2" name="object 632">
              <a:extLst>
                <a:ext uri="{FF2B5EF4-FFF2-40B4-BE49-F238E27FC236}">
                  <a16:creationId xmlns:a16="http://schemas.microsoft.com/office/drawing/2014/main" id="{9F6580B0-E281-6A50-CFAE-7C215F2B8C3E}"/>
                </a:ext>
              </a:extLst>
            </p:cNvPr>
            <p:cNvSpPr/>
            <p:nvPr/>
          </p:nvSpPr>
          <p:spPr>
            <a:xfrm>
              <a:off x="5257635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3" name="object 633">
              <a:extLst>
                <a:ext uri="{FF2B5EF4-FFF2-40B4-BE49-F238E27FC236}">
                  <a16:creationId xmlns:a16="http://schemas.microsoft.com/office/drawing/2014/main" id="{D3784A68-F059-699C-4A81-06BC5A351436}"/>
                </a:ext>
              </a:extLst>
            </p:cNvPr>
            <p:cNvSpPr/>
            <p:nvPr/>
          </p:nvSpPr>
          <p:spPr>
            <a:xfrm>
              <a:off x="5082527" y="41536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4" name="object 634">
              <a:extLst>
                <a:ext uri="{FF2B5EF4-FFF2-40B4-BE49-F238E27FC236}">
                  <a16:creationId xmlns:a16="http://schemas.microsoft.com/office/drawing/2014/main" id="{8A14DE8A-3804-B1C8-CD37-C8E37E534C8E}"/>
                </a:ext>
              </a:extLst>
            </p:cNvPr>
            <p:cNvSpPr/>
            <p:nvPr/>
          </p:nvSpPr>
          <p:spPr>
            <a:xfrm>
              <a:off x="5362699" y="41408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5" name="object 635">
              <a:extLst>
                <a:ext uri="{FF2B5EF4-FFF2-40B4-BE49-F238E27FC236}">
                  <a16:creationId xmlns:a16="http://schemas.microsoft.com/office/drawing/2014/main" id="{D6DDAAB5-1157-CE88-E319-E4BBE3F15801}"/>
                </a:ext>
              </a:extLst>
            </p:cNvPr>
            <p:cNvSpPr/>
            <p:nvPr/>
          </p:nvSpPr>
          <p:spPr>
            <a:xfrm>
              <a:off x="5187729" y="41408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6" name="object 636">
              <a:extLst>
                <a:ext uri="{FF2B5EF4-FFF2-40B4-BE49-F238E27FC236}">
                  <a16:creationId xmlns:a16="http://schemas.microsoft.com/office/drawing/2014/main" id="{8C0A38FF-A504-2DF9-D73E-3CA6C4AA9232}"/>
                </a:ext>
              </a:extLst>
            </p:cNvPr>
            <p:cNvSpPr/>
            <p:nvPr/>
          </p:nvSpPr>
          <p:spPr>
            <a:xfrm>
              <a:off x="5012759" y="41408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7" name="object 637">
              <a:extLst>
                <a:ext uri="{FF2B5EF4-FFF2-40B4-BE49-F238E27FC236}">
                  <a16:creationId xmlns:a16="http://schemas.microsoft.com/office/drawing/2014/main" id="{9E94AF58-7D6D-032B-F453-47768713C338}"/>
                </a:ext>
              </a:extLst>
            </p:cNvPr>
            <p:cNvSpPr/>
            <p:nvPr/>
          </p:nvSpPr>
          <p:spPr>
            <a:xfrm>
              <a:off x="5012759" y="416639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8" name="object 638">
              <a:extLst>
                <a:ext uri="{FF2B5EF4-FFF2-40B4-BE49-F238E27FC236}">
                  <a16:creationId xmlns:a16="http://schemas.microsoft.com/office/drawing/2014/main" id="{DE34EA4A-125D-9E98-5E0D-8CD34F20691E}"/>
                </a:ext>
              </a:extLst>
            </p:cNvPr>
            <p:cNvSpPr/>
            <p:nvPr/>
          </p:nvSpPr>
          <p:spPr>
            <a:xfrm>
              <a:off x="5012877" y="4140887"/>
              <a:ext cx="26646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9420"/>
                <a:gd name="f4" fmla="val 84454"/>
                <a:gd name="f5" fmla="val 438970"/>
                <a:gd name="f6" fmla="val 84123"/>
                <a:gd name="f7" fmla="*/ f0 1 439420"/>
                <a:gd name="f8" fmla="*/ f1 1 84454"/>
                <a:gd name="f9" fmla="+- f4 0 f2"/>
                <a:gd name="f10" fmla="+- f3 0 f2"/>
                <a:gd name="f11" fmla="*/ f10 1 4394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94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9" name="object 639">
              <a:extLst>
                <a:ext uri="{FF2B5EF4-FFF2-40B4-BE49-F238E27FC236}">
                  <a16:creationId xmlns:a16="http://schemas.microsoft.com/office/drawing/2014/main" id="{6E6F2360-47A7-D6A3-4EEA-1DBB563ABFBD}"/>
                </a:ext>
              </a:extLst>
            </p:cNvPr>
            <p:cNvSpPr/>
            <p:nvPr/>
          </p:nvSpPr>
          <p:spPr>
            <a:xfrm>
              <a:off x="5012877" y="4213180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4"/>
                <a:gd name="f5" fmla="val 291163"/>
                <a:gd name="f6" fmla="val 84123"/>
                <a:gd name="f7" fmla="*/ f0 1 291465"/>
                <a:gd name="f8" fmla="*/ f1 1 84454"/>
                <a:gd name="f9" fmla="+- f4 0 f2"/>
                <a:gd name="f10" fmla="+- f3 0 f2"/>
                <a:gd name="f11" fmla="*/ f10 1 2914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0" name="object 640">
              <a:extLst>
                <a:ext uri="{FF2B5EF4-FFF2-40B4-BE49-F238E27FC236}">
                  <a16:creationId xmlns:a16="http://schemas.microsoft.com/office/drawing/2014/main" id="{29C9AAC4-AF63-7A33-0656-C802A9514103}"/>
                </a:ext>
              </a:extLst>
            </p:cNvPr>
            <p:cNvSpPr/>
            <p:nvPr/>
          </p:nvSpPr>
          <p:spPr>
            <a:xfrm>
              <a:off x="5292309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1" name="object 641">
              <a:extLst>
                <a:ext uri="{FF2B5EF4-FFF2-40B4-BE49-F238E27FC236}">
                  <a16:creationId xmlns:a16="http://schemas.microsoft.com/office/drawing/2014/main" id="{FFA47C00-99AF-5996-5CD6-8A4EB76D3B1D}"/>
                </a:ext>
              </a:extLst>
            </p:cNvPr>
            <p:cNvSpPr/>
            <p:nvPr/>
          </p:nvSpPr>
          <p:spPr>
            <a:xfrm>
              <a:off x="5327330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2" name="object 642">
              <a:extLst>
                <a:ext uri="{FF2B5EF4-FFF2-40B4-BE49-F238E27FC236}">
                  <a16:creationId xmlns:a16="http://schemas.microsoft.com/office/drawing/2014/main" id="{AE3B65DF-8B9B-8B09-FC2B-2FBAF5DA479F}"/>
                </a:ext>
              </a:extLst>
            </p:cNvPr>
            <p:cNvSpPr/>
            <p:nvPr/>
          </p:nvSpPr>
          <p:spPr>
            <a:xfrm>
              <a:off x="5222266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3" name="object 643">
              <a:extLst>
                <a:ext uri="{FF2B5EF4-FFF2-40B4-BE49-F238E27FC236}">
                  <a16:creationId xmlns:a16="http://schemas.microsoft.com/office/drawing/2014/main" id="{06EB8472-1248-2426-DC6D-5A938FADC707}"/>
                </a:ext>
              </a:extLst>
            </p:cNvPr>
            <p:cNvSpPr/>
            <p:nvPr/>
          </p:nvSpPr>
          <p:spPr>
            <a:xfrm>
              <a:off x="5117201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4" name="object 644">
              <a:extLst>
                <a:ext uri="{FF2B5EF4-FFF2-40B4-BE49-F238E27FC236}">
                  <a16:creationId xmlns:a16="http://schemas.microsoft.com/office/drawing/2014/main" id="{1A08CC4B-A121-277F-E4DA-6299FA0EDAE9}"/>
                </a:ext>
              </a:extLst>
            </p:cNvPr>
            <p:cNvSpPr/>
            <p:nvPr/>
          </p:nvSpPr>
          <p:spPr>
            <a:xfrm>
              <a:off x="5152296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5" name="object 645">
              <a:extLst>
                <a:ext uri="{FF2B5EF4-FFF2-40B4-BE49-F238E27FC236}">
                  <a16:creationId xmlns:a16="http://schemas.microsoft.com/office/drawing/2014/main" id="{F46FDB2E-CBAE-46D4-1B6B-21EB837AC81D}"/>
                </a:ext>
              </a:extLst>
            </p:cNvPr>
            <p:cNvSpPr/>
            <p:nvPr/>
          </p:nvSpPr>
          <p:spPr>
            <a:xfrm>
              <a:off x="5047158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6" name="object 646">
              <a:extLst>
                <a:ext uri="{FF2B5EF4-FFF2-40B4-BE49-F238E27FC236}">
                  <a16:creationId xmlns:a16="http://schemas.microsoft.com/office/drawing/2014/main" id="{9D05EF23-CA2F-31DF-ED2D-E4A89564EF39}"/>
                </a:ext>
              </a:extLst>
            </p:cNvPr>
            <p:cNvSpPr/>
            <p:nvPr/>
          </p:nvSpPr>
          <p:spPr>
            <a:xfrm>
              <a:off x="5257287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7" name="object 647">
              <a:extLst>
                <a:ext uri="{FF2B5EF4-FFF2-40B4-BE49-F238E27FC236}">
                  <a16:creationId xmlns:a16="http://schemas.microsoft.com/office/drawing/2014/main" id="{4B31830E-6A48-FC48-07CF-2B963BFE64AC}"/>
                </a:ext>
              </a:extLst>
            </p:cNvPr>
            <p:cNvSpPr/>
            <p:nvPr/>
          </p:nvSpPr>
          <p:spPr>
            <a:xfrm>
              <a:off x="5082180" y="42259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8" name="object 648">
              <a:extLst>
                <a:ext uri="{FF2B5EF4-FFF2-40B4-BE49-F238E27FC236}">
                  <a16:creationId xmlns:a16="http://schemas.microsoft.com/office/drawing/2014/main" id="{B4A91A9A-64BA-3144-5FF6-4174B1D37AFB}"/>
                </a:ext>
              </a:extLst>
            </p:cNvPr>
            <p:cNvSpPr/>
            <p:nvPr/>
          </p:nvSpPr>
          <p:spPr>
            <a:xfrm>
              <a:off x="5362352" y="42131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9" name="object 649">
              <a:extLst>
                <a:ext uri="{FF2B5EF4-FFF2-40B4-BE49-F238E27FC236}">
                  <a16:creationId xmlns:a16="http://schemas.microsoft.com/office/drawing/2014/main" id="{BBE3FEF6-89B3-F5C8-BBD8-BE20580AA2D2}"/>
                </a:ext>
              </a:extLst>
            </p:cNvPr>
            <p:cNvSpPr/>
            <p:nvPr/>
          </p:nvSpPr>
          <p:spPr>
            <a:xfrm>
              <a:off x="5187382" y="42131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0" name="object 650">
              <a:extLst>
                <a:ext uri="{FF2B5EF4-FFF2-40B4-BE49-F238E27FC236}">
                  <a16:creationId xmlns:a16="http://schemas.microsoft.com/office/drawing/2014/main" id="{041130E0-3468-938F-233D-CF56E9D847B7}"/>
                </a:ext>
              </a:extLst>
            </p:cNvPr>
            <p:cNvSpPr/>
            <p:nvPr/>
          </p:nvSpPr>
          <p:spPr>
            <a:xfrm>
              <a:off x="5012411" y="42131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1" name="object 651">
              <a:extLst>
                <a:ext uri="{FF2B5EF4-FFF2-40B4-BE49-F238E27FC236}">
                  <a16:creationId xmlns:a16="http://schemas.microsoft.com/office/drawing/2014/main" id="{A03569B6-A026-2837-4BB0-71ECB5529846}"/>
                </a:ext>
              </a:extLst>
            </p:cNvPr>
            <p:cNvSpPr/>
            <p:nvPr/>
          </p:nvSpPr>
          <p:spPr>
            <a:xfrm>
              <a:off x="5187382" y="42131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2" name="object 652">
              <a:extLst>
                <a:ext uri="{FF2B5EF4-FFF2-40B4-BE49-F238E27FC236}">
                  <a16:creationId xmlns:a16="http://schemas.microsoft.com/office/drawing/2014/main" id="{EFBB9ED0-E138-913E-F48E-E684E244D3BE}"/>
                </a:ext>
              </a:extLst>
            </p:cNvPr>
            <p:cNvSpPr/>
            <p:nvPr/>
          </p:nvSpPr>
          <p:spPr>
            <a:xfrm>
              <a:off x="5012411" y="423869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53" name="object 653">
            <a:extLst>
              <a:ext uri="{FF2B5EF4-FFF2-40B4-BE49-F238E27FC236}">
                <a16:creationId xmlns:a16="http://schemas.microsoft.com/office/drawing/2014/main" id="{D6FF1D1C-5C19-767D-175B-68F4DDADDE3F}"/>
              </a:ext>
            </a:extLst>
          </p:cNvPr>
          <p:cNvGrpSpPr/>
          <p:nvPr/>
        </p:nvGrpSpPr>
        <p:grpSpPr>
          <a:xfrm>
            <a:off x="5012411" y="4901421"/>
            <a:ext cx="350371" cy="123508"/>
            <a:chOff x="5012411" y="4901421"/>
            <a:chExt cx="350371" cy="123508"/>
          </a:xfrm>
        </p:grpSpPr>
        <p:sp>
          <p:nvSpPr>
            <p:cNvPr id="654" name="object 654">
              <a:extLst>
                <a:ext uri="{FF2B5EF4-FFF2-40B4-BE49-F238E27FC236}">
                  <a16:creationId xmlns:a16="http://schemas.microsoft.com/office/drawing/2014/main" id="{45029247-8023-7610-8C10-E0F8D9B00355}"/>
                </a:ext>
              </a:extLst>
            </p:cNvPr>
            <p:cNvSpPr/>
            <p:nvPr/>
          </p:nvSpPr>
          <p:spPr>
            <a:xfrm>
              <a:off x="5292656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5" name="object 655">
              <a:extLst>
                <a:ext uri="{FF2B5EF4-FFF2-40B4-BE49-F238E27FC236}">
                  <a16:creationId xmlns:a16="http://schemas.microsoft.com/office/drawing/2014/main" id="{FD5F7500-B6B2-6AFA-194F-974D45F217BE}"/>
                </a:ext>
              </a:extLst>
            </p:cNvPr>
            <p:cNvSpPr/>
            <p:nvPr/>
          </p:nvSpPr>
          <p:spPr>
            <a:xfrm>
              <a:off x="5327678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6" name="object 656">
              <a:extLst>
                <a:ext uri="{FF2B5EF4-FFF2-40B4-BE49-F238E27FC236}">
                  <a16:creationId xmlns:a16="http://schemas.microsoft.com/office/drawing/2014/main" id="{F7E2DD9A-DB88-460A-7765-93D8C711ED35}"/>
                </a:ext>
              </a:extLst>
            </p:cNvPr>
            <p:cNvSpPr/>
            <p:nvPr/>
          </p:nvSpPr>
          <p:spPr>
            <a:xfrm>
              <a:off x="5222613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7" name="object 657">
              <a:extLst>
                <a:ext uri="{FF2B5EF4-FFF2-40B4-BE49-F238E27FC236}">
                  <a16:creationId xmlns:a16="http://schemas.microsoft.com/office/drawing/2014/main" id="{BD8E22C4-E2A4-E8E0-EE6C-3F68E77FF406}"/>
                </a:ext>
              </a:extLst>
            </p:cNvPr>
            <p:cNvSpPr/>
            <p:nvPr/>
          </p:nvSpPr>
          <p:spPr>
            <a:xfrm>
              <a:off x="5117549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8" name="object 658">
              <a:extLst>
                <a:ext uri="{FF2B5EF4-FFF2-40B4-BE49-F238E27FC236}">
                  <a16:creationId xmlns:a16="http://schemas.microsoft.com/office/drawing/2014/main" id="{15F94B93-1911-BE27-7667-7CAC1BD8D9A3}"/>
                </a:ext>
              </a:extLst>
            </p:cNvPr>
            <p:cNvSpPr/>
            <p:nvPr/>
          </p:nvSpPr>
          <p:spPr>
            <a:xfrm>
              <a:off x="5152634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9" name="object 659">
              <a:extLst>
                <a:ext uri="{FF2B5EF4-FFF2-40B4-BE49-F238E27FC236}">
                  <a16:creationId xmlns:a16="http://schemas.microsoft.com/office/drawing/2014/main" id="{7197D1CE-93DC-C349-B458-B39DB4365F10}"/>
                </a:ext>
              </a:extLst>
            </p:cNvPr>
            <p:cNvSpPr/>
            <p:nvPr/>
          </p:nvSpPr>
          <p:spPr>
            <a:xfrm>
              <a:off x="5047506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0" name="object 660">
              <a:extLst>
                <a:ext uri="{FF2B5EF4-FFF2-40B4-BE49-F238E27FC236}">
                  <a16:creationId xmlns:a16="http://schemas.microsoft.com/office/drawing/2014/main" id="{95C853FE-606B-C825-50BA-B10E1674517D}"/>
                </a:ext>
              </a:extLst>
            </p:cNvPr>
            <p:cNvSpPr/>
            <p:nvPr/>
          </p:nvSpPr>
          <p:spPr>
            <a:xfrm>
              <a:off x="5257635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1" name="object 661">
              <a:extLst>
                <a:ext uri="{FF2B5EF4-FFF2-40B4-BE49-F238E27FC236}">
                  <a16:creationId xmlns:a16="http://schemas.microsoft.com/office/drawing/2014/main" id="{AE8E1205-29A7-A62E-383E-A9C059372348}"/>
                </a:ext>
              </a:extLst>
            </p:cNvPr>
            <p:cNvSpPr/>
            <p:nvPr/>
          </p:nvSpPr>
          <p:spPr>
            <a:xfrm>
              <a:off x="5082527" y="49141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2" name="object 662">
              <a:extLst>
                <a:ext uri="{FF2B5EF4-FFF2-40B4-BE49-F238E27FC236}">
                  <a16:creationId xmlns:a16="http://schemas.microsoft.com/office/drawing/2014/main" id="{1ABE2EC6-FCAF-DB86-4CFA-7BB6A93F2260}"/>
                </a:ext>
              </a:extLst>
            </p:cNvPr>
            <p:cNvSpPr/>
            <p:nvPr/>
          </p:nvSpPr>
          <p:spPr>
            <a:xfrm>
              <a:off x="5362699" y="49014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3" name="object 663">
              <a:extLst>
                <a:ext uri="{FF2B5EF4-FFF2-40B4-BE49-F238E27FC236}">
                  <a16:creationId xmlns:a16="http://schemas.microsoft.com/office/drawing/2014/main" id="{6F503FE0-6088-7A61-DC1B-649CBC3530A4}"/>
                </a:ext>
              </a:extLst>
            </p:cNvPr>
            <p:cNvSpPr/>
            <p:nvPr/>
          </p:nvSpPr>
          <p:spPr>
            <a:xfrm>
              <a:off x="5187729" y="49014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4" name="object 664">
              <a:extLst>
                <a:ext uri="{FF2B5EF4-FFF2-40B4-BE49-F238E27FC236}">
                  <a16:creationId xmlns:a16="http://schemas.microsoft.com/office/drawing/2014/main" id="{77C37DEB-20DF-2CB5-C194-092C4BD0EC1C}"/>
                </a:ext>
              </a:extLst>
            </p:cNvPr>
            <p:cNvSpPr/>
            <p:nvPr/>
          </p:nvSpPr>
          <p:spPr>
            <a:xfrm>
              <a:off x="5012759" y="49014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5" name="object 665">
              <a:extLst>
                <a:ext uri="{FF2B5EF4-FFF2-40B4-BE49-F238E27FC236}">
                  <a16:creationId xmlns:a16="http://schemas.microsoft.com/office/drawing/2014/main" id="{59A96BB5-881A-13DC-D92D-9A181E68E757}"/>
                </a:ext>
              </a:extLst>
            </p:cNvPr>
            <p:cNvSpPr/>
            <p:nvPr/>
          </p:nvSpPr>
          <p:spPr>
            <a:xfrm>
              <a:off x="5012759" y="492693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6" name="object 666">
              <a:extLst>
                <a:ext uri="{FF2B5EF4-FFF2-40B4-BE49-F238E27FC236}">
                  <a16:creationId xmlns:a16="http://schemas.microsoft.com/office/drawing/2014/main" id="{838E0533-2C0D-5AB9-C890-0F65ED72DF1C}"/>
                </a:ext>
              </a:extLst>
            </p:cNvPr>
            <p:cNvSpPr/>
            <p:nvPr/>
          </p:nvSpPr>
          <p:spPr>
            <a:xfrm>
              <a:off x="5012877" y="4901421"/>
              <a:ext cx="978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1290"/>
                <a:gd name="f4" fmla="val 84454"/>
                <a:gd name="f5" fmla="val 161220"/>
                <a:gd name="f6" fmla="val 84123"/>
                <a:gd name="f7" fmla="*/ f0 1 161290"/>
                <a:gd name="f8" fmla="*/ f1 1 84454"/>
                <a:gd name="f9" fmla="+- f4 0 f2"/>
                <a:gd name="f10" fmla="+- f3 0 f2"/>
                <a:gd name="f11" fmla="*/ f10 1 161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1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7" name="object 667">
              <a:extLst>
                <a:ext uri="{FF2B5EF4-FFF2-40B4-BE49-F238E27FC236}">
                  <a16:creationId xmlns:a16="http://schemas.microsoft.com/office/drawing/2014/main" id="{7D76D9FD-2739-4D19-8A8A-1F94F5A58AC7}"/>
                </a:ext>
              </a:extLst>
            </p:cNvPr>
            <p:cNvSpPr/>
            <p:nvPr/>
          </p:nvSpPr>
          <p:spPr>
            <a:xfrm>
              <a:off x="5362352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8" name="object 668">
              <a:extLst>
                <a:ext uri="{FF2B5EF4-FFF2-40B4-BE49-F238E27FC236}">
                  <a16:creationId xmlns:a16="http://schemas.microsoft.com/office/drawing/2014/main" id="{33CE0FAD-54C8-F27B-5ED3-7F4391E5CEB2}"/>
                </a:ext>
              </a:extLst>
            </p:cNvPr>
            <p:cNvSpPr/>
            <p:nvPr/>
          </p:nvSpPr>
          <p:spPr>
            <a:xfrm>
              <a:off x="5187382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9" name="object 669">
              <a:extLst>
                <a:ext uri="{FF2B5EF4-FFF2-40B4-BE49-F238E27FC236}">
                  <a16:creationId xmlns:a16="http://schemas.microsoft.com/office/drawing/2014/main" id="{B383A80A-D2FC-4074-E2E1-4C385CB3C639}"/>
                </a:ext>
              </a:extLst>
            </p:cNvPr>
            <p:cNvSpPr/>
            <p:nvPr/>
          </p:nvSpPr>
          <p:spPr>
            <a:xfrm>
              <a:off x="5012411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0" name="object 670">
              <a:extLst>
                <a:ext uri="{FF2B5EF4-FFF2-40B4-BE49-F238E27FC236}">
                  <a16:creationId xmlns:a16="http://schemas.microsoft.com/office/drawing/2014/main" id="{EBB479C8-AD02-F496-1368-583C8C14E5A3}"/>
                </a:ext>
              </a:extLst>
            </p:cNvPr>
            <p:cNvSpPr/>
            <p:nvPr/>
          </p:nvSpPr>
          <p:spPr>
            <a:xfrm>
              <a:off x="5187382" y="49737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1" name="object 671">
              <a:extLst>
                <a:ext uri="{FF2B5EF4-FFF2-40B4-BE49-F238E27FC236}">
                  <a16:creationId xmlns:a16="http://schemas.microsoft.com/office/drawing/2014/main" id="{A2E030C1-4B32-51BE-CE84-8C5B820573AB}"/>
                </a:ext>
              </a:extLst>
            </p:cNvPr>
            <p:cNvSpPr/>
            <p:nvPr/>
          </p:nvSpPr>
          <p:spPr>
            <a:xfrm>
              <a:off x="5292309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2" name="object 672">
              <a:extLst>
                <a:ext uri="{FF2B5EF4-FFF2-40B4-BE49-F238E27FC236}">
                  <a16:creationId xmlns:a16="http://schemas.microsoft.com/office/drawing/2014/main" id="{60E76F61-AECC-E830-4306-B145E8C4C583}"/>
                </a:ext>
              </a:extLst>
            </p:cNvPr>
            <p:cNvSpPr/>
            <p:nvPr/>
          </p:nvSpPr>
          <p:spPr>
            <a:xfrm>
              <a:off x="5327330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3" name="object 673">
              <a:extLst>
                <a:ext uri="{FF2B5EF4-FFF2-40B4-BE49-F238E27FC236}">
                  <a16:creationId xmlns:a16="http://schemas.microsoft.com/office/drawing/2014/main" id="{463AA5DD-6426-E345-B2D3-C53B14F2C79B}"/>
                </a:ext>
              </a:extLst>
            </p:cNvPr>
            <p:cNvSpPr/>
            <p:nvPr/>
          </p:nvSpPr>
          <p:spPr>
            <a:xfrm>
              <a:off x="5222266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4" name="object 674">
              <a:extLst>
                <a:ext uri="{FF2B5EF4-FFF2-40B4-BE49-F238E27FC236}">
                  <a16:creationId xmlns:a16="http://schemas.microsoft.com/office/drawing/2014/main" id="{9F16EC01-F13C-3864-8CAB-6A5357635A89}"/>
                </a:ext>
              </a:extLst>
            </p:cNvPr>
            <p:cNvSpPr/>
            <p:nvPr/>
          </p:nvSpPr>
          <p:spPr>
            <a:xfrm>
              <a:off x="5117201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5" name="object 675">
              <a:extLst>
                <a:ext uri="{FF2B5EF4-FFF2-40B4-BE49-F238E27FC236}">
                  <a16:creationId xmlns:a16="http://schemas.microsoft.com/office/drawing/2014/main" id="{62C48969-7831-318B-85A2-EF04280E5975}"/>
                </a:ext>
              </a:extLst>
            </p:cNvPr>
            <p:cNvSpPr/>
            <p:nvPr/>
          </p:nvSpPr>
          <p:spPr>
            <a:xfrm>
              <a:off x="5152296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6" name="object 676">
              <a:extLst>
                <a:ext uri="{FF2B5EF4-FFF2-40B4-BE49-F238E27FC236}">
                  <a16:creationId xmlns:a16="http://schemas.microsoft.com/office/drawing/2014/main" id="{29C4C230-CEE9-DE5F-115F-FC297B014788}"/>
                </a:ext>
              </a:extLst>
            </p:cNvPr>
            <p:cNvSpPr/>
            <p:nvPr/>
          </p:nvSpPr>
          <p:spPr>
            <a:xfrm>
              <a:off x="5047158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7" name="object 677">
              <a:extLst>
                <a:ext uri="{FF2B5EF4-FFF2-40B4-BE49-F238E27FC236}">
                  <a16:creationId xmlns:a16="http://schemas.microsoft.com/office/drawing/2014/main" id="{890A77ED-CAA9-3086-3EC6-38446166D7F3}"/>
                </a:ext>
              </a:extLst>
            </p:cNvPr>
            <p:cNvSpPr/>
            <p:nvPr/>
          </p:nvSpPr>
          <p:spPr>
            <a:xfrm>
              <a:off x="5257287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8" name="object 678">
              <a:extLst>
                <a:ext uri="{FF2B5EF4-FFF2-40B4-BE49-F238E27FC236}">
                  <a16:creationId xmlns:a16="http://schemas.microsoft.com/office/drawing/2014/main" id="{07538E9B-29C6-FDA5-746E-CC977AF83D6B}"/>
                </a:ext>
              </a:extLst>
            </p:cNvPr>
            <p:cNvSpPr/>
            <p:nvPr/>
          </p:nvSpPr>
          <p:spPr>
            <a:xfrm>
              <a:off x="5082180" y="49864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9" name="object 679">
              <a:extLst>
                <a:ext uri="{FF2B5EF4-FFF2-40B4-BE49-F238E27FC236}">
                  <a16:creationId xmlns:a16="http://schemas.microsoft.com/office/drawing/2014/main" id="{BAD431C8-B212-9B5A-7040-C5865133DA1A}"/>
                </a:ext>
              </a:extLst>
            </p:cNvPr>
            <p:cNvSpPr/>
            <p:nvPr/>
          </p:nvSpPr>
          <p:spPr>
            <a:xfrm>
              <a:off x="5012411" y="499922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80" name="object 680">
            <a:extLst>
              <a:ext uri="{FF2B5EF4-FFF2-40B4-BE49-F238E27FC236}">
                <a16:creationId xmlns:a16="http://schemas.microsoft.com/office/drawing/2014/main" id="{691C00DE-0873-6DA9-8DCA-F93BBDED2378}"/>
              </a:ext>
            </a:extLst>
          </p:cNvPr>
          <p:cNvGrpSpPr/>
          <p:nvPr/>
        </p:nvGrpSpPr>
        <p:grpSpPr>
          <a:xfrm>
            <a:off x="5012411" y="5663610"/>
            <a:ext cx="350371" cy="123517"/>
            <a:chOff x="5012411" y="5663610"/>
            <a:chExt cx="350371" cy="123517"/>
          </a:xfrm>
        </p:grpSpPr>
        <p:sp>
          <p:nvSpPr>
            <p:cNvPr id="681" name="object 681">
              <a:extLst>
                <a:ext uri="{FF2B5EF4-FFF2-40B4-BE49-F238E27FC236}">
                  <a16:creationId xmlns:a16="http://schemas.microsoft.com/office/drawing/2014/main" id="{34E3A221-4B6D-7F53-B16F-8B0B0BED14AA}"/>
                </a:ext>
              </a:extLst>
            </p:cNvPr>
            <p:cNvSpPr/>
            <p:nvPr/>
          </p:nvSpPr>
          <p:spPr>
            <a:xfrm>
              <a:off x="5292656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2" name="object 682">
              <a:extLst>
                <a:ext uri="{FF2B5EF4-FFF2-40B4-BE49-F238E27FC236}">
                  <a16:creationId xmlns:a16="http://schemas.microsoft.com/office/drawing/2014/main" id="{55B6DFEA-1368-FFFB-AA24-99DB18946D3D}"/>
                </a:ext>
              </a:extLst>
            </p:cNvPr>
            <p:cNvSpPr/>
            <p:nvPr/>
          </p:nvSpPr>
          <p:spPr>
            <a:xfrm>
              <a:off x="5327678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3" name="object 683">
              <a:extLst>
                <a:ext uri="{FF2B5EF4-FFF2-40B4-BE49-F238E27FC236}">
                  <a16:creationId xmlns:a16="http://schemas.microsoft.com/office/drawing/2014/main" id="{F0D72BFC-8ED5-693D-0906-2594FDA784B3}"/>
                </a:ext>
              </a:extLst>
            </p:cNvPr>
            <p:cNvSpPr/>
            <p:nvPr/>
          </p:nvSpPr>
          <p:spPr>
            <a:xfrm>
              <a:off x="5222613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4" name="object 684">
              <a:extLst>
                <a:ext uri="{FF2B5EF4-FFF2-40B4-BE49-F238E27FC236}">
                  <a16:creationId xmlns:a16="http://schemas.microsoft.com/office/drawing/2014/main" id="{B771A7E0-42A5-3F51-038F-89ECAE373FFB}"/>
                </a:ext>
              </a:extLst>
            </p:cNvPr>
            <p:cNvSpPr/>
            <p:nvPr/>
          </p:nvSpPr>
          <p:spPr>
            <a:xfrm>
              <a:off x="5117549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5" name="object 685">
              <a:extLst>
                <a:ext uri="{FF2B5EF4-FFF2-40B4-BE49-F238E27FC236}">
                  <a16:creationId xmlns:a16="http://schemas.microsoft.com/office/drawing/2014/main" id="{043CF403-4013-C64A-6AD7-96B3B5DF8682}"/>
                </a:ext>
              </a:extLst>
            </p:cNvPr>
            <p:cNvSpPr/>
            <p:nvPr/>
          </p:nvSpPr>
          <p:spPr>
            <a:xfrm>
              <a:off x="5152634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6" name="object 686">
              <a:extLst>
                <a:ext uri="{FF2B5EF4-FFF2-40B4-BE49-F238E27FC236}">
                  <a16:creationId xmlns:a16="http://schemas.microsoft.com/office/drawing/2014/main" id="{FEBC4F54-32E8-183A-4D6E-7865BD69C7F0}"/>
                </a:ext>
              </a:extLst>
            </p:cNvPr>
            <p:cNvSpPr/>
            <p:nvPr/>
          </p:nvSpPr>
          <p:spPr>
            <a:xfrm>
              <a:off x="5047506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7" name="object 687">
              <a:extLst>
                <a:ext uri="{FF2B5EF4-FFF2-40B4-BE49-F238E27FC236}">
                  <a16:creationId xmlns:a16="http://schemas.microsoft.com/office/drawing/2014/main" id="{D2BB085F-BDA5-43C2-2B3F-93793BF511DF}"/>
                </a:ext>
              </a:extLst>
            </p:cNvPr>
            <p:cNvSpPr/>
            <p:nvPr/>
          </p:nvSpPr>
          <p:spPr>
            <a:xfrm>
              <a:off x="5257635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8" name="object 688">
              <a:extLst>
                <a:ext uri="{FF2B5EF4-FFF2-40B4-BE49-F238E27FC236}">
                  <a16:creationId xmlns:a16="http://schemas.microsoft.com/office/drawing/2014/main" id="{1B23CA51-8B3A-C648-455C-855BFA35CCAB}"/>
                </a:ext>
              </a:extLst>
            </p:cNvPr>
            <p:cNvSpPr/>
            <p:nvPr/>
          </p:nvSpPr>
          <p:spPr>
            <a:xfrm>
              <a:off x="5082527" y="56763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9" name="object 689">
              <a:extLst>
                <a:ext uri="{FF2B5EF4-FFF2-40B4-BE49-F238E27FC236}">
                  <a16:creationId xmlns:a16="http://schemas.microsoft.com/office/drawing/2014/main" id="{CF71CA15-D99C-E1C5-BAC3-A38C2031D0B5}"/>
                </a:ext>
              </a:extLst>
            </p:cNvPr>
            <p:cNvSpPr/>
            <p:nvPr/>
          </p:nvSpPr>
          <p:spPr>
            <a:xfrm>
              <a:off x="5362699" y="56636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0" name="object 690">
              <a:extLst>
                <a:ext uri="{FF2B5EF4-FFF2-40B4-BE49-F238E27FC236}">
                  <a16:creationId xmlns:a16="http://schemas.microsoft.com/office/drawing/2014/main" id="{5772401D-A0CB-7AA6-8A97-A07F8774A74C}"/>
                </a:ext>
              </a:extLst>
            </p:cNvPr>
            <p:cNvSpPr/>
            <p:nvPr/>
          </p:nvSpPr>
          <p:spPr>
            <a:xfrm>
              <a:off x="5187729" y="56636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1" name="object 691">
              <a:extLst>
                <a:ext uri="{FF2B5EF4-FFF2-40B4-BE49-F238E27FC236}">
                  <a16:creationId xmlns:a16="http://schemas.microsoft.com/office/drawing/2014/main" id="{FDEE4C3D-6162-5EB3-E277-6E90C39E43FB}"/>
                </a:ext>
              </a:extLst>
            </p:cNvPr>
            <p:cNvSpPr/>
            <p:nvPr/>
          </p:nvSpPr>
          <p:spPr>
            <a:xfrm>
              <a:off x="5012759" y="56636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2" name="object 692">
              <a:extLst>
                <a:ext uri="{FF2B5EF4-FFF2-40B4-BE49-F238E27FC236}">
                  <a16:creationId xmlns:a16="http://schemas.microsoft.com/office/drawing/2014/main" id="{F2165F32-BB59-D50B-8C84-50E40342BC6E}"/>
                </a:ext>
              </a:extLst>
            </p:cNvPr>
            <p:cNvSpPr/>
            <p:nvPr/>
          </p:nvSpPr>
          <p:spPr>
            <a:xfrm>
              <a:off x="5012759" y="568912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3" name="object 693">
              <a:extLst>
                <a:ext uri="{FF2B5EF4-FFF2-40B4-BE49-F238E27FC236}">
                  <a16:creationId xmlns:a16="http://schemas.microsoft.com/office/drawing/2014/main" id="{098C0480-E1F3-EAC9-D5A4-BAB4F98E9D2D}"/>
                </a:ext>
              </a:extLst>
            </p:cNvPr>
            <p:cNvSpPr/>
            <p:nvPr/>
          </p:nvSpPr>
          <p:spPr>
            <a:xfrm>
              <a:off x="5012877" y="5663610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4"/>
                <a:gd name="f5" fmla="val 241751"/>
                <a:gd name="f6" fmla="val 84133"/>
                <a:gd name="f7" fmla="*/ f0 1 241934"/>
                <a:gd name="f8" fmla="*/ f1 1 84454"/>
                <a:gd name="f9" fmla="+- f4 0 f2"/>
                <a:gd name="f10" fmla="+- f3 0 f2"/>
                <a:gd name="f11" fmla="*/ f10 1 2419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4" name="object 694">
              <a:extLst>
                <a:ext uri="{FF2B5EF4-FFF2-40B4-BE49-F238E27FC236}">
                  <a16:creationId xmlns:a16="http://schemas.microsoft.com/office/drawing/2014/main" id="{C3C0C415-9F0D-09A4-78CA-16A4D7FC0713}"/>
                </a:ext>
              </a:extLst>
            </p:cNvPr>
            <p:cNvSpPr/>
            <p:nvPr/>
          </p:nvSpPr>
          <p:spPr>
            <a:xfrm>
              <a:off x="5362352" y="573591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5" name="object 695">
              <a:extLst>
                <a:ext uri="{FF2B5EF4-FFF2-40B4-BE49-F238E27FC236}">
                  <a16:creationId xmlns:a16="http://schemas.microsoft.com/office/drawing/2014/main" id="{308742D1-FB65-3F26-BCB4-1A236A7B2416}"/>
                </a:ext>
              </a:extLst>
            </p:cNvPr>
            <p:cNvSpPr/>
            <p:nvPr/>
          </p:nvSpPr>
          <p:spPr>
            <a:xfrm>
              <a:off x="5187382" y="573591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6" name="object 696">
              <a:extLst>
                <a:ext uri="{FF2B5EF4-FFF2-40B4-BE49-F238E27FC236}">
                  <a16:creationId xmlns:a16="http://schemas.microsoft.com/office/drawing/2014/main" id="{E39AB3EA-8246-FEC5-B60C-1B8FD45DE58A}"/>
                </a:ext>
              </a:extLst>
            </p:cNvPr>
            <p:cNvSpPr/>
            <p:nvPr/>
          </p:nvSpPr>
          <p:spPr>
            <a:xfrm>
              <a:off x="5012411" y="573591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7" name="object 697">
              <a:extLst>
                <a:ext uri="{FF2B5EF4-FFF2-40B4-BE49-F238E27FC236}">
                  <a16:creationId xmlns:a16="http://schemas.microsoft.com/office/drawing/2014/main" id="{FA05C214-7957-E6CB-A165-956F5C9E285F}"/>
                </a:ext>
              </a:extLst>
            </p:cNvPr>
            <p:cNvSpPr/>
            <p:nvPr/>
          </p:nvSpPr>
          <p:spPr>
            <a:xfrm>
              <a:off x="5187382" y="573591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8" name="object 698">
              <a:extLst>
                <a:ext uri="{FF2B5EF4-FFF2-40B4-BE49-F238E27FC236}">
                  <a16:creationId xmlns:a16="http://schemas.microsoft.com/office/drawing/2014/main" id="{79F99ACE-AEF1-64D1-7A25-D5304CCEC7AD}"/>
                </a:ext>
              </a:extLst>
            </p:cNvPr>
            <p:cNvSpPr/>
            <p:nvPr/>
          </p:nvSpPr>
          <p:spPr>
            <a:xfrm>
              <a:off x="5292309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9" name="object 699">
              <a:extLst>
                <a:ext uri="{FF2B5EF4-FFF2-40B4-BE49-F238E27FC236}">
                  <a16:creationId xmlns:a16="http://schemas.microsoft.com/office/drawing/2014/main" id="{36FD9C80-226D-4726-831A-DE379DF944A1}"/>
                </a:ext>
              </a:extLst>
            </p:cNvPr>
            <p:cNvSpPr/>
            <p:nvPr/>
          </p:nvSpPr>
          <p:spPr>
            <a:xfrm>
              <a:off x="5327330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0" name="object 700">
              <a:extLst>
                <a:ext uri="{FF2B5EF4-FFF2-40B4-BE49-F238E27FC236}">
                  <a16:creationId xmlns:a16="http://schemas.microsoft.com/office/drawing/2014/main" id="{032B7063-E253-E2F5-E002-D80D19E38400}"/>
                </a:ext>
              </a:extLst>
            </p:cNvPr>
            <p:cNvSpPr/>
            <p:nvPr/>
          </p:nvSpPr>
          <p:spPr>
            <a:xfrm>
              <a:off x="5222266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1" name="object 701">
              <a:extLst>
                <a:ext uri="{FF2B5EF4-FFF2-40B4-BE49-F238E27FC236}">
                  <a16:creationId xmlns:a16="http://schemas.microsoft.com/office/drawing/2014/main" id="{9304FC23-C546-FEB4-60AD-07096467495F}"/>
                </a:ext>
              </a:extLst>
            </p:cNvPr>
            <p:cNvSpPr/>
            <p:nvPr/>
          </p:nvSpPr>
          <p:spPr>
            <a:xfrm>
              <a:off x="5117201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2" name="object 702">
              <a:extLst>
                <a:ext uri="{FF2B5EF4-FFF2-40B4-BE49-F238E27FC236}">
                  <a16:creationId xmlns:a16="http://schemas.microsoft.com/office/drawing/2014/main" id="{AEB726F3-D02F-BDC7-76E5-A3437EC9B0C4}"/>
                </a:ext>
              </a:extLst>
            </p:cNvPr>
            <p:cNvSpPr/>
            <p:nvPr/>
          </p:nvSpPr>
          <p:spPr>
            <a:xfrm>
              <a:off x="5152296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3" name="object 703">
              <a:extLst>
                <a:ext uri="{FF2B5EF4-FFF2-40B4-BE49-F238E27FC236}">
                  <a16:creationId xmlns:a16="http://schemas.microsoft.com/office/drawing/2014/main" id="{69E2641C-D145-B53A-E561-CA4DF29D136A}"/>
                </a:ext>
              </a:extLst>
            </p:cNvPr>
            <p:cNvSpPr/>
            <p:nvPr/>
          </p:nvSpPr>
          <p:spPr>
            <a:xfrm>
              <a:off x="5047158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4" name="object 704">
              <a:extLst>
                <a:ext uri="{FF2B5EF4-FFF2-40B4-BE49-F238E27FC236}">
                  <a16:creationId xmlns:a16="http://schemas.microsoft.com/office/drawing/2014/main" id="{5132BD6E-112A-79BE-82C4-3695C1903B85}"/>
                </a:ext>
              </a:extLst>
            </p:cNvPr>
            <p:cNvSpPr/>
            <p:nvPr/>
          </p:nvSpPr>
          <p:spPr>
            <a:xfrm>
              <a:off x="5257287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5" name="object 705">
              <a:extLst>
                <a:ext uri="{FF2B5EF4-FFF2-40B4-BE49-F238E27FC236}">
                  <a16:creationId xmlns:a16="http://schemas.microsoft.com/office/drawing/2014/main" id="{F0894785-802F-8A67-4BC2-B5900109ECE0}"/>
                </a:ext>
              </a:extLst>
            </p:cNvPr>
            <p:cNvSpPr/>
            <p:nvPr/>
          </p:nvSpPr>
          <p:spPr>
            <a:xfrm>
              <a:off x="5082180" y="57486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6" name="object 706">
              <a:extLst>
                <a:ext uri="{FF2B5EF4-FFF2-40B4-BE49-F238E27FC236}">
                  <a16:creationId xmlns:a16="http://schemas.microsoft.com/office/drawing/2014/main" id="{DF0B4EB3-69AC-B740-51A3-76B609291523}"/>
                </a:ext>
              </a:extLst>
            </p:cNvPr>
            <p:cNvSpPr/>
            <p:nvPr/>
          </p:nvSpPr>
          <p:spPr>
            <a:xfrm>
              <a:off x="5012411" y="576142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07" name="object 707">
            <a:extLst>
              <a:ext uri="{FF2B5EF4-FFF2-40B4-BE49-F238E27FC236}">
                <a16:creationId xmlns:a16="http://schemas.microsoft.com/office/drawing/2014/main" id="{474D886B-0E72-632A-8571-0BFA3A9E5850}"/>
              </a:ext>
            </a:extLst>
          </p:cNvPr>
          <p:cNvGrpSpPr/>
          <p:nvPr/>
        </p:nvGrpSpPr>
        <p:grpSpPr>
          <a:xfrm>
            <a:off x="5012411" y="6427683"/>
            <a:ext cx="350371" cy="123507"/>
            <a:chOff x="5012411" y="6427683"/>
            <a:chExt cx="350371" cy="123507"/>
          </a:xfrm>
        </p:grpSpPr>
        <p:sp>
          <p:nvSpPr>
            <p:cNvPr id="708" name="object 708">
              <a:extLst>
                <a:ext uri="{FF2B5EF4-FFF2-40B4-BE49-F238E27FC236}">
                  <a16:creationId xmlns:a16="http://schemas.microsoft.com/office/drawing/2014/main" id="{73FBFBDB-6AAD-EDFB-68CB-2E0DCC3A2FD6}"/>
                </a:ext>
              </a:extLst>
            </p:cNvPr>
            <p:cNvSpPr/>
            <p:nvPr/>
          </p:nvSpPr>
          <p:spPr>
            <a:xfrm>
              <a:off x="5292656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9" name="object 709">
              <a:extLst>
                <a:ext uri="{FF2B5EF4-FFF2-40B4-BE49-F238E27FC236}">
                  <a16:creationId xmlns:a16="http://schemas.microsoft.com/office/drawing/2014/main" id="{BBF61C1B-0A59-6549-8CDE-DD0D1176AB0D}"/>
                </a:ext>
              </a:extLst>
            </p:cNvPr>
            <p:cNvSpPr/>
            <p:nvPr/>
          </p:nvSpPr>
          <p:spPr>
            <a:xfrm>
              <a:off x="5327678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0" name="object 710">
              <a:extLst>
                <a:ext uri="{FF2B5EF4-FFF2-40B4-BE49-F238E27FC236}">
                  <a16:creationId xmlns:a16="http://schemas.microsoft.com/office/drawing/2014/main" id="{7C20C1E9-4FE9-AC12-3824-2AA07642C24D}"/>
                </a:ext>
              </a:extLst>
            </p:cNvPr>
            <p:cNvSpPr/>
            <p:nvPr/>
          </p:nvSpPr>
          <p:spPr>
            <a:xfrm>
              <a:off x="5222613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1" name="object 711">
              <a:extLst>
                <a:ext uri="{FF2B5EF4-FFF2-40B4-BE49-F238E27FC236}">
                  <a16:creationId xmlns:a16="http://schemas.microsoft.com/office/drawing/2014/main" id="{ACB4E111-178A-1E79-48A6-1C14A9FD54DA}"/>
                </a:ext>
              </a:extLst>
            </p:cNvPr>
            <p:cNvSpPr/>
            <p:nvPr/>
          </p:nvSpPr>
          <p:spPr>
            <a:xfrm>
              <a:off x="5117549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2" name="object 712">
              <a:extLst>
                <a:ext uri="{FF2B5EF4-FFF2-40B4-BE49-F238E27FC236}">
                  <a16:creationId xmlns:a16="http://schemas.microsoft.com/office/drawing/2014/main" id="{3B17439D-35A0-A2A8-8DC4-DE4FA37F5B3F}"/>
                </a:ext>
              </a:extLst>
            </p:cNvPr>
            <p:cNvSpPr/>
            <p:nvPr/>
          </p:nvSpPr>
          <p:spPr>
            <a:xfrm>
              <a:off x="5152634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3" name="object 713">
              <a:extLst>
                <a:ext uri="{FF2B5EF4-FFF2-40B4-BE49-F238E27FC236}">
                  <a16:creationId xmlns:a16="http://schemas.microsoft.com/office/drawing/2014/main" id="{36E8E59C-887C-82DF-9A9E-BD048F6F49E5}"/>
                </a:ext>
              </a:extLst>
            </p:cNvPr>
            <p:cNvSpPr/>
            <p:nvPr/>
          </p:nvSpPr>
          <p:spPr>
            <a:xfrm>
              <a:off x="5047506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4" name="object 714">
              <a:extLst>
                <a:ext uri="{FF2B5EF4-FFF2-40B4-BE49-F238E27FC236}">
                  <a16:creationId xmlns:a16="http://schemas.microsoft.com/office/drawing/2014/main" id="{BB321F07-DBB4-FCEB-E5F1-B8D0796996FB}"/>
                </a:ext>
              </a:extLst>
            </p:cNvPr>
            <p:cNvSpPr/>
            <p:nvPr/>
          </p:nvSpPr>
          <p:spPr>
            <a:xfrm>
              <a:off x="5257635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5" name="object 715">
              <a:extLst>
                <a:ext uri="{FF2B5EF4-FFF2-40B4-BE49-F238E27FC236}">
                  <a16:creationId xmlns:a16="http://schemas.microsoft.com/office/drawing/2014/main" id="{8F9D597A-5CE7-C1CA-9920-3B8F1B23AAF3}"/>
                </a:ext>
              </a:extLst>
            </p:cNvPr>
            <p:cNvSpPr/>
            <p:nvPr/>
          </p:nvSpPr>
          <p:spPr>
            <a:xfrm>
              <a:off x="5082527" y="644043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6" name="object 716">
              <a:extLst>
                <a:ext uri="{FF2B5EF4-FFF2-40B4-BE49-F238E27FC236}">
                  <a16:creationId xmlns:a16="http://schemas.microsoft.com/office/drawing/2014/main" id="{12358062-D6B5-D31C-097A-45BC97F1DBAA}"/>
                </a:ext>
              </a:extLst>
            </p:cNvPr>
            <p:cNvSpPr/>
            <p:nvPr/>
          </p:nvSpPr>
          <p:spPr>
            <a:xfrm>
              <a:off x="5362699" y="642768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7" name="object 717">
              <a:extLst>
                <a:ext uri="{FF2B5EF4-FFF2-40B4-BE49-F238E27FC236}">
                  <a16:creationId xmlns:a16="http://schemas.microsoft.com/office/drawing/2014/main" id="{310AEF6E-4FB7-02A3-28B1-438001FB6FE1}"/>
                </a:ext>
              </a:extLst>
            </p:cNvPr>
            <p:cNvSpPr/>
            <p:nvPr/>
          </p:nvSpPr>
          <p:spPr>
            <a:xfrm>
              <a:off x="5187729" y="642768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8" name="object 718">
              <a:extLst>
                <a:ext uri="{FF2B5EF4-FFF2-40B4-BE49-F238E27FC236}">
                  <a16:creationId xmlns:a16="http://schemas.microsoft.com/office/drawing/2014/main" id="{0842DEB2-578E-A783-EAC7-A03395F3FF81}"/>
                </a:ext>
              </a:extLst>
            </p:cNvPr>
            <p:cNvSpPr/>
            <p:nvPr/>
          </p:nvSpPr>
          <p:spPr>
            <a:xfrm>
              <a:off x="5012759" y="642768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9" name="object 719">
              <a:extLst>
                <a:ext uri="{FF2B5EF4-FFF2-40B4-BE49-F238E27FC236}">
                  <a16:creationId xmlns:a16="http://schemas.microsoft.com/office/drawing/2014/main" id="{03B3BF8A-4C72-908A-B8CC-6A8B995F8EB5}"/>
                </a:ext>
              </a:extLst>
            </p:cNvPr>
            <p:cNvSpPr/>
            <p:nvPr/>
          </p:nvSpPr>
          <p:spPr>
            <a:xfrm>
              <a:off x="5012759" y="645318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0" name="object 720">
              <a:extLst>
                <a:ext uri="{FF2B5EF4-FFF2-40B4-BE49-F238E27FC236}">
                  <a16:creationId xmlns:a16="http://schemas.microsoft.com/office/drawing/2014/main" id="{481399D5-60A0-47C4-5F32-445ACDA078BF}"/>
                </a:ext>
              </a:extLst>
            </p:cNvPr>
            <p:cNvSpPr/>
            <p:nvPr/>
          </p:nvSpPr>
          <p:spPr>
            <a:xfrm>
              <a:off x="5012877" y="6427683"/>
              <a:ext cx="4158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8579"/>
                <a:gd name="f4" fmla="val 84454"/>
                <a:gd name="f5" fmla="val 68479"/>
                <a:gd name="f6" fmla="val 84123"/>
                <a:gd name="f7" fmla="*/ f0 1 68579"/>
                <a:gd name="f8" fmla="*/ f1 1 84454"/>
                <a:gd name="f9" fmla="+- f4 0 f2"/>
                <a:gd name="f10" fmla="+- f3 0 f2"/>
                <a:gd name="f11" fmla="*/ f10 1 68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8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1" name="object 721">
              <a:extLst>
                <a:ext uri="{FF2B5EF4-FFF2-40B4-BE49-F238E27FC236}">
                  <a16:creationId xmlns:a16="http://schemas.microsoft.com/office/drawing/2014/main" id="{2F50372E-8397-C948-5B11-F10327C4FF1E}"/>
                </a:ext>
              </a:extLst>
            </p:cNvPr>
            <p:cNvSpPr/>
            <p:nvPr/>
          </p:nvSpPr>
          <p:spPr>
            <a:xfrm>
              <a:off x="5362352" y="64999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2" name="object 722">
              <a:extLst>
                <a:ext uri="{FF2B5EF4-FFF2-40B4-BE49-F238E27FC236}">
                  <a16:creationId xmlns:a16="http://schemas.microsoft.com/office/drawing/2014/main" id="{FC46A4BA-0DC0-9996-2AFB-AE68A66D38BA}"/>
                </a:ext>
              </a:extLst>
            </p:cNvPr>
            <p:cNvSpPr/>
            <p:nvPr/>
          </p:nvSpPr>
          <p:spPr>
            <a:xfrm>
              <a:off x="5187382" y="64999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3" name="object 723">
              <a:extLst>
                <a:ext uri="{FF2B5EF4-FFF2-40B4-BE49-F238E27FC236}">
                  <a16:creationId xmlns:a16="http://schemas.microsoft.com/office/drawing/2014/main" id="{37B9C15A-8761-0507-159C-B2D8B66D8EBA}"/>
                </a:ext>
              </a:extLst>
            </p:cNvPr>
            <p:cNvSpPr/>
            <p:nvPr/>
          </p:nvSpPr>
          <p:spPr>
            <a:xfrm>
              <a:off x="5012411" y="64999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4" name="object 724">
              <a:extLst>
                <a:ext uri="{FF2B5EF4-FFF2-40B4-BE49-F238E27FC236}">
                  <a16:creationId xmlns:a16="http://schemas.microsoft.com/office/drawing/2014/main" id="{B9B38F23-6393-65DD-1A92-39FB04D11049}"/>
                </a:ext>
              </a:extLst>
            </p:cNvPr>
            <p:cNvSpPr/>
            <p:nvPr/>
          </p:nvSpPr>
          <p:spPr>
            <a:xfrm>
              <a:off x="5187382" y="64999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5" name="object 725">
              <a:extLst>
                <a:ext uri="{FF2B5EF4-FFF2-40B4-BE49-F238E27FC236}">
                  <a16:creationId xmlns:a16="http://schemas.microsoft.com/office/drawing/2014/main" id="{F71E57EB-9631-AEC3-58A8-C00F30210C09}"/>
                </a:ext>
              </a:extLst>
            </p:cNvPr>
            <p:cNvSpPr/>
            <p:nvPr/>
          </p:nvSpPr>
          <p:spPr>
            <a:xfrm>
              <a:off x="5292309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6" name="object 726">
              <a:extLst>
                <a:ext uri="{FF2B5EF4-FFF2-40B4-BE49-F238E27FC236}">
                  <a16:creationId xmlns:a16="http://schemas.microsoft.com/office/drawing/2014/main" id="{47A153A9-79E1-7C54-C1DD-8F9EBFA6AF58}"/>
                </a:ext>
              </a:extLst>
            </p:cNvPr>
            <p:cNvSpPr/>
            <p:nvPr/>
          </p:nvSpPr>
          <p:spPr>
            <a:xfrm>
              <a:off x="5327330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7" name="object 727">
              <a:extLst>
                <a:ext uri="{FF2B5EF4-FFF2-40B4-BE49-F238E27FC236}">
                  <a16:creationId xmlns:a16="http://schemas.microsoft.com/office/drawing/2014/main" id="{AE3C9D40-3B56-95B5-1D89-F2926B54D129}"/>
                </a:ext>
              </a:extLst>
            </p:cNvPr>
            <p:cNvSpPr/>
            <p:nvPr/>
          </p:nvSpPr>
          <p:spPr>
            <a:xfrm>
              <a:off x="5222266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8" name="object 728">
              <a:extLst>
                <a:ext uri="{FF2B5EF4-FFF2-40B4-BE49-F238E27FC236}">
                  <a16:creationId xmlns:a16="http://schemas.microsoft.com/office/drawing/2014/main" id="{5F19853E-97B4-DA59-E0CB-7ECFCE2A3E9D}"/>
                </a:ext>
              </a:extLst>
            </p:cNvPr>
            <p:cNvSpPr/>
            <p:nvPr/>
          </p:nvSpPr>
          <p:spPr>
            <a:xfrm>
              <a:off x="5117201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29" name="object 729">
              <a:extLst>
                <a:ext uri="{FF2B5EF4-FFF2-40B4-BE49-F238E27FC236}">
                  <a16:creationId xmlns:a16="http://schemas.microsoft.com/office/drawing/2014/main" id="{AE4032DD-8FF5-1697-5F3D-0AB129E10AD5}"/>
                </a:ext>
              </a:extLst>
            </p:cNvPr>
            <p:cNvSpPr/>
            <p:nvPr/>
          </p:nvSpPr>
          <p:spPr>
            <a:xfrm>
              <a:off x="5152296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0" name="object 730">
              <a:extLst>
                <a:ext uri="{FF2B5EF4-FFF2-40B4-BE49-F238E27FC236}">
                  <a16:creationId xmlns:a16="http://schemas.microsoft.com/office/drawing/2014/main" id="{69429BD6-4BF8-3EC9-A910-1F21721264BE}"/>
                </a:ext>
              </a:extLst>
            </p:cNvPr>
            <p:cNvSpPr/>
            <p:nvPr/>
          </p:nvSpPr>
          <p:spPr>
            <a:xfrm>
              <a:off x="5047158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1" name="object 731">
              <a:extLst>
                <a:ext uri="{FF2B5EF4-FFF2-40B4-BE49-F238E27FC236}">
                  <a16:creationId xmlns:a16="http://schemas.microsoft.com/office/drawing/2014/main" id="{35C29FE7-F7B7-648F-C4FE-731E59F918BF}"/>
                </a:ext>
              </a:extLst>
            </p:cNvPr>
            <p:cNvSpPr/>
            <p:nvPr/>
          </p:nvSpPr>
          <p:spPr>
            <a:xfrm>
              <a:off x="5257287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2" name="object 732">
              <a:extLst>
                <a:ext uri="{FF2B5EF4-FFF2-40B4-BE49-F238E27FC236}">
                  <a16:creationId xmlns:a16="http://schemas.microsoft.com/office/drawing/2014/main" id="{9C72FECA-CE0D-50D2-0EE2-C27C238F1095}"/>
                </a:ext>
              </a:extLst>
            </p:cNvPr>
            <p:cNvSpPr/>
            <p:nvPr/>
          </p:nvSpPr>
          <p:spPr>
            <a:xfrm>
              <a:off x="5082180" y="651272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3" name="object 733">
              <a:extLst>
                <a:ext uri="{FF2B5EF4-FFF2-40B4-BE49-F238E27FC236}">
                  <a16:creationId xmlns:a16="http://schemas.microsoft.com/office/drawing/2014/main" id="{F6834F7C-6800-02AA-3CC1-774A13BA701E}"/>
                </a:ext>
              </a:extLst>
            </p:cNvPr>
            <p:cNvSpPr/>
            <p:nvPr/>
          </p:nvSpPr>
          <p:spPr>
            <a:xfrm>
              <a:off x="5012411" y="652547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34" name="object 734">
            <a:extLst>
              <a:ext uri="{FF2B5EF4-FFF2-40B4-BE49-F238E27FC236}">
                <a16:creationId xmlns:a16="http://schemas.microsoft.com/office/drawing/2014/main" id="{91A60D1E-2E5E-6053-7CCE-06C8A3317130}"/>
              </a:ext>
            </a:extLst>
          </p:cNvPr>
          <p:cNvGrpSpPr/>
          <p:nvPr/>
        </p:nvGrpSpPr>
        <p:grpSpPr>
          <a:xfrm>
            <a:off x="5833817" y="3628046"/>
            <a:ext cx="351175" cy="351175"/>
            <a:chOff x="5833817" y="3628046"/>
            <a:chExt cx="351175" cy="351175"/>
          </a:xfrm>
        </p:grpSpPr>
        <p:pic>
          <p:nvPicPr>
            <p:cNvPr id="735" name="object 735">
              <a:extLst>
                <a:ext uri="{FF2B5EF4-FFF2-40B4-BE49-F238E27FC236}">
                  <a16:creationId xmlns:a16="http://schemas.microsoft.com/office/drawing/2014/main" id="{CFBE1670-D4E2-E58C-2E67-05FF4BC8BE2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833817" y="3628046"/>
              <a:ext cx="351083" cy="351093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36" name="object 736">
              <a:extLst>
                <a:ext uri="{FF2B5EF4-FFF2-40B4-BE49-F238E27FC236}">
                  <a16:creationId xmlns:a16="http://schemas.microsoft.com/office/drawing/2014/main" id="{A9292EEC-F97F-3CB9-E470-7EA1887CF2D2}"/>
                </a:ext>
              </a:extLst>
            </p:cNvPr>
            <p:cNvSpPr/>
            <p:nvPr/>
          </p:nvSpPr>
          <p:spPr>
            <a:xfrm>
              <a:off x="5833817" y="3628046"/>
              <a:ext cx="351175" cy="35117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9120"/>
                <a:gd name="f4" fmla="val 289488"/>
                <a:gd name="f5" fmla="val 3788"/>
                <a:gd name="f6" fmla="val 336445"/>
                <a:gd name="f7" fmla="val 14757"/>
                <a:gd name="f8" fmla="val 380989"/>
                <a:gd name="f9" fmla="val 32309"/>
                <a:gd name="f10" fmla="val 422525"/>
                <a:gd name="f11" fmla="val 55850"/>
                <a:gd name="f12" fmla="val 460456"/>
                <a:gd name="f13" fmla="val 84782"/>
                <a:gd name="f14" fmla="val 494187"/>
                <a:gd name="f15" fmla="val 118511"/>
                <a:gd name="f16" fmla="val 523122"/>
                <a:gd name="f17" fmla="val 156440"/>
                <a:gd name="f18" fmla="val 546664"/>
                <a:gd name="f19" fmla="val 197973"/>
                <a:gd name="f20" fmla="val 564218"/>
                <a:gd name="f21" fmla="val 242514"/>
                <a:gd name="f22" fmla="val 575188"/>
                <a:gd name="f23" fmla="val 289467"/>
                <a:gd name="f24" fmla="val 578977"/>
                <a:gd name="f25" fmla="val 336426"/>
                <a:gd name="f26" fmla="val 380972"/>
                <a:gd name="f27" fmla="val 422508"/>
                <a:gd name="f28" fmla="val 460440"/>
                <a:gd name="f29" fmla="val 494170"/>
                <a:gd name="f30" fmla="val 523104"/>
                <a:gd name="f31" fmla="val 546645"/>
                <a:gd name="f32" fmla="val 564198"/>
                <a:gd name="f33" fmla="val 575167"/>
                <a:gd name="f34" fmla="val 578956"/>
                <a:gd name="f35" fmla="val 242534"/>
                <a:gd name="f36" fmla="val 197991"/>
                <a:gd name="f37" fmla="val 156456"/>
                <a:gd name="f38" fmla="val 118524"/>
                <a:gd name="f39" fmla="val 84793"/>
                <a:gd name="f40" fmla="val 55857"/>
                <a:gd name="f41" fmla="val 32314"/>
                <a:gd name="f42" fmla="val 14759"/>
                <a:gd name="f43" fmla="val 3789"/>
                <a:gd name="f44" fmla="*/ f0 1 579120"/>
                <a:gd name="f45" fmla="*/ f1 1 579120"/>
                <a:gd name="f46" fmla="+- f3 0 f2"/>
                <a:gd name="f47" fmla="*/ f46 1 579120"/>
                <a:gd name="f48" fmla="*/ f2 1 f47"/>
                <a:gd name="f49" fmla="*/ f3 1 f47"/>
                <a:gd name="f50" fmla="*/ f48 f44 1"/>
                <a:gd name="f51" fmla="*/ f49 f44 1"/>
                <a:gd name="f52" fmla="*/ f49 f45 1"/>
                <a:gd name="f53" fmla="*/ f48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9120" h="579120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2"/>
                  </a:lnTo>
                  <a:lnTo>
                    <a:pt x="f26" y="f20"/>
                  </a:lnTo>
                  <a:lnTo>
                    <a:pt x="f27" y="f18"/>
                  </a:lnTo>
                  <a:lnTo>
                    <a:pt x="f28" y="f16"/>
                  </a:lnTo>
                  <a:lnTo>
                    <a:pt x="f29" y="f14"/>
                  </a:lnTo>
                  <a:lnTo>
                    <a:pt x="f30" y="f12"/>
                  </a:lnTo>
                  <a:lnTo>
                    <a:pt x="f31" y="f10"/>
                  </a:lnTo>
                  <a:lnTo>
                    <a:pt x="f32" y="f8"/>
                  </a:lnTo>
                  <a:lnTo>
                    <a:pt x="f33" y="f6"/>
                  </a:lnTo>
                  <a:lnTo>
                    <a:pt x="f34" y="f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42"/>
                  </a:lnTo>
                  <a:lnTo>
                    <a:pt x="f25" y="f43"/>
                  </a:lnTo>
                  <a:lnTo>
                    <a:pt x="f23" y="f2"/>
                  </a:lnTo>
                  <a:lnTo>
                    <a:pt x="f21" y="f43"/>
                  </a:lnTo>
                  <a:lnTo>
                    <a:pt x="f19" y="f42"/>
                  </a:lnTo>
                  <a:lnTo>
                    <a:pt x="f17" y="f41"/>
                  </a:lnTo>
                  <a:lnTo>
                    <a:pt x="f15" y="f40"/>
                  </a:lnTo>
                  <a:lnTo>
                    <a:pt x="f13" y="f39"/>
                  </a:lnTo>
                  <a:lnTo>
                    <a:pt x="f11" y="f38"/>
                  </a:lnTo>
                  <a:lnTo>
                    <a:pt x="f9" y="f37"/>
                  </a:lnTo>
                  <a:lnTo>
                    <a:pt x="f7" y="f36"/>
                  </a:lnTo>
                  <a:lnTo>
                    <a:pt x="f5" y="f35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37" name="object 737">
            <a:extLst>
              <a:ext uri="{FF2B5EF4-FFF2-40B4-BE49-F238E27FC236}">
                <a16:creationId xmlns:a16="http://schemas.microsoft.com/office/drawing/2014/main" id="{6D555E1C-E8F2-B134-88DF-58847C079F86}"/>
              </a:ext>
            </a:extLst>
          </p:cNvPr>
          <p:cNvGrpSpPr/>
          <p:nvPr/>
        </p:nvGrpSpPr>
        <p:grpSpPr>
          <a:xfrm>
            <a:off x="3373395" y="4391049"/>
            <a:ext cx="348102" cy="348093"/>
            <a:chOff x="3373395" y="4391049"/>
            <a:chExt cx="348102" cy="348093"/>
          </a:xfrm>
        </p:grpSpPr>
        <p:pic>
          <p:nvPicPr>
            <p:cNvPr id="738" name="object 738">
              <a:extLst>
                <a:ext uri="{FF2B5EF4-FFF2-40B4-BE49-F238E27FC236}">
                  <a16:creationId xmlns:a16="http://schemas.microsoft.com/office/drawing/2014/main" id="{4D609BCB-4C48-727F-E347-DAE9E8DC75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73395" y="4391049"/>
              <a:ext cx="348048" cy="34804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39" name="object 739">
              <a:extLst>
                <a:ext uri="{FF2B5EF4-FFF2-40B4-BE49-F238E27FC236}">
                  <a16:creationId xmlns:a16="http://schemas.microsoft.com/office/drawing/2014/main" id="{C2F1BA6C-E087-594F-9823-ED6CE1E31634}"/>
                </a:ext>
              </a:extLst>
            </p:cNvPr>
            <p:cNvSpPr/>
            <p:nvPr/>
          </p:nvSpPr>
          <p:spPr>
            <a:xfrm>
              <a:off x="3373404" y="4391049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39"/>
                <a:gd name="f4" fmla="val 574040"/>
                <a:gd name="f5" fmla="val 286986"/>
                <a:gd name="f6" fmla="val 3755"/>
                <a:gd name="f7" fmla="val 333533"/>
                <a:gd name="f8" fmla="val 14629"/>
                <a:gd name="f9" fmla="val 377689"/>
                <a:gd name="f10" fmla="val 32030"/>
                <a:gd name="f11" fmla="val 418863"/>
                <a:gd name="f12" fmla="val 55368"/>
                <a:gd name="f13" fmla="val 456464"/>
                <a:gd name="f14" fmla="val 84051"/>
                <a:gd name="f15" fmla="val 489901"/>
                <a:gd name="f16" fmla="val 117489"/>
                <a:gd name="f17" fmla="val 518583"/>
                <a:gd name="f18" fmla="val 155091"/>
                <a:gd name="f19" fmla="val 541920"/>
                <a:gd name="f20" fmla="val 196266"/>
                <a:gd name="f21" fmla="val 559321"/>
                <a:gd name="f22" fmla="val 240425"/>
                <a:gd name="f23" fmla="val 570195"/>
                <a:gd name="f24" fmla="val 286975"/>
                <a:gd name="f25" fmla="val 573951"/>
                <a:gd name="f26" fmla="val 333522"/>
                <a:gd name="f27" fmla="val 377679"/>
                <a:gd name="f28" fmla="val 418852"/>
                <a:gd name="f29" fmla="val 456453"/>
                <a:gd name="f30" fmla="val 489890"/>
                <a:gd name="f31" fmla="val 518573"/>
                <a:gd name="f32" fmla="val 541910"/>
                <a:gd name="f33" fmla="val 559311"/>
                <a:gd name="f34" fmla="val 570184"/>
                <a:gd name="f35" fmla="val 573940"/>
                <a:gd name="f36" fmla="val 240435"/>
                <a:gd name="f37" fmla="val 196276"/>
                <a:gd name="f38" fmla="val 155099"/>
                <a:gd name="f39" fmla="val 117495"/>
                <a:gd name="f40" fmla="val 84056"/>
                <a:gd name="f41" fmla="val 55371"/>
                <a:gd name="f42" fmla="val 32032"/>
                <a:gd name="f43" fmla="val 14630"/>
                <a:gd name="f44" fmla="val 3756"/>
                <a:gd name="f45" fmla="*/ f0 1 574039"/>
                <a:gd name="f46" fmla="*/ f1 1 574040"/>
                <a:gd name="f47" fmla="+- f4 0 f2"/>
                <a:gd name="f48" fmla="+- f3 0 f2"/>
                <a:gd name="f49" fmla="*/ f48 1 574039"/>
                <a:gd name="f50" fmla="*/ f47 1 574040"/>
                <a:gd name="f51" fmla="*/ f2 1 f49"/>
                <a:gd name="f52" fmla="*/ f3 1 f49"/>
                <a:gd name="f53" fmla="*/ f2 1 f50"/>
                <a:gd name="f54" fmla="*/ f4 1 f50"/>
                <a:gd name="f55" fmla="*/ f51 f45 1"/>
                <a:gd name="f56" fmla="*/ f52 f45 1"/>
                <a:gd name="f57" fmla="*/ f54 f46 1"/>
                <a:gd name="f58" fmla="*/ f53 f4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5" t="f58" r="f56" b="f57"/>
              <a:pathLst>
                <a:path w="574039" h="574040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3"/>
                  </a:lnTo>
                  <a:lnTo>
                    <a:pt x="f27" y="f21"/>
                  </a:lnTo>
                  <a:lnTo>
                    <a:pt x="f28" y="f19"/>
                  </a:lnTo>
                  <a:lnTo>
                    <a:pt x="f29" y="f17"/>
                  </a:lnTo>
                  <a:lnTo>
                    <a:pt x="f30" y="f15"/>
                  </a:lnTo>
                  <a:lnTo>
                    <a:pt x="f31" y="f13"/>
                  </a:lnTo>
                  <a:lnTo>
                    <a:pt x="f32" y="f11"/>
                  </a:lnTo>
                  <a:lnTo>
                    <a:pt x="f33" y="f9"/>
                  </a:lnTo>
                  <a:lnTo>
                    <a:pt x="f34" y="f7"/>
                  </a:lnTo>
                  <a:lnTo>
                    <a:pt x="f35" y="f5"/>
                  </a:lnTo>
                  <a:lnTo>
                    <a:pt x="f34" y="f36"/>
                  </a:lnTo>
                  <a:lnTo>
                    <a:pt x="f33" y="f37"/>
                  </a:lnTo>
                  <a:lnTo>
                    <a:pt x="f32" y="f38"/>
                  </a:lnTo>
                  <a:lnTo>
                    <a:pt x="f31" y="f39"/>
                  </a:lnTo>
                  <a:lnTo>
                    <a:pt x="f30" y="f40"/>
                  </a:lnTo>
                  <a:lnTo>
                    <a:pt x="f29" y="f41"/>
                  </a:lnTo>
                  <a:lnTo>
                    <a:pt x="f28" y="f42"/>
                  </a:lnTo>
                  <a:lnTo>
                    <a:pt x="f27" y="f43"/>
                  </a:lnTo>
                  <a:lnTo>
                    <a:pt x="f26" y="f44"/>
                  </a:lnTo>
                  <a:lnTo>
                    <a:pt x="f24" y="f2"/>
                  </a:lnTo>
                  <a:lnTo>
                    <a:pt x="f22" y="f44"/>
                  </a:lnTo>
                  <a:lnTo>
                    <a:pt x="f20" y="f43"/>
                  </a:lnTo>
                  <a:lnTo>
                    <a:pt x="f18" y="f42"/>
                  </a:lnTo>
                  <a:lnTo>
                    <a:pt x="f16" y="f41"/>
                  </a:lnTo>
                  <a:lnTo>
                    <a:pt x="f14" y="f40"/>
                  </a:lnTo>
                  <a:lnTo>
                    <a:pt x="f12" y="f39"/>
                  </a:lnTo>
                  <a:lnTo>
                    <a:pt x="f10" y="f38"/>
                  </a:lnTo>
                  <a:lnTo>
                    <a:pt x="f8" y="f37"/>
                  </a:lnTo>
                  <a:lnTo>
                    <a:pt x="f6" y="f36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40" name="object 740">
            <a:extLst>
              <a:ext uri="{FF2B5EF4-FFF2-40B4-BE49-F238E27FC236}">
                <a16:creationId xmlns:a16="http://schemas.microsoft.com/office/drawing/2014/main" id="{313407D7-BA3C-BEEA-F4DF-B1DCE1275CD8}"/>
              </a:ext>
            </a:extLst>
          </p:cNvPr>
          <p:cNvGrpSpPr/>
          <p:nvPr/>
        </p:nvGrpSpPr>
        <p:grpSpPr>
          <a:xfrm>
            <a:off x="5833725" y="4386797"/>
            <a:ext cx="350023" cy="350023"/>
            <a:chOff x="5833725" y="4386797"/>
            <a:chExt cx="350023" cy="350023"/>
          </a:xfrm>
        </p:grpSpPr>
        <p:pic>
          <p:nvPicPr>
            <p:cNvPr id="741" name="object 741">
              <a:extLst>
                <a:ext uri="{FF2B5EF4-FFF2-40B4-BE49-F238E27FC236}">
                  <a16:creationId xmlns:a16="http://schemas.microsoft.com/office/drawing/2014/main" id="{96F1D585-F855-6F74-4E42-2711E6AF48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833734" y="4386797"/>
              <a:ext cx="34993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42" name="object 742">
              <a:extLst>
                <a:ext uri="{FF2B5EF4-FFF2-40B4-BE49-F238E27FC236}">
                  <a16:creationId xmlns:a16="http://schemas.microsoft.com/office/drawing/2014/main" id="{C5020528-C557-1887-D85E-00AD5ECF3526}"/>
                </a:ext>
              </a:extLst>
            </p:cNvPr>
            <p:cNvSpPr/>
            <p:nvPr/>
          </p:nvSpPr>
          <p:spPr>
            <a:xfrm>
              <a:off x="5833725" y="438679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43" name="object 743">
            <a:extLst>
              <a:ext uri="{FF2B5EF4-FFF2-40B4-BE49-F238E27FC236}">
                <a16:creationId xmlns:a16="http://schemas.microsoft.com/office/drawing/2014/main" id="{44A1B309-8DA7-EB46-6EFD-877F28099782}"/>
              </a:ext>
            </a:extLst>
          </p:cNvPr>
          <p:cNvGrpSpPr/>
          <p:nvPr/>
        </p:nvGrpSpPr>
        <p:grpSpPr>
          <a:xfrm>
            <a:off x="9943039" y="555251"/>
            <a:ext cx="350032" cy="350023"/>
            <a:chOff x="9943039" y="555251"/>
            <a:chExt cx="350032" cy="350023"/>
          </a:xfrm>
        </p:grpSpPr>
        <p:pic>
          <p:nvPicPr>
            <p:cNvPr id="744" name="object 744">
              <a:extLst>
                <a:ext uri="{FF2B5EF4-FFF2-40B4-BE49-F238E27FC236}">
                  <a16:creationId xmlns:a16="http://schemas.microsoft.com/office/drawing/2014/main" id="{1B87D2E2-FDBD-B7EB-A130-3FA59E0F09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943039" y="555251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45" name="object 745">
              <a:extLst>
                <a:ext uri="{FF2B5EF4-FFF2-40B4-BE49-F238E27FC236}">
                  <a16:creationId xmlns:a16="http://schemas.microsoft.com/office/drawing/2014/main" id="{701CE9C1-D26A-35D3-2DF6-E9AAF10C4E72}"/>
                </a:ext>
              </a:extLst>
            </p:cNvPr>
            <p:cNvSpPr/>
            <p:nvPr/>
          </p:nvSpPr>
          <p:spPr>
            <a:xfrm>
              <a:off x="9943048" y="55525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46" name="object 746">
            <a:extLst>
              <a:ext uri="{FF2B5EF4-FFF2-40B4-BE49-F238E27FC236}">
                <a16:creationId xmlns:a16="http://schemas.microsoft.com/office/drawing/2014/main" id="{AF752AB9-22AF-D08E-99FA-033A57470663}"/>
              </a:ext>
            </a:extLst>
          </p:cNvPr>
          <p:cNvGrpSpPr/>
          <p:nvPr/>
        </p:nvGrpSpPr>
        <p:grpSpPr>
          <a:xfrm>
            <a:off x="5831467" y="5152104"/>
            <a:ext cx="350032" cy="350023"/>
            <a:chOff x="5831467" y="5152104"/>
            <a:chExt cx="350032" cy="350023"/>
          </a:xfrm>
        </p:grpSpPr>
        <p:pic>
          <p:nvPicPr>
            <p:cNvPr id="747" name="object 747">
              <a:extLst>
                <a:ext uri="{FF2B5EF4-FFF2-40B4-BE49-F238E27FC236}">
                  <a16:creationId xmlns:a16="http://schemas.microsoft.com/office/drawing/2014/main" id="{16D2CD71-3A6A-ACF3-FC8E-71A7D881CA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31467" y="5152104"/>
              <a:ext cx="34995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48" name="object 748">
              <a:extLst>
                <a:ext uri="{FF2B5EF4-FFF2-40B4-BE49-F238E27FC236}">
                  <a16:creationId xmlns:a16="http://schemas.microsoft.com/office/drawing/2014/main" id="{4657E656-0629-E2D5-6B02-F47C3F1133BA}"/>
                </a:ext>
              </a:extLst>
            </p:cNvPr>
            <p:cNvSpPr/>
            <p:nvPr/>
          </p:nvSpPr>
          <p:spPr>
            <a:xfrm>
              <a:off x="5831476" y="515210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49" name="object 749">
            <a:extLst>
              <a:ext uri="{FF2B5EF4-FFF2-40B4-BE49-F238E27FC236}">
                <a16:creationId xmlns:a16="http://schemas.microsoft.com/office/drawing/2014/main" id="{32B01B31-571D-B64B-CC44-2FE606C56D17}"/>
              </a:ext>
            </a:extLst>
          </p:cNvPr>
          <p:cNvGrpSpPr/>
          <p:nvPr/>
        </p:nvGrpSpPr>
        <p:grpSpPr>
          <a:xfrm>
            <a:off x="5012128" y="3629317"/>
            <a:ext cx="350023" cy="352830"/>
            <a:chOff x="5012128" y="3629317"/>
            <a:chExt cx="350023" cy="352830"/>
          </a:xfrm>
        </p:grpSpPr>
        <p:pic>
          <p:nvPicPr>
            <p:cNvPr id="750" name="object 750">
              <a:extLst>
                <a:ext uri="{FF2B5EF4-FFF2-40B4-BE49-F238E27FC236}">
                  <a16:creationId xmlns:a16="http://schemas.microsoft.com/office/drawing/2014/main" id="{8F403E48-090D-348B-C39B-8B3B6A2614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012128" y="362931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51" name="object 751">
              <a:extLst>
                <a:ext uri="{FF2B5EF4-FFF2-40B4-BE49-F238E27FC236}">
                  <a16:creationId xmlns:a16="http://schemas.microsoft.com/office/drawing/2014/main" id="{78BAE25F-8480-FE6C-8DA0-72055BA63F27}"/>
                </a:ext>
              </a:extLst>
            </p:cNvPr>
            <p:cNvSpPr/>
            <p:nvPr/>
          </p:nvSpPr>
          <p:spPr>
            <a:xfrm>
              <a:off x="5012128" y="363085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2" name="object 752">
              <a:extLst>
                <a:ext uri="{FF2B5EF4-FFF2-40B4-BE49-F238E27FC236}">
                  <a16:creationId xmlns:a16="http://schemas.microsoft.com/office/drawing/2014/main" id="{D02964F0-C21E-611D-D844-238D66BBBEA0}"/>
                </a:ext>
              </a:extLst>
            </p:cNvPr>
            <p:cNvSpPr/>
            <p:nvPr/>
          </p:nvSpPr>
          <p:spPr>
            <a:xfrm>
              <a:off x="5012128" y="363212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3" name="object 753">
              <a:extLst>
                <a:ext uri="{FF2B5EF4-FFF2-40B4-BE49-F238E27FC236}">
                  <a16:creationId xmlns:a16="http://schemas.microsoft.com/office/drawing/2014/main" id="{91108D5F-AB05-570E-C85D-5B193DC16894}"/>
                </a:ext>
              </a:extLst>
            </p:cNvPr>
            <p:cNvSpPr/>
            <p:nvPr/>
          </p:nvSpPr>
          <p:spPr>
            <a:xfrm>
              <a:off x="5012128" y="363085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4" name="object 754">
              <a:extLst>
                <a:ext uri="{FF2B5EF4-FFF2-40B4-BE49-F238E27FC236}">
                  <a16:creationId xmlns:a16="http://schemas.microsoft.com/office/drawing/2014/main" id="{531D1565-9164-55F0-99A8-AC6863D63DDF}"/>
                </a:ext>
              </a:extLst>
            </p:cNvPr>
            <p:cNvSpPr/>
            <p:nvPr/>
          </p:nvSpPr>
          <p:spPr>
            <a:xfrm>
              <a:off x="5012128" y="363212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5" name="object 755">
              <a:extLst>
                <a:ext uri="{FF2B5EF4-FFF2-40B4-BE49-F238E27FC236}">
                  <a16:creationId xmlns:a16="http://schemas.microsoft.com/office/drawing/2014/main" id="{994C5B0F-3E5D-617D-0669-1A6667393ECB}"/>
                </a:ext>
              </a:extLst>
            </p:cNvPr>
            <p:cNvSpPr/>
            <p:nvPr/>
          </p:nvSpPr>
          <p:spPr>
            <a:xfrm>
              <a:off x="5012128" y="363085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6" name="object 756">
              <a:extLst>
                <a:ext uri="{FF2B5EF4-FFF2-40B4-BE49-F238E27FC236}">
                  <a16:creationId xmlns:a16="http://schemas.microsoft.com/office/drawing/2014/main" id="{E1B47128-A2B2-5F32-9BB2-7FBEF5B60E6A}"/>
                </a:ext>
              </a:extLst>
            </p:cNvPr>
            <p:cNvSpPr/>
            <p:nvPr/>
          </p:nvSpPr>
          <p:spPr>
            <a:xfrm>
              <a:off x="5012128" y="363212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57" name="object 757">
            <a:extLst>
              <a:ext uri="{FF2B5EF4-FFF2-40B4-BE49-F238E27FC236}">
                <a16:creationId xmlns:a16="http://schemas.microsoft.com/office/drawing/2014/main" id="{C80BC191-C6E7-67B9-9F7E-ABA79DE0D27E}"/>
              </a:ext>
            </a:extLst>
          </p:cNvPr>
          <p:cNvGrpSpPr/>
          <p:nvPr/>
        </p:nvGrpSpPr>
        <p:grpSpPr>
          <a:xfrm>
            <a:off x="7476710" y="2090400"/>
            <a:ext cx="359468" cy="359468"/>
            <a:chOff x="7476710" y="2090400"/>
            <a:chExt cx="359468" cy="359468"/>
          </a:xfrm>
        </p:grpSpPr>
        <p:pic>
          <p:nvPicPr>
            <p:cNvPr id="758" name="object 758">
              <a:extLst>
                <a:ext uri="{FF2B5EF4-FFF2-40B4-BE49-F238E27FC236}">
                  <a16:creationId xmlns:a16="http://schemas.microsoft.com/office/drawing/2014/main" id="{3A4C22E3-DFCF-3D3A-2F34-9118B839A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481465" y="2095164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59" name="object 759">
              <a:extLst>
                <a:ext uri="{FF2B5EF4-FFF2-40B4-BE49-F238E27FC236}">
                  <a16:creationId xmlns:a16="http://schemas.microsoft.com/office/drawing/2014/main" id="{A51394A5-D35E-477E-1F42-0312A2D287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476710" y="2090400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60" name="object 760">
              <a:extLst>
                <a:ext uri="{FF2B5EF4-FFF2-40B4-BE49-F238E27FC236}">
                  <a16:creationId xmlns:a16="http://schemas.microsoft.com/office/drawing/2014/main" id="{800D918D-54EA-2DE4-BBDC-94243CC04F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476710" y="2090400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61" name="object 761">
              <a:extLst>
                <a:ext uri="{FF2B5EF4-FFF2-40B4-BE49-F238E27FC236}">
                  <a16:creationId xmlns:a16="http://schemas.microsoft.com/office/drawing/2014/main" id="{F7B25018-A955-928E-1E20-EE91A6AF3E49}"/>
                </a:ext>
              </a:extLst>
            </p:cNvPr>
            <p:cNvSpPr/>
            <p:nvPr/>
          </p:nvSpPr>
          <p:spPr>
            <a:xfrm>
              <a:off x="7481474" y="209516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62" name="object 762">
            <a:extLst>
              <a:ext uri="{FF2B5EF4-FFF2-40B4-BE49-F238E27FC236}">
                <a16:creationId xmlns:a16="http://schemas.microsoft.com/office/drawing/2014/main" id="{03E7A259-F24F-2B3A-73C7-FBD450CD3C1C}"/>
              </a:ext>
            </a:extLst>
          </p:cNvPr>
          <p:cNvGrpSpPr/>
          <p:nvPr/>
        </p:nvGrpSpPr>
        <p:grpSpPr>
          <a:xfrm>
            <a:off x="3373441" y="2859895"/>
            <a:ext cx="350023" cy="350032"/>
            <a:chOff x="3373441" y="2859895"/>
            <a:chExt cx="350023" cy="350032"/>
          </a:xfrm>
        </p:grpSpPr>
        <p:pic>
          <p:nvPicPr>
            <p:cNvPr id="763" name="object 763">
              <a:extLst>
                <a:ext uri="{FF2B5EF4-FFF2-40B4-BE49-F238E27FC236}">
                  <a16:creationId xmlns:a16="http://schemas.microsoft.com/office/drawing/2014/main" id="{3C306483-F716-E6B4-94F7-507F03359F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373441" y="2859895"/>
              <a:ext cx="349940" cy="349099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64" name="object 764">
              <a:extLst>
                <a:ext uri="{FF2B5EF4-FFF2-40B4-BE49-F238E27FC236}">
                  <a16:creationId xmlns:a16="http://schemas.microsoft.com/office/drawing/2014/main" id="{A7A36DC9-7BF7-FAB3-77F4-79A243BD6620}"/>
                </a:ext>
              </a:extLst>
            </p:cNvPr>
            <p:cNvSpPr/>
            <p:nvPr/>
          </p:nvSpPr>
          <p:spPr>
            <a:xfrm>
              <a:off x="3373441" y="285990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65" name="object 765">
            <a:extLst>
              <a:ext uri="{FF2B5EF4-FFF2-40B4-BE49-F238E27FC236}">
                <a16:creationId xmlns:a16="http://schemas.microsoft.com/office/drawing/2014/main" id="{FEA4EDEF-A0BA-26A5-DC22-4F3700C2F1AB}"/>
              </a:ext>
            </a:extLst>
          </p:cNvPr>
          <p:cNvGrpSpPr/>
          <p:nvPr/>
        </p:nvGrpSpPr>
        <p:grpSpPr>
          <a:xfrm>
            <a:off x="8294193" y="2095164"/>
            <a:ext cx="350023" cy="350023"/>
            <a:chOff x="8294193" y="2095164"/>
            <a:chExt cx="350023" cy="350023"/>
          </a:xfrm>
        </p:grpSpPr>
        <p:pic>
          <p:nvPicPr>
            <p:cNvPr id="766" name="object 766">
              <a:extLst>
                <a:ext uri="{FF2B5EF4-FFF2-40B4-BE49-F238E27FC236}">
                  <a16:creationId xmlns:a16="http://schemas.microsoft.com/office/drawing/2014/main" id="{E2C4E0CD-4E70-153B-7483-0764905126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294193" y="2095164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67" name="object 767">
              <a:extLst>
                <a:ext uri="{FF2B5EF4-FFF2-40B4-BE49-F238E27FC236}">
                  <a16:creationId xmlns:a16="http://schemas.microsoft.com/office/drawing/2014/main" id="{FD94FF76-7FAD-AA4A-76C4-C79696D537BB}"/>
                </a:ext>
              </a:extLst>
            </p:cNvPr>
            <p:cNvSpPr/>
            <p:nvPr/>
          </p:nvSpPr>
          <p:spPr>
            <a:xfrm>
              <a:off x="8294193" y="209516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0"/>
                <a:gd name="f27" fmla="val 197340"/>
                <a:gd name="f28" fmla="val 155939"/>
                <a:gd name="f29" fmla="val 118131"/>
                <a:gd name="f30" fmla="val 84510"/>
                <a:gd name="f31" fmla="val 55670"/>
                <a:gd name="f32" fmla="val 335338"/>
                <a:gd name="f33" fmla="val 379737"/>
                <a:gd name="f34" fmla="val 421137"/>
                <a:gd name="f35" fmla="val 458945"/>
                <a:gd name="f36" fmla="val 492567"/>
                <a:gd name="f37" fmla="val 521408"/>
                <a:gd name="f38" fmla="val 544874"/>
                <a:gd name="f39" fmla="val 562371"/>
                <a:gd name="f40" fmla="*/ f0 1 577215"/>
                <a:gd name="f41" fmla="*/ f1 1 577214"/>
                <a:gd name="f42" fmla="+- f4 0 f2"/>
                <a:gd name="f43" fmla="+- f3 0 f2"/>
                <a:gd name="f44" fmla="*/ f43 1 577215"/>
                <a:gd name="f45" fmla="*/ f42 1 577214"/>
                <a:gd name="f46" fmla="*/ f2 1 f44"/>
                <a:gd name="f47" fmla="*/ f3 1 f44"/>
                <a:gd name="f48" fmla="*/ f2 1 f45"/>
                <a:gd name="f49" fmla="*/ f4 1 f45"/>
                <a:gd name="f50" fmla="*/ f46 f40 1"/>
                <a:gd name="f51" fmla="*/ f47 f40 1"/>
                <a:gd name="f52" fmla="*/ f49 f41 1"/>
                <a:gd name="f53" fmla="*/ f48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2"/>
                  </a:lnTo>
                  <a:lnTo>
                    <a:pt x="f22" y="f33"/>
                  </a:lnTo>
                  <a:lnTo>
                    <a:pt x="f20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39"/>
                  </a:lnTo>
                  <a:lnTo>
                    <a:pt x="f19" y="f38"/>
                  </a:lnTo>
                  <a:lnTo>
                    <a:pt x="f17" y="f37"/>
                  </a:lnTo>
                  <a:lnTo>
                    <a:pt x="f15" y="f36"/>
                  </a:lnTo>
                  <a:lnTo>
                    <a:pt x="f13" y="f35"/>
                  </a:lnTo>
                  <a:lnTo>
                    <a:pt x="f11" y="f34"/>
                  </a:lnTo>
                  <a:lnTo>
                    <a:pt x="f9" y="f33"/>
                  </a:lnTo>
                  <a:lnTo>
                    <a:pt x="f7" y="f3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68" name="object 768">
            <a:extLst>
              <a:ext uri="{FF2B5EF4-FFF2-40B4-BE49-F238E27FC236}">
                <a16:creationId xmlns:a16="http://schemas.microsoft.com/office/drawing/2014/main" id="{E2C7DB1C-1FE5-1C6B-3757-B2FA7B418201}"/>
              </a:ext>
            </a:extLst>
          </p:cNvPr>
          <p:cNvGrpSpPr/>
          <p:nvPr/>
        </p:nvGrpSpPr>
        <p:grpSpPr>
          <a:xfrm>
            <a:off x="9125391" y="559585"/>
            <a:ext cx="350023" cy="350023"/>
            <a:chOff x="9125391" y="559585"/>
            <a:chExt cx="350023" cy="350023"/>
          </a:xfrm>
        </p:grpSpPr>
        <p:sp>
          <p:nvSpPr>
            <p:cNvPr id="769" name="object 769">
              <a:extLst>
                <a:ext uri="{FF2B5EF4-FFF2-40B4-BE49-F238E27FC236}">
                  <a16:creationId xmlns:a16="http://schemas.microsoft.com/office/drawing/2014/main" id="{85F0746D-FB12-160D-9290-193F2B14D080}"/>
                </a:ext>
              </a:extLst>
            </p:cNvPr>
            <p:cNvSpPr/>
            <p:nvPr/>
          </p:nvSpPr>
          <p:spPr>
            <a:xfrm>
              <a:off x="9297573" y="559813"/>
              <a:ext cx="172510" cy="3496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4480"/>
                <a:gd name="f4" fmla="val 576580"/>
                <a:gd name="f5" fmla="val 283939"/>
                <a:gd name="f6" fmla="val 288164"/>
                <a:gd name="f7" fmla="val 280163"/>
                <a:gd name="f8" fmla="val 241362"/>
                <a:gd name="f9" fmla="val 269229"/>
                <a:gd name="f10" fmla="val 196964"/>
                <a:gd name="f11" fmla="val 251734"/>
                <a:gd name="f12" fmla="val 155564"/>
                <a:gd name="f13" fmla="val 228269"/>
                <a:gd name="f14" fmla="val 117758"/>
                <a:gd name="f15" fmla="val 199430"/>
                <a:gd name="f16" fmla="val 84138"/>
                <a:gd name="f17" fmla="val 165810"/>
                <a:gd name="f18" fmla="val 55299"/>
                <a:gd name="f19" fmla="val 128003"/>
                <a:gd name="f20" fmla="val 31834"/>
                <a:gd name="f21" fmla="val 86604"/>
                <a:gd name="f22" fmla="val 14338"/>
                <a:gd name="f23" fmla="val 42206"/>
                <a:gd name="f24" fmla="val 3405"/>
                <a:gd name="f25" fmla="val 76"/>
                <a:gd name="f26" fmla="val 576333"/>
                <a:gd name="f27" fmla="val 572934"/>
                <a:gd name="f28" fmla="val 562000"/>
                <a:gd name="f29" fmla="val 544503"/>
                <a:gd name="f30" fmla="val 521037"/>
                <a:gd name="f31" fmla="val 492196"/>
                <a:gd name="f32" fmla="val 458575"/>
                <a:gd name="f33" fmla="val 420767"/>
                <a:gd name="f34" fmla="val 379366"/>
                <a:gd name="f35" fmla="val 334967"/>
                <a:gd name="f36" fmla="*/ f0 1 284480"/>
                <a:gd name="f37" fmla="*/ f1 1 576580"/>
                <a:gd name="f38" fmla="+- f4 0 f2"/>
                <a:gd name="f39" fmla="+- f3 0 f2"/>
                <a:gd name="f40" fmla="*/ f39 1 284480"/>
                <a:gd name="f41" fmla="*/ f38 1 576580"/>
                <a:gd name="f42" fmla="*/ f2 1 f40"/>
                <a:gd name="f43" fmla="*/ f3 1 f40"/>
                <a:gd name="f44" fmla="*/ f2 1 f41"/>
                <a:gd name="f45" fmla="*/ f4 1 f41"/>
                <a:gd name="f46" fmla="*/ f42 f36 1"/>
                <a:gd name="f47" fmla="*/ f43 f36 1"/>
                <a:gd name="f48" fmla="*/ f45 f37 1"/>
                <a:gd name="f49" fmla="*/ f4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6" t="f49" r="f47" b="f48"/>
              <a:pathLst>
                <a:path w="284480" h="576580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" y="f2"/>
                  </a:lnTo>
                </a:path>
                <a:path w="284480" h="576580">
                  <a:moveTo>
                    <a:pt x="f25" y="f26"/>
                  </a:moveTo>
                  <a:lnTo>
                    <a:pt x="f23" y="f27"/>
                  </a:lnTo>
                  <a:lnTo>
                    <a:pt x="f21" y="f28"/>
                  </a:lnTo>
                  <a:lnTo>
                    <a:pt x="f19" y="f29"/>
                  </a:lnTo>
                  <a:lnTo>
                    <a:pt x="f17" y="f30"/>
                  </a:lnTo>
                  <a:lnTo>
                    <a:pt x="f15" y="f31"/>
                  </a:lnTo>
                  <a:lnTo>
                    <a:pt x="f13" y="f32"/>
                  </a:lnTo>
                  <a:lnTo>
                    <a:pt x="f11" y="f33"/>
                  </a:lnTo>
                  <a:lnTo>
                    <a:pt x="f9" y="f34"/>
                  </a:lnTo>
                  <a:lnTo>
                    <a:pt x="f7" y="f35"/>
                  </a:lnTo>
                  <a:lnTo>
                    <a:pt x="f5" y="f6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770" name="object 770">
              <a:extLst>
                <a:ext uri="{FF2B5EF4-FFF2-40B4-BE49-F238E27FC236}">
                  <a16:creationId xmlns:a16="http://schemas.microsoft.com/office/drawing/2014/main" id="{731C1355-78C9-A3A2-B520-9A0ABE90D7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9125401" y="592293"/>
              <a:ext cx="349931" cy="26527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71" name="object 771">
              <a:extLst>
                <a:ext uri="{FF2B5EF4-FFF2-40B4-BE49-F238E27FC236}">
                  <a16:creationId xmlns:a16="http://schemas.microsoft.com/office/drawing/2014/main" id="{503355B3-F9CE-6214-2BD3-6CC9089510E7}"/>
                </a:ext>
              </a:extLst>
            </p:cNvPr>
            <p:cNvSpPr/>
            <p:nvPr/>
          </p:nvSpPr>
          <p:spPr>
            <a:xfrm>
              <a:off x="9298048" y="559777"/>
              <a:ext cx="172894" cy="3496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5115"/>
                <a:gd name="f4" fmla="val 576580"/>
                <a:gd name="f5" fmla="val 284730"/>
                <a:gd name="f6" fmla="val 288228"/>
                <a:gd name="f7" fmla="val 280954"/>
                <a:gd name="f8" fmla="val 241426"/>
                <a:gd name="f9" fmla="val 270021"/>
                <a:gd name="f10" fmla="val 197028"/>
                <a:gd name="f11" fmla="val 252525"/>
                <a:gd name="f12" fmla="val 155628"/>
                <a:gd name="f13" fmla="val 229060"/>
                <a:gd name="f14" fmla="val 117822"/>
                <a:gd name="f15" fmla="val 200221"/>
                <a:gd name="f16" fmla="val 84202"/>
                <a:gd name="f17" fmla="val 166601"/>
                <a:gd name="f18" fmla="val 55362"/>
                <a:gd name="f19" fmla="val 128794"/>
                <a:gd name="f20" fmla="val 31898"/>
                <a:gd name="f21" fmla="val 87395"/>
                <a:gd name="f22" fmla="val 14402"/>
                <a:gd name="f23" fmla="val 42997"/>
                <a:gd name="f24" fmla="val 3469"/>
                <a:gd name="f25" fmla="val 76"/>
                <a:gd name="f26" fmla="val 576461"/>
                <a:gd name="f27" fmla="val 572998"/>
                <a:gd name="f28" fmla="val 562064"/>
                <a:gd name="f29" fmla="val 544567"/>
                <a:gd name="f30" fmla="val 521101"/>
                <a:gd name="f31" fmla="val 492260"/>
                <a:gd name="f32" fmla="val 458638"/>
                <a:gd name="f33" fmla="val 420830"/>
                <a:gd name="f34" fmla="val 379430"/>
                <a:gd name="f35" fmla="val 335031"/>
                <a:gd name="f36" fmla="*/ f0 1 285115"/>
                <a:gd name="f37" fmla="*/ f1 1 576580"/>
                <a:gd name="f38" fmla="+- f4 0 f2"/>
                <a:gd name="f39" fmla="+- f3 0 f2"/>
                <a:gd name="f40" fmla="*/ f39 1 285115"/>
                <a:gd name="f41" fmla="*/ f38 1 576580"/>
                <a:gd name="f42" fmla="*/ f2 1 f40"/>
                <a:gd name="f43" fmla="*/ f3 1 f40"/>
                <a:gd name="f44" fmla="*/ f2 1 f41"/>
                <a:gd name="f45" fmla="*/ f4 1 f41"/>
                <a:gd name="f46" fmla="*/ f42 f36 1"/>
                <a:gd name="f47" fmla="*/ f43 f36 1"/>
                <a:gd name="f48" fmla="*/ f45 f37 1"/>
                <a:gd name="f49" fmla="*/ f4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6" t="f49" r="f47" b="f48"/>
              <a:pathLst>
                <a:path w="285115" h="576580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" y="f2"/>
                  </a:lnTo>
                </a:path>
                <a:path w="285115" h="576580">
                  <a:moveTo>
                    <a:pt x="f25" y="f26"/>
                  </a:moveTo>
                  <a:lnTo>
                    <a:pt x="f23" y="f27"/>
                  </a:lnTo>
                  <a:lnTo>
                    <a:pt x="f21" y="f28"/>
                  </a:lnTo>
                  <a:lnTo>
                    <a:pt x="f19" y="f29"/>
                  </a:lnTo>
                  <a:lnTo>
                    <a:pt x="f17" y="f30"/>
                  </a:lnTo>
                  <a:lnTo>
                    <a:pt x="f15" y="f31"/>
                  </a:lnTo>
                  <a:lnTo>
                    <a:pt x="f13" y="f32"/>
                  </a:lnTo>
                  <a:lnTo>
                    <a:pt x="f11" y="f33"/>
                  </a:lnTo>
                  <a:lnTo>
                    <a:pt x="f9" y="f34"/>
                  </a:lnTo>
                  <a:lnTo>
                    <a:pt x="f7" y="f35"/>
                  </a:lnTo>
                  <a:lnTo>
                    <a:pt x="f5" y="f6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2" name="object 772">
              <a:extLst>
                <a:ext uri="{FF2B5EF4-FFF2-40B4-BE49-F238E27FC236}">
                  <a16:creationId xmlns:a16="http://schemas.microsoft.com/office/drawing/2014/main" id="{35DFA90F-CAC1-5894-0BB0-28605BC89465}"/>
                </a:ext>
              </a:extLst>
            </p:cNvPr>
            <p:cNvSpPr/>
            <p:nvPr/>
          </p:nvSpPr>
          <p:spPr>
            <a:xfrm>
              <a:off x="9125391" y="55958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73" name="object 773">
            <a:extLst>
              <a:ext uri="{FF2B5EF4-FFF2-40B4-BE49-F238E27FC236}">
                <a16:creationId xmlns:a16="http://schemas.microsoft.com/office/drawing/2014/main" id="{38794731-86A4-BDC0-18D8-39501BA1A13B}"/>
              </a:ext>
            </a:extLst>
          </p:cNvPr>
          <p:cNvGrpSpPr/>
          <p:nvPr/>
        </p:nvGrpSpPr>
        <p:grpSpPr>
          <a:xfrm>
            <a:off x="9943386" y="4382188"/>
            <a:ext cx="350023" cy="350023"/>
            <a:chOff x="9943386" y="4382188"/>
            <a:chExt cx="350023" cy="350023"/>
          </a:xfrm>
        </p:grpSpPr>
        <p:pic>
          <p:nvPicPr>
            <p:cNvPr id="774" name="object 774">
              <a:extLst>
                <a:ext uri="{FF2B5EF4-FFF2-40B4-BE49-F238E27FC236}">
                  <a16:creationId xmlns:a16="http://schemas.microsoft.com/office/drawing/2014/main" id="{31EF32D2-71F2-8B08-76A2-924C967677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943395" y="4383112"/>
              <a:ext cx="349940" cy="349017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75" name="object 775">
              <a:extLst>
                <a:ext uri="{FF2B5EF4-FFF2-40B4-BE49-F238E27FC236}">
                  <a16:creationId xmlns:a16="http://schemas.microsoft.com/office/drawing/2014/main" id="{5641B1F4-8796-0C18-4386-55339B017217}"/>
                </a:ext>
              </a:extLst>
            </p:cNvPr>
            <p:cNvSpPr/>
            <p:nvPr/>
          </p:nvSpPr>
          <p:spPr>
            <a:xfrm>
              <a:off x="9943386" y="438218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76" name="object 776">
            <a:extLst>
              <a:ext uri="{FF2B5EF4-FFF2-40B4-BE49-F238E27FC236}">
                <a16:creationId xmlns:a16="http://schemas.microsoft.com/office/drawing/2014/main" id="{A3C1A179-06BC-05B3-0C05-ABA3D606969C}"/>
              </a:ext>
            </a:extLst>
          </p:cNvPr>
          <p:cNvGrpSpPr/>
          <p:nvPr/>
        </p:nvGrpSpPr>
        <p:grpSpPr>
          <a:xfrm>
            <a:off x="8298024" y="5906603"/>
            <a:ext cx="350023" cy="350023"/>
            <a:chOff x="8298024" y="5906603"/>
            <a:chExt cx="350023" cy="350023"/>
          </a:xfrm>
        </p:grpSpPr>
        <p:pic>
          <p:nvPicPr>
            <p:cNvPr id="777" name="object 777">
              <a:extLst>
                <a:ext uri="{FF2B5EF4-FFF2-40B4-BE49-F238E27FC236}">
                  <a16:creationId xmlns:a16="http://schemas.microsoft.com/office/drawing/2014/main" id="{380B53DB-7EA6-37AE-93AF-4E9F748D47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298024" y="5906603"/>
              <a:ext cx="34993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78" name="object 778">
              <a:extLst>
                <a:ext uri="{FF2B5EF4-FFF2-40B4-BE49-F238E27FC236}">
                  <a16:creationId xmlns:a16="http://schemas.microsoft.com/office/drawing/2014/main" id="{B6241666-4A29-4370-79D9-9822510E09DD}"/>
                </a:ext>
              </a:extLst>
            </p:cNvPr>
            <p:cNvSpPr/>
            <p:nvPr/>
          </p:nvSpPr>
          <p:spPr>
            <a:xfrm>
              <a:off x="8298024" y="590660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79" name="object 779">
            <a:extLst>
              <a:ext uri="{FF2B5EF4-FFF2-40B4-BE49-F238E27FC236}">
                <a16:creationId xmlns:a16="http://schemas.microsoft.com/office/drawing/2014/main" id="{17143BFE-4C85-A8F4-40B4-E68E80B38788}"/>
              </a:ext>
            </a:extLst>
          </p:cNvPr>
          <p:cNvGrpSpPr/>
          <p:nvPr/>
        </p:nvGrpSpPr>
        <p:grpSpPr>
          <a:xfrm>
            <a:off x="5834987" y="5913744"/>
            <a:ext cx="350023" cy="350023"/>
            <a:chOff x="5834987" y="5913744"/>
            <a:chExt cx="350023" cy="350023"/>
          </a:xfrm>
        </p:grpSpPr>
        <p:pic>
          <p:nvPicPr>
            <p:cNvPr id="780" name="object 780">
              <a:extLst>
                <a:ext uri="{FF2B5EF4-FFF2-40B4-BE49-F238E27FC236}">
                  <a16:creationId xmlns:a16="http://schemas.microsoft.com/office/drawing/2014/main" id="{E7C57578-A6CA-9E3A-333E-934E9C8DEF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834987" y="5913845"/>
              <a:ext cx="349940" cy="34973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81" name="object 781">
              <a:extLst>
                <a:ext uri="{FF2B5EF4-FFF2-40B4-BE49-F238E27FC236}">
                  <a16:creationId xmlns:a16="http://schemas.microsoft.com/office/drawing/2014/main" id="{77F0C429-B311-F7B2-A52C-416690052E3C}"/>
                </a:ext>
              </a:extLst>
            </p:cNvPr>
            <p:cNvSpPr/>
            <p:nvPr/>
          </p:nvSpPr>
          <p:spPr>
            <a:xfrm>
              <a:off x="5834987" y="591374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82" name="object 782">
            <a:extLst>
              <a:ext uri="{FF2B5EF4-FFF2-40B4-BE49-F238E27FC236}">
                <a16:creationId xmlns:a16="http://schemas.microsoft.com/office/drawing/2014/main" id="{8A34538A-2D6A-8D0C-E7E8-AEF9C22EB77F}"/>
              </a:ext>
            </a:extLst>
          </p:cNvPr>
          <p:cNvGrpSpPr/>
          <p:nvPr/>
        </p:nvGrpSpPr>
        <p:grpSpPr>
          <a:xfrm>
            <a:off x="2547829" y="2607832"/>
            <a:ext cx="350023" cy="124239"/>
            <a:chOff x="2547829" y="2607832"/>
            <a:chExt cx="350023" cy="124239"/>
          </a:xfrm>
        </p:grpSpPr>
        <p:sp>
          <p:nvSpPr>
            <p:cNvPr id="783" name="object 783">
              <a:extLst>
                <a:ext uri="{FF2B5EF4-FFF2-40B4-BE49-F238E27FC236}">
                  <a16:creationId xmlns:a16="http://schemas.microsoft.com/office/drawing/2014/main" id="{00AE5185-506C-35E6-1F7D-A1EB1DBF51EA}"/>
                </a:ext>
              </a:extLst>
            </p:cNvPr>
            <p:cNvSpPr/>
            <p:nvPr/>
          </p:nvSpPr>
          <p:spPr>
            <a:xfrm>
              <a:off x="2547838" y="2607960"/>
              <a:ext cx="7354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285"/>
                <a:gd name="f4" fmla="val 84454"/>
                <a:gd name="f5" fmla="val 120823"/>
                <a:gd name="f6" fmla="val 84112"/>
                <a:gd name="f7" fmla="*/ f0 1 121285"/>
                <a:gd name="f8" fmla="*/ f1 1 84454"/>
                <a:gd name="f9" fmla="+- f4 0 f2"/>
                <a:gd name="f10" fmla="+- f3 0 f2"/>
                <a:gd name="f11" fmla="*/ f10 1 12128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128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4" name="object 784">
              <a:extLst>
                <a:ext uri="{FF2B5EF4-FFF2-40B4-BE49-F238E27FC236}">
                  <a16:creationId xmlns:a16="http://schemas.microsoft.com/office/drawing/2014/main" id="{93BC1AA0-E8FB-4027-DBD2-EAE05503D948}"/>
                </a:ext>
              </a:extLst>
            </p:cNvPr>
            <p:cNvSpPr/>
            <p:nvPr/>
          </p:nvSpPr>
          <p:spPr>
            <a:xfrm>
              <a:off x="2582576" y="262058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5" name="object 785">
              <a:extLst>
                <a:ext uri="{FF2B5EF4-FFF2-40B4-BE49-F238E27FC236}">
                  <a16:creationId xmlns:a16="http://schemas.microsoft.com/office/drawing/2014/main" id="{F34D696C-20E1-5662-0069-C460EA864B9A}"/>
                </a:ext>
              </a:extLst>
            </p:cNvPr>
            <p:cNvSpPr/>
            <p:nvPr/>
          </p:nvSpPr>
          <p:spPr>
            <a:xfrm>
              <a:off x="2617598" y="262058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6" name="object 786">
              <a:extLst>
                <a:ext uri="{FF2B5EF4-FFF2-40B4-BE49-F238E27FC236}">
                  <a16:creationId xmlns:a16="http://schemas.microsoft.com/office/drawing/2014/main" id="{3263B2E6-4393-4EC7-2BB4-CCCC5D197823}"/>
                </a:ext>
              </a:extLst>
            </p:cNvPr>
            <p:cNvSpPr/>
            <p:nvPr/>
          </p:nvSpPr>
          <p:spPr>
            <a:xfrm>
              <a:off x="2547838" y="26078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7" name="object 787">
              <a:extLst>
                <a:ext uri="{FF2B5EF4-FFF2-40B4-BE49-F238E27FC236}">
                  <a16:creationId xmlns:a16="http://schemas.microsoft.com/office/drawing/2014/main" id="{0E389E1B-3A91-A1F4-C961-86C6E55BFAE1}"/>
                </a:ext>
              </a:extLst>
            </p:cNvPr>
            <p:cNvSpPr/>
            <p:nvPr/>
          </p:nvSpPr>
          <p:spPr>
            <a:xfrm>
              <a:off x="2827736" y="262058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8" name="object 788">
              <a:extLst>
                <a:ext uri="{FF2B5EF4-FFF2-40B4-BE49-F238E27FC236}">
                  <a16:creationId xmlns:a16="http://schemas.microsoft.com/office/drawing/2014/main" id="{612F414E-FB3B-C90A-C7C1-00552F1C46AD}"/>
                </a:ext>
              </a:extLst>
            </p:cNvPr>
            <p:cNvSpPr/>
            <p:nvPr/>
          </p:nvSpPr>
          <p:spPr>
            <a:xfrm>
              <a:off x="2862757" y="262058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9" name="object 789">
              <a:extLst>
                <a:ext uri="{FF2B5EF4-FFF2-40B4-BE49-F238E27FC236}">
                  <a16:creationId xmlns:a16="http://schemas.microsoft.com/office/drawing/2014/main" id="{0F3495EF-3EE0-5EF9-E91E-AAF63F088729}"/>
                </a:ext>
              </a:extLst>
            </p:cNvPr>
            <p:cNvSpPr/>
            <p:nvPr/>
          </p:nvSpPr>
          <p:spPr>
            <a:xfrm>
              <a:off x="2757693" y="262058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0" name="object 790">
              <a:extLst>
                <a:ext uri="{FF2B5EF4-FFF2-40B4-BE49-F238E27FC236}">
                  <a16:creationId xmlns:a16="http://schemas.microsoft.com/office/drawing/2014/main" id="{0F3324DB-8D68-C848-5AED-ECBFAF1B55D2}"/>
                </a:ext>
              </a:extLst>
            </p:cNvPr>
            <p:cNvSpPr/>
            <p:nvPr/>
          </p:nvSpPr>
          <p:spPr>
            <a:xfrm>
              <a:off x="2652619" y="262058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1" name="object 791">
              <a:extLst>
                <a:ext uri="{FF2B5EF4-FFF2-40B4-BE49-F238E27FC236}">
                  <a16:creationId xmlns:a16="http://schemas.microsoft.com/office/drawing/2014/main" id="{981E83AE-A730-72D0-77F3-E13C8293220C}"/>
                </a:ext>
              </a:extLst>
            </p:cNvPr>
            <p:cNvSpPr/>
            <p:nvPr/>
          </p:nvSpPr>
          <p:spPr>
            <a:xfrm>
              <a:off x="2687714" y="262058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2" name="object 792">
              <a:extLst>
                <a:ext uri="{FF2B5EF4-FFF2-40B4-BE49-F238E27FC236}">
                  <a16:creationId xmlns:a16="http://schemas.microsoft.com/office/drawing/2014/main" id="{D7E347FF-163A-0C74-4082-D56ACB16F76F}"/>
                </a:ext>
              </a:extLst>
            </p:cNvPr>
            <p:cNvSpPr/>
            <p:nvPr/>
          </p:nvSpPr>
          <p:spPr>
            <a:xfrm>
              <a:off x="2792714" y="262058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3" name="object 793">
              <a:extLst>
                <a:ext uri="{FF2B5EF4-FFF2-40B4-BE49-F238E27FC236}">
                  <a16:creationId xmlns:a16="http://schemas.microsoft.com/office/drawing/2014/main" id="{01E602D8-2C99-44C6-A5D7-B276E7297A7D}"/>
                </a:ext>
              </a:extLst>
            </p:cNvPr>
            <p:cNvSpPr/>
            <p:nvPr/>
          </p:nvSpPr>
          <p:spPr>
            <a:xfrm>
              <a:off x="2897779" y="26078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4" name="object 794">
              <a:extLst>
                <a:ext uri="{FF2B5EF4-FFF2-40B4-BE49-F238E27FC236}">
                  <a16:creationId xmlns:a16="http://schemas.microsoft.com/office/drawing/2014/main" id="{2BEFA9FC-3A4F-27F4-F6C0-D14134851654}"/>
                </a:ext>
              </a:extLst>
            </p:cNvPr>
            <p:cNvSpPr/>
            <p:nvPr/>
          </p:nvSpPr>
          <p:spPr>
            <a:xfrm>
              <a:off x="2722808" y="26078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5" name="object 795">
              <a:extLst>
                <a:ext uri="{FF2B5EF4-FFF2-40B4-BE49-F238E27FC236}">
                  <a16:creationId xmlns:a16="http://schemas.microsoft.com/office/drawing/2014/main" id="{1BAE958B-41A8-87E7-E81A-FE2A41A95625}"/>
                </a:ext>
              </a:extLst>
            </p:cNvPr>
            <p:cNvSpPr/>
            <p:nvPr/>
          </p:nvSpPr>
          <p:spPr>
            <a:xfrm>
              <a:off x="2547829" y="263334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6" name="object 796">
              <a:extLst>
                <a:ext uri="{FF2B5EF4-FFF2-40B4-BE49-F238E27FC236}">
                  <a16:creationId xmlns:a16="http://schemas.microsoft.com/office/drawing/2014/main" id="{B16D3C70-5D87-B370-BD34-CAEC99D8AA86}"/>
                </a:ext>
              </a:extLst>
            </p:cNvPr>
            <p:cNvSpPr/>
            <p:nvPr/>
          </p:nvSpPr>
          <p:spPr>
            <a:xfrm>
              <a:off x="2897779" y="268085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7" name="object 797">
              <a:extLst>
                <a:ext uri="{FF2B5EF4-FFF2-40B4-BE49-F238E27FC236}">
                  <a16:creationId xmlns:a16="http://schemas.microsoft.com/office/drawing/2014/main" id="{FC958FF1-29C2-2ABD-4A0A-46202BB77E12}"/>
                </a:ext>
              </a:extLst>
            </p:cNvPr>
            <p:cNvSpPr/>
            <p:nvPr/>
          </p:nvSpPr>
          <p:spPr>
            <a:xfrm>
              <a:off x="2722808" y="268085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8" name="object 798">
              <a:extLst>
                <a:ext uri="{FF2B5EF4-FFF2-40B4-BE49-F238E27FC236}">
                  <a16:creationId xmlns:a16="http://schemas.microsoft.com/office/drawing/2014/main" id="{455F1E19-FA85-BBF7-21B1-53E330671FEC}"/>
                </a:ext>
              </a:extLst>
            </p:cNvPr>
            <p:cNvSpPr/>
            <p:nvPr/>
          </p:nvSpPr>
          <p:spPr>
            <a:xfrm>
              <a:off x="2547838" y="268085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9" name="object 799">
              <a:extLst>
                <a:ext uri="{FF2B5EF4-FFF2-40B4-BE49-F238E27FC236}">
                  <a16:creationId xmlns:a16="http://schemas.microsoft.com/office/drawing/2014/main" id="{0F085B2D-46CF-991A-0E65-52C9AFA71E81}"/>
                </a:ext>
              </a:extLst>
            </p:cNvPr>
            <p:cNvSpPr/>
            <p:nvPr/>
          </p:nvSpPr>
          <p:spPr>
            <a:xfrm>
              <a:off x="2722808" y="268085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0" name="object 800">
              <a:extLst>
                <a:ext uri="{FF2B5EF4-FFF2-40B4-BE49-F238E27FC236}">
                  <a16:creationId xmlns:a16="http://schemas.microsoft.com/office/drawing/2014/main" id="{D2716122-18DA-6A29-F80A-D7AAA6F9A3EA}"/>
                </a:ext>
              </a:extLst>
            </p:cNvPr>
            <p:cNvSpPr/>
            <p:nvPr/>
          </p:nvSpPr>
          <p:spPr>
            <a:xfrm>
              <a:off x="2827736" y="269361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1" name="object 801">
              <a:extLst>
                <a:ext uri="{FF2B5EF4-FFF2-40B4-BE49-F238E27FC236}">
                  <a16:creationId xmlns:a16="http://schemas.microsoft.com/office/drawing/2014/main" id="{744CE379-5539-C21A-E4E3-8378614C21CD}"/>
                </a:ext>
              </a:extLst>
            </p:cNvPr>
            <p:cNvSpPr/>
            <p:nvPr/>
          </p:nvSpPr>
          <p:spPr>
            <a:xfrm>
              <a:off x="2862757" y="269361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2" name="object 802">
              <a:extLst>
                <a:ext uri="{FF2B5EF4-FFF2-40B4-BE49-F238E27FC236}">
                  <a16:creationId xmlns:a16="http://schemas.microsoft.com/office/drawing/2014/main" id="{9098BCB8-628B-9533-E579-80188993FCB6}"/>
                </a:ext>
              </a:extLst>
            </p:cNvPr>
            <p:cNvSpPr/>
            <p:nvPr/>
          </p:nvSpPr>
          <p:spPr>
            <a:xfrm>
              <a:off x="2757693" y="269361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3" name="object 803">
              <a:extLst>
                <a:ext uri="{FF2B5EF4-FFF2-40B4-BE49-F238E27FC236}">
                  <a16:creationId xmlns:a16="http://schemas.microsoft.com/office/drawing/2014/main" id="{19A88A3D-7F9F-CDE9-E048-3D4DB174B79D}"/>
                </a:ext>
              </a:extLst>
            </p:cNvPr>
            <p:cNvSpPr/>
            <p:nvPr/>
          </p:nvSpPr>
          <p:spPr>
            <a:xfrm>
              <a:off x="2652619" y="269361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4" name="object 804">
              <a:extLst>
                <a:ext uri="{FF2B5EF4-FFF2-40B4-BE49-F238E27FC236}">
                  <a16:creationId xmlns:a16="http://schemas.microsoft.com/office/drawing/2014/main" id="{A08596CA-C3FC-ECE4-17C9-15EB82E5AB69}"/>
                </a:ext>
              </a:extLst>
            </p:cNvPr>
            <p:cNvSpPr/>
            <p:nvPr/>
          </p:nvSpPr>
          <p:spPr>
            <a:xfrm>
              <a:off x="2687714" y="269361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5" name="object 805">
              <a:extLst>
                <a:ext uri="{FF2B5EF4-FFF2-40B4-BE49-F238E27FC236}">
                  <a16:creationId xmlns:a16="http://schemas.microsoft.com/office/drawing/2014/main" id="{C0FD4BB7-BE04-28D5-8BC2-AE8A1A487075}"/>
                </a:ext>
              </a:extLst>
            </p:cNvPr>
            <p:cNvSpPr/>
            <p:nvPr/>
          </p:nvSpPr>
          <p:spPr>
            <a:xfrm>
              <a:off x="2582576" y="269361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6" name="object 806">
              <a:extLst>
                <a:ext uri="{FF2B5EF4-FFF2-40B4-BE49-F238E27FC236}">
                  <a16:creationId xmlns:a16="http://schemas.microsoft.com/office/drawing/2014/main" id="{ED29D6CE-E3D9-9D3A-674A-73B66BBE0687}"/>
                </a:ext>
              </a:extLst>
            </p:cNvPr>
            <p:cNvSpPr/>
            <p:nvPr/>
          </p:nvSpPr>
          <p:spPr>
            <a:xfrm>
              <a:off x="2792714" y="269361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7" name="object 807">
              <a:extLst>
                <a:ext uri="{FF2B5EF4-FFF2-40B4-BE49-F238E27FC236}">
                  <a16:creationId xmlns:a16="http://schemas.microsoft.com/office/drawing/2014/main" id="{F6B861FE-453F-0C5F-BAC4-941A22FA55B0}"/>
                </a:ext>
              </a:extLst>
            </p:cNvPr>
            <p:cNvSpPr/>
            <p:nvPr/>
          </p:nvSpPr>
          <p:spPr>
            <a:xfrm>
              <a:off x="2617598" y="269361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8" name="object 808">
              <a:extLst>
                <a:ext uri="{FF2B5EF4-FFF2-40B4-BE49-F238E27FC236}">
                  <a16:creationId xmlns:a16="http://schemas.microsoft.com/office/drawing/2014/main" id="{FE036D61-8D4D-C87D-16C5-4DD80CA5A983}"/>
                </a:ext>
              </a:extLst>
            </p:cNvPr>
            <p:cNvSpPr/>
            <p:nvPr/>
          </p:nvSpPr>
          <p:spPr>
            <a:xfrm>
              <a:off x="2547829" y="27063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9" name="object 809">
              <a:extLst>
                <a:ext uri="{FF2B5EF4-FFF2-40B4-BE49-F238E27FC236}">
                  <a16:creationId xmlns:a16="http://schemas.microsoft.com/office/drawing/2014/main" id="{F159FB69-E846-58DD-D79B-E5C2AF5CCC1B}"/>
                </a:ext>
              </a:extLst>
            </p:cNvPr>
            <p:cNvSpPr/>
            <p:nvPr/>
          </p:nvSpPr>
          <p:spPr>
            <a:xfrm>
              <a:off x="2547838" y="2680856"/>
              <a:ext cx="6738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1125"/>
                <a:gd name="f4" fmla="val 84454"/>
                <a:gd name="f5" fmla="val 110687"/>
                <a:gd name="f6" fmla="val 84112"/>
                <a:gd name="f7" fmla="*/ f0 1 111125"/>
                <a:gd name="f8" fmla="*/ f1 1 84454"/>
                <a:gd name="f9" fmla="+- f4 0 f2"/>
                <a:gd name="f10" fmla="+- f3 0 f2"/>
                <a:gd name="f11" fmla="*/ f10 1 1111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11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10" name="object 810">
            <a:extLst>
              <a:ext uri="{FF2B5EF4-FFF2-40B4-BE49-F238E27FC236}">
                <a16:creationId xmlns:a16="http://schemas.microsoft.com/office/drawing/2014/main" id="{672E9603-3B0C-0C77-08D8-78F20F695A18}"/>
              </a:ext>
            </a:extLst>
          </p:cNvPr>
          <p:cNvGrpSpPr/>
          <p:nvPr/>
        </p:nvGrpSpPr>
        <p:grpSpPr>
          <a:xfrm>
            <a:off x="3369692" y="2607475"/>
            <a:ext cx="350023" cy="124230"/>
            <a:chOff x="3369692" y="2607475"/>
            <a:chExt cx="350023" cy="124230"/>
          </a:xfrm>
        </p:grpSpPr>
        <p:sp>
          <p:nvSpPr>
            <p:cNvPr id="811" name="object 811">
              <a:extLst>
                <a:ext uri="{FF2B5EF4-FFF2-40B4-BE49-F238E27FC236}">
                  <a16:creationId xmlns:a16="http://schemas.microsoft.com/office/drawing/2014/main" id="{2B8B3F18-8A88-E7AC-A095-661815F6404B}"/>
                </a:ext>
              </a:extLst>
            </p:cNvPr>
            <p:cNvSpPr/>
            <p:nvPr/>
          </p:nvSpPr>
          <p:spPr>
            <a:xfrm>
              <a:off x="3369692" y="2607475"/>
              <a:ext cx="9048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9225"/>
                <a:gd name="f4" fmla="val 84454"/>
                <a:gd name="f5" fmla="val 148623"/>
                <a:gd name="f6" fmla="val 84123"/>
                <a:gd name="f7" fmla="*/ f0 1 149225"/>
                <a:gd name="f8" fmla="*/ f1 1 84454"/>
                <a:gd name="f9" fmla="+- f4 0 f2"/>
                <a:gd name="f10" fmla="+- f3 0 f2"/>
                <a:gd name="f11" fmla="*/ f10 1 1492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92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2" name="object 812">
              <a:extLst>
                <a:ext uri="{FF2B5EF4-FFF2-40B4-BE49-F238E27FC236}">
                  <a16:creationId xmlns:a16="http://schemas.microsoft.com/office/drawing/2014/main" id="{2A88D836-C78B-D0EA-A650-707402BD4252}"/>
                </a:ext>
              </a:extLst>
            </p:cNvPr>
            <p:cNvSpPr/>
            <p:nvPr/>
          </p:nvSpPr>
          <p:spPr>
            <a:xfrm>
              <a:off x="3474482" y="26202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3" name="object 813">
              <a:extLst>
                <a:ext uri="{FF2B5EF4-FFF2-40B4-BE49-F238E27FC236}">
                  <a16:creationId xmlns:a16="http://schemas.microsoft.com/office/drawing/2014/main" id="{78B04BDF-7A69-6FE5-971C-06EB49E67F56}"/>
                </a:ext>
              </a:extLst>
            </p:cNvPr>
            <p:cNvSpPr/>
            <p:nvPr/>
          </p:nvSpPr>
          <p:spPr>
            <a:xfrm>
              <a:off x="3404439" y="26202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4" name="object 814">
              <a:extLst>
                <a:ext uri="{FF2B5EF4-FFF2-40B4-BE49-F238E27FC236}">
                  <a16:creationId xmlns:a16="http://schemas.microsoft.com/office/drawing/2014/main" id="{E7083405-D857-D1BA-67FE-D30783563DF0}"/>
                </a:ext>
              </a:extLst>
            </p:cNvPr>
            <p:cNvSpPr/>
            <p:nvPr/>
          </p:nvSpPr>
          <p:spPr>
            <a:xfrm>
              <a:off x="3439460" y="26202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5" name="object 815">
              <a:extLst>
                <a:ext uri="{FF2B5EF4-FFF2-40B4-BE49-F238E27FC236}">
                  <a16:creationId xmlns:a16="http://schemas.microsoft.com/office/drawing/2014/main" id="{6F79745C-8976-28DF-AE2D-63292A19EAA0}"/>
                </a:ext>
              </a:extLst>
            </p:cNvPr>
            <p:cNvSpPr/>
            <p:nvPr/>
          </p:nvSpPr>
          <p:spPr>
            <a:xfrm>
              <a:off x="3369692" y="26074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6" name="object 816">
              <a:extLst>
                <a:ext uri="{FF2B5EF4-FFF2-40B4-BE49-F238E27FC236}">
                  <a16:creationId xmlns:a16="http://schemas.microsoft.com/office/drawing/2014/main" id="{99BA0CBE-9BF4-A7EB-8DC7-D0A59B6B49CC}"/>
                </a:ext>
              </a:extLst>
            </p:cNvPr>
            <p:cNvSpPr/>
            <p:nvPr/>
          </p:nvSpPr>
          <p:spPr>
            <a:xfrm>
              <a:off x="3649589" y="26202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7" name="object 817">
              <a:extLst>
                <a:ext uri="{FF2B5EF4-FFF2-40B4-BE49-F238E27FC236}">
                  <a16:creationId xmlns:a16="http://schemas.microsoft.com/office/drawing/2014/main" id="{1D4BC5D8-D91B-7ACA-79D1-8C622C1B64C9}"/>
                </a:ext>
              </a:extLst>
            </p:cNvPr>
            <p:cNvSpPr/>
            <p:nvPr/>
          </p:nvSpPr>
          <p:spPr>
            <a:xfrm>
              <a:off x="3684611" y="26202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8" name="object 818">
              <a:extLst>
                <a:ext uri="{FF2B5EF4-FFF2-40B4-BE49-F238E27FC236}">
                  <a16:creationId xmlns:a16="http://schemas.microsoft.com/office/drawing/2014/main" id="{AA050509-DDAF-A97C-03E1-8EEAA7551B50}"/>
                </a:ext>
              </a:extLst>
            </p:cNvPr>
            <p:cNvSpPr/>
            <p:nvPr/>
          </p:nvSpPr>
          <p:spPr>
            <a:xfrm>
              <a:off x="3579546" y="26202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9" name="object 819">
              <a:extLst>
                <a:ext uri="{FF2B5EF4-FFF2-40B4-BE49-F238E27FC236}">
                  <a16:creationId xmlns:a16="http://schemas.microsoft.com/office/drawing/2014/main" id="{1F12F9AC-A924-1952-6453-4C891EBE1FDB}"/>
                </a:ext>
              </a:extLst>
            </p:cNvPr>
            <p:cNvSpPr/>
            <p:nvPr/>
          </p:nvSpPr>
          <p:spPr>
            <a:xfrm>
              <a:off x="3509576" y="26202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0" name="object 820">
              <a:extLst>
                <a:ext uri="{FF2B5EF4-FFF2-40B4-BE49-F238E27FC236}">
                  <a16:creationId xmlns:a16="http://schemas.microsoft.com/office/drawing/2014/main" id="{25E22BBC-762B-4D9F-2CA9-4DB72CBFAEA1}"/>
                </a:ext>
              </a:extLst>
            </p:cNvPr>
            <p:cNvSpPr/>
            <p:nvPr/>
          </p:nvSpPr>
          <p:spPr>
            <a:xfrm>
              <a:off x="3614568" y="26202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1" name="object 821">
              <a:extLst>
                <a:ext uri="{FF2B5EF4-FFF2-40B4-BE49-F238E27FC236}">
                  <a16:creationId xmlns:a16="http://schemas.microsoft.com/office/drawing/2014/main" id="{8B3082F7-E692-6833-D2D7-AAC8E4353175}"/>
                </a:ext>
              </a:extLst>
            </p:cNvPr>
            <p:cNvSpPr/>
            <p:nvPr/>
          </p:nvSpPr>
          <p:spPr>
            <a:xfrm>
              <a:off x="3719632" y="26074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2" name="object 822">
              <a:extLst>
                <a:ext uri="{FF2B5EF4-FFF2-40B4-BE49-F238E27FC236}">
                  <a16:creationId xmlns:a16="http://schemas.microsoft.com/office/drawing/2014/main" id="{37900773-6935-5A02-E909-E5EC97F587A1}"/>
                </a:ext>
              </a:extLst>
            </p:cNvPr>
            <p:cNvSpPr/>
            <p:nvPr/>
          </p:nvSpPr>
          <p:spPr>
            <a:xfrm>
              <a:off x="3544662" y="26074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3" name="object 823">
              <a:extLst>
                <a:ext uri="{FF2B5EF4-FFF2-40B4-BE49-F238E27FC236}">
                  <a16:creationId xmlns:a16="http://schemas.microsoft.com/office/drawing/2014/main" id="{318E804C-45DD-51A8-0270-87F1929AC5B8}"/>
                </a:ext>
              </a:extLst>
            </p:cNvPr>
            <p:cNvSpPr/>
            <p:nvPr/>
          </p:nvSpPr>
          <p:spPr>
            <a:xfrm>
              <a:off x="3369692" y="263297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4" name="object 824">
              <a:extLst>
                <a:ext uri="{FF2B5EF4-FFF2-40B4-BE49-F238E27FC236}">
                  <a16:creationId xmlns:a16="http://schemas.microsoft.com/office/drawing/2014/main" id="{62277403-A06A-FF30-910B-38815795CF09}"/>
                </a:ext>
              </a:extLst>
            </p:cNvPr>
            <p:cNvSpPr/>
            <p:nvPr/>
          </p:nvSpPr>
          <p:spPr>
            <a:xfrm>
              <a:off x="3370158" y="2680490"/>
              <a:ext cx="635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4775"/>
                <a:gd name="f4" fmla="val 84454"/>
                <a:gd name="f5" fmla="val 104227"/>
                <a:gd name="f6" fmla="val 84123"/>
                <a:gd name="f7" fmla="*/ f0 1 104775"/>
                <a:gd name="f8" fmla="*/ f1 1 84454"/>
                <a:gd name="f9" fmla="+- f4 0 f2"/>
                <a:gd name="f10" fmla="+- f3 0 f2"/>
                <a:gd name="f11" fmla="*/ f10 1 1047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47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5" name="object 825">
              <a:extLst>
                <a:ext uri="{FF2B5EF4-FFF2-40B4-BE49-F238E27FC236}">
                  <a16:creationId xmlns:a16="http://schemas.microsoft.com/office/drawing/2014/main" id="{2FD8728F-4863-5845-33C5-841E39658CE7}"/>
                </a:ext>
              </a:extLst>
            </p:cNvPr>
            <p:cNvSpPr/>
            <p:nvPr/>
          </p:nvSpPr>
          <p:spPr>
            <a:xfrm>
              <a:off x="3649589" y="269324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6" name="object 826">
              <a:extLst>
                <a:ext uri="{FF2B5EF4-FFF2-40B4-BE49-F238E27FC236}">
                  <a16:creationId xmlns:a16="http://schemas.microsoft.com/office/drawing/2014/main" id="{AC840798-E4A4-7A4F-0799-75AF276A6A3A}"/>
                </a:ext>
              </a:extLst>
            </p:cNvPr>
            <p:cNvSpPr/>
            <p:nvPr/>
          </p:nvSpPr>
          <p:spPr>
            <a:xfrm>
              <a:off x="3684611" y="269324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7" name="object 827">
              <a:extLst>
                <a:ext uri="{FF2B5EF4-FFF2-40B4-BE49-F238E27FC236}">
                  <a16:creationId xmlns:a16="http://schemas.microsoft.com/office/drawing/2014/main" id="{B7984209-2CB1-C949-CB43-7196A18C036B}"/>
                </a:ext>
              </a:extLst>
            </p:cNvPr>
            <p:cNvSpPr/>
            <p:nvPr/>
          </p:nvSpPr>
          <p:spPr>
            <a:xfrm>
              <a:off x="3579546" y="269324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8" name="object 828">
              <a:extLst>
                <a:ext uri="{FF2B5EF4-FFF2-40B4-BE49-F238E27FC236}">
                  <a16:creationId xmlns:a16="http://schemas.microsoft.com/office/drawing/2014/main" id="{5206A5E6-EA16-B5C9-55D2-03A24EA39A2E}"/>
                </a:ext>
              </a:extLst>
            </p:cNvPr>
            <p:cNvSpPr/>
            <p:nvPr/>
          </p:nvSpPr>
          <p:spPr>
            <a:xfrm>
              <a:off x="3474482" y="269324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9" name="object 829">
              <a:extLst>
                <a:ext uri="{FF2B5EF4-FFF2-40B4-BE49-F238E27FC236}">
                  <a16:creationId xmlns:a16="http://schemas.microsoft.com/office/drawing/2014/main" id="{75CCB48E-F708-DED8-B36D-04ABA1777051}"/>
                </a:ext>
              </a:extLst>
            </p:cNvPr>
            <p:cNvSpPr/>
            <p:nvPr/>
          </p:nvSpPr>
          <p:spPr>
            <a:xfrm>
              <a:off x="3509576" y="269324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0" name="object 830">
              <a:extLst>
                <a:ext uri="{FF2B5EF4-FFF2-40B4-BE49-F238E27FC236}">
                  <a16:creationId xmlns:a16="http://schemas.microsoft.com/office/drawing/2014/main" id="{D7CFF3E1-917A-BD1C-F0A5-766DA8F20B43}"/>
                </a:ext>
              </a:extLst>
            </p:cNvPr>
            <p:cNvSpPr/>
            <p:nvPr/>
          </p:nvSpPr>
          <p:spPr>
            <a:xfrm>
              <a:off x="3404439" y="269324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1" name="object 831">
              <a:extLst>
                <a:ext uri="{FF2B5EF4-FFF2-40B4-BE49-F238E27FC236}">
                  <a16:creationId xmlns:a16="http://schemas.microsoft.com/office/drawing/2014/main" id="{2EA26DF3-2A7A-DEEF-FDB1-A203F5EDDB14}"/>
                </a:ext>
              </a:extLst>
            </p:cNvPr>
            <p:cNvSpPr/>
            <p:nvPr/>
          </p:nvSpPr>
          <p:spPr>
            <a:xfrm>
              <a:off x="3614568" y="269324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2" name="object 832">
              <a:extLst>
                <a:ext uri="{FF2B5EF4-FFF2-40B4-BE49-F238E27FC236}">
                  <a16:creationId xmlns:a16="http://schemas.microsoft.com/office/drawing/2014/main" id="{F371F7A4-335E-5B1D-A4F5-2E2689633018}"/>
                </a:ext>
              </a:extLst>
            </p:cNvPr>
            <p:cNvSpPr/>
            <p:nvPr/>
          </p:nvSpPr>
          <p:spPr>
            <a:xfrm>
              <a:off x="3439460" y="269324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3" name="object 833">
              <a:extLst>
                <a:ext uri="{FF2B5EF4-FFF2-40B4-BE49-F238E27FC236}">
                  <a16:creationId xmlns:a16="http://schemas.microsoft.com/office/drawing/2014/main" id="{5AC51F28-5E53-0FFC-5DE3-6AA6043B3EF6}"/>
                </a:ext>
              </a:extLst>
            </p:cNvPr>
            <p:cNvSpPr/>
            <p:nvPr/>
          </p:nvSpPr>
          <p:spPr>
            <a:xfrm>
              <a:off x="3719632" y="268049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4" name="object 834">
              <a:extLst>
                <a:ext uri="{FF2B5EF4-FFF2-40B4-BE49-F238E27FC236}">
                  <a16:creationId xmlns:a16="http://schemas.microsoft.com/office/drawing/2014/main" id="{25A569E5-9F74-51FC-DAC0-AA229B2ADA0B}"/>
                </a:ext>
              </a:extLst>
            </p:cNvPr>
            <p:cNvSpPr/>
            <p:nvPr/>
          </p:nvSpPr>
          <p:spPr>
            <a:xfrm>
              <a:off x="3544662" y="268049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5" name="object 835">
              <a:extLst>
                <a:ext uri="{FF2B5EF4-FFF2-40B4-BE49-F238E27FC236}">
                  <a16:creationId xmlns:a16="http://schemas.microsoft.com/office/drawing/2014/main" id="{D4287EFD-B53A-4A96-A9B8-EB6230E33425}"/>
                </a:ext>
              </a:extLst>
            </p:cNvPr>
            <p:cNvSpPr/>
            <p:nvPr/>
          </p:nvSpPr>
          <p:spPr>
            <a:xfrm>
              <a:off x="3369692" y="268049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6" name="object 836">
              <a:extLst>
                <a:ext uri="{FF2B5EF4-FFF2-40B4-BE49-F238E27FC236}">
                  <a16:creationId xmlns:a16="http://schemas.microsoft.com/office/drawing/2014/main" id="{F4DEE3CE-6008-5B7F-109E-5C32DE54C094}"/>
                </a:ext>
              </a:extLst>
            </p:cNvPr>
            <p:cNvSpPr/>
            <p:nvPr/>
          </p:nvSpPr>
          <p:spPr>
            <a:xfrm>
              <a:off x="3544662" y="268049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7" name="object 837">
              <a:extLst>
                <a:ext uri="{FF2B5EF4-FFF2-40B4-BE49-F238E27FC236}">
                  <a16:creationId xmlns:a16="http://schemas.microsoft.com/office/drawing/2014/main" id="{5A114DD2-BCC3-D599-C10A-2CD1B8392A4B}"/>
                </a:ext>
              </a:extLst>
            </p:cNvPr>
            <p:cNvSpPr/>
            <p:nvPr/>
          </p:nvSpPr>
          <p:spPr>
            <a:xfrm>
              <a:off x="3369692" y="270600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38" name="object 838">
            <a:extLst>
              <a:ext uri="{FF2B5EF4-FFF2-40B4-BE49-F238E27FC236}">
                <a16:creationId xmlns:a16="http://schemas.microsoft.com/office/drawing/2014/main" id="{612AB50F-0844-62D9-BF87-5D34A6E25E66}"/>
              </a:ext>
            </a:extLst>
          </p:cNvPr>
          <p:cNvGrpSpPr/>
          <p:nvPr/>
        </p:nvGrpSpPr>
        <p:grpSpPr>
          <a:xfrm>
            <a:off x="3369692" y="3372243"/>
            <a:ext cx="350023" cy="124778"/>
            <a:chOff x="3369692" y="3372243"/>
            <a:chExt cx="350023" cy="124778"/>
          </a:xfrm>
        </p:grpSpPr>
        <p:sp>
          <p:nvSpPr>
            <p:cNvPr id="839" name="object 839">
              <a:extLst>
                <a:ext uri="{FF2B5EF4-FFF2-40B4-BE49-F238E27FC236}">
                  <a16:creationId xmlns:a16="http://schemas.microsoft.com/office/drawing/2014/main" id="{303CE162-470C-F34B-5A31-DD40DED912D6}"/>
                </a:ext>
              </a:extLst>
            </p:cNvPr>
            <p:cNvSpPr/>
            <p:nvPr/>
          </p:nvSpPr>
          <p:spPr>
            <a:xfrm>
              <a:off x="3380545" y="3445806"/>
              <a:ext cx="8047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714"/>
                <a:gd name="f4" fmla="val 84454"/>
                <a:gd name="f5" fmla="val 132153"/>
                <a:gd name="f6" fmla="val 84112"/>
                <a:gd name="f7" fmla="*/ f0 1 132714"/>
                <a:gd name="f8" fmla="*/ f1 1 84454"/>
                <a:gd name="f9" fmla="+- f4 0 f2"/>
                <a:gd name="f10" fmla="+- f3 0 f2"/>
                <a:gd name="f11" fmla="*/ f10 1 13271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71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0" name="object 840">
              <a:extLst>
                <a:ext uri="{FF2B5EF4-FFF2-40B4-BE49-F238E27FC236}">
                  <a16:creationId xmlns:a16="http://schemas.microsoft.com/office/drawing/2014/main" id="{08BE09A2-24F2-A634-BE99-958DD9D9FD05}"/>
                </a:ext>
              </a:extLst>
            </p:cNvPr>
            <p:cNvSpPr/>
            <p:nvPr/>
          </p:nvSpPr>
          <p:spPr>
            <a:xfrm>
              <a:off x="3369692" y="3372252"/>
              <a:ext cx="25530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1004"/>
                <a:gd name="f4" fmla="val 84454"/>
                <a:gd name="f5" fmla="val 420866"/>
                <a:gd name="f6" fmla="val 84112"/>
                <a:gd name="f7" fmla="*/ f0 1 421004"/>
                <a:gd name="f8" fmla="*/ f1 1 84454"/>
                <a:gd name="f9" fmla="+- f4 0 f2"/>
                <a:gd name="f10" fmla="+- f3 0 f2"/>
                <a:gd name="f11" fmla="*/ f10 1 4210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10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1" name="object 841">
              <a:extLst>
                <a:ext uri="{FF2B5EF4-FFF2-40B4-BE49-F238E27FC236}">
                  <a16:creationId xmlns:a16="http://schemas.microsoft.com/office/drawing/2014/main" id="{A3B0C18B-3816-786C-0873-8C0124C09348}"/>
                </a:ext>
              </a:extLst>
            </p:cNvPr>
            <p:cNvSpPr/>
            <p:nvPr/>
          </p:nvSpPr>
          <p:spPr>
            <a:xfrm>
              <a:off x="3649589" y="33849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2" name="object 842">
              <a:extLst>
                <a:ext uri="{FF2B5EF4-FFF2-40B4-BE49-F238E27FC236}">
                  <a16:creationId xmlns:a16="http://schemas.microsoft.com/office/drawing/2014/main" id="{7DCD9BCF-CC0E-A54D-F803-A517BC81AC57}"/>
                </a:ext>
              </a:extLst>
            </p:cNvPr>
            <p:cNvSpPr/>
            <p:nvPr/>
          </p:nvSpPr>
          <p:spPr>
            <a:xfrm>
              <a:off x="3579546" y="33849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3" name="object 843">
              <a:extLst>
                <a:ext uri="{FF2B5EF4-FFF2-40B4-BE49-F238E27FC236}">
                  <a16:creationId xmlns:a16="http://schemas.microsoft.com/office/drawing/2014/main" id="{D0E7A88D-8CD6-D0B2-EFB7-49CD3F13B81A}"/>
                </a:ext>
              </a:extLst>
            </p:cNvPr>
            <p:cNvSpPr/>
            <p:nvPr/>
          </p:nvSpPr>
          <p:spPr>
            <a:xfrm>
              <a:off x="3474482" y="33849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4" name="object 844">
              <a:extLst>
                <a:ext uri="{FF2B5EF4-FFF2-40B4-BE49-F238E27FC236}">
                  <a16:creationId xmlns:a16="http://schemas.microsoft.com/office/drawing/2014/main" id="{4979EF6E-8973-F3CD-9563-568BFAF715B5}"/>
                </a:ext>
              </a:extLst>
            </p:cNvPr>
            <p:cNvSpPr/>
            <p:nvPr/>
          </p:nvSpPr>
          <p:spPr>
            <a:xfrm>
              <a:off x="3509576" y="33849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5" name="object 845">
              <a:extLst>
                <a:ext uri="{FF2B5EF4-FFF2-40B4-BE49-F238E27FC236}">
                  <a16:creationId xmlns:a16="http://schemas.microsoft.com/office/drawing/2014/main" id="{5028B148-FC58-DE3A-9833-DEBA81CF02E5}"/>
                </a:ext>
              </a:extLst>
            </p:cNvPr>
            <p:cNvSpPr/>
            <p:nvPr/>
          </p:nvSpPr>
          <p:spPr>
            <a:xfrm>
              <a:off x="3404439" y="33849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6" name="object 846">
              <a:extLst>
                <a:ext uri="{FF2B5EF4-FFF2-40B4-BE49-F238E27FC236}">
                  <a16:creationId xmlns:a16="http://schemas.microsoft.com/office/drawing/2014/main" id="{FB7E47FD-F7A4-24EE-D8F6-429EF7C537D5}"/>
                </a:ext>
              </a:extLst>
            </p:cNvPr>
            <p:cNvSpPr/>
            <p:nvPr/>
          </p:nvSpPr>
          <p:spPr>
            <a:xfrm>
              <a:off x="3614568" y="33849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7" name="object 847">
              <a:extLst>
                <a:ext uri="{FF2B5EF4-FFF2-40B4-BE49-F238E27FC236}">
                  <a16:creationId xmlns:a16="http://schemas.microsoft.com/office/drawing/2014/main" id="{BA434118-AC1D-70A5-0475-B6656E6C49C5}"/>
                </a:ext>
              </a:extLst>
            </p:cNvPr>
            <p:cNvSpPr/>
            <p:nvPr/>
          </p:nvSpPr>
          <p:spPr>
            <a:xfrm>
              <a:off x="3439460" y="33849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8" name="object 848">
              <a:extLst>
                <a:ext uri="{FF2B5EF4-FFF2-40B4-BE49-F238E27FC236}">
                  <a16:creationId xmlns:a16="http://schemas.microsoft.com/office/drawing/2014/main" id="{E7D6D1A7-7302-84FA-CF86-B6763A65784F}"/>
                </a:ext>
              </a:extLst>
            </p:cNvPr>
            <p:cNvSpPr/>
            <p:nvPr/>
          </p:nvSpPr>
          <p:spPr>
            <a:xfrm>
              <a:off x="3544662" y="33722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9" name="object 849">
              <a:extLst>
                <a:ext uri="{FF2B5EF4-FFF2-40B4-BE49-F238E27FC236}">
                  <a16:creationId xmlns:a16="http://schemas.microsoft.com/office/drawing/2014/main" id="{A9E8612F-9219-4A21-E4D7-7D49FAB7F1B8}"/>
                </a:ext>
              </a:extLst>
            </p:cNvPr>
            <p:cNvSpPr/>
            <p:nvPr/>
          </p:nvSpPr>
          <p:spPr>
            <a:xfrm>
              <a:off x="3369692" y="33722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0" name="object 850">
              <a:extLst>
                <a:ext uri="{FF2B5EF4-FFF2-40B4-BE49-F238E27FC236}">
                  <a16:creationId xmlns:a16="http://schemas.microsoft.com/office/drawing/2014/main" id="{479B4F92-4BE9-B51E-F6FE-F17F920C057E}"/>
                </a:ext>
              </a:extLst>
            </p:cNvPr>
            <p:cNvSpPr/>
            <p:nvPr/>
          </p:nvSpPr>
          <p:spPr>
            <a:xfrm>
              <a:off x="3544662" y="33722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1" name="object 851">
              <a:extLst>
                <a:ext uri="{FF2B5EF4-FFF2-40B4-BE49-F238E27FC236}">
                  <a16:creationId xmlns:a16="http://schemas.microsoft.com/office/drawing/2014/main" id="{7E7E4A17-4A54-F508-13E5-E2CA0D48EF9D}"/>
                </a:ext>
              </a:extLst>
            </p:cNvPr>
            <p:cNvSpPr/>
            <p:nvPr/>
          </p:nvSpPr>
          <p:spPr>
            <a:xfrm>
              <a:off x="3684611" y="33849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2" name="object 852">
              <a:extLst>
                <a:ext uri="{FF2B5EF4-FFF2-40B4-BE49-F238E27FC236}">
                  <a16:creationId xmlns:a16="http://schemas.microsoft.com/office/drawing/2014/main" id="{2B7A2276-E6A5-4848-8BA5-1D22B2B6242E}"/>
                </a:ext>
              </a:extLst>
            </p:cNvPr>
            <p:cNvSpPr/>
            <p:nvPr/>
          </p:nvSpPr>
          <p:spPr>
            <a:xfrm>
              <a:off x="3719632" y="33722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3" name="object 853">
              <a:extLst>
                <a:ext uri="{FF2B5EF4-FFF2-40B4-BE49-F238E27FC236}">
                  <a16:creationId xmlns:a16="http://schemas.microsoft.com/office/drawing/2014/main" id="{3B32C9CF-75AF-35A6-5AC8-95E9243F5699}"/>
                </a:ext>
              </a:extLst>
            </p:cNvPr>
            <p:cNvSpPr/>
            <p:nvPr/>
          </p:nvSpPr>
          <p:spPr>
            <a:xfrm>
              <a:off x="3369692" y="339774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4" name="object 854">
              <a:extLst>
                <a:ext uri="{FF2B5EF4-FFF2-40B4-BE49-F238E27FC236}">
                  <a16:creationId xmlns:a16="http://schemas.microsoft.com/office/drawing/2014/main" id="{7A461327-4E01-AE29-CA34-790515CD0DC8}"/>
                </a:ext>
              </a:extLst>
            </p:cNvPr>
            <p:cNvSpPr/>
            <p:nvPr/>
          </p:nvSpPr>
          <p:spPr>
            <a:xfrm>
              <a:off x="3649589" y="34580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5" name="object 855">
              <a:extLst>
                <a:ext uri="{FF2B5EF4-FFF2-40B4-BE49-F238E27FC236}">
                  <a16:creationId xmlns:a16="http://schemas.microsoft.com/office/drawing/2014/main" id="{C08CCB5C-0EB8-AB6F-B14D-EB1240EB15B8}"/>
                </a:ext>
              </a:extLst>
            </p:cNvPr>
            <p:cNvSpPr/>
            <p:nvPr/>
          </p:nvSpPr>
          <p:spPr>
            <a:xfrm>
              <a:off x="3684611" y="34580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6" name="object 856">
              <a:extLst>
                <a:ext uri="{FF2B5EF4-FFF2-40B4-BE49-F238E27FC236}">
                  <a16:creationId xmlns:a16="http://schemas.microsoft.com/office/drawing/2014/main" id="{5F7586F5-0886-E506-54A9-C26799353D9F}"/>
                </a:ext>
              </a:extLst>
            </p:cNvPr>
            <p:cNvSpPr/>
            <p:nvPr/>
          </p:nvSpPr>
          <p:spPr>
            <a:xfrm>
              <a:off x="3579546" y="34580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7" name="object 857">
              <a:extLst>
                <a:ext uri="{FF2B5EF4-FFF2-40B4-BE49-F238E27FC236}">
                  <a16:creationId xmlns:a16="http://schemas.microsoft.com/office/drawing/2014/main" id="{B19F8D2D-E91F-6812-BF10-75F5D0530B7D}"/>
                </a:ext>
              </a:extLst>
            </p:cNvPr>
            <p:cNvSpPr/>
            <p:nvPr/>
          </p:nvSpPr>
          <p:spPr>
            <a:xfrm>
              <a:off x="3474482" y="34580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8" name="object 858">
              <a:extLst>
                <a:ext uri="{FF2B5EF4-FFF2-40B4-BE49-F238E27FC236}">
                  <a16:creationId xmlns:a16="http://schemas.microsoft.com/office/drawing/2014/main" id="{F9814CC0-8D37-55D2-944B-9DEDA9A2DA2E}"/>
                </a:ext>
              </a:extLst>
            </p:cNvPr>
            <p:cNvSpPr/>
            <p:nvPr/>
          </p:nvSpPr>
          <p:spPr>
            <a:xfrm>
              <a:off x="3509576" y="34580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9" name="object 859">
              <a:extLst>
                <a:ext uri="{FF2B5EF4-FFF2-40B4-BE49-F238E27FC236}">
                  <a16:creationId xmlns:a16="http://schemas.microsoft.com/office/drawing/2014/main" id="{B51078C6-7B20-3491-6AF4-EC9494680F4E}"/>
                </a:ext>
              </a:extLst>
            </p:cNvPr>
            <p:cNvSpPr/>
            <p:nvPr/>
          </p:nvSpPr>
          <p:spPr>
            <a:xfrm>
              <a:off x="3404439" y="34580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0" name="object 860">
              <a:extLst>
                <a:ext uri="{FF2B5EF4-FFF2-40B4-BE49-F238E27FC236}">
                  <a16:creationId xmlns:a16="http://schemas.microsoft.com/office/drawing/2014/main" id="{7B894921-38C3-E3D8-61AB-17B27099ABE6}"/>
                </a:ext>
              </a:extLst>
            </p:cNvPr>
            <p:cNvSpPr/>
            <p:nvPr/>
          </p:nvSpPr>
          <p:spPr>
            <a:xfrm>
              <a:off x="3614568" y="34580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1" name="object 861">
              <a:extLst>
                <a:ext uri="{FF2B5EF4-FFF2-40B4-BE49-F238E27FC236}">
                  <a16:creationId xmlns:a16="http://schemas.microsoft.com/office/drawing/2014/main" id="{C3E41A55-EF36-6CC1-4EDA-DA37E7DE494D}"/>
                </a:ext>
              </a:extLst>
            </p:cNvPr>
            <p:cNvSpPr/>
            <p:nvPr/>
          </p:nvSpPr>
          <p:spPr>
            <a:xfrm>
              <a:off x="3439460" y="345801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2" name="object 862">
              <a:extLst>
                <a:ext uri="{FF2B5EF4-FFF2-40B4-BE49-F238E27FC236}">
                  <a16:creationId xmlns:a16="http://schemas.microsoft.com/office/drawing/2014/main" id="{A8316ACF-326B-D5F5-1BF5-44B995BDB03F}"/>
                </a:ext>
              </a:extLst>
            </p:cNvPr>
            <p:cNvSpPr/>
            <p:nvPr/>
          </p:nvSpPr>
          <p:spPr>
            <a:xfrm>
              <a:off x="3719632" y="344525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3" name="object 863">
              <a:extLst>
                <a:ext uri="{FF2B5EF4-FFF2-40B4-BE49-F238E27FC236}">
                  <a16:creationId xmlns:a16="http://schemas.microsoft.com/office/drawing/2014/main" id="{CFB5FF12-54ED-A232-F1D5-63457600F9FB}"/>
                </a:ext>
              </a:extLst>
            </p:cNvPr>
            <p:cNvSpPr/>
            <p:nvPr/>
          </p:nvSpPr>
          <p:spPr>
            <a:xfrm>
              <a:off x="3544662" y="344525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4" name="object 864">
              <a:extLst>
                <a:ext uri="{FF2B5EF4-FFF2-40B4-BE49-F238E27FC236}">
                  <a16:creationId xmlns:a16="http://schemas.microsoft.com/office/drawing/2014/main" id="{F05CB5C7-56B2-29B1-E7EA-A2246BD7C189}"/>
                </a:ext>
              </a:extLst>
            </p:cNvPr>
            <p:cNvSpPr/>
            <p:nvPr/>
          </p:nvSpPr>
          <p:spPr>
            <a:xfrm>
              <a:off x="3369692" y="344525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5" name="object 865">
              <a:extLst>
                <a:ext uri="{FF2B5EF4-FFF2-40B4-BE49-F238E27FC236}">
                  <a16:creationId xmlns:a16="http://schemas.microsoft.com/office/drawing/2014/main" id="{2ACF260A-616A-D3B9-219D-07612F922808}"/>
                </a:ext>
              </a:extLst>
            </p:cNvPr>
            <p:cNvSpPr/>
            <p:nvPr/>
          </p:nvSpPr>
          <p:spPr>
            <a:xfrm>
              <a:off x="3544662" y="344525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6" name="object 866">
              <a:extLst>
                <a:ext uri="{FF2B5EF4-FFF2-40B4-BE49-F238E27FC236}">
                  <a16:creationId xmlns:a16="http://schemas.microsoft.com/office/drawing/2014/main" id="{E0602591-7B4E-5158-55D8-96D63FAA1BEB}"/>
                </a:ext>
              </a:extLst>
            </p:cNvPr>
            <p:cNvSpPr/>
            <p:nvPr/>
          </p:nvSpPr>
          <p:spPr>
            <a:xfrm>
              <a:off x="3369692" y="347076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67" name="object 867">
            <a:extLst>
              <a:ext uri="{FF2B5EF4-FFF2-40B4-BE49-F238E27FC236}">
                <a16:creationId xmlns:a16="http://schemas.microsoft.com/office/drawing/2014/main" id="{69EB9557-ADE8-75FC-81EB-5667579CA8CD}"/>
              </a:ext>
            </a:extLst>
          </p:cNvPr>
          <p:cNvGrpSpPr/>
          <p:nvPr/>
        </p:nvGrpSpPr>
        <p:grpSpPr>
          <a:xfrm>
            <a:off x="2545241" y="552489"/>
            <a:ext cx="7748177" cy="5716509"/>
            <a:chOff x="2545241" y="552489"/>
            <a:chExt cx="7748177" cy="5716509"/>
          </a:xfrm>
        </p:grpSpPr>
        <p:pic>
          <p:nvPicPr>
            <p:cNvPr id="868" name="object 868">
              <a:extLst>
                <a:ext uri="{FF2B5EF4-FFF2-40B4-BE49-F238E27FC236}">
                  <a16:creationId xmlns:a16="http://schemas.microsoft.com/office/drawing/2014/main" id="{7E103227-F9D0-E336-1E5D-2BE5BE1DAA6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90512" y="2098008"/>
              <a:ext cx="349940" cy="34445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69" name="object 869">
              <a:extLst>
                <a:ext uri="{FF2B5EF4-FFF2-40B4-BE49-F238E27FC236}">
                  <a16:creationId xmlns:a16="http://schemas.microsoft.com/office/drawing/2014/main" id="{81307353-E3F2-C814-D516-7DBD89B1870C}"/>
                </a:ext>
              </a:extLst>
            </p:cNvPr>
            <p:cNvSpPr/>
            <p:nvPr/>
          </p:nvSpPr>
          <p:spPr>
            <a:xfrm>
              <a:off x="4190512" y="209741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0" name="object 870">
              <a:extLst>
                <a:ext uri="{FF2B5EF4-FFF2-40B4-BE49-F238E27FC236}">
                  <a16:creationId xmlns:a16="http://schemas.microsoft.com/office/drawing/2014/main" id="{2E4D4684-CB91-6F94-DD14-E77F97D2F36E}"/>
                </a:ext>
              </a:extLst>
            </p:cNvPr>
            <p:cNvSpPr/>
            <p:nvPr/>
          </p:nvSpPr>
          <p:spPr>
            <a:xfrm>
              <a:off x="4470062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1" name="object 871">
              <a:extLst>
                <a:ext uri="{FF2B5EF4-FFF2-40B4-BE49-F238E27FC236}">
                  <a16:creationId xmlns:a16="http://schemas.microsoft.com/office/drawing/2014/main" id="{9FBE30FE-668F-2134-D5B8-FD20FFFF48DC}"/>
                </a:ext>
              </a:extLst>
            </p:cNvPr>
            <p:cNvSpPr/>
            <p:nvPr/>
          </p:nvSpPr>
          <p:spPr>
            <a:xfrm>
              <a:off x="4505084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2" name="object 872">
              <a:extLst>
                <a:ext uri="{FF2B5EF4-FFF2-40B4-BE49-F238E27FC236}">
                  <a16:creationId xmlns:a16="http://schemas.microsoft.com/office/drawing/2014/main" id="{08EE3BB9-419A-E4F2-4664-C00043B928C6}"/>
                </a:ext>
              </a:extLst>
            </p:cNvPr>
            <p:cNvSpPr/>
            <p:nvPr/>
          </p:nvSpPr>
          <p:spPr>
            <a:xfrm>
              <a:off x="4400019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3" name="object 873">
              <a:extLst>
                <a:ext uri="{FF2B5EF4-FFF2-40B4-BE49-F238E27FC236}">
                  <a16:creationId xmlns:a16="http://schemas.microsoft.com/office/drawing/2014/main" id="{2BD6EC30-D1D0-023E-7207-61288EFA2360}"/>
                </a:ext>
              </a:extLst>
            </p:cNvPr>
            <p:cNvSpPr/>
            <p:nvPr/>
          </p:nvSpPr>
          <p:spPr>
            <a:xfrm>
              <a:off x="4294955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4" name="object 874">
              <a:extLst>
                <a:ext uri="{FF2B5EF4-FFF2-40B4-BE49-F238E27FC236}">
                  <a16:creationId xmlns:a16="http://schemas.microsoft.com/office/drawing/2014/main" id="{3EE24DB1-5B8C-3F16-3A18-134A953EC0EE}"/>
                </a:ext>
              </a:extLst>
            </p:cNvPr>
            <p:cNvSpPr/>
            <p:nvPr/>
          </p:nvSpPr>
          <p:spPr>
            <a:xfrm>
              <a:off x="4330049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5" name="object 875">
              <a:extLst>
                <a:ext uri="{FF2B5EF4-FFF2-40B4-BE49-F238E27FC236}">
                  <a16:creationId xmlns:a16="http://schemas.microsoft.com/office/drawing/2014/main" id="{76B16E89-EF6B-7A2F-46F5-46A9607AD9F5}"/>
                </a:ext>
              </a:extLst>
            </p:cNvPr>
            <p:cNvSpPr/>
            <p:nvPr/>
          </p:nvSpPr>
          <p:spPr>
            <a:xfrm>
              <a:off x="4224912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6" name="object 876">
              <a:extLst>
                <a:ext uri="{FF2B5EF4-FFF2-40B4-BE49-F238E27FC236}">
                  <a16:creationId xmlns:a16="http://schemas.microsoft.com/office/drawing/2014/main" id="{39347F0C-A07D-5475-BF47-58E299EBCFB9}"/>
                </a:ext>
              </a:extLst>
            </p:cNvPr>
            <p:cNvSpPr/>
            <p:nvPr/>
          </p:nvSpPr>
          <p:spPr>
            <a:xfrm>
              <a:off x="4435041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7" name="object 877">
              <a:extLst>
                <a:ext uri="{FF2B5EF4-FFF2-40B4-BE49-F238E27FC236}">
                  <a16:creationId xmlns:a16="http://schemas.microsoft.com/office/drawing/2014/main" id="{7534A3E4-A6D4-45A5-A6CC-B07A732497EE}"/>
                </a:ext>
              </a:extLst>
            </p:cNvPr>
            <p:cNvSpPr/>
            <p:nvPr/>
          </p:nvSpPr>
          <p:spPr>
            <a:xfrm>
              <a:off x="4259933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8" name="object 878">
              <a:extLst>
                <a:ext uri="{FF2B5EF4-FFF2-40B4-BE49-F238E27FC236}">
                  <a16:creationId xmlns:a16="http://schemas.microsoft.com/office/drawing/2014/main" id="{93D881D1-F97E-CB00-8B47-35A4C807369C}"/>
                </a:ext>
              </a:extLst>
            </p:cNvPr>
            <p:cNvSpPr/>
            <p:nvPr/>
          </p:nvSpPr>
          <p:spPr>
            <a:xfrm>
              <a:off x="4540105" y="49015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9" name="object 879">
              <a:extLst>
                <a:ext uri="{FF2B5EF4-FFF2-40B4-BE49-F238E27FC236}">
                  <a16:creationId xmlns:a16="http://schemas.microsoft.com/office/drawing/2014/main" id="{47714D59-9AE6-E596-F221-D017B82014DA}"/>
                </a:ext>
              </a:extLst>
            </p:cNvPr>
            <p:cNvSpPr/>
            <p:nvPr/>
          </p:nvSpPr>
          <p:spPr>
            <a:xfrm>
              <a:off x="4365135" y="49015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0" name="object 880">
              <a:extLst>
                <a:ext uri="{FF2B5EF4-FFF2-40B4-BE49-F238E27FC236}">
                  <a16:creationId xmlns:a16="http://schemas.microsoft.com/office/drawing/2014/main" id="{DFF666AB-0625-B766-1359-159CD026969C}"/>
                </a:ext>
              </a:extLst>
            </p:cNvPr>
            <p:cNvSpPr/>
            <p:nvPr/>
          </p:nvSpPr>
          <p:spPr>
            <a:xfrm>
              <a:off x="4190164" y="49015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1" name="object 881">
              <a:extLst>
                <a:ext uri="{FF2B5EF4-FFF2-40B4-BE49-F238E27FC236}">
                  <a16:creationId xmlns:a16="http://schemas.microsoft.com/office/drawing/2014/main" id="{3E6D28AA-AED5-AF86-AA6B-9586E45DEB77}"/>
                </a:ext>
              </a:extLst>
            </p:cNvPr>
            <p:cNvSpPr/>
            <p:nvPr/>
          </p:nvSpPr>
          <p:spPr>
            <a:xfrm>
              <a:off x="4365135" y="49015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2" name="object 882">
              <a:extLst>
                <a:ext uri="{FF2B5EF4-FFF2-40B4-BE49-F238E27FC236}">
                  <a16:creationId xmlns:a16="http://schemas.microsoft.com/office/drawing/2014/main" id="{10995051-6FD8-1309-F3C8-80BB3DD364E5}"/>
                </a:ext>
              </a:extLst>
            </p:cNvPr>
            <p:cNvSpPr/>
            <p:nvPr/>
          </p:nvSpPr>
          <p:spPr>
            <a:xfrm>
              <a:off x="4190164" y="49270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3" name="object 883">
              <a:extLst>
                <a:ext uri="{FF2B5EF4-FFF2-40B4-BE49-F238E27FC236}">
                  <a16:creationId xmlns:a16="http://schemas.microsoft.com/office/drawing/2014/main" id="{7EA25918-23E5-5218-078A-511C8AAC20A4}"/>
                </a:ext>
              </a:extLst>
            </p:cNvPr>
            <p:cNvSpPr/>
            <p:nvPr/>
          </p:nvSpPr>
          <p:spPr>
            <a:xfrm>
              <a:off x="4645033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4" name="object 884">
              <a:extLst>
                <a:ext uri="{FF2B5EF4-FFF2-40B4-BE49-F238E27FC236}">
                  <a16:creationId xmlns:a16="http://schemas.microsoft.com/office/drawing/2014/main" id="{DC53D13C-09D0-587B-9165-410007E37013}"/>
                </a:ext>
              </a:extLst>
            </p:cNvPr>
            <p:cNvSpPr/>
            <p:nvPr/>
          </p:nvSpPr>
          <p:spPr>
            <a:xfrm>
              <a:off x="4680054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5" name="object 885">
              <a:extLst>
                <a:ext uri="{FF2B5EF4-FFF2-40B4-BE49-F238E27FC236}">
                  <a16:creationId xmlns:a16="http://schemas.microsoft.com/office/drawing/2014/main" id="{1ECA9320-9FAC-9718-1296-69609FE2C1A6}"/>
                </a:ext>
              </a:extLst>
            </p:cNvPr>
            <p:cNvSpPr/>
            <p:nvPr/>
          </p:nvSpPr>
          <p:spPr>
            <a:xfrm>
              <a:off x="4574990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6" name="object 886">
              <a:extLst>
                <a:ext uri="{FF2B5EF4-FFF2-40B4-BE49-F238E27FC236}">
                  <a16:creationId xmlns:a16="http://schemas.microsoft.com/office/drawing/2014/main" id="{4E87BFBF-0046-3B62-2CC7-E22EC34FEFD5}"/>
                </a:ext>
              </a:extLst>
            </p:cNvPr>
            <p:cNvSpPr/>
            <p:nvPr/>
          </p:nvSpPr>
          <p:spPr>
            <a:xfrm>
              <a:off x="4610011" y="49143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7" name="object 887">
              <a:extLst>
                <a:ext uri="{FF2B5EF4-FFF2-40B4-BE49-F238E27FC236}">
                  <a16:creationId xmlns:a16="http://schemas.microsoft.com/office/drawing/2014/main" id="{E9B4D8A6-632A-38E8-20C9-F977559EC29B}"/>
                </a:ext>
              </a:extLst>
            </p:cNvPr>
            <p:cNvSpPr/>
            <p:nvPr/>
          </p:nvSpPr>
          <p:spPr>
            <a:xfrm>
              <a:off x="4715085" y="49015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8" name="object 888">
              <a:extLst>
                <a:ext uri="{FF2B5EF4-FFF2-40B4-BE49-F238E27FC236}">
                  <a16:creationId xmlns:a16="http://schemas.microsoft.com/office/drawing/2014/main" id="{49DF6F4E-0400-C292-35D7-60CAD0052DCB}"/>
                </a:ext>
              </a:extLst>
            </p:cNvPr>
            <p:cNvSpPr/>
            <p:nvPr/>
          </p:nvSpPr>
          <p:spPr>
            <a:xfrm>
              <a:off x="4540105" y="4927088"/>
              <a:ext cx="17520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75204"/>
                <a:gd name="f5" fmla="val 87490"/>
                <a:gd name="f6" fmla="val 174974"/>
                <a:gd name="f7" fmla="abs f0"/>
                <a:gd name="f8" fmla="abs f1"/>
                <a:gd name="f9" fmla="abs f2"/>
                <a:gd name="f10" fmla="*/ f0 1 17520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175204"/>
                <a:gd name="f17" fmla="*/ f11 1 0"/>
                <a:gd name="f18" fmla="*/ f13 1 175204"/>
                <a:gd name="f19" fmla="*/ f14 1 21600"/>
                <a:gd name="f20" fmla="*/ 21600 f14 1"/>
                <a:gd name="f21" fmla="*/ 0 1 f16"/>
                <a:gd name="f22" fmla="*/ 17520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17520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9" name="object 889">
              <a:extLst>
                <a:ext uri="{FF2B5EF4-FFF2-40B4-BE49-F238E27FC236}">
                  <a16:creationId xmlns:a16="http://schemas.microsoft.com/office/drawing/2014/main" id="{91680B40-112C-21A7-2E13-8FBE701D5318}"/>
                </a:ext>
              </a:extLst>
            </p:cNvPr>
            <p:cNvSpPr/>
            <p:nvPr/>
          </p:nvSpPr>
          <p:spPr>
            <a:xfrm>
              <a:off x="4189991" y="1079540"/>
              <a:ext cx="500972" cy="38725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826134"/>
                <a:gd name="f4" fmla="val 6386195"/>
                <a:gd name="f5" fmla="val 357466"/>
                <a:gd name="f6" fmla="val 84099"/>
                <a:gd name="f7" fmla="val 825690"/>
                <a:gd name="f8" fmla="val 6301448"/>
                <a:gd name="f9" fmla="val 469"/>
                <a:gd name="f10" fmla="val 6385573"/>
                <a:gd name="f11" fmla="*/ f0 1 826134"/>
                <a:gd name="f12" fmla="*/ f1 1 6386195"/>
                <a:gd name="f13" fmla="+- f4 0 f2"/>
                <a:gd name="f14" fmla="+- f3 0 f2"/>
                <a:gd name="f15" fmla="*/ f14 1 826134"/>
                <a:gd name="f16" fmla="*/ f13 1 6386195"/>
                <a:gd name="f17" fmla="*/ f2 1 f15"/>
                <a:gd name="f18" fmla="*/ f3 1 f15"/>
                <a:gd name="f19" fmla="*/ f2 1 f16"/>
                <a:gd name="f20" fmla="*/ f4 1 f16"/>
                <a:gd name="f21" fmla="*/ f17 f11 1"/>
                <a:gd name="f22" fmla="*/ f18 f11 1"/>
                <a:gd name="f23" fmla="*/ f20 f12 1"/>
                <a:gd name="f24" fmla="*/ f1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1" t="f24" r="f22" b="f23"/>
              <a:pathLst>
                <a:path w="826134" h="638619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  <a:path w="826134" h="6386195">
                  <a:moveTo>
                    <a:pt x="f7" y="f8"/>
                  </a:moveTo>
                  <a:lnTo>
                    <a:pt x="f9" y="f8"/>
                  </a:lnTo>
                  <a:lnTo>
                    <a:pt x="f9" y="f10"/>
                  </a:lnTo>
                  <a:lnTo>
                    <a:pt x="f7" y="f10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0" name="object 890">
              <a:extLst>
                <a:ext uri="{FF2B5EF4-FFF2-40B4-BE49-F238E27FC236}">
                  <a16:creationId xmlns:a16="http://schemas.microsoft.com/office/drawing/2014/main" id="{50466917-3CB4-F537-7EE1-4F45B8448586}"/>
                </a:ext>
              </a:extLst>
            </p:cNvPr>
            <p:cNvSpPr/>
            <p:nvPr/>
          </p:nvSpPr>
          <p:spPr>
            <a:xfrm>
              <a:off x="4469907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1" name="object 891">
              <a:extLst>
                <a:ext uri="{FF2B5EF4-FFF2-40B4-BE49-F238E27FC236}">
                  <a16:creationId xmlns:a16="http://schemas.microsoft.com/office/drawing/2014/main" id="{6CCF89A7-E22D-3BD5-8059-C7779EFF3FB5}"/>
                </a:ext>
              </a:extLst>
            </p:cNvPr>
            <p:cNvSpPr/>
            <p:nvPr/>
          </p:nvSpPr>
          <p:spPr>
            <a:xfrm>
              <a:off x="4504928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2" name="object 892">
              <a:extLst>
                <a:ext uri="{FF2B5EF4-FFF2-40B4-BE49-F238E27FC236}">
                  <a16:creationId xmlns:a16="http://schemas.microsoft.com/office/drawing/2014/main" id="{F63B078F-3D61-AAE8-D316-6C077BCBB225}"/>
                </a:ext>
              </a:extLst>
            </p:cNvPr>
            <p:cNvSpPr/>
            <p:nvPr/>
          </p:nvSpPr>
          <p:spPr>
            <a:xfrm>
              <a:off x="4399864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3" name="object 893">
              <a:extLst>
                <a:ext uri="{FF2B5EF4-FFF2-40B4-BE49-F238E27FC236}">
                  <a16:creationId xmlns:a16="http://schemas.microsoft.com/office/drawing/2014/main" id="{B6E513AE-786A-7909-3B1D-6D60D9D00A94}"/>
                </a:ext>
              </a:extLst>
            </p:cNvPr>
            <p:cNvSpPr/>
            <p:nvPr/>
          </p:nvSpPr>
          <p:spPr>
            <a:xfrm>
              <a:off x="4294790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4" name="object 894">
              <a:extLst>
                <a:ext uri="{FF2B5EF4-FFF2-40B4-BE49-F238E27FC236}">
                  <a16:creationId xmlns:a16="http://schemas.microsoft.com/office/drawing/2014/main" id="{A5C35625-FE1A-9080-0EAA-F68308D3AD3F}"/>
                </a:ext>
              </a:extLst>
            </p:cNvPr>
            <p:cNvSpPr/>
            <p:nvPr/>
          </p:nvSpPr>
          <p:spPr>
            <a:xfrm>
              <a:off x="4329885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5" name="object 895">
              <a:extLst>
                <a:ext uri="{FF2B5EF4-FFF2-40B4-BE49-F238E27FC236}">
                  <a16:creationId xmlns:a16="http://schemas.microsoft.com/office/drawing/2014/main" id="{786DEDF0-F2C4-C771-46B5-E6C996D8042F}"/>
                </a:ext>
              </a:extLst>
            </p:cNvPr>
            <p:cNvSpPr/>
            <p:nvPr/>
          </p:nvSpPr>
          <p:spPr>
            <a:xfrm>
              <a:off x="4224747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6" name="object 896">
              <a:extLst>
                <a:ext uri="{FF2B5EF4-FFF2-40B4-BE49-F238E27FC236}">
                  <a16:creationId xmlns:a16="http://schemas.microsoft.com/office/drawing/2014/main" id="{E6DB3EC5-1898-594E-8B61-5987167EE153}"/>
                </a:ext>
              </a:extLst>
            </p:cNvPr>
            <p:cNvSpPr/>
            <p:nvPr/>
          </p:nvSpPr>
          <p:spPr>
            <a:xfrm>
              <a:off x="4434876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7" name="object 897">
              <a:extLst>
                <a:ext uri="{FF2B5EF4-FFF2-40B4-BE49-F238E27FC236}">
                  <a16:creationId xmlns:a16="http://schemas.microsoft.com/office/drawing/2014/main" id="{B66BE358-BD7F-A53F-1DE3-04D842797EF1}"/>
                </a:ext>
              </a:extLst>
            </p:cNvPr>
            <p:cNvSpPr/>
            <p:nvPr/>
          </p:nvSpPr>
          <p:spPr>
            <a:xfrm>
              <a:off x="4259768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8" name="object 898">
              <a:extLst>
                <a:ext uri="{FF2B5EF4-FFF2-40B4-BE49-F238E27FC236}">
                  <a16:creationId xmlns:a16="http://schemas.microsoft.com/office/drawing/2014/main" id="{996369D4-3410-4D92-366A-6B819307558F}"/>
                </a:ext>
              </a:extLst>
            </p:cNvPr>
            <p:cNvSpPr/>
            <p:nvPr/>
          </p:nvSpPr>
          <p:spPr>
            <a:xfrm>
              <a:off x="4539950" y="107953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9" name="object 899">
              <a:extLst>
                <a:ext uri="{FF2B5EF4-FFF2-40B4-BE49-F238E27FC236}">
                  <a16:creationId xmlns:a16="http://schemas.microsoft.com/office/drawing/2014/main" id="{3250E4AD-7215-3B90-0C19-9BCE5DBB73D9}"/>
                </a:ext>
              </a:extLst>
            </p:cNvPr>
            <p:cNvSpPr/>
            <p:nvPr/>
          </p:nvSpPr>
          <p:spPr>
            <a:xfrm>
              <a:off x="4364979" y="107953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0" name="object 900">
              <a:extLst>
                <a:ext uri="{FF2B5EF4-FFF2-40B4-BE49-F238E27FC236}">
                  <a16:creationId xmlns:a16="http://schemas.microsoft.com/office/drawing/2014/main" id="{825E2097-FC39-55DD-454B-DB9A553D3ACC}"/>
                </a:ext>
              </a:extLst>
            </p:cNvPr>
            <p:cNvSpPr/>
            <p:nvPr/>
          </p:nvSpPr>
          <p:spPr>
            <a:xfrm>
              <a:off x="4190000" y="107953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1" name="object 901">
              <a:extLst>
                <a:ext uri="{FF2B5EF4-FFF2-40B4-BE49-F238E27FC236}">
                  <a16:creationId xmlns:a16="http://schemas.microsoft.com/office/drawing/2014/main" id="{12D195A0-6AF6-75FE-4300-72959E099869}"/>
                </a:ext>
              </a:extLst>
            </p:cNvPr>
            <p:cNvSpPr/>
            <p:nvPr/>
          </p:nvSpPr>
          <p:spPr>
            <a:xfrm>
              <a:off x="4364979" y="107953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2" name="object 902">
              <a:extLst>
                <a:ext uri="{FF2B5EF4-FFF2-40B4-BE49-F238E27FC236}">
                  <a16:creationId xmlns:a16="http://schemas.microsoft.com/office/drawing/2014/main" id="{5266A925-DCCF-65DE-32EF-9F2BD2127410}"/>
                </a:ext>
              </a:extLst>
            </p:cNvPr>
            <p:cNvSpPr/>
            <p:nvPr/>
          </p:nvSpPr>
          <p:spPr>
            <a:xfrm>
              <a:off x="4190000" y="110504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3" name="object 903">
              <a:extLst>
                <a:ext uri="{FF2B5EF4-FFF2-40B4-BE49-F238E27FC236}">
                  <a16:creationId xmlns:a16="http://schemas.microsoft.com/office/drawing/2014/main" id="{7413F9A0-86C8-5DE4-E5FF-372338656988}"/>
                </a:ext>
              </a:extLst>
            </p:cNvPr>
            <p:cNvSpPr/>
            <p:nvPr/>
          </p:nvSpPr>
          <p:spPr>
            <a:xfrm>
              <a:off x="4190475" y="1152555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5"/>
                <a:gd name="f5" fmla="val 576307"/>
                <a:gd name="f6" fmla="val 84112"/>
                <a:gd name="f7" fmla="*/ f0 1 576579"/>
                <a:gd name="f8" fmla="*/ f1 1 84455"/>
                <a:gd name="f9" fmla="+- f4 0 f2"/>
                <a:gd name="f10" fmla="+- f3 0 f2"/>
                <a:gd name="f11" fmla="*/ f10 1 57657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4" name="object 904">
              <a:extLst>
                <a:ext uri="{FF2B5EF4-FFF2-40B4-BE49-F238E27FC236}">
                  <a16:creationId xmlns:a16="http://schemas.microsoft.com/office/drawing/2014/main" id="{4CE7BFF6-6AD8-8B84-8586-29404BED91CF}"/>
                </a:ext>
              </a:extLst>
            </p:cNvPr>
            <p:cNvSpPr/>
            <p:nvPr/>
          </p:nvSpPr>
          <p:spPr>
            <a:xfrm>
              <a:off x="4469907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5" name="object 905">
              <a:extLst>
                <a:ext uri="{FF2B5EF4-FFF2-40B4-BE49-F238E27FC236}">
                  <a16:creationId xmlns:a16="http://schemas.microsoft.com/office/drawing/2014/main" id="{AE7F2D58-2426-B607-A086-D72AFA9E2EA2}"/>
                </a:ext>
              </a:extLst>
            </p:cNvPr>
            <p:cNvSpPr/>
            <p:nvPr/>
          </p:nvSpPr>
          <p:spPr>
            <a:xfrm>
              <a:off x="450492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6" name="object 906">
              <a:extLst>
                <a:ext uri="{FF2B5EF4-FFF2-40B4-BE49-F238E27FC236}">
                  <a16:creationId xmlns:a16="http://schemas.microsoft.com/office/drawing/2014/main" id="{191406EA-EE3F-C21A-4687-1F617166D7DA}"/>
                </a:ext>
              </a:extLst>
            </p:cNvPr>
            <p:cNvSpPr/>
            <p:nvPr/>
          </p:nvSpPr>
          <p:spPr>
            <a:xfrm>
              <a:off x="4399864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7" name="object 907">
              <a:extLst>
                <a:ext uri="{FF2B5EF4-FFF2-40B4-BE49-F238E27FC236}">
                  <a16:creationId xmlns:a16="http://schemas.microsoft.com/office/drawing/2014/main" id="{802145F4-D623-7321-DE02-798B530AAAB6}"/>
                </a:ext>
              </a:extLst>
            </p:cNvPr>
            <p:cNvSpPr/>
            <p:nvPr/>
          </p:nvSpPr>
          <p:spPr>
            <a:xfrm>
              <a:off x="429479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8" name="object 908">
              <a:extLst>
                <a:ext uri="{FF2B5EF4-FFF2-40B4-BE49-F238E27FC236}">
                  <a16:creationId xmlns:a16="http://schemas.microsoft.com/office/drawing/2014/main" id="{594649F7-AE19-5C88-3CBE-1D9E7B8B0E2E}"/>
                </a:ext>
              </a:extLst>
            </p:cNvPr>
            <p:cNvSpPr/>
            <p:nvPr/>
          </p:nvSpPr>
          <p:spPr>
            <a:xfrm>
              <a:off x="4329885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9" name="object 909">
              <a:extLst>
                <a:ext uri="{FF2B5EF4-FFF2-40B4-BE49-F238E27FC236}">
                  <a16:creationId xmlns:a16="http://schemas.microsoft.com/office/drawing/2014/main" id="{8054EDC6-67D5-0271-F3B8-2BF4E92D3821}"/>
                </a:ext>
              </a:extLst>
            </p:cNvPr>
            <p:cNvSpPr/>
            <p:nvPr/>
          </p:nvSpPr>
          <p:spPr>
            <a:xfrm>
              <a:off x="4224747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0" name="object 910">
              <a:extLst>
                <a:ext uri="{FF2B5EF4-FFF2-40B4-BE49-F238E27FC236}">
                  <a16:creationId xmlns:a16="http://schemas.microsoft.com/office/drawing/2014/main" id="{30C3C122-C8FC-34A2-76C1-9DEA80DD15BC}"/>
                </a:ext>
              </a:extLst>
            </p:cNvPr>
            <p:cNvSpPr/>
            <p:nvPr/>
          </p:nvSpPr>
          <p:spPr>
            <a:xfrm>
              <a:off x="4434876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1" name="object 911">
              <a:extLst>
                <a:ext uri="{FF2B5EF4-FFF2-40B4-BE49-F238E27FC236}">
                  <a16:creationId xmlns:a16="http://schemas.microsoft.com/office/drawing/2014/main" id="{5691A0E6-12A5-B5D0-911A-7A2F6ED569E1}"/>
                </a:ext>
              </a:extLst>
            </p:cNvPr>
            <p:cNvSpPr/>
            <p:nvPr/>
          </p:nvSpPr>
          <p:spPr>
            <a:xfrm>
              <a:off x="425976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2" name="object 912">
              <a:extLst>
                <a:ext uri="{FF2B5EF4-FFF2-40B4-BE49-F238E27FC236}">
                  <a16:creationId xmlns:a16="http://schemas.microsoft.com/office/drawing/2014/main" id="{77BF3C3F-28FC-96B4-495C-40F4A1045143}"/>
                </a:ext>
              </a:extLst>
            </p:cNvPr>
            <p:cNvSpPr/>
            <p:nvPr/>
          </p:nvSpPr>
          <p:spPr>
            <a:xfrm>
              <a:off x="4539950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3" name="object 913">
              <a:extLst>
                <a:ext uri="{FF2B5EF4-FFF2-40B4-BE49-F238E27FC236}">
                  <a16:creationId xmlns:a16="http://schemas.microsoft.com/office/drawing/2014/main" id="{6A17952A-4C26-4B3A-FB60-069DA6557024}"/>
                </a:ext>
              </a:extLst>
            </p:cNvPr>
            <p:cNvSpPr/>
            <p:nvPr/>
          </p:nvSpPr>
          <p:spPr>
            <a:xfrm>
              <a:off x="4364979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4" name="object 914">
              <a:extLst>
                <a:ext uri="{FF2B5EF4-FFF2-40B4-BE49-F238E27FC236}">
                  <a16:creationId xmlns:a16="http://schemas.microsoft.com/office/drawing/2014/main" id="{D6F9FF1F-22B2-EBB3-998A-5E9C6CD50C9A}"/>
                </a:ext>
              </a:extLst>
            </p:cNvPr>
            <p:cNvSpPr/>
            <p:nvPr/>
          </p:nvSpPr>
          <p:spPr>
            <a:xfrm>
              <a:off x="4190000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5" name="object 915">
              <a:extLst>
                <a:ext uri="{FF2B5EF4-FFF2-40B4-BE49-F238E27FC236}">
                  <a16:creationId xmlns:a16="http://schemas.microsoft.com/office/drawing/2014/main" id="{9157FDD5-543C-E0FD-54F7-605ECCE72816}"/>
                </a:ext>
              </a:extLst>
            </p:cNvPr>
            <p:cNvSpPr/>
            <p:nvPr/>
          </p:nvSpPr>
          <p:spPr>
            <a:xfrm>
              <a:off x="4364979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6" name="object 916">
              <a:extLst>
                <a:ext uri="{FF2B5EF4-FFF2-40B4-BE49-F238E27FC236}">
                  <a16:creationId xmlns:a16="http://schemas.microsoft.com/office/drawing/2014/main" id="{4DDD21EB-BA6D-C2F4-1E42-ECE65EAA8697}"/>
                </a:ext>
              </a:extLst>
            </p:cNvPr>
            <p:cNvSpPr/>
            <p:nvPr/>
          </p:nvSpPr>
          <p:spPr>
            <a:xfrm>
              <a:off x="4190000" y="11780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7" name="object 917">
              <a:extLst>
                <a:ext uri="{FF2B5EF4-FFF2-40B4-BE49-F238E27FC236}">
                  <a16:creationId xmlns:a16="http://schemas.microsoft.com/office/drawing/2014/main" id="{B263ED76-A2CD-C469-DD8A-0EB539E74308}"/>
                </a:ext>
              </a:extLst>
            </p:cNvPr>
            <p:cNvSpPr/>
            <p:nvPr/>
          </p:nvSpPr>
          <p:spPr>
            <a:xfrm>
              <a:off x="4190000" y="1842552"/>
              <a:ext cx="25876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6720"/>
                <a:gd name="f4" fmla="val 84455"/>
                <a:gd name="f5" fmla="val 426395"/>
                <a:gd name="f6" fmla="val 84112"/>
                <a:gd name="f7" fmla="*/ f0 1 426720"/>
                <a:gd name="f8" fmla="*/ f1 1 84455"/>
                <a:gd name="f9" fmla="+- f4 0 f2"/>
                <a:gd name="f10" fmla="+- f3 0 f2"/>
                <a:gd name="f11" fmla="*/ f10 1 42672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672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8" name="object 918">
              <a:extLst>
                <a:ext uri="{FF2B5EF4-FFF2-40B4-BE49-F238E27FC236}">
                  <a16:creationId xmlns:a16="http://schemas.microsoft.com/office/drawing/2014/main" id="{8DDF0BBD-8CE7-BCBB-F671-366B1DCD3174}"/>
                </a:ext>
              </a:extLst>
            </p:cNvPr>
            <p:cNvSpPr/>
            <p:nvPr/>
          </p:nvSpPr>
          <p:spPr>
            <a:xfrm>
              <a:off x="4469907" y="185529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9" name="object 919">
              <a:extLst>
                <a:ext uri="{FF2B5EF4-FFF2-40B4-BE49-F238E27FC236}">
                  <a16:creationId xmlns:a16="http://schemas.microsoft.com/office/drawing/2014/main" id="{BB0F9F6F-CA13-5902-3C85-97FAAB7DDC04}"/>
                </a:ext>
              </a:extLst>
            </p:cNvPr>
            <p:cNvSpPr/>
            <p:nvPr/>
          </p:nvSpPr>
          <p:spPr>
            <a:xfrm>
              <a:off x="4504928" y="185529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0" name="object 920">
              <a:extLst>
                <a:ext uri="{FF2B5EF4-FFF2-40B4-BE49-F238E27FC236}">
                  <a16:creationId xmlns:a16="http://schemas.microsoft.com/office/drawing/2014/main" id="{04B52983-22FB-49A0-6F68-4709509D86C4}"/>
                </a:ext>
              </a:extLst>
            </p:cNvPr>
            <p:cNvSpPr/>
            <p:nvPr/>
          </p:nvSpPr>
          <p:spPr>
            <a:xfrm>
              <a:off x="4399864" y="185529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1" name="object 921">
              <a:extLst>
                <a:ext uri="{FF2B5EF4-FFF2-40B4-BE49-F238E27FC236}">
                  <a16:creationId xmlns:a16="http://schemas.microsoft.com/office/drawing/2014/main" id="{66D91368-4E53-FDB8-05DA-9FFC86E31402}"/>
                </a:ext>
              </a:extLst>
            </p:cNvPr>
            <p:cNvSpPr/>
            <p:nvPr/>
          </p:nvSpPr>
          <p:spPr>
            <a:xfrm>
              <a:off x="4294790" y="185529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2" name="object 922">
              <a:extLst>
                <a:ext uri="{FF2B5EF4-FFF2-40B4-BE49-F238E27FC236}">
                  <a16:creationId xmlns:a16="http://schemas.microsoft.com/office/drawing/2014/main" id="{5D0E6275-AE3C-5091-5939-FF9C6EC9613A}"/>
                </a:ext>
              </a:extLst>
            </p:cNvPr>
            <p:cNvSpPr/>
            <p:nvPr/>
          </p:nvSpPr>
          <p:spPr>
            <a:xfrm>
              <a:off x="4329885" y="185529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3" name="object 923">
              <a:extLst>
                <a:ext uri="{FF2B5EF4-FFF2-40B4-BE49-F238E27FC236}">
                  <a16:creationId xmlns:a16="http://schemas.microsoft.com/office/drawing/2014/main" id="{5715D95D-2F72-00ED-5E04-4EDDB3102F7C}"/>
                </a:ext>
              </a:extLst>
            </p:cNvPr>
            <p:cNvSpPr/>
            <p:nvPr/>
          </p:nvSpPr>
          <p:spPr>
            <a:xfrm>
              <a:off x="4224747" y="185529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4" name="object 924">
              <a:extLst>
                <a:ext uri="{FF2B5EF4-FFF2-40B4-BE49-F238E27FC236}">
                  <a16:creationId xmlns:a16="http://schemas.microsoft.com/office/drawing/2014/main" id="{73827B43-B124-6E5F-163C-EB897CB334AC}"/>
                </a:ext>
              </a:extLst>
            </p:cNvPr>
            <p:cNvSpPr/>
            <p:nvPr/>
          </p:nvSpPr>
          <p:spPr>
            <a:xfrm>
              <a:off x="4434876" y="185529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5" name="object 925">
              <a:extLst>
                <a:ext uri="{FF2B5EF4-FFF2-40B4-BE49-F238E27FC236}">
                  <a16:creationId xmlns:a16="http://schemas.microsoft.com/office/drawing/2014/main" id="{252C747F-398A-71FF-2618-B5C3DACC87E8}"/>
                </a:ext>
              </a:extLst>
            </p:cNvPr>
            <p:cNvSpPr/>
            <p:nvPr/>
          </p:nvSpPr>
          <p:spPr>
            <a:xfrm>
              <a:off x="4259768" y="185529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6" name="object 926">
              <a:extLst>
                <a:ext uri="{FF2B5EF4-FFF2-40B4-BE49-F238E27FC236}">
                  <a16:creationId xmlns:a16="http://schemas.microsoft.com/office/drawing/2014/main" id="{CB4B442D-61F3-80D6-1711-E66A81FBD2EB}"/>
                </a:ext>
              </a:extLst>
            </p:cNvPr>
            <p:cNvSpPr/>
            <p:nvPr/>
          </p:nvSpPr>
          <p:spPr>
            <a:xfrm>
              <a:off x="4539950" y="184253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7" name="object 927">
              <a:extLst>
                <a:ext uri="{FF2B5EF4-FFF2-40B4-BE49-F238E27FC236}">
                  <a16:creationId xmlns:a16="http://schemas.microsoft.com/office/drawing/2014/main" id="{F50D2027-74AB-FD70-7BFE-4C442237DACA}"/>
                </a:ext>
              </a:extLst>
            </p:cNvPr>
            <p:cNvSpPr/>
            <p:nvPr/>
          </p:nvSpPr>
          <p:spPr>
            <a:xfrm>
              <a:off x="4364979" y="184253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8" name="object 928">
              <a:extLst>
                <a:ext uri="{FF2B5EF4-FFF2-40B4-BE49-F238E27FC236}">
                  <a16:creationId xmlns:a16="http://schemas.microsoft.com/office/drawing/2014/main" id="{3F513CDB-CAFF-C2DD-1D6D-FCA9505640AB}"/>
                </a:ext>
              </a:extLst>
            </p:cNvPr>
            <p:cNvSpPr/>
            <p:nvPr/>
          </p:nvSpPr>
          <p:spPr>
            <a:xfrm>
              <a:off x="4190000" y="184253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9" name="object 929">
              <a:extLst>
                <a:ext uri="{FF2B5EF4-FFF2-40B4-BE49-F238E27FC236}">
                  <a16:creationId xmlns:a16="http://schemas.microsoft.com/office/drawing/2014/main" id="{2E480E84-7E67-F2E5-FE28-2BDB2591F732}"/>
                </a:ext>
              </a:extLst>
            </p:cNvPr>
            <p:cNvSpPr/>
            <p:nvPr/>
          </p:nvSpPr>
          <p:spPr>
            <a:xfrm>
              <a:off x="4364979" y="184253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0" name="object 930">
              <a:extLst>
                <a:ext uri="{FF2B5EF4-FFF2-40B4-BE49-F238E27FC236}">
                  <a16:creationId xmlns:a16="http://schemas.microsoft.com/office/drawing/2014/main" id="{0A44DEF6-32A6-FC53-296D-7E9F213BE62C}"/>
                </a:ext>
              </a:extLst>
            </p:cNvPr>
            <p:cNvSpPr/>
            <p:nvPr/>
          </p:nvSpPr>
          <p:spPr>
            <a:xfrm>
              <a:off x="4190000" y="186804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1" name="object 931">
              <a:extLst>
                <a:ext uri="{FF2B5EF4-FFF2-40B4-BE49-F238E27FC236}">
                  <a16:creationId xmlns:a16="http://schemas.microsoft.com/office/drawing/2014/main" id="{64603076-3CC2-00DD-0D02-787D1B693750}"/>
                </a:ext>
              </a:extLst>
            </p:cNvPr>
            <p:cNvSpPr/>
            <p:nvPr/>
          </p:nvSpPr>
          <p:spPr>
            <a:xfrm>
              <a:off x="4190475" y="1915576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5"/>
                <a:gd name="f5" fmla="val 576307"/>
                <a:gd name="f6" fmla="val 84112"/>
                <a:gd name="f7" fmla="*/ f0 1 576579"/>
                <a:gd name="f8" fmla="*/ f1 1 84455"/>
                <a:gd name="f9" fmla="+- f4 0 f2"/>
                <a:gd name="f10" fmla="+- f3 0 f2"/>
                <a:gd name="f11" fmla="*/ f10 1 57657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2" name="object 932">
              <a:extLst>
                <a:ext uri="{FF2B5EF4-FFF2-40B4-BE49-F238E27FC236}">
                  <a16:creationId xmlns:a16="http://schemas.microsoft.com/office/drawing/2014/main" id="{71B17C74-3762-54CB-4F7B-D6349B613329}"/>
                </a:ext>
              </a:extLst>
            </p:cNvPr>
            <p:cNvSpPr/>
            <p:nvPr/>
          </p:nvSpPr>
          <p:spPr>
            <a:xfrm>
              <a:off x="4469907" y="192831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3" name="object 933">
              <a:extLst>
                <a:ext uri="{FF2B5EF4-FFF2-40B4-BE49-F238E27FC236}">
                  <a16:creationId xmlns:a16="http://schemas.microsoft.com/office/drawing/2014/main" id="{560AC6B1-88D3-86E2-0EA6-73B0DB1CE144}"/>
                </a:ext>
              </a:extLst>
            </p:cNvPr>
            <p:cNvSpPr/>
            <p:nvPr/>
          </p:nvSpPr>
          <p:spPr>
            <a:xfrm>
              <a:off x="4504928" y="192831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4" name="object 934">
              <a:extLst>
                <a:ext uri="{FF2B5EF4-FFF2-40B4-BE49-F238E27FC236}">
                  <a16:creationId xmlns:a16="http://schemas.microsoft.com/office/drawing/2014/main" id="{2C5CDEFF-CAC6-E6FC-6060-8151C9A2033A}"/>
                </a:ext>
              </a:extLst>
            </p:cNvPr>
            <p:cNvSpPr/>
            <p:nvPr/>
          </p:nvSpPr>
          <p:spPr>
            <a:xfrm>
              <a:off x="4399864" y="192831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5" name="object 935">
              <a:extLst>
                <a:ext uri="{FF2B5EF4-FFF2-40B4-BE49-F238E27FC236}">
                  <a16:creationId xmlns:a16="http://schemas.microsoft.com/office/drawing/2014/main" id="{AB472447-361E-B671-07E6-C794B8AF007E}"/>
                </a:ext>
              </a:extLst>
            </p:cNvPr>
            <p:cNvSpPr/>
            <p:nvPr/>
          </p:nvSpPr>
          <p:spPr>
            <a:xfrm>
              <a:off x="4294790" y="192831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6" name="object 936">
              <a:extLst>
                <a:ext uri="{FF2B5EF4-FFF2-40B4-BE49-F238E27FC236}">
                  <a16:creationId xmlns:a16="http://schemas.microsoft.com/office/drawing/2014/main" id="{B2652798-5F81-A998-319D-509900ADDF7E}"/>
                </a:ext>
              </a:extLst>
            </p:cNvPr>
            <p:cNvSpPr/>
            <p:nvPr/>
          </p:nvSpPr>
          <p:spPr>
            <a:xfrm>
              <a:off x="4329885" y="192831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7" name="object 937">
              <a:extLst>
                <a:ext uri="{FF2B5EF4-FFF2-40B4-BE49-F238E27FC236}">
                  <a16:creationId xmlns:a16="http://schemas.microsoft.com/office/drawing/2014/main" id="{010AAEA9-23B9-D7AB-BDBC-1C6A36AAD8B0}"/>
                </a:ext>
              </a:extLst>
            </p:cNvPr>
            <p:cNvSpPr/>
            <p:nvPr/>
          </p:nvSpPr>
          <p:spPr>
            <a:xfrm>
              <a:off x="4224747" y="192831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8" name="object 938">
              <a:extLst>
                <a:ext uri="{FF2B5EF4-FFF2-40B4-BE49-F238E27FC236}">
                  <a16:creationId xmlns:a16="http://schemas.microsoft.com/office/drawing/2014/main" id="{F2498AFC-3364-332B-FEF8-F1AC867BF5C4}"/>
                </a:ext>
              </a:extLst>
            </p:cNvPr>
            <p:cNvSpPr/>
            <p:nvPr/>
          </p:nvSpPr>
          <p:spPr>
            <a:xfrm>
              <a:off x="4434876" y="192831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9" name="object 939">
              <a:extLst>
                <a:ext uri="{FF2B5EF4-FFF2-40B4-BE49-F238E27FC236}">
                  <a16:creationId xmlns:a16="http://schemas.microsoft.com/office/drawing/2014/main" id="{2978ACD5-0EE0-704E-811B-04374AE6C00C}"/>
                </a:ext>
              </a:extLst>
            </p:cNvPr>
            <p:cNvSpPr/>
            <p:nvPr/>
          </p:nvSpPr>
          <p:spPr>
            <a:xfrm>
              <a:off x="4259768" y="192831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0" name="object 940">
              <a:extLst>
                <a:ext uri="{FF2B5EF4-FFF2-40B4-BE49-F238E27FC236}">
                  <a16:creationId xmlns:a16="http://schemas.microsoft.com/office/drawing/2014/main" id="{A442B41E-2D2A-FDBD-A53F-37F82B761DB0}"/>
                </a:ext>
              </a:extLst>
            </p:cNvPr>
            <p:cNvSpPr/>
            <p:nvPr/>
          </p:nvSpPr>
          <p:spPr>
            <a:xfrm>
              <a:off x="4539950" y="191555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1" name="object 941">
              <a:extLst>
                <a:ext uri="{FF2B5EF4-FFF2-40B4-BE49-F238E27FC236}">
                  <a16:creationId xmlns:a16="http://schemas.microsoft.com/office/drawing/2014/main" id="{90DA1E8E-556B-DB80-6177-122980568527}"/>
                </a:ext>
              </a:extLst>
            </p:cNvPr>
            <p:cNvSpPr/>
            <p:nvPr/>
          </p:nvSpPr>
          <p:spPr>
            <a:xfrm>
              <a:off x="4364979" y="191555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2" name="object 942">
              <a:extLst>
                <a:ext uri="{FF2B5EF4-FFF2-40B4-BE49-F238E27FC236}">
                  <a16:creationId xmlns:a16="http://schemas.microsoft.com/office/drawing/2014/main" id="{D1C9761A-FC30-0FF8-1E5F-D9548FDC6DBC}"/>
                </a:ext>
              </a:extLst>
            </p:cNvPr>
            <p:cNvSpPr/>
            <p:nvPr/>
          </p:nvSpPr>
          <p:spPr>
            <a:xfrm>
              <a:off x="4190000" y="191555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3" name="object 943">
              <a:extLst>
                <a:ext uri="{FF2B5EF4-FFF2-40B4-BE49-F238E27FC236}">
                  <a16:creationId xmlns:a16="http://schemas.microsoft.com/office/drawing/2014/main" id="{3D981EB0-2E9C-0100-BE70-49ED297B09CE}"/>
                </a:ext>
              </a:extLst>
            </p:cNvPr>
            <p:cNvSpPr/>
            <p:nvPr/>
          </p:nvSpPr>
          <p:spPr>
            <a:xfrm>
              <a:off x="4364979" y="191555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4" name="object 944">
              <a:extLst>
                <a:ext uri="{FF2B5EF4-FFF2-40B4-BE49-F238E27FC236}">
                  <a16:creationId xmlns:a16="http://schemas.microsoft.com/office/drawing/2014/main" id="{44970CE3-08CF-5BE5-9FBA-5D10EC7A791E}"/>
                </a:ext>
              </a:extLst>
            </p:cNvPr>
            <p:cNvSpPr/>
            <p:nvPr/>
          </p:nvSpPr>
          <p:spPr>
            <a:xfrm>
              <a:off x="4190000" y="194107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5" name="object 945">
              <a:extLst>
                <a:ext uri="{FF2B5EF4-FFF2-40B4-BE49-F238E27FC236}">
                  <a16:creationId xmlns:a16="http://schemas.microsoft.com/office/drawing/2014/main" id="{430D950D-D1CA-689E-4290-57B632032FDE}"/>
                </a:ext>
              </a:extLst>
            </p:cNvPr>
            <p:cNvSpPr/>
            <p:nvPr/>
          </p:nvSpPr>
          <p:spPr>
            <a:xfrm>
              <a:off x="4190000" y="4140522"/>
              <a:ext cx="26569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8150"/>
                <a:gd name="f4" fmla="val 84454"/>
                <a:gd name="f5" fmla="val 437724"/>
                <a:gd name="f6" fmla="val 84123"/>
                <a:gd name="f7" fmla="*/ f0 1 438150"/>
                <a:gd name="f8" fmla="*/ f1 1 84454"/>
                <a:gd name="f9" fmla="+- f4 0 f2"/>
                <a:gd name="f10" fmla="+- f3 0 f2"/>
                <a:gd name="f11" fmla="*/ f10 1 4381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81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6" name="object 946">
              <a:extLst>
                <a:ext uri="{FF2B5EF4-FFF2-40B4-BE49-F238E27FC236}">
                  <a16:creationId xmlns:a16="http://schemas.microsoft.com/office/drawing/2014/main" id="{F830D09B-AEA2-AEB6-BC21-3CEA4B59E986}"/>
                </a:ext>
              </a:extLst>
            </p:cNvPr>
            <p:cNvSpPr/>
            <p:nvPr/>
          </p:nvSpPr>
          <p:spPr>
            <a:xfrm>
              <a:off x="4469907" y="41532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7" name="object 947">
              <a:extLst>
                <a:ext uri="{FF2B5EF4-FFF2-40B4-BE49-F238E27FC236}">
                  <a16:creationId xmlns:a16="http://schemas.microsoft.com/office/drawing/2014/main" id="{8CB90278-11B3-770E-BDA6-414FAC47A63F}"/>
                </a:ext>
              </a:extLst>
            </p:cNvPr>
            <p:cNvSpPr/>
            <p:nvPr/>
          </p:nvSpPr>
          <p:spPr>
            <a:xfrm>
              <a:off x="4504928" y="41532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8" name="object 948">
              <a:extLst>
                <a:ext uri="{FF2B5EF4-FFF2-40B4-BE49-F238E27FC236}">
                  <a16:creationId xmlns:a16="http://schemas.microsoft.com/office/drawing/2014/main" id="{116DB1AD-30BC-00F6-08D8-52F754551772}"/>
                </a:ext>
              </a:extLst>
            </p:cNvPr>
            <p:cNvSpPr/>
            <p:nvPr/>
          </p:nvSpPr>
          <p:spPr>
            <a:xfrm>
              <a:off x="4399864" y="41532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9" name="object 949">
              <a:extLst>
                <a:ext uri="{FF2B5EF4-FFF2-40B4-BE49-F238E27FC236}">
                  <a16:creationId xmlns:a16="http://schemas.microsoft.com/office/drawing/2014/main" id="{E549BEF2-8F6C-60A5-A706-BFB64999F388}"/>
                </a:ext>
              </a:extLst>
            </p:cNvPr>
            <p:cNvSpPr/>
            <p:nvPr/>
          </p:nvSpPr>
          <p:spPr>
            <a:xfrm>
              <a:off x="4294790" y="41532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0" name="object 950">
              <a:extLst>
                <a:ext uri="{FF2B5EF4-FFF2-40B4-BE49-F238E27FC236}">
                  <a16:creationId xmlns:a16="http://schemas.microsoft.com/office/drawing/2014/main" id="{246D5EFE-435E-213F-0108-577705F4C50E}"/>
                </a:ext>
              </a:extLst>
            </p:cNvPr>
            <p:cNvSpPr/>
            <p:nvPr/>
          </p:nvSpPr>
          <p:spPr>
            <a:xfrm>
              <a:off x="4329885" y="41532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1" name="object 951">
              <a:extLst>
                <a:ext uri="{FF2B5EF4-FFF2-40B4-BE49-F238E27FC236}">
                  <a16:creationId xmlns:a16="http://schemas.microsoft.com/office/drawing/2014/main" id="{6A104E9F-83F8-7F94-6F1F-1A870F8E2A92}"/>
                </a:ext>
              </a:extLst>
            </p:cNvPr>
            <p:cNvSpPr/>
            <p:nvPr/>
          </p:nvSpPr>
          <p:spPr>
            <a:xfrm>
              <a:off x="4224747" y="41532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2" name="object 952">
              <a:extLst>
                <a:ext uri="{FF2B5EF4-FFF2-40B4-BE49-F238E27FC236}">
                  <a16:creationId xmlns:a16="http://schemas.microsoft.com/office/drawing/2014/main" id="{0C2D0B63-2283-3922-1E9F-4C087FE4CEEB}"/>
                </a:ext>
              </a:extLst>
            </p:cNvPr>
            <p:cNvSpPr/>
            <p:nvPr/>
          </p:nvSpPr>
          <p:spPr>
            <a:xfrm>
              <a:off x="4434876" y="41532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3" name="object 953">
              <a:extLst>
                <a:ext uri="{FF2B5EF4-FFF2-40B4-BE49-F238E27FC236}">
                  <a16:creationId xmlns:a16="http://schemas.microsoft.com/office/drawing/2014/main" id="{B9CAD136-F158-E948-E042-C8FDB74A001A}"/>
                </a:ext>
              </a:extLst>
            </p:cNvPr>
            <p:cNvSpPr/>
            <p:nvPr/>
          </p:nvSpPr>
          <p:spPr>
            <a:xfrm>
              <a:off x="4259768" y="41532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4" name="object 954">
              <a:extLst>
                <a:ext uri="{FF2B5EF4-FFF2-40B4-BE49-F238E27FC236}">
                  <a16:creationId xmlns:a16="http://schemas.microsoft.com/office/drawing/2014/main" id="{8D431885-F5AA-39A3-FA0E-41C430F1D3E1}"/>
                </a:ext>
              </a:extLst>
            </p:cNvPr>
            <p:cNvSpPr/>
            <p:nvPr/>
          </p:nvSpPr>
          <p:spPr>
            <a:xfrm>
              <a:off x="4539950" y="414052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5" name="object 955">
              <a:extLst>
                <a:ext uri="{FF2B5EF4-FFF2-40B4-BE49-F238E27FC236}">
                  <a16:creationId xmlns:a16="http://schemas.microsoft.com/office/drawing/2014/main" id="{3C8CCE39-B3A8-7A44-5DFA-D648EB4BEC17}"/>
                </a:ext>
              </a:extLst>
            </p:cNvPr>
            <p:cNvSpPr/>
            <p:nvPr/>
          </p:nvSpPr>
          <p:spPr>
            <a:xfrm>
              <a:off x="4364979" y="414052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6" name="object 956">
              <a:extLst>
                <a:ext uri="{FF2B5EF4-FFF2-40B4-BE49-F238E27FC236}">
                  <a16:creationId xmlns:a16="http://schemas.microsoft.com/office/drawing/2014/main" id="{4D3A8600-96F6-C9B3-169D-778B4317A101}"/>
                </a:ext>
              </a:extLst>
            </p:cNvPr>
            <p:cNvSpPr/>
            <p:nvPr/>
          </p:nvSpPr>
          <p:spPr>
            <a:xfrm>
              <a:off x="4190000" y="414052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7" name="object 957">
              <a:extLst>
                <a:ext uri="{FF2B5EF4-FFF2-40B4-BE49-F238E27FC236}">
                  <a16:creationId xmlns:a16="http://schemas.microsoft.com/office/drawing/2014/main" id="{7A0F7D65-EE9C-AA14-577D-EFD6EF6604C2}"/>
                </a:ext>
              </a:extLst>
            </p:cNvPr>
            <p:cNvSpPr/>
            <p:nvPr/>
          </p:nvSpPr>
          <p:spPr>
            <a:xfrm>
              <a:off x="4364979" y="414052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8" name="object 958">
              <a:extLst>
                <a:ext uri="{FF2B5EF4-FFF2-40B4-BE49-F238E27FC236}">
                  <a16:creationId xmlns:a16="http://schemas.microsoft.com/office/drawing/2014/main" id="{C839B030-AB02-B7C1-51EA-58E09F016F42}"/>
                </a:ext>
              </a:extLst>
            </p:cNvPr>
            <p:cNvSpPr/>
            <p:nvPr/>
          </p:nvSpPr>
          <p:spPr>
            <a:xfrm>
              <a:off x="4190000" y="416603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9" name="object 959">
              <a:extLst>
                <a:ext uri="{FF2B5EF4-FFF2-40B4-BE49-F238E27FC236}">
                  <a16:creationId xmlns:a16="http://schemas.microsoft.com/office/drawing/2014/main" id="{B7A59E34-206E-73B1-8628-B28DCE1ACAC4}"/>
                </a:ext>
              </a:extLst>
            </p:cNvPr>
            <p:cNvSpPr/>
            <p:nvPr/>
          </p:nvSpPr>
          <p:spPr>
            <a:xfrm>
              <a:off x="4469907" y="42263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0" name="object 960">
              <a:extLst>
                <a:ext uri="{FF2B5EF4-FFF2-40B4-BE49-F238E27FC236}">
                  <a16:creationId xmlns:a16="http://schemas.microsoft.com/office/drawing/2014/main" id="{9D88BE89-80EF-E5C2-906C-14CB2DEAF083}"/>
                </a:ext>
              </a:extLst>
            </p:cNvPr>
            <p:cNvSpPr/>
            <p:nvPr/>
          </p:nvSpPr>
          <p:spPr>
            <a:xfrm>
              <a:off x="4504928" y="42263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1" name="object 961">
              <a:extLst>
                <a:ext uri="{FF2B5EF4-FFF2-40B4-BE49-F238E27FC236}">
                  <a16:creationId xmlns:a16="http://schemas.microsoft.com/office/drawing/2014/main" id="{9537FF92-3091-C79F-294F-E240D39460AF}"/>
                </a:ext>
              </a:extLst>
            </p:cNvPr>
            <p:cNvSpPr/>
            <p:nvPr/>
          </p:nvSpPr>
          <p:spPr>
            <a:xfrm>
              <a:off x="4399864" y="42263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2" name="object 962">
              <a:extLst>
                <a:ext uri="{FF2B5EF4-FFF2-40B4-BE49-F238E27FC236}">
                  <a16:creationId xmlns:a16="http://schemas.microsoft.com/office/drawing/2014/main" id="{3253FD5A-B25B-C5D4-4368-1399A5FBDFA8}"/>
                </a:ext>
              </a:extLst>
            </p:cNvPr>
            <p:cNvSpPr/>
            <p:nvPr/>
          </p:nvSpPr>
          <p:spPr>
            <a:xfrm>
              <a:off x="4294790" y="42263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3" name="object 963">
              <a:extLst>
                <a:ext uri="{FF2B5EF4-FFF2-40B4-BE49-F238E27FC236}">
                  <a16:creationId xmlns:a16="http://schemas.microsoft.com/office/drawing/2014/main" id="{F90294F5-6C77-1790-50D5-67244D57ABBB}"/>
                </a:ext>
              </a:extLst>
            </p:cNvPr>
            <p:cNvSpPr/>
            <p:nvPr/>
          </p:nvSpPr>
          <p:spPr>
            <a:xfrm>
              <a:off x="4329885" y="42263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4" name="object 964">
              <a:extLst>
                <a:ext uri="{FF2B5EF4-FFF2-40B4-BE49-F238E27FC236}">
                  <a16:creationId xmlns:a16="http://schemas.microsoft.com/office/drawing/2014/main" id="{BE9CDC0C-7FA4-404F-F9D0-1DCB2D1DF223}"/>
                </a:ext>
              </a:extLst>
            </p:cNvPr>
            <p:cNvSpPr/>
            <p:nvPr/>
          </p:nvSpPr>
          <p:spPr>
            <a:xfrm>
              <a:off x="4224747" y="42263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5" name="object 965">
              <a:extLst>
                <a:ext uri="{FF2B5EF4-FFF2-40B4-BE49-F238E27FC236}">
                  <a16:creationId xmlns:a16="http://schemas.microsoft.com/office/drawing/2014/main" id="{470C81FD-8DBC-691E-98D1-1AD975B2D749}"/>
                </a:ext>
              </a:extLst>
            </p:cNvPr>
            <p:cNvSpPr/>
            <p:nvPr/>
          </p:nvSpPr>
          <p:spPr>
            <a:xfrm>
              <a:off x="4434876" y="42263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6" name="object 966">
              <a:extLst>
                <a:ext uri="{FF2B5EF4-FFF2-40B4-BE49-F238E27FC236}">
                  <a16:creationId xmlns:a16="http://schemas.microsoft.com/office/drawing/2014/main" id="{699C791B-CFE1-0CB8-AC37-5A44A1D1B758}"/>
                </a:ext>
              </a:extLst>
            </p:cNvPr>
            <p:cNvSpPr/>
            <p:nvPr/>
          </p:nvSpPr>
          <p:spPr>
            <a:xfrm>
              <a:off x="4259768" y="42263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7" name="object 967">
              <a:extLst>
                <a:ext uri="{FF2B5EF4-FFF2-40B4-BE49-F238E27FC236}">
                  <a16:creationId xmlns:a16="http://schemas.microsoft.com/office/drawing/2014/main" id="{40B8E13F-B745-62A8-8A71-2A8AE255546F}"/>
                </a:ext>
              </a:extLst>
            </p:cNvPr>
            <p:cNvSpPr/>
            <p:nvPr/>
          </p:nvSpPr>
          <p:spPr>
            <a:xfrm>
              <a:off x="4539950" y="421354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8" name="object 968">
              <a:extLst>
                <a:ext uri="{FF2B5EF4-FFF2-40B4-BE49-F238E27FC236}">
                  <a16:creationId xmlns:a16="http://schemas.microsoft.com/office/drawing/2014/main" id="{F9BCBBAD-9409-DBDD-69BD-50EC779E3038}"/>
                </a:ext>
              </a:extLst>
            </p:cNvPr>
            <p:cNvSpPr/>
            <p:nvPr/>
          </p:nvSpPr>
          <p:spPr>
            <a:xfrm>
              <a:off x="4364979" y="421354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9" name="object 969">
              <a:extLst>
                <a:ext uri="{FF2B5EF4-FFF2-40B4-BE49-F238E27FC236}">
                  <a16:creationId xmlns:a16="http://schemas.microsoft.com/office/drawing/2014/main" id="{0D6CF463-6F1A-A63E-1C50-2A030237133B}"/>
                </a:ext>
              </a:extLst>
            </p:cNvPr>
            <p:cNvSpPr/>
            <p:nvPr/>
          </p:nvSpPr>
          <p:spPr>
            <a:xfrm>
              <a:off x="4190000" y="421354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0" name="object 970">
              <a:extLst>
                <a:ext uri="{FF2B5EF4-FFF2-40B4-BE49-F238E27FC236}">
                  <a16:creationId xmlns:a16="http://schemas.microsoft.com/office/drawing/2014/main" id="{82062021-B3C5-F264-8AC1-7C7AFC183A25}"/>
                </a:ext>
              </a:extLst>
            </p:cNvPr>
            <p:cNvSpPr/>
            <p:nvPr/>
          </p:nvSpPr>
          <p:spPr>
            <a:xfrm>
              <a:off x="4364979" y="421354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1" name="object 971">
              <a:extLst>
                <a:ext uri="{FF2B5EF4-FFF2-40B4-BE49-F238E27FC236}">
                  <a16:creationId xmlns:a16="http://schemas.microsoft.com/office/drawing/2014/main" id="{B7B76376-84B8-4C24-CC79-79DF32CE2E60}"/>
                </a:ext>
              </a:extLst>
            </p:cNvPr>
            <p:cNvSpPr/>
            <p:nvPr/>
          </p:nvSpPr>
          <p:spPr>
            <a:xfrm>
              <a:off x="4190000" y="423904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2" name="object 972">
              <a:extLst>
                <a:ext uri="{FF2B5EF4-FFF2-40B4-BE49-F238E27FC236}">
                  <a16:creationId xmlns:a16="http://schemas.microsoft.com/office/drawing/2014/main" id="{1CFB3947-2CC1-F9F1-5436-BF89EDF99992}"/>
                </a:ext>
              </a:extLst>
            </p:cNvPr>
            <p:cNvSpPr/>
            <p:nvPr/>
          </p:nvSpPr>
          <p:spPr>
            <a:xfrm>
              <a:off x="4190000" y="2607320"/>
              <a:ext cx="16403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70509"/>
                <a:gd name="f4" fmla="val 84454"/>
                <a:gd name="f5" fmla="val 270494"/>
                <a:gd name="f6" fmla="val 84102"/>
                <a:gd name="f7" fmla="*/ f0 1 270509"/>
                <a:gd name="f8" fmla="*/ f1 1 84454"/>
                <a:gd name="f9" fmla="+- f4 0 f2"/>
                <a:gd name="f10" fmla="+- f3 0 f2"/>
                <a:gd name="f11" fmla="*/ f10 1 2705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705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3" name="object 973">
              <a:extLst>
                <a:ext uri="{FF2B5EF4-FFF2-40B4-BE49-F238E27FC236}">
                  <a16:creationId xmlns:a16="http://schemas.microsoft.com/office/drawing/2014/main" id="{1E64007E-C391-3399-4BD2-F2CCFD9A98CF}"/>
                </a:ext>
              </a:extLst>
            </p:cNvPr>
            <p:cNvSpPr/>
            <p:nvPr/>
          </p:nvSpPr>
          <p:spPr>
            <a:xfrm>
              <a:off x="4469907" y="262005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4" name="object 974">
              <a:extLst>
                <a:ext uri="{FF2B5EF4-FFF2-40B4-BE49-F238E27FC236}">
                  <a16:creationId xmlns:a16="http://schemas.microsoft.com/office/drawing/2014/main" id="{AEAF3877-844D-F0E4-730B-17311B571855}"/>
                </a:ext>
              </a:extLst>
            </p:cNvPr>
            <p:cNvSpPr/>
            <p:nvPr/>
          </p:nvSpPr>
          <p:spPr>
            <a:xfrm>
              <a:off x="4504928" y="262005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5" name="object 975">
              <a:extLst>
                <a:ext uri="{FF2B5EF4-FFF2-40B4-BE49-F238E27FC236}">
                  <a16:creationId xmlns:a16="http://schemas.microsoft.com/office/drawing/2014/main" id="{1D0E432C-C1E2-7372-57B0-FAE3597D7C0C}"/>
                </a:ext>
              </a:extLst>
            </p:cNvPr>
            <p:cNvSpPr/>
            <p:nvPr/>
          </p:nvSpPr>
          <p:spPr>
            <a:xfrm>
              <a:off x="4399864" y="262005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6" name="object 976">
              <a:extLst>
                <a:ext uri="{FF2B5EF4-FFF2-40B4-BE49-F238E27FC236}">
                  <a16:creationId xmlns:a16="http://schemas.microsoft.com/office/drawing/2014/main" id="{2739178B-821B-AA25-C861-B2418BBA32EC}"/>
                </a:ext>
              </a:extLst>
            </p:cNvPr>
            <p:cNvSpPr/>
            <p:nvPr/>
          </p:nvSpPr>
          <p:spPr>
            <a:xfrm>
              <a:off x="4294790" y="262005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7" name="object 977">
              <a:extLst>
                <a:ext uri="{FF2B5EF4-FFF2-40B4-BE49-F238E27FC236}">
                  <a16:creationId xmlns:a16="http://schemas.microsoft.com/office/drawing/2014/main" id="{1B2A1238-BDE7-06F3-F96A-C11BB7D06A17}"/>
                </a:ext>
              </a:extLst>
            </p:cNvPr>
            <p:cNvSpPr/>
            <p:nvPr/>
          </p:nvSpPr>
          <p:spPr>
            <a:xfrm>
              <a:off x="4329885" y="262005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8" name="object 978">
              <a:extLst>
                <a:ext uri="{FF2B5EF4-FFF2-40B4-BE49-F238E27FC236}">
                  <a16:creationId xmlns:a16="http://schemas.microsoft.com/office/drawing/2014/main" id="{DD2020FA-E8EF-4DEB-13A5-D6C46687C547}"/>
                </a:ext>
              </a:extLst>
            </p:cNvPr>
            <p:cNvSpPr/>
            <p:nvPr/>
          </p:nvSpPr>
          <p:spPr>
            <a:xfrm>
              <a:off x="4224747" y="262005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9" name="object 979">
              <a:extLst>
                <a:ext uri="{FF2B5EF4-FFF2-40B4-BE49-F238E27FC236}">
                  <a16:creationId xmlns:a16="http://schemas.microsoft.com/office/drawing/2014/main" id="{DA437C21-2738-AA35-B653-61E3E6B25610}"/>
                </a:ext>
              </a:extLst>
            </p:cNvPr>
            <p:cNvSpPr/>
            <p:nvPr/>
          </p:nvSpPr>
          <p:spPr>
            <a:xfrm>
              <a:off x="4434876" y="262005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0" name="object 980">
              <a:extLst>
                <a:ext uri="{FF2B5EF4-FFF2-40B4-BE49-F238E27FC236}">
                  <a16:creationId xmlns:a16="http://schemas.microsoft.com/office/drawing/2014/main" id="{B7DF3C29-990B-83B7-ADD1-BF6E1FB849F4}"/>
                </a:ext>
              </a:extLst>
            </p:cNvPr>
            <p:cNvSpPr/>
            <p:nvPr/>
          </p:nvSpPr>
          <p:spPr>
            <a:xfrm>
              <a:off x="4259768" y="262005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1" name="object 981">
              <a:extLst>
                <a:ext uri="{FF2B5EF4-FFF2-40B4-BE49-F238E27FC236}">
                  <a16:creationId xmlns:a16="http://schemas.microsoft.com/office/drawing/2014/main" id="{AF915C9C-8FB7-0B7E-513D-FAACF2FE367A}"/>
                </a:ext>
              </a:extLst>
            </p:cNvPr>
            <p:cNvSpPr/>
            <p:nvPr/>
          </p:nvSpPr>
          <p:spPr>
            <a:xfrm>
              <a:off x="4539950" y="2607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2" name="object 982">
              <a:extLst>
                <a:ext uri="{FF2B5EF4-FFF2-40B4-BE49-F238E27FC236}">
                  <a16:creationId xmlns:a16="http://schemas.microsoft.com/office/drawing/2014/main" id="{FC9E17CA-62D9-2544-7343-B8B07C4AECC4}"/>
                </a:ext>
              </a:extLst>
            </p:cNvPr>
            <p:cNvSpPr/>
            <p:nvPr/>
          </p:nvSpPr>
          <p:spPr>
            <a:xfrm>
              <a:off x="4364979" y="2607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3" name="object 983">
              <a:extLst>
                <a:ext uri="{FF2B5EF4-FFF2-40B4-BE49-F238E27FC236}">
                  <a16:creationId xmlns:a16="http://schemas.microsoft.com/office/drawing/2014/main" id="{FA799D3E-99C0-E1DC-2D2C-61470C31BB09}"/>
                </a:ext>
              </a:extLst>
            </p:cNvPr>
            <p:cNvSpPr/>
            <p:nvPr/>
          </p:nvSpPr>
          <p:spPr>
            <a:xfrm>
              <a:off x="4190000" y="2607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4" name="object 984">
              <a:extLst>
                <a:ext uri="{FF2B5EF4-FFF2-40B4-BE49-F238E27FC236}">
                  <a16:creationId xmlns:a16="http://schemas.microsoft.com/office/drawing/2014/main" id="{BC5F9076-E6C7-6500-884F-4045843E6881}"/>
                </a:ext>
              </a:extLst>
            </p:cNvPr>
            <p:cNvSpPr/>
            <p:nvPr/>
          </p:nvSpPr>
          <p:spPr>
            <a:xfrm>
              <a:off x="4364979" y="2607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5" name="object 985">
              <a:extLst>
                <a:ext uri="{FF2B5EF4-FFF2-40B4-BE49-F238E27FC236}">
                  <a16:creationId xmlns:a16="http://schemas.microsoft.com/office/drawing/2014/main" id="{7056BA15-37A0-D4C1-EB90-73DE96D2EA75}"/>
                </a:ext>
              </a:extLst>
            </p:cNvPr>
            <p:cNvSpPr/>
            <p:nvPr/>
          </p:nvSpPr>
          <p:spPr>
            <a:xfrm>
              <a:off x="4190000" y="26328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6" name="object 986">
              <a:extLst>
                <a:ext uri="{FF2B5EF4-FFF2-40B4-BE49-F238E27FC236}">
                  <a16:creationId xmlns:a16="http://schemas.microsoft.com/office/drawing/2014/main" id="{F8C2D876-E659-9751-A05A-082E6E7B5D0E}"/>
                </a:ext>
              </a:extLst>
            </p:cNvPr>
            <p:cNvSpPr/>
            <p:nvPr/>
          </p:nvSpPr>
          <p:spPr>
            <a:xfrm>
              <a:off x="4469907" y="26930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7" name="object 987">
              <a:extLst>
                <a:ext uri="{FF2B5EF4-FFF2-40B4-BE49-F238E27FC236}">
                  <a16:creationId xmlns:a16="http://schemas.microsoft.com/office/drawing/2014/main" id="{F9969136-7CB2-C347-B32B-107BB149E732}"/>
                </a:ext>
              </a:extLst>
            </p:cNvPr>
            <p:cNvSpPr/>
            <p:nvPr/>
          </p:nvSpPr>
          <p:spPr>
            <a:xfrm>
              <a:off x="4504928" y="26930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8" name="object 988">
              <a:extLst>
                <a:ext uri="{FF2B5EF4-FFF2-40B4-BE49-F238E27FC236}">
                  <a16:creationId xmlns:a16="http://schemas.microsoft.com/office/drawing/2014/main" id="{FA1BF07E-66E3-31A4-37B5-399731EDF1CA}"/>
                </a:ext>
              </a:extLst>
            </p:cNvPr>
            <p:cNvSpPr/>
            <p:nvPr/>
          </p:nvSpPr>
          <p:spPr>
            <a:xfrm>
              <a:off x="4399864" y="26930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9" name="object 989">
              <a:extLst>
                <a:ext uri="{FF2B5EF4-FFF2-40B4-BE49-F238E27FC236}">
                  <a16:creationId xmlns:a16="http://schemas.microsoft.com/office/drawing/2014/main" id="{3C98D1C3-3D23-1DE7-C1AC-CA5FF1CC2490}"/>
                </a:ext>
              </a:extLst>
            </p:cNvPr>
            <p:cNvSpPr/>
            <p:nvPr/>
          </p:nvSpPr>
          <p:spPr>
            <a:xfrm>
              <a:off x="4294790" y="26930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0" name="object 990">
              <a:extLst>
                <a:ext uri="{FF2B5EF4-FFF2-40B4-BE49-F238E27FC236}">
                  <a16:creationId xmlns:a16="http://schemas.microsoft.com/office/drawing/2014/main" id="{7A8F9A81-8DB0-ED20-6B59-31D1E3DCA59D}"/>
                </a:ext>
              </a:extLst>
            </p:cNvPr>
            <p:cNvSpPr/>
            <p:nvPr/>
          </p:nvSpPr>
          <p:spPr>
            <a:xfrm>
              <a:off x="4329885" y="26930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1" name="object 991">
              <a:extLst>
                <a:ext uri="{FF2B5EF4-FFF2-40B4-BE49-F238E27FC236}">
                  <a16:creationId xmlns:a16="http://schemas.microsoft.com/office/drawing/2014/main" id="{8F0945BE-FC99-4538-EBA8-0B09FE128A77}"/>
                </a:ext>
              </a:extLst>
            </p:cNvPr>
            <p:cNvSpPr/>
            <p:nvPr/>
          </p:nvSpPr>
          <p:spPr>
            <a:xfrm>
              <a:off x="4224747" y="26930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2" name="object 992">
              <a:extLst>
                <a:ext uri="{FF2B5EF4-FFF2-40B4-BE49-F238E27FC236}">
                  <a16:creationId xmlns:a16="http://schemas.microsoft.com/office/drawing/2014/main" id="{EEE85AFB-F20A-8616-2178-D90A4AE5798D}"/>
                </a:ext>
              </a:extLst>
            </p:cNvPr>
            <p:cNvSpPr/>
            <p:nvPr/>
          </p:nvSpPr>
          <p:spPr>
            <a:xfrm>
              <a:off x="4434876" y="26930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3" name="object 993">
              <a:extLst>
                <a:ext uri="{FF2B5EF4-FFF2-40B4-BE49-F238E27FC236}">
                  <a16:creationId xmlns:a16="http://schemas.microsoft.com/office/drawing/2014/main" id="{2A46AF8E-F795-8C4E-2CE6-389BE76C91D9}"/>
                </a:ext>
              </a:extLst>
            </p:cNvPr>
            <p:cNvSpPr/>
            <p:nvPr/>
          </p:nvSpPr>
          <p:spPr>
            <a:xfrm>
              <a:off x="4259768" y="26930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4" name="object 994">
              <a:extLst>
                <a:ext uri="{FF2B5EF4-FFF2-40B4-BE49-F238E27FC236}">
                  <a16:creationId xmlns:a16="http://schemas.microsoft.com/office/drawing/2014/main" id="{F6AF6777-3F25-8135-DB45-A4D7C81A155A}"/>
                </a:ext>
              </a:extLst>
            </p:cNvPr>
            <p:cNvSpPr/>
            <p:nvPr/>
          </p:nvSpPr>
          <p:spPr>
            <a:xfrm>
              <a:off x="4539950" y="26803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5" name="object 995">
              <a:extLst>
                <a:ext uri="{FF2B5EF4-FFF2-40B4-BE49-F238E27FC236}">
                  <a16:creationId xmlns:a16="http://schemas.microsoft.com/office/drawing/2014/main" id="{0816C4AE-FD2A-47C9-7BEA-5EF0E349DCE2}"/>
                </a:ext>
              </a:extLst>
            </p:cNvPr>
            <p:cNvSpPr/>
            <p:nvPr/>
          </p:nvSpPr>
          <p:spPr>
            <a:xfrm>
              <a:off x="4364979" y="26803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6" name="object 996">
              <a:extLst>
                <a:ext uri="{FF2B5EF4-FFF2-40B4-BE49-F238E27FC236}">
                  <a16:creationId xmlns:a16="http://schemas.microsoft.com/office/drawing/2014/main" id="{3888768C-56A2-155B-301B-4A35B893AB36}"/>
                </a:ext>
              </a:extLst>
            </p:cNvPr>
            <p:cNvSpPr/>
            <p:nvPr/>
          </p:nvSpPr>
          <p:spPr>
            <a:xfrm>
              <a:off x="4190000" y="26803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7" name="object 997">
              <a:extLst>
                <a:ext uri="{FF2B5EF4-FFF2-40B4-BE49-F238E27FC236}">
                  <a16:creationId xmlns:a16="http://schemas.microsoft.com/office/drawing/2014/main" id="{EC0AAD46-B056-BC30-F37D-ED7057725898}"/>
                </a:ext>
              </a:extLst>
            </p:cNvPr>
            <p:cNvSpPr/>
            <p:nvPr/>
          </p:nvSpPr>
          <p:spPr>
            <a:xfrm>
              <a:off x="4364979" y="26803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8" name="object 998">
              <a:extLst>
                <a:ext uri="{FF2B5EF4-FFF2-40B4-BE49-F238E27FC236}">
                  <a16:creationId xmlns:a16="http://schemas.microsoft.com/office/drawing/2014/main" id="{7EAB3FE1-13A3-FA04-B1AE-F775C60DEAE8}"/>
                </a:ext>
              </a:extLst>
            </p:cNvPr>
            <p:cNvSpPr/>
            <p:nvPr/>
          </p:nvSpPr>
          <p:spPr>
            <a:xfrm>
              <a:off x="4190000" y="270583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9" name="object 999">
              <a:extLst>
                <a:ext uri="{FF2B5EF4-FFF2-40B4-BE49-F238E27FC236}">
                  <a16:creationId xmlns:a16="http://schemas.microsoft.com/office/drawing/2014/main" id="{2F6FA27F-F5F5-C9D5-FE49-67472DE3CE2A}"/>
                </a:ext>
              </a:extLst>
            </p:cNvPr>
            <p:cNvSpPr/>
            <p:nvPr/>
          </p:nvSpPr>
          <p:spPr>
            <a:xfrm>
              <a:off x="4190000" y="3371374"/>
              <a:ext cx="6546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7950"/>
                <a:gd name="f4" fmla="val 84454"/>
                <a:gd name="f5" fmla="val 107892"/>
                <a:gd name="f6" fmla="val 84112"/>
                <a:gd name="f7" fmla="*/ f0 1 107950"/>
                <a:gd name="f8" fmla="*/ f1 1 84454"/>
                <a:gd name="f9" fmla="+- f4 0 f2"/>
                <a:gd name="f10" fmla="+- f3 0 f2"/>
                <a:gd name="f11" fmla="*/ f10 1 1079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79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0" name="object 1000">
              <a:extLst>
                <a:ext uri="{FF2B5EF4-FFF2-40B4-BE49-F238E27FC236}">
                  <a16:creationId xmlns:a16="http://schemas.microsoft.com/office/drawing/2014/main" id="{28B7095E-E3FC-BB00-71D8-46C3C2844380}"/>
                </a:ext>
              </a:extLst>
            </p:cNvPr>
            <p:cNvSpPr/>
            <p:nvPr/>
          </p:nvSpPr>
          <p:spPr>
            <a:xfrm>
              <a:off x="4469907" y="338412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1" name="object 1001">
              <a:extLst>
                <a:ext uri="{FF2B5EF4-FFF2-40B4-BE49-F238E27FC236}">
                  <a16:creationId xmlns:a16="http://schemas.microsoft.com/office/drawing/2014/main" id="{DDDBB9A8-4D1C-12B4-94B4-453F85ABF334}"/>
                </a:ext>
              </a:extLst>
            </p:cNvPr>
            <p:cNvSpPr/>
            <p:nvPr/>
          </p:nvSpPr>
          <p:spPr>
            <a:xfrm>
              <a:off x="4504928" y="338412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2" name="object 1002">
              <a:extLst>
                <a:ext uri="{FF2B5EF4-FFF2-40B4-BE49-F238E27FC236}">
                  <a16:creationId xmlns:a16="http://schemas.microsoft.com/office/drawing/2014/main" id="{65B345A2-A9F8-DD66-5401-FCE06B07DD9C}"/>
                </a:ext>
              </a:extLst>
            </p:cNvPr>
            <p:cNvSpPr/>
            <p:nvPr/>
          </p:nvSpPr>
          <p:spPr>
            <a:xfrm>
              <a:off x="4399864" y="338412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3" name="object 1003">
              <a:extLst>
                <a:ext uri="{FF2B5EF4-FFF2-40B4-BE49-F238E27FC236}">
                  <a16:creationId xmlns:a16="http://schemas.microsoft.com/office/drawing/2014/main" id="{FA4D2084-B6F9-AC29-56AC-75E34F10D4E5}"/>
                </a:ext>
              </a:extLst>
            </p:cNvPr>
            <p:cNvSpPr/>
            <p:nvPr/>
          </p:nvSpPr>
          <p:spPr>
            <a:xfrm>
              <a:off x="4294790" y="338412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4" name="object 1004">
              <a:extLst>
                <a:ext uri="{FF2B5EF4-FFF2-40B4-BE49-F238E27FC236}">
                  <a16:creationId xmlns:a16="http://schemas.microsoft.com/office/drawing/2014/main" id="{18A7B9D7-E64D-B9E4-2685-EEA9B2254AFC}"/>
                </a:ext>
              </a:extLst>
            </p:cNvPr>
            <p:cNvSpPr/>
            <p:nvPr/>
          </p:nvSpPr>
          <p:spPr>
            <a:xfrm>
              <a:off x="4329885" y="338412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5" name="object 1005">
              <a:extLst>
                <a:ext uri="{FF2B5EF4-FFF2-40B4-BE49-F238E27FC236}">
                  <a16:creationId xmlns:a16="http://schemas.microsoft.com/office/drawing/2014/main" id="{1E35A99C-DDDB-902B-8726-294BBDE31560}"/>
                </a:ext>
              </a:extLst>
            </p:cNvPr>
            <p:cNvSpPr/>
            <p:nvPr/>
          </p:nvSpPr>
          <p:spPr>
            <a:xfrm>
              <a:off x="4224747" y="338412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6" name="object 1006">
              <a:extLst>
                <a:ext uri="{FF2B5EF4-FFF2-40B4-BE49-F238E27FC236}">
                  <a16:creationId xmlns:a16="http://schemas.microsoft.com/office/drawing/2014/main" id="{3F831A48-D973-27D6-F9DF-6460C9FCC759}"/>
                </a:ext>
              </a:extLst>
            </p:cNvPr>
            <p:cNvSpPr/>
            <p:nvPr/>
          </p:nvSpPr>
          <p:spPr>
            <a:xfrm>
              <a:off x="4434876" y="338412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7" name="object 1007">
              <a:extLst>
                <a:ext uri="{FF2B5EF4-FFF2-40B4-BE49-F238E27FC236}">
                  <a16:creationId xmlns:a16="http://schemas.microsoft.com/office/drawing/2014/main" id="{0791C736-6277-7257-8C69-F0BB5B275961}"/>
                </a:ext>
              </a:extLst>
            </p:cNvPr>
            <p:cNvSpPr/>
            <p:nvPr/>
          </p:nvSpPr>
          <p:spPr>
            <a:xfrm>
              <a:off x="4259768" y="338412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8" name="object 1008">
              <a:extLst>
                <a:ext uri="{FF2B5EF4-FFF2-40B4-BE49-F238E27FC236}">
                  <a16:creationId xmlns:a16="http://schemas.microsoft.com/office/drawing/2014/main" id="{A3A3E2FF-CD4B-550F-1350-91E7B90ECEC9}"/>
                </a:ext>
              </a:extLst>
            </p:cNvPr>
            <p:cNvSpPr/>
            <p:nvPr/>
          </p:nvSpPr>
          <p:spPr>
            <a:xfrm>
              <a:off x="4539950" y="337136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09" name="object 1009">
              <a:extLst>
                <a:ext uri="{FF2B5EF4-FFF2-40B4-BE49-F238E27FC236}">
                  <a16:creationId xmlns:a16="http://schemas.microsoft.com/office/drawing/2014/main" id="{C8222876-4CC6-AF93-4820-088C8306590D}"/>
                </a:ext>
              </a:extLst>
            </p:cNvPr>
            <p:cNvSpPr/>
            <p:nvPr/>
          </p:nvSpPr>
          <p:spPr>
            <a:xfrm>
              <a:off x="4364979" y="337136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0" name="object 1010">
              <a:extLst>
                <a:ext uri="{FF2B5EF4-FFF2-40B4-BE49-F238E27FC236}">
                  <a16:creationId xmlns:a16="http://schemas.microsoft.com/office/drawing/2014/main" id="{2BA2B268-31B7-8042-4AA4-90867AAFF2EE}"/>
                </a:ext>
              </a:extLst>
            </p:cNvPr>
            <p:cNvSpPr/>
            <p:nvPr/>
          </p:nvSpPr>
          <p:spPr>
            <a:xfrm>
              <a:off x="4190000" y="337136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1" name="object 1011">
              <a:extLst>
                <a:ext uri="{FF2B5EF4-FFF2-40B4-BE49-F238E27FC236}">
                  <a16:creationId xmlns:a16="http://schemas.microsoft.com/office/drawing/2014/main" id="{389B2452-24FE-1FA5-43F4-180117F9F72A}"/>
                </a:ext>
              </a:extLst>
            </p:cNvPr>
            <p:cNvSpPr/>
            <p:nvPr/>
          </p:nvSpPr>
          <p:spPr>
            <a:xfrm>
              <a:off x="4364979" y="337136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2" name="object 1012">
              <a:extLst>
                <a:ext uri="{FF2B5EF4-FFF2-40B4-BE49-F238E27FC236}">
                  <a16:creationId xmlns:a16="http://schemas.microsoft.com/office/drawing/2014/main" id="{8AAC2FE1-5052-F01B-A617-129533E8868F}"/>
                </a:ext>
              </a:extLst>
            </p:cNvPr>
            <p:cNvSpPr/>
            <p:nvPr/>
          </p:nvSpPr>
          <p:spPr>
            <a:xfrm>
              <a:off x="4190000" y="339687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3" name="object 1013">
              <a:extLst>
                <a:ext uri="{FF2B5EF4-FFF2-40B4-BE49-F238E27FC236}">
                  <a16:creationId xmlns:a16="http://schemas.microsoft.com/office/drawing/2014/main" id="{EB60E774-B234-27FD-3A99-98EBE9E19419}"/>
                </a:ext>
              </a:extLst>
            </p:cNvPr>
            <p:cNvSpPr/>
            <p:nvPr/>
          </p:nvSpPr>
          <p:spPr>
            <a:xfrm>
              <a:off x="4469907" y="345714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4" name="object 1014">
              <a:extLst>
                <a:ext uri="{FF2B5EF4-FFF2-40B4-BE49-F238E27FC236}">
                  <a16:creationId xmlns:a16="http://schemas.microsoft.com/office/drawing/2014/main" id="{3148B069-3D00-B9C5-B9A7-4ECE566CDB4E}"/>
                </a:ext>
              </a:extLst>
            </p:cNvPr>
            <p:cNvSpPr/>
            <p:nvPr/>
          </p:nvSpPr>
          <p:spPr>
            <a:xfrm>
              <a:off x="4504928" y="345714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5" name="object 1015">
              <a:extLst>
                <a:ext uri="{FF2B5EF4-FFF2-40B4-BE49-F238E27FC236}">
                  <a16:creationId xmlns:a16="http://schemas.microsoft.com/office/drawing/2014/main" id="{CE03DA28-10E7-8B7C-23A6-A82EA783BFCB}"/>
                </a:ext>
              </a:extLst>
            </p:cNvPr>
            <p:cNvSpPr/>
            <p:nvPr/>
          </p:nvSpPr>
          <p:spPr>
            <a:xfrm>
              <a:off x="4399864" y="345714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6" name="object 1016">
              <a:extLst>
                <a:ext uri="{FF2B5EF4-FFF2-40B4-BE49-F238E27FC236}">
                  <a16:creationId xmlns:a16="http://schemas.microsoft.com/office/drawing/2014/main" id="{4CD9B43B-8430-0FCE-D605-FCF019D82D0D}"/>
                </a:ext>
              </a:extLst>
            </p:cNvPr>
            <p:cNvSpPr/>
            <p:nvPr/>
          </p:nvSpPr>
          <p:spPr>
            <a:xfrm>
              <a:off x="4294790" y="345714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7" name="object 1017">
              <a:extLst>
                <a:ext uri="{FF2B5EF4-FFF2-40B4-BE49-F238E27FC236}">
                  <a16:creationId xmlns:a16="http://schemas.microsoft.com/office/drawing/2014/main" id="{D8B2E617-CDA5-83EA-2905-779812B35F02}"/>
                </a:ext>
              </a:extLst>
            </p:cNvPr>
            <p:cNvSpPr/>
            <p:nvPr/>
          </p:nvSpPr>
          <p:spPr>
            <a:xfrm>
              <a:off x="4329885" y="345714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8" name="object 1018">
              <a:extLst>
                <a:ext uri="{FF2B5EF4-FFF2-40B4-BE49-F238E27FC236}">
                  <a16:creationId xmlns:a16="http://schemas.microsoft.com/office/drawing/2014/main" id="{6A0DBB6D-B205-F34A-6698-C721F027BAD0}"/>
                </a:ext>
              </a:extLst>
            </p:cNvPr>
            <p:cNvSpPr/>
            <p:nvPr/>
          </p:nvSpPr>
          <p:spPr>
            <a:xfrm>
              <a:off x="4224747" y="345714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9" name="object 1019">
              <a:extLst>
                <a:ext uri="{FF2B5EF4-FFF2-40B4-BE49-F238E27FC236}">
                  <a16:creationId xmlns:a16="http://schemas.microsoft.com/office/drawing/2014/main" id="{DA9B32EC-CFAA-C47E-B027-B5C7F5E350F4}"/>
                </a:ext>
              </a:extLst>
            </p:cNvPr>
            <p:cNvSpPr/>
            <p:nvPr/>
          </p:nvSpPr>
          <p:spPr>
            <a:xfrm>
              <a:off x="4434876" y="345714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0" name="object 1020">
              <a:extLst>
                <a:ext uri="{FF2B5EF4-FFF2-40B4-BE49-F238E27FC236}">
                  <a16:creationId xmlns:a16="http://schemas.microsoft.com/office/drawing/2014/main" id="{F84EBF3D-F3FC-C4E0-2471-BFB59DA203FC}"/>
                </a:ext>
              </a:extLst>
            </p:cNvPr>
            <p:cNvSpPr/>
            <p:nvPr/>
          </p:nvSpPr>
          <p:spPr>
            <a:xfrm>
              <a:off x="4259768" y="345714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1" name="object 1021">
              <a:extLst>
                <a:ext uri="{FF2B5EF4-FFF2-40B4-BE49-F238E27FC236}">
                  <a16:creationId xmlns:a16="http://schemas.microsoft.com/office/drawing/2014/main" id="{0169DD3E-CA45-CBDA-5EBA-57938E34872A}"/>
                </a:ext>
              </a:extLst>
            </p:cNvPr>
            <p:cNvSpPr/>
            <p:nvPr/>
          </p:nvSpPr>
          <p:spPr>
            <a:xfrm>
              <a:off x="4539950" y="344438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2" name="object 1022">
              <a:extLst>
                <a:ext uri="{FF2B5EF4-FFF2-40B4-BE49-F238E27FC236}">
                  <a16:creationId xmlns:a16="http://schemas.microsoft.com/office/drawing/2014/main" id="{84502267-8DE9-CA1A-A26C-3C6D3A325EE5}"/>
                </a:ext>
              </a:extLst>
            </p:cNvPr>
            <p:cNvSpPr/>
            <p:nvPr/>
          </p:nvSpPr>
          <p:spPr>
            <a:xfrm>
              <a:off x="4364979" y="344438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3" name="object 1023">
              <a:extLst>
                <a:ext uri="{FF2B5EF4-FFF2-40B4-BE49-F238E27FC236}">
                  <a16:creationId xmlns:a16="http://schemas.microsoft.com/office/drawing/2014/main" id="{9E6D2E6E-0069-FFB8-0931-AEF494517CCD}"/>
                </a:ext>
              </a:extLst>
            </p:cNvPr>
            <p:cNvSpPr/>
            <p:nvPr/>
          </p:nvSpPr>
          <p:spPr>
            <a:xfrm>
              <a:off x="4190000" y="344438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4" name="object 1024">
              <a:extLst>
                <a:ext uri="{FF2B5EF4-FFF2-40B4-BE49-F238E27FC236}">
                  <a16:creationId xmlns:a16="http://schemas.microsoft.com/office/drawing/2014/main" id="{75754A12-B806-45AF-F3C1-F434916F67F3}"/>
                </a:ext>
              </a:extLst>
            </p:cNvPr>
            <p:cNvSpPr/>
            <p:nvPr/>
          </p:nvSpPr>
          <p:spPr>
            <a:xfrm>
              <a:off x="4364979" y="344438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5" name="object 1025">
              <a:extLst>
                <a:ext uri="{FF2B5EF4-FFF2-40B4-BE49-F238E27FC236}">
                  <a16:creationId xmlns:a16="http://schemas.microsoft.com/office/drawing/2014/main" id="{9974F577-B5A0-1925-5E01-5AB8C11DE598}"/>
                </a:ext>
              </a:extLst>
            </p:cNvPr>
            <p:cNvSpPr/>
            <p:nvPr/>
          </p:nvSpPr>
          <p:spPr>
            <a:xfrm>
              <a:off x="4190000" y="346990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26" name="object 1026">
              <a:extLst>
                <a:ext uri="{FF2B5EF4-FFF2-40B4-BE49-F238E27FC236}">
                  <a16:creationId xmlns:a16="http://schemas.microsoft.com/office/drawing/2014/main" id="{E4DE90DD-5FD5-6CAD-70FC-051032B889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191344" y="3631548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27" name="object 1027">
              <a:extLst>
                <a:ext uri="{FF2B5EF4-FFF2-40B4-BE49-F238E27FC236}">
                  <a16:creationId xmlns:a16="http://schemas.microsoft.com/office/drawing/2014/main" id="{816A4889-1590-E8A0-FC81-A75931B4D86D}"/>
                </a:ext>
              </a:extLst>
            </p:cNvPr>
            <p:cNvSpPr/>
            <p:nvPr/>
          </p:nvSpPr>
          <p:spPr>
            <a:xfrm>
              <a:off x="4332820" y="3977941"/>
              <a:ext cx="6699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67001"/>
                <a:gd name="f5" fmla="val 66983"/>
                <a:gd name="f6" fmla="abs f0"/>
                <a:gd name="f7" fmla="abs f1"/>
                <a:gd name="f8" fmla="abs f2"/>
                <a:gd name="f9" fmla="*/ f0 1 67001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67001"/>
                <a:gd name="f16" fmla="*/ f10 1 0"/>
                <a:gd name="f17" fmla="*/ f12 1 67001"/>
                <a:gd name="f18" fmla="*/ f13 1 21600"/>
                <a:gd name="f19" fmla="*/ 21600 f13 1"/>
                <a:gd name="f20" fmla="*/ 0 1 f15"/>
                <a:gd name="f21" fmla="*/ 67001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67001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8" name="object 1028">
              <a:extLst>
                <a:ext uri="{FF2B5EF4-FFF2-40B4-BE49-F238E27FC236}">
                  <a16:creationId xmlns:a16="http://schemas.microsoft.com/office/drawing/2014/main" id="{DDE96A5E-4209-D889-83F6-9A7123EF3E19}"/>
                </a:ext>
              </a:extLst>
            </p:cNvPr>
            <p:cNvSpPr/>
            <p:nvPr/>
          </p:nvSpPr>
          <p:spPr>
            <a:xfrm>
              <a:off x="4191344" y="363154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29" name="object 1029">
              <a:extLst>
                <a:ext uri="{FF2B5EF4-FFF2-40B4-BE49-F238E27FC236}">
                  <a16:creationId xmlns:a16="http://schemas.microsoft.com/office/drawing/2014/main" id="{3A5E513E-433B-360C-D8CF-9320A25A3E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188994" y="4391424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30" name="object 1030">
              <a:extLst>
                <a:ext uri="{FF2B5EF4-FFF2-40B4-BE49-F238E27FC236}">
                  <a16:creationId xmlns:a16="http://schemas.microsoft.com/office/drawing/2014/main" id="{A636F8B7-CE06-6E39-E7D7-185BB04F750D}"/>
                </a:ext>
              </a:extLst>
            </p:cNvPr>
            <p:cNvSpPr/>
            <p:nvPr/>
          </p:nvSpPr>
          <p:spPr>
            <a:xfrm>
              <a:off x="4188994" y="439142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31" name="object 1031">
              <a:extLst>
                <a:ext uri="{FF2B5EF4-FFF2-40B4-BE49-F238E27FC236}">
                  <a16:creationId xmlns:a16="http://schemas.microsoft.com/office/drawing/2014/main" id="{52C6A71F-D98D-11C2-CB53-4B9568946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4190512" y="564001"/>
              <a:ext cx="34801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32" name="object 1032">
              <a:extLst>
                <a:ext uri="{FF2B5EF4-FFF2-40B4-BE49-F238E27FC236}">
                  <a16:creationId xmlns:a16="http://schemas.microsoft.com/office/drawing/2014/main" id="{1F3C252F-25A2-B389-A397-9701424F8F15}"/>
                </a:ext>
              </a:extLst>
            </p:cNvPr>
            <p:cNvSpPr/>
            <p:nvPr/>
          </p:nvSpPr>
          <p:spPr>
            <a:xfrm>
              <a:off x="4190512" y="56400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33" name="object 1033">
              <a:extLst>
                <a:ext uri="{FF2B5EF4-FFF2-40B4-BE49-F238E27FC236}">
                  <a16:creationId xmlns:a16="http://schemas.microsoft.com/office/drawing/2014/main" id="{17404919-6B8D-E84C-1C96-214497D7AF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190512" y="1325239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34" name="object 1034">
              <a:extLst>
                <a:ext uri="{FF2B5EF4-FFF2-40B4-BE49-F238E27FC236}">
                  <a16:creationId xmlns:a16="http://schemas.microsoft.com/office/drawing/2014/main" id="{726730F2-8257-EFDE-61CC-DD53370B3F54}"/>
                </a:ext>
              </a:extLst>
            </p:cNvPr>
            <p:cNvSpPr/>
            <p:nvPr/>
          </p:nvSpPr>
          <p:spPr>
            <a:xfrm>
              <a:off x="4190512" y="132523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35" name="object 1035">
              <a:extLst>
                <a:ext uri="{FF2B5EF4-FFF2-40B4-BE49-F238E27FC236}">
                  <a16:creationId xmlns:a16="http://schemas.microsoft.com/office/drawing/2014/main" id="{E0B6B7BD-16B1-6C9F-348F-364DEC933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4190512" y="2859365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36" name="object 1036">
              <a:extLst>
                <a:ext uri="{FF2B5EF4-FFF2-40B4-BE49-F238E27FC236}">
                  <a16:creationId xmlns:a16="http://schemas.microsoft.com/office/drawing/2014/main" id="{F1FCBA99-756F-A1B9-0623-593A0149C2FF}"/>
                </a:ext>
              </a:extLst>
            </p:cNvPr>
            <p:cNvSpPr/>
            <p:nvPr/>
          </p:nvSpPr>
          <p:spPr>
            <a:xfrm>
              <a:off x="4190512" y="285936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37" name="object 1037">
              <a:extLst>
                <a:ext uri="{FF2B5EF4-FFF2-40B4-BE49-F238E27FC236}">
                  <a16:creationId xmlns:a16="http://schemas.microsoft.com/office/drawing/2014/main" id="{FA6BAD87-6D16-0DD4-37D1-DB20797DC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4188994" y="5153860"/>
              <a:ext cx="348935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38" name="object 1038">
              <a:extLst>
                <a:ext uri="{FF2B5EF4-FFF2-40B4-BE49-F238E27FC236}">
                  <a16:creationId xmlns:a16="http://schemas.microsoft.com/office/drawing/2014/main" id="{2833057B-DFE3-9BE5-1417-E2A1858D6094}"/>
                </a:ext>
              </a:extLst>
            </p:cNvPr>
            <p:cNvSpPr/>
            <p:nvPr/>
          </p:nvSpPr>
          <p:spPr>
            <a:xfrm>
              <a:off x="4188994" y="515386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39" name="object 1039">
              <a:extLst>
                <a:ext uri="{FF2B5EF4-FFF2-40B4-BE49-F238E27FC236}">
                  <a16:creationId xmlns:a16="http://schemas.microsoft.com/office/drawing/2014/main" id="{63A6A1C2-5D2C-BAA4-3952-754D38BB1D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190695" y="5916817"/>
              <a:ext cx="3482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40" name="object 1040">
              <a:extLst>
                <a:ext uri="{FF2B5EF4-FFF2-40B4-BE49-F238E27FC236}">
                  <a16:creationId xmlns:a16="http://schemas.microsoft.com/office/drawing/2014/main" id="{4EB851DF-03D9-C36E-6561-41B3520B80FE}"/>
                </a:ext>
              </a:extLst>
            </p:cNvPr>
            <p:cNvSpPr/>
            <p:nvPr/>
          </p:nvSpPr>
          <p:spPr>
            <a:xfrm>
              <a:off x="4188994" y="591681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1" name="object 1041">
              <a:extLst>
                <a:ext uri="{FF2B5EF4-FFF2-40B4-BE49-F238E27FC236}">
                  <a16:creationId xmlns:a16="http://schemas.microsoft.com/office/drawing/2014/main" id="{579C5FA1-E981-2817-63EF-D36DA5B0BC0C}"/>
                </a:ext>
              </a:extLst>
            </p:cNvPr>
            <p:cNvSpPr/>
            <p:nvPr/>
          </p:nvSpPr>
          <p:spPr>
            <a:xfrm>
              <a:off x="4470062" y="49854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2" name="object 1042">
              <a:extLst>
                <a:ext uri="{FF2B5EF4-FFF2-40B4-BE49-F238E27FC236}">
                  <a16:creationId xmlns:a16="http://schemas.microsoft.com/office/drawing/2014/main" id="{0B13F939-0DF2-D7F9-7350-61572B8C1B15}"/>
                </a:ext>
              </a:extLst>
            </p:cNvPr>
            <p:cNvSpPr/>
            <p:nvPr/>
          </p:nvSpPr>
          <p:spPr>
            <a:xfrm>
              <a:off x="4505084" y="49854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3" name="object 1043">
              <a:extLst>
                <a:ext uri="{FF2B5EF4-FFF2-40B4-BE49-F238E27FC236}">
                  <a16:creationId xmlns:a16="http://schemas.microsoft.com/office/drawing/2014/main" id="{0C0A3618-4C7F-8FC5-B6DC-9811798CB689}"/>
                </a:ext>
              </a:extLst>
            </p:cNvPr>
            <p:cNvSpPr/>
            <p:nvPr/>
          </p:nvSpPr>
          <p:spPr>
            <a:xfrm>
              <a:off x="4400019" y="49854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4" name="object 1044">
              <a:extLst>
                <a:ext uri="{FF2B5EF4-FFF2-40B4-BE49-F238E27FC236}">
                  <a16:creationId xmlns:a16="http://schemas.microsoft.com/office/drawing/2014/main" id="{0958FD9D-B15F-F6EF-91D2-2A4C1987D33B}"/>
                </a:ext>
              </a:extLst>
            </p:cNvPr>
            <p:cNvSpPr/>
            <p:nvPr/>
          </p:nvSpPr>
          <p:spPr>
            <a:xfrm>
              <a:off x="4294955" y="49854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5" name="object 1045">
              <a:extLst>
                <a:ext uri="{FF2B5EF4-FFF2-40B4-BE49-F238E27FC236}">
                  <a16:creationId xmlns:a16="http://schemas.microsoft.com/office/drawing/2014/main" id="{FA68ED9C-816B-D29A-C4AF-F927B51EBA09}"/>
                </a:ext>
              </a:extLst>
            </p:cNvPr>
            <p:cNvSpPr/>
            <p:nvPr/>
          </p:nvSpPr>
          <p:spPr>
            <a:xfrm>
              <a:off x="4330049" y="49854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6" name="object 1046">
              <a:extLst>
                <a:ext uri="{FF2B5EF4-FFF2-40B4-BE49-F238E27FC236}">
                  <a16:creationId xmlns:a16="http://schemas.microsoft.com/office/drawing/2014/main" id="{5FC72AA9-391C-F1D6-272E-CC6066ABF2F2}"/>
                </a:ext>
              </a:extLst>
            </p:cNvPr>
            <p:cNvSpPr/>
            <p:nvPr/>
          </p:nvSpPr>
          <p:spPr>
            <a:xfrm>
              <a:off x="4224912" y="49854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7" name="object 1047">
              <a:extLst>
                <a:ext uri="{FF2B5EF4-FFF2-40B4-BE49-F238E27FC236}">
                  <a16:creationId xmlns:a16="http://schemas.microsoft.com/office/drawing/2014/main" id="{B301377A-AAB9-2361-F2A7-B77989AFA5A8}"/>
                </a:ext>
              </a:extLst>
            </p:cNvPr>
            <p:cNvSpPr/>
            <p:nvPr/>
          </p:nvSpPr>
          <p:spPr>
            <a:xfrm>
              <a:off x="4435041" y="49854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8" name="object 1048">
              <a:extLst>
                <a:ext uri="{FF2B5EF4-FFF2-40B4-BE49-F238E27FC236}">
                  <a16:creationId xmlns:a16="http://schemas.microsoft.com/office/drawing/2014/main" id="{AFB2883D-CC2A-9300-7524-797837311359}"/>
                </a:ext>
              </a:extLst>
            </p:cNvPr>
            <p:cNvSpPr/>
            <p:nvPr/>
          </p:nvSpPr>
          <p:spPr>
            <a:xfrm>
              <a:off x="4259933" y="49854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9" name="object 1049">
              <a:extLst>
                <a:ext uri="{FF2B5EF4-FFF2-40B4-BE49-F238E27FC236}">
                  <a16:creationId xmlns:a16="http://schemas.microsoft.com/office/drawing/2014/main" id="{87CFBD26-B1D0-C513-35B4-00963D84EFD3}"/>
                </a:ext>
              </a:extLst>
            </p:cNvPr>
            <p:cNvSpPr/>
            <p:nvPr/>
          </p:nvSpPr>
          <p:spPr>
            <a:xfrm>
              <a:off x="4540105" y="49726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0" name="object 1050">
              <a:extLst>
                <a:ext uri="{FF2B5EF4-FFF2-40B4-BE49-F238E27FC236}">
                  <a16:creationId xmlns:a16="http://schemas.microsoft.com/office/drawing/2014/main" id="{12CF3151-B483-A047-966E-9F67C3F6B94A}"/>
                </a:ext>
              </a:extLst>
            </p:cNvPr>
            <p:cNvSpPr/>
            <p:nvPr/>
          </p:nvSpPr>
          <p:spPr>
            <a:xfrm>
              <a:off x="4365135" y="49726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1" name="object 1051">
              <a:extLst>
                <a:ext uri="{FF2B5EF4-FFF2-40B4-BE49-F238E27FC236}">
                  <a16:creationId xmlns:a16="http://schemas.microsoft.com/office/drawing/2014/main" id="{45019B77-7A5C-54EA-C834-66A14225AEFA}"/>
                </a:ext>
              </a:extLst>
            </p:cNvPr>
            <p:cNvSpPr/>
            <p:nvPr/>
          </p:nvSpPr>
          <p:spPr>
            <a:xfrm>
              <a:off x="4190164" y="49726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2" name="object 1052">
              <a:extLst>
                <a:ext uri="{FF2B5EF4-FFF2-40B4-BE49-F238E27FC236}">
                  <a16:creationId xmlns:a16="http://schemas.microsoft.com/office/drawing/2014/main" id="{4E186E51-C7CB-2AA6-7CDA-6998D96A42D4}"/>
                </a:ext>
              </a:extLst>
            </p:cNvPr>
            <p:cNvSpPr/>
            <p:nvPr/>
          </p:nvSpPr>
          <p:spPr>
            <a:xfrm>
              <a:off x="4365135" y="49726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3" name="object 1053">
              <a:extLst>
                <a:ext uri="{FF2B5EF4-FFF2-40B4-BE49-F238E27FC236}">
                  <a16:creationId xmlns:a16="http://schemas.microsoft.com/office/drawing/2014/main" id="{62C5B61E-4311-8AB5-95BD-DA6262097118}"/>
                </a:ext>
              </a:extLst>
            </p:cNvPr>
            <p:cNvSpPr/>
            <p:nvPr/>
          </p:nvSpPr>
          <p:spPr>
            <a:xfrm>
              <a:off x="4190164" y="49981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4" name="object 1054">
              <a:extLst>
                <a:ext uri="{FF2B5EF4-FFF2-40B4-BE49-F238E27FC236}">
                  <a16:creationId xmlns:a16="http://schemas.microsoft.com/office/drawing/2014/main" id="{F7A344B8-EF25-EC21-1684-8B47FCED9ED1}"/>
                </a:ext>
              </a:extLst>
            </p:cNvPr>
            <p:cNvSpPr/>
            <p:nvPr/>
          </p:nvSpPr>
          <p:spPr>
            <a:xfrm>
              <a:off x="4471946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5" name="object 1055">
              <a:extLst>
                <a:ext uri="{FF2B5EF4-FFF2-40B4-BE49-F238E27FC236}">
                  <a16:creationId xmlns:a16="http://schemas.microsoft.com/office/drawing/2014/main" id="{F0B882B8-85DE-B0D9-7BB1-47D8AAEE6964}"/>
                </a:ext>
              </a:extLst>
            </p:cNvPr>
            <p:cNvSpPr/>
            <p:nvPr/>
          </p:nvSpPr>
          <p:spPr>
            <a:xfrm>
              <a:off x="4506967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6" name="object 1056">
              <a:extLst>
                <a:ext uri="{FF2B5EF4-FFF2-40B4-BE49-F238E27FC236}">
                  <a16:creationId xmlns:a16="http://schemas.microsoft.com/office/drawing/2014/main" id="{D9654411-046A-8C13-33DB-ADC6B31BF665}"/>
                </a:ext>
              </a:extLst>
            </p:cNvPr>
            <p:cNvSpPr/>
            <p:nvPr/>
          </p:nvSpPr>
          <p:spPr>
            <a:xfrm>
              <a:off x="4401903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7" name="object 1057">
              <a:extLst>
                <a:ext uri="{FF2B5EF4-FFF2-40B4-BE49-F238E27FC236}">
                  <a16:creationId xmlns:a16="http://schemas.microsoft.com/office/drawing/2014/main" id="{2DB5E42A-4966-60B9-365F-7026E5421646}"/>
                </a:ext>
              </a:extLst>
            </p:cNvPr>
            <p:cNvSpPr/>
            <p:nvPr/>
          </p:nvSpPr>
          <p:spPr>
            <a:xfrm>
              <a:off x="4296838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8" name="object 1058">
              <a:extLst>
                <a:ext uri="{FF2B5EF4-FFF2-40B4-BE49-F238E27FC236}">
                  <a16:creationId xmlns:a16="http://schemas.microsoft.com/office/drawing/2014/main" id="{95B1B10A-D005-880F-314E-4B23F6716C12}"/>
                </a:ext>
              </a:extLst>
            </p:cNvPr>
            <p:cNvSpPr/>
            <p:nvPr/>
          </p:nvSpPr>
          <p:spPr>
            <a:xfrm>
              <a:off x="4331933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9" name="object 1059">
              <a:extLst>
                <a:ext uri="{FF2B5EF4-FFF2-40B4-BE49-F238E27FC236}">
                  <a16:creationId xmlns:a16="http://schemas.microsoft.com/office/drawing/2014/main" id="{EEA85883-34DC-75F5-7D90-1194A1ABF1A7}"/>
                </a:ext>
              </a:extLst>
            </p:cNvPr>
            <p:cNvSpPr/>
            <p:nvPr/>
          </p:nvSpPr>
          <p:spPr>
            <a:xfrm>
              <a:off x="4226795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0" name="object 1060">
              <a:extLst>
                <a:ext uri="{FF2B5EF4-FFF2-40B4-BE49-F238E27FC236}">
                  <a16:creationId xmlns:a16="http://schemas.microsoft.com/office/drawing/2014/main" id="{DBE6931D-8DD0-2909-03F6-6DD04FCD592A}"/>
                </a:ext>
              </a:extLst>
            </p:cNvPr>
            <p:cNvSpPr/>
            <p:nvPr/>
          </p:nvSpPr>
          <p:spPr>
            <a:xfrm>
              <a:off x="4436924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1" name="object 1061">
              <a:extLst>
                <a:ext uri="{FF2B5EF4-FFF2-40B4-BE49-F238E27FC236}">
                  <a16:creationId xmlns:a16="http://schemas.microsoft.com/office/drawing/2014/main" id="{033BF8F1-D00B-568B-1D42-1CE947D52C2D}"/>
                </a:ext>
              </a:extLst>
            </p:cNvPr>
            <p:cNvSpPr/>
            <p:nvPr/>
          </p:nvSpPr>
          <p:spPr>
            <a:xfrm>
              <a:off x="4261817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2" name="object 1062">
              <a:extLst>
                <a:ext uri="{FF2B5EF4-FFF2-40B4-BE49-F238E27FC236}">
                  <a16:creationId xmlns:a16="http://schemas.microsoft.com/office/drawing/2014/main" id="{91A32D9A-885E-5DD1-1DDA-FEEABB9A88A1}"/>
                </a:ext>
              </a:extLst>
            </p:cNvPr>
            <p:cNvSpPr/>
            <p:nvPr/>
          </p:nvSpPr>
          <p:spPr>
            <a:xfrm>
              <a:off x="4541989" y="566446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3" name="object 1063">
              <a:extLst>
                <a:ext uri="{FF2B5EF4-FFF2-40B4-BE49-F238E27FC236}">
                  <a16:creationId xmlns:a16="http://schemas.microsoft.com/office/drawing/2014/main" id="{E5790CB8-FDAD-295B-AD8C-29269779DA1D}"/>
                </a:ext>
              </a:extLst>
            </p:cNvPr>
            <p:cNvSpPr/>
            <p:nvPr/>
          </p:nvSpPr>
          <p:spPr>
            <a:xfrm>
              <a:off x="4367018" y="566446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4" name="object 1064">
              <a:extLst>
                <a:ext uri="{FF2B5EF4-FFF2-40B4-BE49-F238E27FC236}">
                  <a16:creationId xmlns:a16="http://schemas.microsoft.com/office/drawing/2014/main" id="{6C2065FB-F431-15FD-EDAF-17E44DCF2F84}"/>
                </a:ext>
              </a:extLst>
            </p:cNvPr>
            <p:cNvSpPr/>
            <p:nvPr/>
          </p:nvSpPr>
          <p:spPr>
            <a:xfrm>
              <a:off x="4192048" y="566446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5" name="object 1065">
              <a:extLst>
                <a:ext uri="{FF2B5EF4-FFF2-40B4-BE49-F238E27FC236}">
                  <a16:creationId xmlns:a16="http://schemas.microsoft.com/office/drawing/2014/main" id="{2A982E55-9750-3FE9-E11C-703D0E4ECD8D}"/>
                </a:ext>
              </a:extLst>
            </p:cNvPr>
            <p:cNvSpPr/>
            <p:nvPr/>
          </p:nvSpPr>
          <p:spPr>
            <a:xfrm>
              <a:off x="4367018" y="566446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6" name="object 1066">
              <a:extLst>
                <a:ext uri="{FF2B5EF4-FFF2-40B4-BE49-F238E27FC236}">
                  <a16:creationId xmlns:a16="http://schemas.microsoft.com/office/drawing/2014/main" id="{0E34CD10-FBE5-2F01-9ABA-88ED8B30875F}"/>
                </a:ext>
              </a:extLst>
            </p:cNvPr>
            <p:cNvSpPr/>
            <p:nvPr/>
          </p:nvSpPr>
          <p:spPr>
            <a:xfrm>
              <a:off x="4192048" y="568996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7" name="object 1067">
              <a:extLst>
                <a:ext uri="{FF2B5EF4-FFF2-40B4-BE49-F238E27FC236}">
                  <a16:creationId xmlns:a16="http://schemas.microsoft.com/office/drawing/2014/main" id="{06735DDD-3A00-3042-33EE-F3CE36A8F672}"/>
                </a:ext>
              </a:extLst>
            </p:cNvPr>
            <p:cNvSpPr/>
            <p:nvPr/>
          </p:nvSpPr>
          <p:spPr>
            <a:xfrm>
              <a:off x="4646916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8" name="object 1068">
              <a:extLst>
                <a:ext uri="{FF2B5EF4-FFF2-40B4-BE49-F238E27FC236}">
                  <a16:creationId xmlns:a16="http://schemas.microsoft.com/office/drawing/2014/main" id="{9D860696-A3D9-1211-E492-F635116E2D01}"/>
                </a:ext>
              </a:extLst>
            </p:cNvPr>
            <p:cNvSpPr/>
            <p:nvPr/>
          </p:nvSpPr>
          <p:spPr>
            <a:xfrm>
              <a:off x="4681947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9" name="object 1069">
              <a:extLst>
                <a:ext uri="{FF2B5EF4-FFF2-40B4-BE49-F238E27FC236}">
                  <a16:creationId xmlns:a16="http://schemas.microsoft.com/office/drawing/2014/main" id="{ADBC6B11-EFAD-B293-2B4F-4B2CAD2679D0}"/>
                </a:ext>
              </a:extLst>
            </p:cNvPr>
            <p:cNvSpPr/>
            <p:nvPr/>
          </p:nvSpPr>
          <p:spPr>
            <a:xfrm>
              <a:off x="4576873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0" name="object 1070">
              <a:extLst>
                <a:ext uri="{FF2B5EF4-FFF2-40B4-BE49-F238E27FC236}">
                  <a16:creationId xmlns:a16="http://schemas.microsoft.com/office/drawing/2014/main" id="{90225BD6-7536-B7CF-D558-F3008DC9F33A}"/>
                </a:ext>
              </a:extLst>
            </p:cNvPr>
            <p:cNvSpPr/>
            <p:nvPr/>
          </p:nvSpPr>
          <p:spPr>
            <a:xfrm>
              <a:off x="4611895" y="56772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1" name="object 1071">
              <a:extLst>
                <a:ext uri="{FF2B5EF4-FFF2-40B4-BE49-F238E27FC236}">
                  <a16:creationId xmlns:a16="http://schemas.microsoft.com/office/drawing/2014/main" id="{3AA5970C-BF1B-5B97-C334-62DAFA5FC82E}"/>
                </a:ext>
              </a:extLst>
            </p:cNvPr>
            <p:cNvSpPr/>
            <p:nvPr/>
          </p:nvSpPr>
          <p:spPr>
            <a:xfrm>
              <a:off x="4716959" y="566446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2" name="object 1072">
              <a:extLst>
                <a:ext uri="{FF2B5EF4-FFF2-40B4-BE49-F238E27FC236}">
                  <a16:creationId xmlns:a16="http://schemas.microsoft.com/office/drawing/2014/main" id="{80208032-B813-488F-CBF8-9874EDCE04D6}"/>
                </a:ext>
              </a:extLst>
            </p:cNvPr>
            <p:cNvSpPr/>
            <p:nvPr/>
          </p:nvSpPr>
          <p:spPr>
            <a:xfrm>
              <a:off x="4541989" y="5689963"/>
              <a:ext cx="17520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75204"/>
                <a:gd name="f5" fmla="val 87490"/>
                <a:gd name="f6" fmla="val 174974"/>
                <a:gd name="f7" fmla="abs f0"/>
                <a:gd name="f8" fmla="abs f1"/>
                <a:gd name="f9" fmla="abs f2"/>
                <a:gd name="f10" fmla="*/ f0 1 17520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175204"/>
                <a:gd name="f17" fmla="*/ f11 1 0"/>
                <a:gd name="f18" fmla="*/ f13 1 175204"/>
                <a:gd name="f19" fmla="*/ f14 1 21600"/>
                <a:gd name="f20" fmla="*/ 21600 f14 1"/>
                <a:gd name="f21" fmla="*/ 0 1 f16"/>
                <a:gd name="f22" fmla="*/ 17520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17520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3" name="object 1073">
              <a:extLst>
                <a:ext uri="{FF2B5EF4-FFF2-40B4-BE49-F238E27FC236}">
                  <a16:creationId xmlns:a16="http://schemas.microsoft.com/office/drawing/2014/main" id="{16D3FECE-A818-CBD3-8C30-521BA5F8346B}"/>
                </a:ext>
              </a:extLst>
            </p:cNvPr>
            <p:cNvSpPr/>
            <p:nvPr/>
          </p:nvSpPr>
          <p:spPr>
            <a:xfrm>
              <a:off x="4192176" y="5663610"/>
              <a:ext cx="52484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865504"/>
                <a:gd name="f4" fmla="val 84454"/>
                <a:gd name="f5" fmla="val 865408"/>
                <a:gd name="f6" fmla="val 84133"/>
                <a:gd name="f7" fmla="*/ f0 1 865504"/>
                <a:gd name="f8" fmla="*/ f1 1 84454"/>
                <a:gd name="f9" fmla="+- f4 0 f2"/>
                <a:gd name="f10" fmla="+- f3 0 f2"/>
                <a:gd name="f11" fmla="*/ f10 1 8655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8655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4" name="object 1074">
              <a:extLst>
                <a:ext uri="{FF2B5EF4-FFF2-40B4-BE49-F238E27FC236}">
                  <a16:creationId xmlns:a16="http://schemas.microsoft.com/office/drawing/2014/main" id="{BDB9E6AF-9EE8-7D52-C193-E3CA18E3734B}"/>
                </a:ext>
              </a:extLst>
            </p:cNvPr>
            <p:cNvSpPr/>
            <p:nvPr/>
          </p:nvSpPr>
          <p:spPr>
            <a:xfrm>
              <a:off x="4191993" y="5735555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4"/>
                <a:gd name="f5" fmla="val 576307"/>
                <a:gd name="f6" fmla="val 84123"/>
                <a:gd name="f7" fmla="*/ f0 1 576579"/>
                <a:gd name="f8" fmla="*/ f1 1 84454"/>
                <a:gd name="f9" fmla="+- f4 0 f2"/>
                <a:gd name="f10" fmla="+- f3 0 f2"/>
                <a:gd name="f11" fmla="*/ f10 1 576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5" name="object 1075">
              <a:extLst>
                <a:ext uri="{FF2B5EF4-FFF2-40B4-BE49-F238E27FC236}">
                  <a16:creationId xmlns:a16="http://schemas.microsoft.com/office/drawing/2014/main" id="{2B4E06FE-82CB-A5F9-E6EF-8F3A04F8FDBD}"/>
                </a:ext>
              </a:extLst>
            </p:cNvPr>
            <p:cNvSpPr/>
            <p:nvPr/>
          </p:nvSpPr>
          <p:spPr>
            <a:xfrm>
              <a:off x="4471434" y="574830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6" name="object 1076">
              <a:extLst>
                <a:ext uri="{FF2B5EF4-FFF2-40B4-BE49-F238E27FC236}">
                  <a16:creationId xmlns:a16="http://schemas.microsoft.com/office/drawing/2014/main" id="{A1C37203-BF27-DCDE-3B25-A1F4E31508C7}"/>
                </a:ext>
              </a:extLst>
            </p:cNvPr>
            <p:cNvSpPr/>
            <p:nvPr/>
          </p:nvSpPr>
          <p:spPr>
            <a:xfrm>
              <a:off x="4506455" y="574830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7" name="object 1077">
              <a:extLst>
                <a:ext uri="{FF2B5EF4-FFF2-40B4-BE49-F238E27FC236}">
                  <a16:creationId xmlns:a16="http://schemas.microsoft.com/office/drawing/2014/main" id="{140D1D50-C7EA-0172-C2A4-296CBE8AEE47}"/>
                </a:ext>
              </a:extLst>
            </p:cNvPr>
            <p:cNvSpPr/>
            <p:nvPr/>
          </p:nvSpPr>
          <p:spPr>
            <a:xfrm>
              <a:off x="4401391" y="574830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8" name="object 1078">
              <a:extLst>
                <a:ext uri="{FF2B5EF4-FFF2-40B4-BE49-F238E27FC236}">
                  <a16:creationId xmlns:a16="http://schemas.microsoft.com/office/drawing/2014/main" id="{DD48BD8D-6EB8-CD77-7942-48E028CC16E8}"/>
                </a:ext>
              </a:extLst>
            </p:cNvPr>
            <p:cNvSpPr/>
            <p:nvPr/>
          </p:nvSpPr>
          <p:spPr>
            <a:xfrm>
              <a:off x="4296317" y="574830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9" name="object 1079">
              <a:extLst>
                <a:ext uri="{FF2B5EF4-FFF2-40B4-BE49-F238E27FC236}">
                  <a16:creationId xmlns:a16="http://schemas.microsoft.com/office/drawing/2014/main" id="{A4157C03-A30A-3B7D-0B64-84AC6F15C5B4}"/>
                </a:ext>
              </a:extLst>
            </p:cNvPr>
            <p:cNvSpPr/>
            <p:nvPr/>
          </p:nvSpPr>
          <p:spPr>
            <a:xfrm>
              <a:off x="4331412" y="574830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0" name="object 1080">
              <a:extLst>
                <a:ext uri="{FF2B5EF4-FFF2-40B4-BE49-F238E27FC236}">
                  <a16:creationId xmlns:a16="http://schemas.microsoft.com/office/drawing/2014/main" id="{C7872CC9-7117-1FFC-41CE-CF58F0E43DA8}"/>
                </a:ext>
              </a:extLst>
            </p:cNvPr>
            <p:cNvSpPr/>
            <p:nvPr/>
          </p:nvSpPr>
          <p:spPr>
            <a:xfrm>
              <a:off x="4226274" y="574830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1" name="object 1081">
              <a:extLst>
                <a:ext uri="{FF2B5EF4-FFF2-40B4-BE49-F238E27FC236}">
                  <a16:creationId xmlns:a16="http://schemas.microsoft.com/office/drawing/2014/main" id="{2CBBB863-E4B3-DE0D-C5E9-48CA54D54A26}"/>
                </a:ext>
              </a:extLst>
            </p:cNvPr>
            <p:cNvSpPr/>
            <p:nvPr/>
          </p:nvSpPr>
          <p:spPr>
            <a:xfrm>
              <a:off x="4436412" y="574830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2" name="object 1082">
              <a:extLst>
                <a:ext uri="{FF2B5EF4-FFF2-40B4-BE49-F238E27FC236}">
                  <a16:creationId xmlns:a16="http://schemas.microsoft.com/office/drawing/2014/main" id="{EE97099D-58C2-FE83-B496-8D93F07A1516}"/>
                </a:ext>
              </a:extLst>
            </p:cNvPr>
            <p:cNvSpPr/>
            <p:nvPr/>
          </p:nvSpPr>
          <p:spPr>
            <a:xfrm>
              <a:off x="4261296" y="574830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3" name="object 1083">
              <a:extLst>
                <a:ext uri="{FF2B5EF4-FFF2-40B4-BE49-F238E27FC236}">
                  <a16:creationId xmlns:a16="http://schemas.microsoft.com/office/drawing/2014/main" id="{AD7E2E87-E376-D4B9-1B0B-00D5BF8EFA93}"/>
                </a:ext>
              </a:extLst>
            </p:cNvPr>
            <p:cNvSpPr/>
            <p:nvPr/>
          </p:nvSpPr>
          <p:spPr>
            <a:xfrm>
              <a:off x="4541477" y="573554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4" name="object 1084">
              <a:extLst>
                <a:ext uri="{FF2B5EF4-FFF2-40B4-BE49-F238E27FC236}">
                  <a16:creationId xmlns:a16="http://schemas.microsoft.com/office/drawing/2014/main" id="{DD216424-D967-DD59-892E-E89E7BDF5B43}"/>
                </a:ext>
              </a:extLst>
            </p:cNvPr>
            <p:cNvSpPr/>
            <p:nvPr/>
          </p:nvSpPr>
          <p:spPr>
            <a:xfrm>
              <a:off x="4366506" y="573554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5" name="object 1085">
              <a:extLst>
                <a:ext uri="{FF2B5EF4-FFF2-40B4-BE49-F238E27FC236}">
                  <a16:creationId xmlns:a16="http://schemas.microsoft.com/office/drawing/2014/main" id="{7EE02673-06E6-D996-5D6A-CFD91CA57679}"/>
                </a:ext>
              </a:extLst>
            </p:cNvPr>
            <p:cNvSpPr/>
            <p:nvPr/>
          </p:nvSpPr>
          <p:spPr>
            <a:xfrm>
              <a:off x="4191536" y="573554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6" name="object 1086">
              <a:extLst>
                <a:ext uri="{FF2B5EF4-FFF2-40B4-BE49-F238E27FC236}">
                  <a16:creationId xmlns:a16="http://schemas.microsoft.com/office/drawing/2014/main" id="{3244961A-9E6A-4436-7262-F16617AD3F93}"/>
                </a:ext>
              </a:extLst>
            </p:cNvPr>
            <p:cNvSpPr/>
            <p:nvPr/>
          </p:nvSpPr>
          <p:spPr>
            <a:xfrm>
              <a:off x="4366506" y="573554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7" name="object 1087">
              <a:extLst>
                <a:ext uri="{FF2B5EF4-FFF2-40B4-BE49-F238E27FC236}">
                  <a16:creationId xmlns:a16="http://schemas.microsoft.com/office/drawing/2014/main" id="{6037D6F2-86D0-E656-6AC4-EBD8BDA41226}"/>
                </a:ext>
              </a:extLst>
            </p:cNvPr>
            <p:cNvSpPr/>
            <p:nvPr/>
          </p:nvSpPr>
          <p:spPr>
            <a:xfrm>
              <a:off x="4191527" y="576104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8" name="object 1088">
              <a:extLst>
                <a:ext uri="{FF2B5EF4-FFF2-40B4-BE49-F238E27FC236}">
                  <a16:creationId xmlns:a16="http://schemas.microsoft.com/office/drawing/2014/main" id="{58887D09-E2B2-44A7-851C-47D585EECDA8}"/>
                </a:ext>
              </a:extLst>
            </p:cNvPr>
            <p:cNvSpPr/>
            <p:nvPr/>
          </p:nvSpPr>
          <p:spPr>
            <a:xfrm>
              <a:off x="3369692" y="1079001"/>
              <a:ext cx="770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7000"/>
                <a:gd name="f4" fmla="val 84455"/>
                <a:gd name="f5" fmla="val 126833"/>
                <a:gd name="f6" fmla="val 84102"/>
                <a:gd name="f7" fmla="*/ f0 1 127000"/>
                <a:gd name="f8" fmla="*/ f1 1 84455"/>
                <a:gd name="f9" fmla="+- f4 0 f2"/>
                <a:gd name="f10" fmla="+- f3 0 f2"/>
                <a:gd name="f11" fmla="*/ f10 1 12700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700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9" name="object 1089">
              <a:extLst>
                <a:ext uri="{FF2B5EF4-FFF2-40B4-BE49-F238E27FC236}">
                  <a16:creationId xmlns:a16="http://schemas.microsoft.com/office/drawing/2014/main" id="{1F54ACF7-EB00-8474-AAD1-1B448AA09AF2}"/>
                </a:ext>
              </a:extLst>
            </p:cNvPr>
            <p:cNvSpPr/>
            <p:nvPr/>
          </p:nvSpPr>
          <p:spPr>
            <a:xfrm>
              <a:off x="3404439" y="10917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0" name="object 1090">
              <a:extLst>
                <a:ext uri="{FF2B5EF4-FFF2-40B4-BE49-F238E27FC236}">
                  <a16:creationId xmlns:a16="http://schemas.microsoft.com/office/drawing/2014/main" id="{2A489845-E74F-98E7-391E-C8119739A7A3}"/>
                </a:ext>
              </a:extLst>
            </p:cNvPr>
            <p:cNvSpPr/>
            <p:nvPr/>
          </p:nvSpPr>
          <p:spPr>
            <a:xfrm>
              <a:off x="3439460" y="10917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1" name="object 1091">
              <a:extLst>
                <a:ext uri="{FF2B5EF4-FFF2-40B4-BE49-F238E27FC236}">
                  <a16:creationId xmlns:a16="http://schemas.microsoft.com/office/drawing/2014/main" id="{B1D35002-B28A-9E63-3A88-46ECF23F8300}"/>
                </a:ext>
              </a:extLst>
            </p:cNvPr>
            <p:cNvSpPr/>
            <p:nvPr/>
          </p:nvSpPr>
          <p:spPr>
            <a:xfrm>
              <a:off x="3369692" y="10789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2" name="object 1092">
              <a:extLst>
                <a:ext uri="{FF2B5EF4-FFF2-40B4-BE49-F238E27FC236}">
                  <a16:creationId xmlns:a16="http://schemas.microsoft.com/office/drawing/2014/main" id="{A7FDD151-A96E-4F9A-A0EC-DBA475338E2E}"/>
                </a:ext>
              </a:extLst>
            </p:cNvPr>
            <p:cNvSpPr/>
            <p:nvPr/>
          </p:nvSpPr>
          <p:spPr>
            <a:xfrm>
              <a:off x="3649589" y="10917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3" name="object 1093">
              <a:extLst>
                <a:ext uri="{FF2B5EF4-FFF2-40B4-BE49-F238E27FC236}">
                  <a16:creationId xmlns:a16="http://schemas.microsoft.com/office/drawing/2014/main" id="{9B631767-42AE-8230-EF9F-C1AC59A678B9}"/>
                </a:ext>
              </a:extLst>
            </p:cNvPr>
            <p:cNvSpPr/>
            <p:nvPr/>
          </p:nvSpPr>
          <p:spPr>
            <a:xfrm>
              <a:off x="3684611" y="10917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4" name="object 1094">
              <a:extLst>
                <a:ext uri="{FF2B5EF4-FFF2-40B4-BE49-F238E27FC236}">
                  <a16:creationId xmlns:a16="http://schemas.microsoft.com/office/drawing/2014/main" id="{34C39D9F-AD1B-3996-C9C1-A916E37C73F7}"/>
                </a:ext>
              </a:extLst>
            </p:cNvPr>
            <p:cNvSpPr/>
            <p:nvPr/>
          </p:nvSpPr>
          <p:spPr>
            <a:xfrm>
              <a:off x="3579546" y="10917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5" name="object 1095">
              <a:extLst>
                <a:ext uri="{FF2B5EF4-FFF2-40B4-BE49-F238E27FC236}">
                  <a16:creationId xmlns:a16="http://schemas.microsoft.com/office/drawing/2014/main" id="{4BDA1EA7-2199-DAD9-FFE9-68EF6C512157}"/>
                </a:ext>
              </a:extLst>
            </p:cNvPr>
            <p:cNvSpPr/>
            <p:nvPr/>
          </p:nvSpPr>
          <p:spPr>
            <a:xfrm>
              <a:off x="3474482" y="10917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6" name="object 1096">
              <a:extLst>
                <a:ext uri="{FF2B5EF4-FFF2-40B4-BE49-F238E27FC236}">
                  <a16:creationId xmlns:a16="http://schemas.microsoft.com/office/drawing/2014/main" id="{F49BA4F0-4B2C-E0F4-764E-E0F2B0594E55}"/>
                </a:ext>
              </a:extLst>
            </p:cNvPr>
            <p:cNvSpPr/>
            <p:nvPr/>
          </p:nvSpPr>
          <p:spPr>
            <a:xfrm>
              <a:off x="3509576" y="10917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7" name="object 1097">
              <a:extLst>
                <a:ext uri="{FF2B5EF4-FFF2-40B4-BE49-F238E27FC236}">
                  <a16:creationId xmlns:a16="http://schemas.microsoft.com/office/drawing/2014/main" id="{1FC5EA68-E3F5-5EDD-987B-0C47586E00FF}"/>
                </a:ext>
              </a:extLst>
            </p:cNvPr>
            <p:cNvSpPr/>
            <p:nvPr/>
          </p:nvSpPr>
          <p:spPr>
            <a:xfrm>
              <a:off x="3614568" y="10917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8" name="object 1098">
              <a:extLst>
                <a:ext uri="{FF2B5EF4-FFF2-40B4-BE49-F238E27FC236}">
                  <a16:creationId xmlns:a16="http://schemas.microsoft.com/office/drawing/2014/main" id="{1C651438-79DE-7643-3E70-0D352E7AFB29}"/>
                </a:ext>
              </a:extLst>
            </p:cNvPr>
            <p:cNvSpPr/>
            <p:nvPr/>
          </p:nvSpPr>
          <p:spPr>
            <a:xfrm>
              <a:off x="3719642" y="10789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9" name="object 1099">
              <a:extLst>
                <a:ext uri="{FF2B5EF4-FFF2-40B4-BE49-F238E27FC236}">
                  <a16:creationId xmlns:a16="http://schemas.microsoft.com/office/drawing/2014/main" id="{99F85180-9AF0-3072-D3BA-FCC1D1C0C951}"/>
                </a:ext>
              </a:extLst>
            </p:cNvPr>
            <p:cNvSpPr/>
            <p:nvPr/>
          </p:nvSpPr>
          <p:spPr>
            <a:xfrm>
              <a:off x="3544662" y="10789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0" name="object 1100">
              <a:extLst>
                <a:ext uri="{FF2B5EF4-FFF2-40B4-BE49-F238E27FC236}">
                  <a16:creationId xmlns:a16="http://schemas.microsoft.com/office/drawing/2014/main" id="{743C8033-DF0C-FCD2-BBC8-E1037428B80C}"/>
                </a:ext>
              </a:extLst>
            </p:cNvPr>
            <p:cNvSpPr/>
            <p:nvPr/>
          </p:nvSpPr>
          <p:spPr>
            <a:xfrm>
              <a:off x="3369692" y="110450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1" name="object 1101">
              <a:extLst>
                <a:ext uri="{FF2B5EF4-FFF2-40B4-BE49-F238E27FC236}">
                  <a16:creationId xmlns:a16="http://schemas.microsoft.com/office/drawing/2014/main" id="{294DBC61-5E0F-B15D-CD61-672428C7F914}"/>
                </a:ext>
              </a:extLst>
            </p:cNvPr>
            <p:cNvSpPr/>
            <p:nvPr/>
          </p:nvSpPr>
          <p:spPr>
            <a:xfrm>
              <a:off x="3370158" y="1152015"/>
              <a:ext cx="13362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0345"/>
                <a:gd name="f4" fmla="val 84455"/>
                <a:gd name="f5" fmla="val 220286"/>
                <a:gd name="f6" fmla="val 84112"/>
                <a:gd name="f7" fmla="*/ f0 1 220345"/>
                <a:gd name="f8" fmla="*/ f1 1 84455"/>
                <a:gd name="f9" fmla="+- f4 0 f2"/>
                <a:gd name="f10" fmla="+- f3 0 f2"/>
                <a:gd name="f11" fmla="*/ f10 1 22034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2034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2" name="object 1102">
              <a:extLst>
                <a:ext uri="{FF2B5EF4-FFF2-40B4-BE49-F238E27FC236}">
                  <a16:creationId xmlns:a16="http://schemas.microsoft.com/office/drawing/2014/main" id="{FAF66F66-C0FD-EFA2-A964-E58F0C8838A0}"/>
                </a:ext>
              </a:extLst>
            </p:cNvPr>
            <p:cNvSpPr/>
            <p:nvPr/>
          </p:nvSpPr>
          <p:spPr>
            <a:xfrm>
              <a:off x="3649589" y="11647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3" name="object 1103">
              <a:extLst>
                <a:ext uri="{FF2B5EF4-FFF2-40B4-BE49-F238E27FC236}">
                  <a16:creationId xmlns:a16="http://schemas.microsoft.com/office/drawing/2014/main" id="{D157C820-62ED-CB84-533B-5D00ACEB68D1}"/>
                </a:ext>
              </a:extLst>
            </p:cNvPr>
            <p:cNvSpPr/>
            <p:nvPr/>
          </p:nvSpPr>
          <p:spPr>
            <a:xfrm>
              <a:off x="3684611" y="11647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4" name="object 1104">
              <a:extLst>
                <a:ext uri="{FF2B5EF4-FFF2-40B4-BE49-F238E27FC236}">
                  <a16:creationId xmlns:a16="http://schemas.microsoft.com/office/drawing/2014/main" id="{52561D92-AB30-F093-1EBD-65C5BB3C9882}"/>
                </a:ext>
              </a:extLst>
            </p:cNvPr>
            <p:cNvSpPr/>
            <p:nvPr/>
          </p:nvSpPr>
          <p:spPr>
            <a:xfrm>
              <a:off x="3579546" y="11647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5" name="object 1105">
              <a:extLst>
                <a:ext uri="{FF2B5EF4-FFF2-40B4-BE49-F238E27FC236}">
                  <a16:creationId xmlns:a16="http://schemas.microsoft.com/office/drawing/2014/main" id="{3CB0A486-CA47-103C-5EC2-0565C29661A0}"/>
                </a:ext>
              </a:extLst>
            </p:cNvPr>
            <p:cNvSpPr/>
            <p:nvPr/>
          </p:nvSpPr>
          <p:spPr>
            <a:xfrm>
              <a:off x="3474482" y="11647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6" name="object 1106">
              <a:extLst>
                <a:ext uri="{FF2B5EF4-FFF2-40B4-BE49-F238E27FC236}">
                  <a16:creationId xmlns:a16="http://schemas.microsoft.com/office/drawing/2014/main" id="{462FBA80-81F6-EED8-48BE-C2C5E459275D}"/>
                </a:ext>
              </a:extLst>
            </p:cNvPr>
            <p:cNvSpPr/>
            <p:nvPr/>
          </p:nvSpPr>
          <p:spPr>
            <a:xfrm>
              <a:off x="3509576" y="11647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7" name="object 1107">
              <a:extLst>
                <a:ext uri="{FF2B5EF4-FFF2-40B4-BE49-F238E27FC236}">
                  <a16:creationId xmlns:a16="http://schemas.microsoft.com/office/drawing/2014/main" id="{BD5F2C9D-AF93-C413-E6D9-76B6E36D3E70}"/>
                </a:ext>
              </a:extLst>
            </p:cNvPr>
            <p:cNvSpPr/>
            <p:nvPr/>
          </p:nvSpPr>
          <p:spPr>
            <a:xfrm>
              <a:off x="3404439" y="11647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8" name="object 1108">
              <a:extLst>
                <a:ext uri="{FF2B5EF4-FFF2-40B4-BE49-F238E27FC236}">
                  <a16:creationId xmlns:a16="http://schemas.microsoft.com/office/drawing/2014/main" id="{93BF5D69-BBA5-2FC3-708E-3AC3D682A396}"/>
                </a:ext>
              </a:extLst>
            </p:cNvPr>
            <p:cNvSpPr/>
            <p:nvPr/>
          </p:nvSpPr>
          <p:spPr>
            <a:xfrm>
              <a:off x="3614568" y="11647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9" name="object 1109">
              <a:extLst>
                <a:ext uri="{FF2B5EF4-FFF2-40B4-BE49-F238E27FC236}">
                  <a16:creationId xmlns:a16="http://schemas.microsoft.com/office/drawing/2014/main" id="{F6907699-9FAF-C2C6-963E-C2D40304F45C}"/>
                </a:ext>
              </a:extLst>
            </p:cNvPr>
            <p:cNvSpPr/>
            <p:nvPr/>
          </p:nvSpPr>
          <p:spPr>
            <a:xfrm>
              <a:off x="3439460" y="11647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0" name="object 1110">
              <a:extLst>
                <a:ext uri="{FF2B5EF4-FFF2-40B4-BE49-F238E27FC236}">
                  <a16:creationId xmlns:a16="http://schemas.microsoft.com/office/drawing/2014/main" id="{A9458ABF-6B7E-3084-DBB7-40EEE275D827}"/>
                </a:ext>
              </a:extLst>
            </p:cNvPr>
            <p:cNvSpPr/>
            <p:nvPr/>
          </p:nvSpPr>
          <p:spPr>
            <a:xfrm>
              <a:off x="3719642" y="11520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1" name="object 1111">
              <a:extLst>
                <a:ext uri="{FF2B5EF4-FFF2-40B4-BE49-F238E27FC236}">
                  <a16:creationId xmlns:a16="http://schemas.microsoft.com/office/drawing/2014/main" id="{8C333103-7B82-0B47-8923-A7EFC8E7CB2E}"/>
                </a:ext>
              </a:extLst>
            </p:cNvPr>
            <p:cNvSpPr/>
            <p:nvPr/>
          </p:nvSpPr>
          <p:spPr>
            <a:xfrm>
              <a:off x="3544662" y="11520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2" name="object 1112">
              <a:extLst>
                <a:ext uri="{FF2B5EF4-FFF2-40B4-BE49-F238E27FC236}">
                  <a16:creationId xmlns:a16="http://schemas.microsoft.com/office/drawing/2014/main" id="{0847FC47-21F6-5064-B0D3-6628753DD94F}"/>
                </a:ext>
              </a:extLst>
            </p:cNvPr>
            <p:cNvSpPr/>
            <p:nvPr/>
          </p:nvSpPr>
          <p:spPr>
            <a:xfrm>
              <a:off x="3369692" y="11520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3" name="object 1113">
              <a:extLst>
                <a:ext uri="{FF2B5EF4-FFF2-40B4-BE49-F238E27FC236}">
                  <a16:creationId xmlns:a16="http://schemas.microsoft.com/office/drawing/2014/main" id="{21EE7ED3-5F58-2C74-2A44-3F8C538D0DE7}"/>
                </a:ext>
              </a:extLst>
            </p:cNvPr>
            <p:cNvSpPr/>
            <p:nvPr/>
          </p:nvSpPr>
          <p:spPr>
            <a:xfrm>
              <a:off x="3544662" y="11520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4" name="object 1114">
              <a:extLst>
                <a:ext uri="{FF2B5EF4-FFF2-40B4-BE49-F238E27FC236}">
                  <a16:creationId xmlns:a16="http://schemas.microsoft.com/office/drawing/2014/main" id="{410B37AA-F3CA-2F42-44A5-92046AA362EC}"/>
                </a:ext>
              </a:extLst>
            </p:cNvPr>
            <p:cNvSpPr/>
            <p:nvPr/>
          </p:nvSpPr>
          <p:spPr>
            <a:xfrm>
              <a:off x="3369692" y="117751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115" name="object 1115">
              <a:extLst>
                <a:ext uri="{FF2B5EF4-FFF2-40B4-BE49-F238E27FC236}">
                  <a16:creationId xmlns:a16="http://schemas.microsoft.com/office/drawing/2014/main" id="{395A006F-485D-CD4C-5671-F88C548C1D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3373404" y="564834"/>
              <a:ext cx="348048" cy="34804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16" name="object 1116">
              <a:extLst>
                <a:ext uri="{FF2B5EF4-FFF2-40B4-BE49-F238E27FC236}">
                  <a16:creationId xmlns:a16="http://schemas.microsoft.com/office/drawing/2014/main" id="{86BFF76C-8BDC-81B8-21DE-DDCFCBA7E063}"/>
                </a:ext>
              </a:extLst>
            </p:cNvPr>
            <p:cNvSpPr/>
            <p:nvPr/>
          </p:nvSpPr>
          <p:spPr>
            <a:xfrm>
              <a:off x="3373404" y="564834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39"/>
                <a:gd name="f4" fmla="val 574040"/>
                <a:gd name="f5" fmla="val 286975"/>
                <a:gd name="f6" fmla="val 3755"/>
                <a:gd name="f7" fmla="val 333523"/>
                <a:gd name="f8" fmla="val 14629"/>
                <a:gd name="f9" fmla="val 377680"/>
                <a:gd name="f10" fmla="val 32030"/>
                <a:gd name="f11" fmla="val 418855"/>
                <a:gd name="f12" fmla="val 55368"/>
                <a:gd name="f13" fmla="val 456457"/>
                <a:gd name="f14" fmla="val 84051"/>
                <a:gd name="f15" fmla="val 489896"/>
                <a:gd name="f16" fmla="val 117489"/>
                <a:gd name="f17" fmla="val 518580"/>
                <a:gd name="f18" fmla="val 155091"/>
                <a:gd name="f19" fmla="val 541918"/>
                <a:gd name="f20" fmla="val 196266"/>
                <a:gd name="f21" fmla="val 559320"/>
                <a:gd name="f22" fmla="val 240425"/>
                <a:gd name="f23" fmla="val 570194"/>
                <a:gd name="f24" fmla="val 573951"/>
                <a:gd name="f25" fmla="val 333522"/>
                <a:gd name="f26" fmla="val 377679"/>
                <a:gd name="f27" fmla="val 418852"/>
                <a:gd name="f28" fmla="val 456453"/>
                <a:gd name="f29" fmla="val 489890"/>
                <a:gd name="f30" fmla="val 518573"/>
                <a:gd name="f31" fmla="val 541910"/>
                <a:gd name="f32" fmla="val 559311"/>
                <a:gd name="f33" fmla="val 570184"/>
                <a:gd name="f34" fmla="val 573940"/>
                <a:gd name="f35" fmla="val 240427"/>
                <a:gd name="f36" fmla="val 196270"/>
                <a:gd name="f37" fmla="val 155095"/>
                <a:gd name="f38" fmla="val 117493"/>
                <a:gd name="f39" fmla="val 84055"/>
                <a:gd name="f40" fmla="val 55371"/>
                <a:gd name="f41" fmla="val 32032"/>
                <a:gd name="f42" fmla="val 14630"/>
                <a:gd name="f43" fmla="val 3756"/>
                <a:gd name="f44" fmla="*/ f0 1 574039"/>
                <a:gd name="f45" fmla="*/ f1 1 574040"/>
                <a:gd name="f46" fmla="+- f4 0 f2"/>
                <a:gd name="f47" fmla="+- f3 0 f2"/>
                <a:gd name="f48" fmla="*/ f47 1 574039"/>
                <a:gd name="f49" fmla="*/ f46 1 574040"/>
                <a:gd name="f50" fmla="*/ f2 1 f48"/>
                <a:gd name="f51" fmla="*/ f3 1 f48"/>
                <a:gd name="f52" fmla="*/ f2 1 f49"/>
                <a:gd name="f53" fmla="*/ f4 1 f49"/>
                <a:gd name="f54" fmla="*/ f50 f44 1"/>
                <a:gd name="f55" fmla="*/ f51 f44 1"/>
                <a:gd name="f56" fmla="*/ f53 f45 1"/>
                <a:gd name="f57" fmla="*/ f52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4" t="f57" r="f55" b="f56"/>
              <a:pathLst>
                <a:path w="574039" h="574040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4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33" y="f7"/>
                  </a:lnTo>
                  <a:lnTo>
                    <a:pt x="f34" y="f5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42"/>
                  </a:lnTo>
                  <a:lnTo>
                    <a:pt x="f25" y="f43"/>
                  </a:lnTo>
                  <a:lnTo>
                    <a:pt x="f5" y="f2"/>
                  </a:lnTo>
                  <a:lnTo>
                    <a:pt x="f22" y="f43"/>
                  </a:lnTo>
                  <a:lnTo>
                    <a:pt x="f20" y="f42"/>
                  </a:lnTo>
                  <a:lnTo>
                    <a:pt x="f18" y="f41"/>
                  </a:lnTo>
                  <a:lnTo>
                    <a:pt x="f16" y="f40"/>
                  </a:lnTo>
                  <a:lnTo>
                    <a:pt x="f14" y="f39"/>
                  </a:lnTo>
                  <a:lnTo>
                    <a:pt x="f12" y="f38"/>
                  </a:lnTo>
                  <a:lnTo>
                    <a:pt x="f10" y="f37"/>
                  </a:lnTo>
                  <a:lnTo>
                    <a:pt x="f8" y="f36"/>
                  </a:lnTo>
                  <a:lnTo>
                    <a:pt x="f6" y="f35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117" name="object 1117">
              <a:extLst>
                <a:ext uri="{FF2B5EF4-FFF2-40B4-BE49-F238E27FC236}">
                  <a16:creationId xmlns:a16="http://schemas.microsoft.com/office/drawing/2014/main" id="{0435030B-0512-24E0-06EA-4CBE3D0DD9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3373441" y="1329180"/>
              <a:ext cx="349940" cy="34498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18" name="object 1118">
              <a:extLst>
                <a:ext uri="{FF2B5EF4-FFF2-40B4-BE49-F238E27FC236}">
                  <a16:creationId xmlns:a16="http://schemas.microsoft.com/office/drawing/2014/main" id="{C80A68A9-D09F-D4C3-F45D-A7DE3206325D}"/>
                </a:ext>
              </a:extLst>
            </p:cNvPr>
            <p:cNvSpPr/>
            <p:nvPr/>
          </p:nvSpPr>
          <p:spPr>
            <a:xfrm>
              <a:off x="3373441" y="132437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119" name="object 1119">
              <a:extLst>
                <a:ext uri="{FF2B5EF4-FFF2-40B4-BE49-F238E27FC236}">
                  <a16:creationId xmlns:a16="http://schemas.microsoft.com/office/drawing/2014/main" id="{5E6A0DA6-4987-24CF-FECE-FA5F83A6D5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5011241" y="2864815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20" name="object 1120">
              <a:extLst>
                <a:ext uri="{FF2B5EF4-FFF2-40B4-BE49-F238E27FC236}">
                  <a16:creationId xmlns:a16="http://schemas.microsoft.com/office/drawing/2014/main" id="{39145704-D353-4E77-7E4D-0CAB4C4793C0}"/>
                </a:ext>
              </a:extLst>
            </p:cNvPr>
            <p:cNvSpPr/>
            <p:nvPr/>
          </p:nvSpPr>
          <p:spPr>
            <a:xfrm>
              <a:off x="5011241" y="286481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121" name="object 1121">
              <a:extLst>
                <a:ext uri="{FF2B5EF4-FFF2-40B4-BE49-F238E27FC236}">
                  <a16:creationId xmlns:a16="http://schemas.microsoft.com/office/drawing/2014/main" id="{1468F883-66D4-E183-D8D3-D52A4F8BD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5013106" y="2090162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22" name="object 1122">
              <a:extLst>
                <a:ext uri="{FF2B5EF4-FFF2-40B4-BE49-F238E27FC236}">
                  <a16:creationId xmlns:a16="http://schemas.microsoft.com/office/drawing/2014/main" id="{04893D7C-C77E-AD0A-2698-F19E27793464}"/>
                </a:ext>
              </a:extLst>
            </p:cNvPr>
            <p:cNvSpPr/>
            <p:nvPr/>
          </p:nvSpPr>
          <p:spPr>
            <a:xfrm>
              <a:off x="5013106" y="209017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3" name="object 1123">
              <a:extLst>
                <a:ext uri="{FF2B5EF4-FFF2-40B4-BE49-F238E27FC236}">
                  <a16:creationId xmlns:a16="http://schemas.microsoft.com/office/drawing/2014/main" id="{34FFC134-A214-1F0C-D5A1-63E96E1CCE5E}"/>
                </a:ext>
              </a:extLst>
            </p:cNvPr>
            <p:cNvSpPr/>
            <p:nvPr/>
          </p:nvSpPr>
          <p:spPr>
            <a:xfrm>
              <a:off x="5292656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4" name="object 1124">
              <a:extLst>
                <a:ext uri="{FF2B5EF4-FFF2-40B4-BE49-F238E27FC236}">
                  <a16:creationId xmlns:a16="http://schemas.microsoft.com/office/drawing/2014/main" id="{8EB0CB2F-1F13-31B9-554D-04315014906B}"/>
                </a:ext>
              </a:extLst>
            </p:cNvPr>
            <p:cNvSpPr/>
            <p:nvPr/>
          </p:nvSpPr>
          <p:spPr>
            <a:xfrm>
              <a:off x="5327678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5" name="object 1125">
              <a:extLst>
                <a:ext uri="{FF2B5EF4-FFF2-40B4-BE49-F238E27FC236}">
                  <a16:creationId xmlns:a16="http://schemas.microsoft.com/office/drawing/2014/main" id="{C6DE30DC-82E2-5F6F-A5F8-3D6D29CD2289}"/>
                </a:ext>
              </a:extLst>
            </p:cNvPr>
            <p:cNvSpPr/>
            <p:nvPr/>
          </p:nvSpPr>
          <p:spPr>
            <a:xfrm>
              <a:off x="5222613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6" name="object 1126">
              <a:extLst>
                <a:ext uri="{FF2B5EF4-FFF2-40B4-BE49-F238E27FC236}">
                  <a16:creationId xmlns:a16="http://schemas.microsoft.com/office/drawing/2014/main" id="{E86A863B-F7AF-AF0E-D35B-33C9BFD772A9}"/>
                </a:ext>
              </a:extLst>
            </p:cNvPr>
            <p:cNvSpPr/>
            <p:nvPr/>
          </p:nvSpPr>
          <p:spPr>
            <a:xfrm>
              <a:off x="5117549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7" name="object 1127">
              <a:extLst>
                <a:ext uri="{FF2B5EF4-FFF2-40B4-BE49-F238E27FC236}">
                  <a16:creationId xmlns:a16="http://schemas.microsoft.com/office/drawing/2014/main" id="{E2873FFC-2F14-EBF3-7208-211A37EC57FB}"/>
                </a:ext>
              </a:extLst>
            </p:cNvPr>
            <p:cNvSpPr/>
            <p:nvPr/>
          </p:nvSpPr>
          <p:spPr>
            <a:xfrm>
              <a:off x="5152634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8" name="object 1128">
              <a:extLst>
                <a:ext uri="{FF2B5EF4-FFF2-40B4-BE49-F238E27FC236}">
                  <a16:creationId xmlns:a16="http://schemas.microsoft.com/office/drawing/2014/main" id="{A1A322D0-230C-3C39-08D4-01B62749309C}"/>
                </a:ext>
              </a:extLst>
            </p:cNvPr>
            <p:cNvSpPr/>
            <p:nvPr/>
          </p:nvSpPr>
          <p:spPr>
            <a:xfrm>
              <a:off x="5047506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9" name="object 1129">
              <a:extLst>
                <a:ext uri="{FF2B5EF4-FFF2-40B4-BE49-F238E27FC236}">
                  <a16:creationId xmlns:a16="http://schemas.microsoft.com/office/drawing/2014/main" id="{D3585F61-1AA2-09BF-FC3A-8605C59A1AAF}"/>
                </a:ext>
              </a:extLst>
            </p:cNvPr>
            <p:cNvSpPr/>
            <p:nvPr/>
          </p:nvSpPr>
          <p:spPr>
            <a:xfrm>
              <a:off x="5257635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0" name="object 1130">
              <a:extLst>
                <a:ext uri="{FF2B5EF4-FFF2-40B4-BE49-F238E27FC236}">
                  <a16:creationId xmlns:a16="http://schemas.microsoft.com/office/drawing/2014/main" id="{AC33486E-A200-4B18-2DA1-C1823B03D52F}"/>
                </a:ext>
              </a:extLst>
            </p:cNvPr>
            <p:cNvSpPr/>
            <p:nvPr/>
          </p:nvSpPr>
          <p:spPr>
            <a:xfrm>
              <a:off x="5082527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1" name="object 1131">
              <a:extLst>
                <a:ext uri="{FF2B5EF4-FFF2-40B4-BE49-F238E27FC236}">
                  <a16:creationId xmlns:a16="http://schemas.microsoft.com/office/drawing/2014/main" id="{79BFAA50-97CD-EAD2-76FE-AC39C061E545}"/>
                </a:ext>
              </a:extLst>
            </p:cNvPr>
            <p:cNvSpPr/>
            <p:nvPr/>
          </p:nvSpPr>
          <p:spPr>
            <a:xfrm>
              <a:off x="5362699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2" name="object 1132">
              <a:extLst>
                <a:ext uri="{FF2B5EF4-FFF2-40B4-BE49-F238E27FC236}">
                  <a16:creationId xmlns:a16="http://schemas.microsoft.com/office/drawing/2014/main" id="{2844DDCF-1071-6F7C-5245-920E957F605C}"/>
                </a:ext>
              </a:extLst>
            </p:cNvPr>
            <p:cNvSpPr/>
            <p:nvPr/>
          </p:nvSpPr>
          <p:spPr>
            <a:xfrm>
              <a:off x="5187729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3" name="object 1133">
              <a:extLst>
                <a:ext uri="{FF2B5EF4-FFF2-40B4-BE49-F238E27FC236}">
                  <a16:creationId xmlns:a16="http://schemas.microsoft.com/office/drawing/2014/main" id="{A1D6D90F-05DF-C502-3112-F9B4D1EC69D5}"/>
                </a:ext>
              </a:extLst>
            </p:cNvPr>
            <p:cNvSpPr/>
            <p:nvPr/>
          </p:nvSpPr>
          <p:spPr>
            <a:xfrm>
              <a:off x="5012759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4" name="object 1134">
              <a:extLst>
                <a:ext uri="{FF2B5EF4-FFF2-40B4-BE49-F238E27FC236}">
                  <a16:creationId xmlns:a16="http://schemas.microsoft.com/office/drawing/2014/main" id="{65475F9D-6023-6714-410E-3B3BF9ADA2B9}"/>
                </a:ext>
              </a:extLst>
            </p:cNvPr>
            <p:cNvSpPr/>
            <p:nvPr/>
          </p:nvSpPr>
          <p:spPr>
            <a:xfrm>
              <a:off x="5012759" y="11057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5" name="object 1135">
              <a:extLst>
                <a:ext uri="{FF2B5EF4-FFF2-40B4-BE49-F238E27FC236}">
                  <a16:creationId xmlns:a16="http://schemas.microsoft.com/office/drawing/2014/main" id="{AC0BFC09-3176-A489-08EA-368D39695FCC}"/>
                </a:ext>
              </a:extLst>
            </p:cNvPr>
            <p:cNvSpPr/>
            <p:nvPr/>
          </p:nvSpPr>
          <p:spPr>
            <a:xfrm>
              <a:off x="5012877" y="1080263"/>
              <a:ext cx="3157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2070"/>
                <a:gd name="f4" fmla="val 84455"/>
                <a:gd name="f5" fmla="val 51757"/>
                <a:gd name="f6" fmla="val 84112"/>
                <a:gd name="f7" fmla="*/ f0 1 52070"/>
                <a:gd name="f8" fmla="*/ f1 1 84455"/>
                <a:gd name="f9" fmla="+- f4 0 f2"/>
                <a:gd name="f10" fmla="+- f3 0 f2"/>
                <a:gd name="f11" fmla="*/ f10 1 5207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207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6" name="object 1136">
              <a:extLst>
                <a:ext uri="{FF2B5EF4-FFF2-40B4-BE49-F238E27FC236}">
                  <a16:creationId xmlns:a16="http://schemas.microsoft.com/office/drawing/2014/main" id="{476E4CCB-95F6-006F-A10C-D65E2A806E11}"/>
                </a:ext>
              </a:extLst>
            </p:cNvPr>
            <p:cNvSpPr/>
            <p:nvPr/>
          </p:nvSpPr>
          <p:spPr>
            <a:xfrm>
              <a:off x="5012877" y="1152555"/>
              <a:ext cx="11975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7484"/>
                <a:gd name="f4" fmla="val 84455"/>
                <a:gd name="f5" fmla="val 197459"/>
                <a:gd name="f6" fmla="val 84112"/>
                <a:gd name="f7" fmla="*/ f0 1 197484"/>
                <a:gd name="f8" fmla="*/ f1 1 84455"/>
                <a:gd name="f9" fmla="+- f4 0 f2"/>
                <a:gd name="f10" fmla="+- f3 0 f2"/>
                <a:gd name="f11" fmla="*/ f10 1 19748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748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7" name="object 1137">
              <a:extLst>
                <a:ext uri="{FF2B5EF4-FFF2-40B4-BE49-F238E27FC236}">
                  <a16:creationId xmlns:a16="http://schemas.microsoft.com/office/drawing/2014/main" id="{B1517545-1A21-BB97-3B8C-7111B961B1FA}"/>
                </a:ext>
              </a:extLst>
            </p:cNvPr>
            <p:cNvSpPr/>
            <p:nvPr/>
          </p:nvSpPr>
          <p:spPr>
            <a:xfrm>
              <a:off x="5292309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8" name="object 1138">
              <a:extLst>
                <a:ext uri="{FF2B5EF4-FFF2-40B4-BE49-F238E27FC236}">
                  <a16:creationId xmlns:a16="http://schemas.microsoft.com/office/drawing/2014/main" id="{D161E16C-E3CC-D6E6-7108-3C0E268DCD03}"/>
                </a:ext>
              </a:extLst>
            </p:cNvPr>
            <p:cNvSpPr/>
            <p:nvPr/>
          </p:nvSpPr>
          <p:spPr>
            <a:xfrm>
              <a:off x="532733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9" name="object 1139">
              <a:extLst>
                <a:ext uri="{FF2B5EF4-FFF2-40B4-BE49-F238E27FC236}">
                  <a16:creationId xmlns:a16="http://schemas.microsoft.com/office/drawing/2014/main" id="{4981C8CC-0E8C-D208-7A7D-6F7797BE410F}"/>
                </a:ext>
              </a:extLst>
            </p:cNvPr>
            <p:cNvSpPr/>
            <p:nvPr/>
          </p:nvSpPr>
          <p:spPr>
            <a:xfrm>
              <a:off x="5222266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0" name="object 1140">
              <a:extLst>
                <a:ext uri="{FF2B5EF4-FFF2-40B4-BE49-F238E27FC236}">
                  <a16:creationId xmlns:a16="http://schemas.microsoft.com/office/drawing/2014/main" id="{29E02724-7BEA-CAFB-9D99-E181252D79FB}"/>
                </a:ext>
              </a:extLst>
            </p:cNvPr>
            <p:cNvSpPr/>
            <p:nvPr/>
          </p:nvSpPr>
          <p:spPr>
            <a:xfrm>
              <a:off x="5117201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1" name="object 1141">
              <a:extLst>
                <a:ext uri="{FF2B5EF4-FFF2-40B4-BE49-F238E27FC236}">
                  <a16:creationId xmlns:a16="http://schemas.microsoft.com/office/drawing/2014/main" id="{B8DFF6EA-70BD-BF47-8F7C-CE386D1BD9F8}"/>
                </a:ext>
              </a:extLst>
            </p:cNvPr>
            <p:cNvSpPr/>
            <p:nvPr/>
          </p:nvSpPr>
          <p:spPr>
            <a:xfrm>
              <a:off x="5152296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2" name="object 1142">
              <a:extLst>
                <a:ext uri="{FF2B5EF4-FFF2-40B4-BE49-F238E27FC236}">
                  <a16:creationId xmlns:a16="http://schemas.microsoft.com/office/drawing/2014/main" id="{51D1DAC6-812A-6CB6-780D-BA6A7948BBA4}"/>
                </a:ext>
              </a:extLst>
            </p:cNvPr>
            <p:cNvSpPr/>
            <p:nvPr/>
          </p:nvSpPr>
          <p:spPr>
            <a:xfrm>
              <a:off x="504715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3" name="object 1143">
              <a:extLst>
                <a:ext uri="{FF2B5EF4-FFF2-40B4-BE49-F238E27FC236}">
                  <a16:creationId xmlns:a16="http://schemas.microsoft.com/office/drawing/2014/main" id="{93C99C79-1F2C-059C-BBFB-1AE84BD18109}"/>
                </a:ext>
              </a:extLst>
            </p:cNvPr>
            <p:cNvSpPr/>
            <p:nvPr/>
          </p:nvSpPr>
          <p:spPr>
            <a:xfrm>
              <a:off x="5257287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4" name="object 1144">
              <a:extLst>
                <a:ext uri="{FF2B5EF4-FFF2-40B4-BE49-F238E27FC236}">
                  <a16:creationId xmlns:a16="http://schemas.microsoft.com/office/drawing/2014/main" id="{CB58C65D-7877-7621-950B-8957B997B4C0}"/>
                </a:ext>
              </a:extLst>
            </p:cNvPr>
            <p:cNvSpPr/>
            <p:nvPr/>
          </p:nvSpPr>
          <p:spPr>
            <a:xfrm>
              <a:off x="508218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5" name="object 1145">
              <a:extLst>
                <a:ext uri="{FF2B5EF4-FFF2-40B4-BE49-F238E27FC236}">
                  <a16:creationId xmlns:a16="http://schemas.microsoft.com/office/drawing/2014/main" id="{4F9C5558-9229-3E9F-A587-073B7D4030DB}"/>
                </a:ext>
              </a:extLst>
            </p:cNvPr>
            <p:cNvSpPr/>
            <p:nvPr/>
          </p:nvSpPr>
          <p:spPr>
            <a:xfrm>
              <a:off x="5362352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6" name="object 1146">
              <a:extLst>
                <a:ext uri="{FF2B5EF4-FFF2-40B4-BE49-F238E27FC236}">
                  <a16:creationId xmlns:a16="http://schemas.microsoft.com/office/drawing/2014/main" id="{9AF68AB0-BBDF-951B-0958-FF020BB52DCC}"/>
                </a:ext>
              </a:extLst>
            </p:cNvPr>
            <p:cNvSpPr/>
            <p:nvPr/>
          </p:nvSpPr>
          <p:spPr>
            <a:xfrm>
              <a:off x="5187382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7" name="object 1147">
              <a:extLst>
                <a:ext uri="{FF2B5EF4-FFF2-40B4-BE49-F238E27FC236}">
                  <a16:creationId xmlns:a16="http://schemas.microsoft.com/office/drawing/2014/main" id="{6627EA0A-31DF-AAA3-9E38-93F18A6133B5}"/>
                </a:ext>
              </a:extLst>
            </p:cNvPr>
            <p:cNvSpPr/>
            <p:nvPr/>
          </p:nvSpPr>
          <p:spPr>
            <a:xfrm>
              <a:off x="5012411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8" name="object 1148">
              <a:extLst>
                <a:ext uri="{FF2B5EF4-FFF2-40B4-BE49-F238E27FC236}">
                  <a16:creationId xmlns:a16="http://schemas.microsoft.com/office/drawing/2014/main" id="{DE5920B5-F7E4-4354-7269-FE228B300E33}"/>
                </a:ext>
              </a:extLst>
            </p:cNvPr>
            <p:cNvSpPr/>
            <p:nvPr/>
          </p:nvSpPr>
          <p:spPr>
            <a:xfrm>
              <a:off x="5187382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9" name="object 1149">
              <a:extLst>
                <a:ext uri="{FF2B5EF4-FFF2-40B4-BE49-F238E27FC236}">
                  <a16:creationId xmlns:a16="http://schemas.microsoft.com/office/drawing/2014/main" id="{724090E8-688C-862A-C328-5522EA227836}"/>
                </a:ext>
              </a:extLst>
            </p:cNvPr>
            <p:cNvSpPr/>
            <p:nvPr/>
          </p:nvSpPr>
          <p:spPr>
            <a:xfrm>
              <a:off x="5012411" y="11780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150" name="object 1150">
              <a:extLst>
                <a:ext uri="{FF2B5EF4-FFF2-40B4-BE49-F238E27FC236}">
                  <a16:creationId xmlns:a16="http://schemas.microsoft.com/office/drawing/2014/main" id="{F63E2E58-A55A-0684-5F79-E59C7F79E1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5012128" y="1324636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51" name="object 1151">
              <a:extLst>
                <a:ext uri="{FF2B5EF4-FFF2-40B4-BE49-F238E27FC236}">
                  <a16:creationId xmlns:a16="http://schemas.microsoft.com/office/drawing/2014/main" id="{D8BFD53A-AB2C-433C-7105-B7930AEBB1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5007373" y="1319872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52" name="object 1152">
              <a:extLst>
                <a:ext uri="{FF2B5EF4-FFF2-40B4-BE49-F238E27FC236}">
                  <a16:creationId xmlns:a16="http://schemas.microsoft.com/office/drawing/2014/main" id="{82F3ACA9-491C-4FC6-4333-8CD7FBCB0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5007373" y="1319872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53" name="object 1153">
              <a:extLst>
                <a:ext uri="{FF2B5EF4-FFF2-40B4-BE49-F238E27FC236}">
                  <a16:creationId xmlns:a16="http://schemas.microsoft.com/office/drawing/2014/main" id="{412BF4D4-3CBC-3273-EA6E-1CFE01E0BEC3}"/>
                </a:ext>
              </a:extLst>
            </p:cNvPr>
            <p:cNvSpPr/>
            <p:nvPr/>
          </p:nvSpPr>
          <p:spPr>
            <a:xfrm>
              <a:off x="5012128" y="132463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4" name="object 1154">
              <a:extLst>
                <a:ext uri="{FF2B5EF4-FFF2-40B4-BE49-F238E27FC236}">
                  <a16:creationId xmlns:a16="http://schemas.microsoft.com/office/drawing/2014/main" id="{532D0EFB-424E-8DC2-421C-AB09C3BEE74E}"/>
                </a:ext>
              </a:extLst>
            </p:cNvPr>
            <p:cNvSpPr/>
            <p:nvPr/>
          </p:nvSpPr>
          <p:spPr>
            <a:xfrm>
              <a:off x="6113971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5" name="object 1155">
              <a:extLst>
                <a:ext uri="{FF2B5EF4-FFF2-40B4-BE49-F238E27FC236}">
                  <a16:creationId xmlns:a16="http://schemas.microsoft.com/office/drawing/2014/main" id="{D03549FC-2CAF-BB20-ABF8-3C680160F9B0}"/>
                </a:ext>
              </a:extLst>
            </p:cNvPr>
            <p:cNvSpPr/>
            <p:nvPr/>
          </p:nvSpPr>
          <p:spPr>
            <a:xfrm>
              <a:off x="6148992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6" name="object 1156">
              <a:extLst>
                <a:ext uri="{FF2B5EF4-FFF2-40B4-BE49-F238E27FC236}">
                  <a16:creationId xmlns:a16="http://schemas.microsoft.com/office/drawing/2014/main" id="{57684548-979B-A889-846E-1E62EF19AC16}"/>
                </a:ext>
              </a:extLst>
            </p:cNvPr>
            <p:cNvSpPr/>
            <p:nvPr/>
          </p:nvSpPr>
          <p:spPr>
            <a:xfrm>
              <a:off x="6043927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7" name="object 1157">
              <a:extLst>
                <a:ext uri="{FF2B5EF4-FFF2-40B4-BE49-F238E27FC236}">
                  <a16:creationId xmlns:a16="http://schemas.microsoft.com/office/drawing/2014/main" id="{998AC83A-68F4-1916-2051-CF2FE5B19979}"/>
                </a:ext>
              </a:extLst>
            </p:cNvPr>
            <p:cNvSpPr/>
            <p:nvPr/>
          </p:nvSpPr>
          <p:spPr>
            <a:xfrm>
              <a:off x="5938863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8" name="object 1158">
              <a:extLst>
                <a:ext uri="{FF2B5EF4-FFF2-40B4-BE49-F238E27FC236}">
                  <a16:creationId xmlns:a16="http://schemas.microsoft.com/office/drawing/2014/main" id="{1EEB2B41-1105-CB47-702C-E1657A0F8CA7}"/>
                </a:ext>
              </a:extLst>
            </p:cNvPr>
            <p:cNvSpPr/>
            <p:nvPr/>
          </p:nvSpPr>
          <p:spPr>
            <a:xfrm>
              <a:off x="5973948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9" name="object 1159">
              <a:extLst>
                <a:ext uri="{FF2B5EF4-FFF2-40B4-BE49-F238E27FC236}">
                  <a16:creationId xmlns:a16="http://schemas.microsoft.com/office/drawing/2014/main" id="{F242E8CB-D6C5-E7BA-7469-6361A00DFF44}"/>
                </a:ext>
              </a:extLst>
            </p:cNvPr>
            <p:cNvSpPr/>
            <p:nvPr/>
          </p:nvSpPr>
          <p:spPr>
            <a:xfrm>
              <a:off x="5868820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0" name="object 1160">
              <a:extLst>
                <a:ext uri="{FF2B5EF4-FFF2-40B4-BE49-F238E27FC236}">
                  <a16:creationId xmlns:a16="http://schemas.microsoft.com/office/drawing/2014/main" id="{3A91CBDB-E9C2-9AA8-84E9-E312410382A2}"/>
                </a:ext>
              </a:extLst>
            </p:cNvPr>
            <p:cNvSpPr/>
            <p:nvPr/>
          </p:nvSpPr>
          <p:spPr>
            <a:xfrm>
              <a:off x="6078949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1" name="object 1161">
              <a:extLst>
                <a:ext uri="{FF2B5EF4-FFF2-40B4-BE49-F238E27FC236}">
                  <a16:creationId xmlns:a16="http://schemas.microsoft.com/office/drawing/2014/main" id="{D5228FDF-7CA1-E37A-7634-F186933F1A02}"/>
                </a:ext>
              </a:extLst>
            </p:cNvPr>
            <p:cNvSpPr/>
            <p:nvPr/>
          </p:nvSpPr>
          <p:spPr>
            <a:xfrm>
              <a:off x="5903841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2" name="object 1162">
              <a:extLst>
                <a:ext uri="{FF2B5EF4-FFF2-40B4-BE49-F238E27FC236}">
                  <a16:creationId xmlns:a16="http://schemas.microsoft.com/office/drawing/2014/main" id="{A41B0C8F-5303-CC0F-7352-59667ED94FF4}"/>
                </a:ext>
              </a:extLst>
            </p:cNvPr>
            <p:cNvSpPr/>
            <p:nvPr/>
          </p:nvSpPr>
          <p:spPr>
            <a:xfrm>
              <a:off x="6184014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3" name="object 1163">
              <a:extLst>
                <a:ext uri="{FF2B5EF4-FFF2-40B4-BE49-F238E27FC236}">
                  <a16:creationId xmlns:a16="http://schemas.microsoft.com/office/drawing/2014/main" id="{3892CEC2-B2A5-21D7-4C24-70EADF833088}"/>
                </a:ext>
              </a:extLst>
            </p:cNvPr>
            <p:cNvSpPr/>
            <p:nvPr/>
          </p:nvSpPr>
          <p:spPr>
            <a:xfrm>
              <a:off x="6009043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4" name="object 1164">
              <a:extLst>
                <a:ext uri="{FF2B5EF4-FFF2-40B4-BE49-F238E27FC236}">
                  <a16:creationId xmlns:a16="http://schemas.microsoft.com/office/drawing/2014/main" id="{B18EF645-03C7-3F73-A3D0-A3B24880342C}"/>
                </a:ext>
              </a:extLst>
            </p:cNvPr>
            <p:cNvSpPr/>
            <p:nvPr/>
          </p:nvSpPr>
          <p:spPr>
            <a:xfrm>
              <a:off x="5834073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5" name="object 1165">
              <a:extLst>
                <a:ext uri="{FF2B5EF4-FFF2-40B4-BE49-F238E27FC236}">
                  <a16:creationId xmlns:a16="http://schemas.microsoft.com/office/drawing/2014/main" id="{42C63759-7E35-B069-6909-FD32E6E68DCC}"/>
                </a:ext>
              </a:extLst>
            </p:cNvPr>
            <p:cNvSpPr/>
            <p:nvPr/>
          </p:nvSpPr>
          <p:spPr>
            <a:xfrm>
              <a:off x="5834073" y="11057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6" name="object 1166">
              <a:extLst>
                <a:ext uri="{FF2B5EF4-FFF2-40B4-BE49-F238E27FC236}">
                  <a16:creationId xmlns:a16="http://schemas.microsoft.com/office/drawing/2014/main" id="{6988D260-857C-50A4-9A0F-A037BD4E7BEF}"/>
                </a:ext>
              </a:extLst>
            </p:cNvPr>
            <p:cNvSpPr/>
            <p:nvPr/>
          </p:nvSpPr>
          <p:spPr>
            <a:xfrm>
              <a:off x="5834192" y="1080263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5"/>
                <a:gd name="f5" fmla="val 241856"/>
                <a:gd name="f6" fmla="val 84112"/>
                <a:gd name="f7" fmla="*/ f0 1 241934"/>
                <a:gd name="f8" fmla="*/ f1 1 84455"/>
                <a:gd name="f9" fmla="+- f4 0 f2"/>
                <a:gd name="f10" fmla="+- f3 0 f2"/>
                <a:gd name="f11" fmla="*/ f10 1 241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7" name="object 1167">
              <a:extLst>
                <a:ext uri="{FF2B5EF4-FFF2-40B4-BE49-F238E27FC236}">
                  <a16:creationId xmlns:a16="http://schemas.microsoft.com/office/drawing/2014/main" id="{351BA37E-F594-57EE-A26E-494801403E09}"/>
                </a:ext>
              </a:extLst>
            </p:cNvPr>
            <p:cNvSpPr/>
            <p:nvPr/>
          </p:nvSpPr>
          <p:spPr>
            <a:xfrm>
              <a:off x="5834192" y="1152555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5"/>
                <a:gd name="f5" fmla="val 291436"/>
                <a:gd name="f6" fmla="val 84112"/>
                <a:gd name="f7" fmla="*/ f0 1 291465"/>
                <a:gd name="f8" fmla="*/ f1 1 84455"/>
                <a:gd name="f9" fmla="+- f4 0 f2"/>
                <a:gd name="f10" fmla="+- f3 0 f2"/>
                <a:gd name="f11" fmla="*/ f10 1 29146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8" name="object 1168">
              <a:extLst>
                <a:ext uri="{FF2B5EF4-FFF2-40B4-BE49-F238E27FC236}">
                  <a16:creationId xmlns:a16="http://schemas.microsoft.com/office/drawing/2014/main" id="{C2D78D4F-F7FE-6EE6-24EB-2463C413F311}"/>
                </a:ext>
              </a:extLst>
            </p:cNvPr>
            <p:cNvSpPr/>
            <p:nvPr/>
          </p:nvSpPr>
          <p:spPr>
            <a:xfrm>
              <a:off x="6113623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9" name="object 1169">
              <a:extLst>
                <a:ext uri="{FF2B5EF4-FFF2-40B4-BE49-F238E27FC236}">
                  <a16:creationId xmlns:a16="http://schemas.microsoft.com/office/drawing/2014/main" id="{8E2208A2-4321-D655-1CC9-53F6EB68357A}"/>
                </a:ext>
              </a:extLst>
            </p:cNvPr>
            <p:cNvSpPr/>
            <p:nvPr/>
          </p:nvSpPr>
          <p:spPr>
            <a:xfrm>
              <a:off x="6148645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0" name="object 1170">
              <a:extLst>
                <a:ext uri="{FF2B5EF4-FFF2-40B4-BE49-F238E27FC236}">
                  <a16:creationId xmlns:a16="http://schemas.microsoft.com/office/drawing/2014/main" id="{E7B4A4B5-9624-347D-D6F3-989AEBC0C093}"/>
                </a:ext>
              </a:extLst>
            </p:cNvPr>
            <p:cNvSpPr/>
            <p:nvPr/>
          </p:nvSpPr>
          <p:spPr>
            <a:xfrm>
              <a:off x="604358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1" name="object 1171">
              <a:extLst>
                <a:ext uri="{FF2B5EF4-FFF2-40B4-BE49-F238E27FC236}">
                  <a16:creationId xmlns:a16="http://schemas.microsoft.com/office/drawing/2014/main" id="{FE06BCF6-53A0-5BD0-B3AA-AA6F96162F62}"/>
                </a:ext>
              </a:extLst>
            </p:cNvPr>
            <p:cNvSpPr/>
            <p:nvPr/>
          </p:nvSpPr>
          <p:spPr>
            <a:xfrm>
              <a:off x="5938515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2" name="object 1172">
              <a:extLst>
                <a:ext uri="{FF2B5EF4-FFF2-40B4-BE49-F238E27FC236}">
                  <a16:creationId xmlns:a16="http://schemas.microsoft.com/office/drawing/2014/main" id="{3AF41E71-E211-342B-EF0D-BACA44F7D9DD}"/>
                </a:ext>
              </a:extLst>
            </p:cNvPr>
            <p:cNvSpPr/>
            <p:nvPr/>
          </p:nvSpPr>
          <p:spPr>
            <a:xfrm>
              <a:off x="597361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3" name="object 1173">
              <a:extLst>
                <a:ext uri="{FF2B5EF4-FFF2-40B4-BE49-F238E27FC236}">
                  <a16:creationId xmlns:a16="http://schemas.microsoft.com/office/drawing/2014/main" id="{2812285F-4B36-A763-E4E6-C1738B69628F}"/>
                </a:ext>
              </a:extLst>
            </p:cNvPr>
            <p:cNvSpPr/>
            <p:nvPr/>
          </p:nvSpPr>
          <p:spPr>
            <a:xfrm>
              <a:off x="5868472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4" name="object 1174">
              <a:extLst>
                <a:ext uri="{FF2B5EF4-FFF2-40B4-BE49-F238E27FC236}">
                  <a16:creationId xmlns:a16="http://schemas.microsoft.com/office/drawing/2014/main" id="{66242962-4B8A-BBEA-F465-23A951D14137}"/>
                </a:ext>
              </a:extLst>
            </p:cNvPr>
            <p:cNvSpPr/>
            <p:nvPr/>
          </p:nvSpPr>
          <p:spPr>
            <a:xfrm>
              <a:off x="6078602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5" name="object 1175">
              <a:extLst>
                <a:ext uri="{FF2B5EF4-FFF2-40B4-BE49-F238E27FC236}">
                  <a16:creationId xmlns:a16="http://schemas.microsoft.com/office/drawing/2014/main" id="{2C089201-DA9E-3139-8D6D-C122F87290A3}"/>
                </a:ext>
              </a:extLst>
            </p:cNvPr>
            <p:cNvSpPr/>
            <p:nvPr/>
          </p:nvSpPr>
          <p:spPr>
            <a:xfrm>
              <a:off x="5903494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6" name="object 1176">
              <a:extLst>
                <a:ext uri="{FF2B5EF4-FFF2-40B4-BE49-F238E27FC236}">
                  <a16:creationId xmlns:a16="http://schemas.microsoft.com/office/drawing/2014/main" id="{3B8E1C94-8076-4B51-BB35-E979EE7A1830}"/>
                </a:ext>
              </a:extLst>
            </p:cNvPr>
            <p:cNvSpPr/>
            <p:nvPr/>
          </p:nvSpPr>
          <p:spPr>
            <a:xfrm>
              <a:off x="6183666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7" name="object 1177">
              <a:extLst>
                <a:ext uri="{FF2B5EF4-FFF2-40B4-BE49-F238E27FC236}">
                  <a16:creationId xmlns:a16="http://schemas.microsoft.com/office/drawing/2014/main" id="{49CC6CC5-5D2D-C91F-8901-FCB6FCBEB3E8}"/>
                </a:ext>
              </a:extLst>
            </p:cNvPr>
            <p:cNvSpPr/>
            <p:nvPr/>
          </p:nvSpPr>
          <p:spPr>
            <a:xfrm>
              <a:off x="6008696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8" name="object 1178">
              <a:extLst>
                <a:ext uri="{FF2B5EF4-FFF2-40B4-BE49-F238E27FC236}">
                  <a16:creationId xmlns:a16="http://schemas.microsoft.com/office/drawing/2014/main" id="{36F91301-C299-C2E2-E1BF-875DA2671F3E}"/>
                </a:ext>
              </a:extLst>
            </p:cNvPr>
            <p:cNvSpPr/>
            <p:nvPr/>
          </p:nvSpPr>
          <p:spPr>
            <a:xfrm>
              <a:off x="5833725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9" name="object 1179">
              <a:extLst>
                <a:ext uri="{FF2B5EF4-FFF2-40B4-BE49-F238E27FC236}">
                  <a16:creationId xmlns:a16="http://schemas.microsoft.com/office/drawing/2014/main" id="{035929D5-6B6B-ED65-0ACC-CA63C7901807}"/>
                </a:ext>
              </a:extLst>
            </p:cNvPr>
            <p:cNvSpPr/>
            <p:nvPr/>
          </p:nvSpPr>
          <p:spPr>
            <a:xfrm>
              <a:off x="6008696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0" name="object 1180">
              <a:extLst>
                <a:ext uri="{FF2B5EF4-FFF2-40B4-BE49-F238E27FC236}">
                  <a16:creationId xmlns:a16="http://schemas.microsoft.com/office/drawing/2014/main" id="{A6A8EB31-F2B3-2F6B-5096-155F53604ECA}"/>
                </a:ext>
              </a:extLst>
            </p:cNvPr>
            <p:cNvSpPr/>
            <p:nvPr/>
          </p:nvSpPr>
          <p:spPr>
            <a:xfrm>
              <a:off x="5833725" y="11780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1" name="object 1181">
              <a:extLst>
                <a:ext uri="{FF2B5EF4-FFF2-40B4-BE49-F238E27FC236}">
                  <a16:creationId xmlns:a16="http://schemas.microsoft.com/office/drawing/2014/main" id="{8881E321-812E-6950-2DD9-9A61BB6C2CAC}"/>
                </a:ext>
              </a:extLst>
            </p:cNvPr>
            <p:cNvSpPr/>
            <p:nvPr/>
          </p:nvSpPr>
          <p:spPr>
            <a:xfrm>
              <a:off x="6113971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2" name="object 1182">
              <a:extLst>
                <a:ext uri="{FF2B5EF4-FFF2-40B4-BE49-F238E27FC236}">
                  <a16:creationId xmlns:a16="http://schemas.microsoft.com/office/drawing/2014/main" id="{2FECC702-D8B0-FDEE-5DC0-EEA4D96FC182}"/>
                </a:ext>
              </a:extLst>
            </p:cNvPr>
            <p:cNvSpPr/>
            <p:nvPr/>
          </p:nvSpPr>
          <p:spPr>
            <a:xfrm>
              <a:off x="6148992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3" name="object 1183">
              <a:extLst>
                <a:ext uri="{FF2B5EF4-FFF2-40B4-BE49-F238E27FC236}">
                  <a16:creationId xmlns:a16="http://schemas.microsoft.com/office/drawing/2014/main" id="{0D1938BE-40D7-B44E-3DED-68959CE42C4A}"/>
                </a:ext>
              </a:extLst>
            </p:cNvPr>
            <p:cNvSpPr/>
            <p:nvPr/>
          </p:nvSpPr>
          <p:spPr>
            <a:xfrm>
              <a:off x="6043927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4" name="object 1184">
              <a:extLst>
                <a:ext uri="{FF2B5EF4-FFF2-40B4-BE49-F238E27FC236}">
                  <a16:creationId xmlns:a16="http://schemas.microsoft.com/office/drawing/2014/main" id="{40C5FFEB-661C-D295-FFA1-9F9C01FB072F}"/>
                </a:ext>
              </a:extLst>
            </p:cNvPr>
            <p:cNvSpPr/>
            <p:nvPr/>
          </p:nvSpPr>
          <p:spPr>
            <a:xfrm>
              <a:off x="5938863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5" name="object 1185">
              <a:extLst>
                <a:ext uri="{FF2B5EF4-FFF2-40B4-BE49-F238E27FC236}">
                  <a16:creationId xmlns:a16="http://schemas.microsoft.com/office/drawing/2014/main" id="{F2F488E0-79E3-5B91-9A7C-EB6E055B7EED}"/>
                </a:ext>
              </a:extLst>
            </p:cNvPr>
            <p:cNvSpPr/>
            <p:nvPr/>
          </p:nvSpPr>
          <p:spPr>
            <a:xfrm>
              <a:off x="5973948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6" name="object 1186">
              <a:extLst>
                <a:ext uri="{FF2B5EF4-FFF2-40B4-BE49-F238E27FC236}">
                  <a16:creationId xmlns:a16="http://schemas.microsoft.com/office/drawing/2014/main" id="{8CDAFFA9-4BA7-2F1D-C00E-8CBF0507C8D0}"/>
                </a:ext>
              </a:extLst>
            </p:cNvPr>
            <p:cNvSpPr/>
            <p:nvPr/>
          </p:nvSpPr>
          <p:spPr>
            <a:xfrm>
              <a:off x="5868820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7" name="object 1187">
              <a:extLst>
                <a:ext uri="{FF2B5EF4-FFF2-40B4-BE49-F238E27FC236}">
                  <a16:creationId xmlns:a16="http://schemas.microsoft.com/office/drawing/2014/main" id="{E1C6FBFC-E925-253F-84F3-CEC9EC50BC90}"/>
                </a:ext>
              </a:extLst>
            </p:cNvPr>
            <p:cNvSpPr/>
            <p:nvPr/>
          </p:nvSpPr>
          <p:spPr>
            <a:xfrm>
              <a:off x="6078949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8" name="object 1188">
              <a:extLst>
                <a:ext uri="{FF2B5EF4-FFF2-40B4-BE49-F238E27FC236}">
                  <a16:creationId xmlns:a16="http://schemas.microsoft.com/office/drawing/2014/main" id="{6E39B676-54F2-758C-AB22-678F280EE0DB}"/>
                </a:ext>
              </a:extLst>
            </p:cNvPr>
            <p:cNvSpPr/>
            <p:nvPr/>
          </p:nvSpPr>
          <p:spPr>
            <a:xfrm>
              <a:off x="5903841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9" name="object 1189">
              <a:extLst>
                <a:ext uri="{FF2B5EF4-FFF2-40B4-BE49-F238E27FC236}">
                  <a16:creationId xmlns:a16="http://schemas.microsoft.com/office/drawing/2014/main" id="{0517350F-FBCF-8ABE-7AE1-17B08DC67B55}"/>
                </a:ext>
              </a:extLst>
            </p:cNvPr>
            <p:cNvSpPr/>
            <p:nvPr/>
          </p:nvSpPr>
          <p:spPr>
            <a:xfrm>
              <a:off x="6184014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0" name="object 1190">
              <a:extLst>
                <a:ext uri="{FF2B5EF4-FFF2-40B4-BE49-F238E27FC236}">
                  <a16:creationId xmlns:a16="http://schemas.microsoft.com/office/drawing/2014/main" id="{7A356196-40DD-874B-9CCC-225F14765C29}"/>
                </a:ext>
              </a:extLst>
            </p:cNvPr>
            <p:cNvSpPr/>
            <p:nvPr/>
          </p:nvSpPr>
          <p:spPr>
            <a:xfrm>
              <a:off x="6009043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1" name="object 1191">
              <a:extLst>
                <a:ext uri="{FF2B5EF4-FFF2-40B4-BE49-F238E27FC236}">
                  <a16:creationId xmlns:a16="http://schemas.microsoft.com/office/drawing/2014/main" id="{F0DF998A-13EF-C81A-55AE-4C695ABE334B}"/>
                </a:ext>
              </a:extLst>
            </p:cNvPr>
            <p:cNvSpPr/>
            <p:nvPr/>
          </p:nvSpPr>
          <p:spPr>
            <a:xfrm>
              <a:off x="5834073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2" name="object 1192">
              <a:extLst>
                <a:ext uri="{FF2B5EF4-FFF2-40B4-BE49-F238E27FC236}">
                  <a16:creationId xmlns:a16="http://schemas.microsoft.com/office/drawing/2014/main" id="{64C4AD2E-CCB1-85C2-CBB7-453561F6BFFB}"/>
                </a:ext>
              </a:extLst>
            </p:cNvPr>
            <p:cNvSpPr/>
            <p:nvPr/>
          </p:nvSpPr>
          <p:spPr>
            <a:xfrm>
              <a:off x="5834073" y="186917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3" name="object 1193">
              <a:extLst>
                <a:ext uri="{FF2B5EF4-FFF2-40B4-BE49-F238E27FC236}">
                  <a16:creationId xmlns:a16="http://schemas.microsoft.com/office/drawing/2014/main" id="{A3F9F843-D115-B1AA-CAE1-BCE225DBC125}"/>
                </a:ext>
              </a:extLst>
            </p:cNvPr>
            <p:cNvSpPr/>
            <p:nvPr/>
          </p:nvSpPr>
          <p:spPr>
            <a:xfrm>
              <a:off x="5834192" y="1843668"/>
              <a:ext cx="13977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0504"/>
                <a:gd name="f4" fmla="val 84455"/>
                <a:gd name="f5" fmla="val 230474"/>
                <a:gd name="f6" fmla="val 84112"/>
                <a:gd name="f7" fmla="*/ f0 1 230504"/>
                <a:gd name="f8" fmla="*/ f1 1 84455"/>
                <a:gd name="f9" fmla="+- f4 0 f2"/>
                <a:gd name="f10" fmla="+- f3 0 f2"/>
                <a:gd name="f11" fmla="*/ f10 1 23050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050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4" name="object 1194">
              <a:extLst>
                <a:ext uri="{FF2B5EF4-FFF2-40B4-BE49-F238E27FC236}">
                  <a16:creationId xmlns:a16="http://schemas.microsoft.com/office/drawing/2014/main" id="{C262E466-6A34-40E4-4F3A-2EA1A7DD29CC}"/>
                </a:ext>
              </a:extLst>
            </p:cNvPr>
            <p:cNvSpPr/>
            <p:nvPr/>
          </p:nvSpPr>
          <p:spPr>
            <a:xfrm>
              <a:off x="5834192" y="1915978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5"/>
                <a:gd name="f5" fmla="val 291436"/>
                <a:gd name="f6" fmla="val 84081"/>
                <a:gd name="f7" fmla="*/ f0 1 291465"/>
                <a:gd name="f8" fmla="*/ f1 1 84455"/>
                <a:gd name="f9" fmla="+- f4 0 f2"/>
                <a:gd name="f10" fmla="+- f3 0 f2"/>
                <a:gd name="f11" fmla="*/ f10 1 29146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5" name="object 1195">
              <a:extLst>
                <a:ext uri="{FF2B5EF4-FFF2-40B4-BE49-F238E27FC236}">
                  <a16:creationId xmlns:a16="http://schemas.microsoft.com/office/drawing/2014/main" id="{5A506F02-1B67-4AEB-5EF9-3A2F675EDEED}"/>
                </a:ext>
              </a:extLst>
            </p:cNvPr>
            <p:cNvSpPr/>
            <p:nvPr/>
          </p:nvSpPr>
          <p:spPr>
            <a:xfrm>
              <a:off x="6113623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6" name="object 1196">
              <a:extLst>
                <a:ext uri="{FF2B5EF4-FFF2-40B4-BE49-F238E27FC236}">
                  <a16:creationId xmlns:a16="http://schemas.microsoft.com/office/drawing/2014/main" id="{F3761E3E-4C24-3D56-A1B3-752447755667}"/>
                </a:ext>
              </a:extLst>
            </p:cNvPr>
            <p:cNvSpPr/>
            <p:nvPr/>
          </p:nvSpPr>
          <p:spPr>
            <a:xfrm>
              <a:off x="6148645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7" name="object 1197">
              <a:extLst>
                <a:ext uri="{FF2B5EF4-FFF2-40B4-BE49-F238E27FC236}">
                  <a16:creationId xmlns:a16="http://schemas.microsoft.com/office/drawing/2014/main" id="{43E06D22-A318-B591-628E-ADC76CC8C6DA}"/>
                </a:ext>
              </a:extLst>
            </p:cNvPr>
            <p:cNvSpPr/>
            <p:nvPr/>
          </p:nvSpPr>
          <p:spPr>
            <a:xfrm>
              <a:off x="6043580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8" name="object 1198">
              <a:extLst>
                <a:ext uri="{FF2B5EF4-FFF2-40B4-BE49-F238E27FC236}">
                  <a16:creationId xmlns:a16="http://schemas.microsoft.com/office/drawing/2014/main" id="{FEF7E609-CEED-A296-E53F-B9992F56C8A0}"/>
                </a:ext>
              </a:extLst>
            </p:cNvPr>
            <p:cNvSpPr/>
            <p:nvPr/>
          </p:nvSpPr>
          <p:spPr>
            <a:xfrm>
              <a:off x="5938515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9" name="object 1199">
              <a:extLst>
                <a:ext uri="{FF2B5EF4-FFF2-40B4-BE49-F238E27FC236}">
                  <a16:creationId xmlns:a16="http://schemas.microsoft.com/office/drawing/2014/main" id="{C98AD216-C10C-E1AA-D6D4-7D7B51629BE4}"/>
                </a:ext>
              </a:extLst>
            </p:cNvPr>
            <p:cNvSpPr/>
            <p:nvPr/>
          </p:nvSpPr>
          <p:spPr>
            <a:xfrm>
              <a:off x="5973610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0" name="object 1200">
              <a:extLst>
                <a:ext uri="{FF2B5EF4-FFF2-40B4-BE49-F238E27FC236}">
                  <a16:creationId xmlns:a16="http://schemas.microsoft.com/office/drawing/2014/main" id="{C29FC66B-FC84-B579-D558-2F6BC9475A58}"/>
                </a:ext>
              </a:extLst>
            </p:cNvPr>
            <p:cNvSpPr/>
            <p:nvPr/>
          </p:nvSpPr>
          <p:spPr>
            <a:xfrm>
              <a:off x="5868472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1" name="object 1201">
              <a:extLst>
                <a:ext uri="{FF2B5EF4-FFF2-40B4-BE49-F238E27FC236}">
                  <a16:creationId xmlns:a16="http://schemas.microsoft.com/office/drawing/2014/main" id="{A94602A9-7C02-5D1D-81DF-03C6BDCFC8C6}"/>
                </a:ext>
              </a:extLst>
            </p:cNvPr>
            <p:cNvSpPr/>
            <p:nvPr/>
          </p:nvSpPr>
          <p:spPr>
            <a:xfrm>
              <a:off x="6078602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2" name="object 1202">
              <a:extLst>
                <a:ext uri="{FF2B5EF4-FFF2-40B4-BE49-F238E27FC236}">
                  <a16:creationId xmlns:a16="http://schemas.microsoft.com/office/drawing/2014/main" id="{9D961BA2-993C-0573-4D55-C3F0869B0A6C}"/>
                </a:ext>
              </a:extLst>
            </p:cNvPr>
            <p:cNvSpPr/>
            <p:nvPr/>
          </p:nvSpPr>
          <p:spPr>
            <a:xfrm>
              <a:off x="5903494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3" name="object 1203">
              <a:extLst>
                <a:ext uri="{FF2B5EF4-FFF2-40B4-BE49-F238E27FC236}">
                  <a16:creationId xmlns:a16="http://schemas.microsoft.com/office/drawing/2014/main" id="{05CFFFAA-9288-1FCB-4F11-49BD954D0588}"/>
                </a:ext>
              </a:extLst>
            </p:cNvPr>
            <p:cNvSpPr/>
            <p:nvPr/>
          </p:nvSpPr>
          <p:spPr>
            <a:xfrm>
              <a:off x="6183666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4" name="object 1204">
              <a:extLst>
                <a:ext uri="{FF2B5EF4-FFF2-40B4-BE49-F238E27FC236}">
                  <a16:creationId xmlns:a16="http://schemas.microsoft.com/office/drawing/2014/main" id="{9D66BF59-0CA6-3EED-0663-1F3613544103}"/>
                </a:ext>
              </a:extLst>
            </p:cNvPr>
            <p:cNvSpPr/>
            <p:nvPr/>
          </p:nvSpPr>
          <p:spPr>
            <a:xfrm>
              <a:off x="6008696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5" name="object 1205">
              <a:extLst>
                <a:ext uri="{FF2B5EF4-FFF2-40B4-BE49-F238E27FC236}">
                  <a16:creationId xmlns:a16="http://schemas.microsoft.com/office/drawing/2014/main" id="{03D531B0-3D18-AC57-7C1A-F269FF35AF93}"/>
                </a:ext>
              </a:extLst>
            </p:cNvPr>
            <p:cNvSpPr/>
            <p:nvPr/>
          </p:nvSpPr>
          <p:spPr>
            <a:xfrm>
              <a:off x="5833725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6" name="object 1206">
              <a:extLst>
                <a:ext uri="{FF2B5EF4-FFF2-40B4-BE49-F238E27FC236}">
                  <a16:creationId xmlns:a16="http://schemas.microsoft.com/office/drawing/2014/main" id="{F160A87A-2024-9064-5F74-134FBE3BBDE4}"/>
                </a:ext>
              </a:extLst>
            </p:cNvPr>
            <p:cNvSpPr/>
            <p:nvPr/>
          </p:nvSpPr>
          <p:spPr>
            <a:xfrm>
              <a:off x="6008696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7" name="object 1207">
              <a:extLst>
                <a:ext uri="{FF2B5EF4-FFF2-40B4-BE49-F238E27FC236}">
                  <a16:creationId xmlns:a16="http://schemas.microsoft.com/office/drawing/2014/main" id="{0740F406-D6D5-29AD-2936-933B75538C16}"/>
                </a:ext>
              </a:extLst>
            </p:cNvPr>
            <p:cNvSpPr/>
            <p:nvPr/>
          </p:nvSpPr>
          <p:spPr>
            <a:xfrm>
              <a:off x="5833725" y="19414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8" name="object 1208">
              <a:extLst>
                <a:ext uri="{FF2B5EF4-FFF2-40B4-BE49-F238E27FC236}">
                  <a16:creationId xmlns:a16="http://schemas.microsoft.com/office/drawing/2014/main" id="{F7AA5BFA-CC43-3E4C-5BDA-0627EFED62A6}"/>
                </a:ext>
              </a:extLst>
            </p:cNvPr>
            <p:cNvSpPr/>
            <p:nvPr/>
          </p:nvSpPr>
          <p:spPr>
            <a:xfrm>
              <a:off x="6113971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9" name="object 1209">
              <a:extLst>
                <a:ext uri="{FF2B5EF4-FFF2-40B4-BE49-F238E27FC236}">
                  <a16:creationId xmlns:a16="http://schemas.microsoft.com/office/drawing/2014/main" id="{AF960DCB-768B-9A52-DA89-2E832EFBAD6E}"/>
                </a:ext>
              </a:extLst>
            </p:cNvPr>
            <p:cNvSpPr/>
            <p:nvPr/>
          </p:nvSpPr>
          <p:spPr>
            <a:xfrm>
              <a:off x="6148992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0" name="object 1210">
              <a:extLst>
                <a:ext uri="{FF2B5EF4-FFF2-40B4-BE49-F238E27FC236}">
                  <a16:creationId xmlns:a16="http://schemas.microsoft.com/office/drawing/2014/main" id="{AB3AD35A-264F-4D6A-54A1-997436AC3C79}"/>
                </a:ext>
              </a:extLst>
            </p:cNvPr>
            <p:cNvSpPr/>
            <p:nvPr/>
          </p:nvSpPr>
          <p:spPr>
            <a:xfrm>
              <a:off x="6043927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1" name="object 1211">
              <a:extLst>
                <a:ext uri="{FF2B5EF4-FFF2-40B4-BE49-F238E27FC236}">
                  <a16:creationId xmlns:a16="http://schemas.microsoft.com/office/drawing/2014/main" id="{A321A3F9-1D1C-DB63-9AB2-C7E390CAD07C}"/>
                </a:ext>
              </a:extLst>
            </p:cNvPr>
            <p:cNvSpPr/>
            <p:nvPr/>
          </p:nvSpPr>
          <p:spPr>
            <a:xfrm>
              <a:off x="5938863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2" name="object 1212">
              <a:extLst>
                <a:ext uri="{FF2B5EF4-FFF2-40B4-BE49-F238E27FC236}">
                  <a16:creationId xmlns:a16="http://schemas.microsoft.com/office/drawing/2014/main" id="{17BE00A9-4484-6018-DBC7-25BD7209234D}"/>
                </a:ext>
              </a:extLst>
            </p:cNvPr>
            <p:cNvSpPr/>
            <p:nvPr/>
          </p:nvSpPr>
          <p:spPr>
            <a:xfrm>
              <a:off x="5973948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3" name="object 1213">
              <a:extLst>
                <a:ext uri="{FF2B5EF4-FFF2-40B4-BE49-F238E27FC236}">
                  <a16:creationId xmlns:a16="http://schemas.microsoft.com/office/drawing/2014/main" id="{9A9F7584-0C96-00C0-4AF7-DC35D211E22F}"/>
                </a:ext>
              </a:extLst>
            </p:cNvPr>
            <p:cNvSpPr/>
            <p:nvPr/>
          </p:nvSpPr>
          <p:spPr>
            <a:xfrm>
              <a:off x="5868820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4" name="object 1214">
              <a:extLst>
                <a:ext uri="{FF2B5EF4-FFF2-40B4-BE49-F238E27FC236}">
                  <a16:creationId xmlns:a16="http://schemas.microsoft.com/office/drawing/2014/main" id="{1F5E06E0-C736-5D19-7EA8-AEF094305FCE}"/>
                </a:ext>
              </a:extLst>
            </p:cNvPr>
            <p:cNvSpPr/>
            <p:nvPr/>
          </p:nvSpPr>
          <p:spPr>
            <a:xfrm>
              <a:off x="6078949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5" name="object 1215">
              <a:extLst>
                <a:ext uri="{FF2B5EF4-FFF2-40B4-BE49-F238E27FC236}">
                  <a16:creationId xmlns:a16="http://schemas.microsoft.com/office/drawing/2014/main" id="{3CF9BF84-F21A-D2C6-1F37-1BF7F3EF4AC1}"/>
                </a:ext>
              </a:extLst>
            </p:cNvPr>
            <p:cNvSpPr/>
            <p:nvPr/>
          </p:nvSpPr>
          <p:spPr>
            <a:xfrm>
              <a:off x="5903841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6" name="object 1216">
              <a:extLst>
                <a:ext uri="{FF2B5EF4-FFF2-40B4-BE49-F238E27FC236}">
                  <a16:creationId xmlns:a16="http://schemas.microsoft.com/office/drawing/2014/main" id="{278377A9-4706-D68C-DB34-26E1D9C6CDCD}"/>
                </a:ext>
              </a:extLst>
            </p:cNvPr>
            <p:cNvSpPr/>
            <p:nvPr/>
          </p:nvSpPr>
          <p:spPr>
            <a:xfrm>
              <a:off x="6184014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7" name="object 1217">
              <a:extLst>
                <a:ext uri="{FF2B5EF4-FFF2-40B4-BE49-F238E27FC236}">
                  <a16:creationId xmlns:a16="http://schemas.microsoft.com/office/drawing/2014/main" id="{3D400414-29FA-C72F-6184-5DD83C625A0E}"/>
                </a:ext>
              </a:extLst>
            </p:cNvPr>
            <p:cNvSpPr/>
            <p:nvPr/>
          </p:nvSpPr>
          <p:spPr>
            <a:xfrm>
              <a:off x="6009043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8" name="object 1218">
              <a:extLst>
                <a:ext uri="{FF2B5EF4-FFF2-40B4-BE49-F238E27FC236}">
                  <a16:creationId xmlns:a16="http://schemas.microsoft.com/office/drawing/2014/main" id="{86A240E3-995D-18EE-0B09-79F3D2D53C09}"/>
                </a:ext>
              </a:extLst>
            </p:cNvPr>
            <p:cNvSpPr/>
            <p:nvPr/>
          </p:nvSpPr>
          <p:spPr>
            <a:xfrm>
              <a:off x="5834073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9" name="object 1219">
              <a:extLst>
                <a:ext uri="{FF2B5EF4-FFF2-40B4-BE49-F238E27FC236}">
                  <a16:creationId xmlns:a16="http://schemas.microsoft.com/office/drawing/2014/main" id="{FD54A986-8465-4D6E-5641-B34DDA024606}"/>
                </a:ext>
              </a:extLst>
            </p:cNvPr>
            <p:cNvSpPr/>
            <p:nvPr/>
          </p:nvSpPr>
          <p:spPr>
            <a:xfrm>
              <a:off x="5834073" y="26335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0" name="object 1220">
              <a:extLst>
                <a:ext uri="{FF2B5EF4-FFF2-40B4-BE49-F238E27FC236}">
                  <a16:creationId xmlns:a16="http://schemas.microsoft.com/office/drawing/2014/main" id="{9C141CE0-4BD9-7A6F-7986-72730AEB698D}"/>
                </a:ext>
              </a:extLst>
            </p:cNvPr>
            <p:cNvSpPr/>
            <p:nvPr/>
          </p:nvSpPr>
          <p:spPr>
            <a:xfrm>
              <a:off x="5834192" y="2608069"/>
              <a:ext cx="13207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17804"/>
                <a:gd name="f4" fmla="val 84454"/>
                <a:gd name="f5" fmla="val 217647"/>
                <a:gd name="f6" fmla="val 84102"/>
                <a:gd name="f7" fmla="*/ f0 1 217804"/>
                <a:gd name="f8" fmla="*/ f1 1 84454"/>
                <a:gd name="f9" fmla="+- f4 0 f2"/>
                <a:gd name="f10" fmla="+- f3 0 f2"/>
                <a:gd name="f11" fmla="*/ f10 1 2178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178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1" name="object 1221">
              <a:extLst>
                <a:ext uri="{FF2B5EF4-FFF2-40B4-BE49-F238E27FC236}">
                  <a16:creationId xmlns:a16="http://schemas.microsoft.com/office/drawing/2014/main" id="{1E170B64-880D-4B44-2F6F-16CEC5C411FD}"/>
                </a:ext>
              </a:extLst>
            </p:cNvPr>
            <p:cNvSpPr/>
            <p:nvPr/>
          </p:nvSpPr>
          <p:spPr>
            <a:xfrm>
              <a:off x="5834192" y="2680371"/>
              <a:ext cx="2610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0529"/>
                <a:gd name="f4" fmla="val 84454"/>
                <a:gd name="f5" fmla="val 430206"/>
                <a:gd name="f6" fmla="val 84102"/>
                <a:gd name="f7" fmla="*/ f0 1 430529"/>
                <a:gd name="f8" fmla="*/ f1 1 84454"/>
                <a:gd name="f9" fmla="+- f4 0 f2"/>
                <a:gd name="f10" fmla="+- f3 0 f2"/>
                <a:gd name="f11" fmla="*/ f10 1 43052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052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2" name="object 1222">
              <a:extLst>
                <a:ext uri="{FF2B5EF4-FFF2-40B4-BE49-F238E27FC236}">
                  <a16:creationId xmlns:a16="http://schemas.microsoft.com/office/drawing/2014/main" id="{AF87EC2A-B4A0-7C51-D864-8C069D448D00}"/>
                </a:ext>
              </a:extLst>
            </p:cNvPr>
            <p:cNvSpPr/>
            <p:nvPr/>
          </p:nvSpPr>
          <p:spPr>
            <a:xfrm>
              <a:off x="6113623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3" name="object 1223">
              <a:extLst>
                <a:ext uri="{FF2B5EF4-FFF2-40B4-BE49-F238E27FC236}">
                  <a16:creationId xmlns:a16="http://schemas.microsoft.com/office/drawing/2014/main" id="{27395A4A-4FA6-343C-5CF3-5775DCED0628}"/>
                </a:ext>
              </a:extLst>
            </p:cNvPr>
            <p:cNvSpPr/>
            <p:nvPr/>
          </p:nvSpPr>
          <p:spPr>
            <a:xfrm>
              <a:off x="6148645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4" name="object 1224">
              <a:extLst>
                <a:ext uri="{FF2B5EF4-FFF2-40B4-BE49-F238E27FC236}">
                  <a16:creationId xmlns:a16="http://schemas.microsoft.com/office/drawing/2014/main" id="{7709AC06-39B4-3A0A-948A-C775F3DB81B9}"/>
                </a:ext>
              </a:extLst>
            </p:cNvPr>
            <p:cNvSpPr/>
            <p:nvPr/>
          </p:nvSpPr>
          <p:spPr>
            <a:xfrm>
              <a:off x="6043580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5" name="object 1225">
              <a:extLst>
                <a:ext uri="{FF2B5EF4-FFF2-40B4-BE49-F238E27FC236}">
                  <a16:creationId xmlns:a16="http://schemas.microsoft.com/office/drawing/2014/main" id="{F3E407E4-B3FF-9996-5FE3-05D8CEEA676F}"/>
                </a:ext>
              </a:extLst>
            </p:cNvPr>
            <p:cNvSpPr/>
            <p:nvPr/>
          </p:nvSpPr>
          <p:spPr>
            <a:xfrm>
              <a:off x="5938515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6" name="object 1226">
              <a:extLst>
                <a:ext uri="{FF2B5EF4-FFF2-40B4-BE49-F238E27FC236}">
                  <a16:creationId xmlns:a16="http://schemas.microsoft.com/office/drawing/2014/main" id="{BEEA93DE-25DF-A195-7CE9-9E27B62D6DD7}"/>
                </a:ext>
              </a:extLst>
            </p:cNvPr>
            <p:cNvSpPr/>
            <p:nvPr/>
          </p:nvSpPr>
          <p:spPr>
            <a:xfrm>
              <a:off x="5973610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7" name="object 1227">
              <a:extLst>
                <a:ext uri="{FF2B5EF4-FFF2-40B4-BE49-F238E27FC236}">
                  <a16:creationId xmlns:a16="http://schemas.microsoft.com/office/drawing/2014/main" id="{3A87B0DF-CCDC-55BA-4E68-8276C93E6FA7}"/>
                </a:ext>
              </a:extLst>
            </p:cNvPr>
            <p:cNvSpPr/>
            <p:nvPr/>
          </p:nvSpPr>
          <p:spPr>
            <a:xfrm>
              <a:off x="5868472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8" name="object 1228">
              <a:extLst>
                <a:ext uri="{FF2B5EF4-FFF2-40B4-BE49-F238E27FC236}">
                  <a16:creationId xmlns:a16="http://schemas.microsoft.com/office/drawing/2014/main" id="{98B36887-FDBE-E794-EBF5-16D2EB02AE64}"/>
                </a:ext>
              </a:extLst>
            </p:cNvPr>
            <p:cNvSpPr/>
            <p:nvPr/>
          </p:nvSpPr>
          <p:spPr>
            <a:xfrm>
              <a:off x="6078602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9" name="object 1229">
              <a:extLst>
                <a:ext uri="{FF2B5EF4-FFF2-40B4-BE49-F238E27FC236}">
                  <a16:creationId xmlns:a16="http://schemas.microsoft.com/office/drawing/2014/main" id="{E3ABB289-1AD7-7685-2767-F3A4380220F5}"/>
                </a:ext>
              </a:extLst>
            </p:cNvPr>
            <p:cNvSpPr/>
            <p:nvPr/>
          </p:nvSpPr>
          <p:spPr>
            <a:xfrm>
              <a:off x="5903494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0" name="object 1230">
              <a:extLst>
                <a:ext uri="{FF2B5EF4-FFF2-40B4-BE49-F238E27FC236}">
                  <a16:creationId xmlns:a16="http://schemas.microsoft.com/office/drawing/2014/main" id="{A135B5FE-DFD7-B62A-00B5-E098B5E12CA5}"/>
                </a:ext>
              </a:extLst>
            </p:cNvPr>
            <p:cNvSpPr/>
            <p:nvPr/>
          </p:nvSpPr>
          <p:spPr>
            <a:xfrm>
              <a:off x="6183666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1" name="object 1231">
              <a:extLst>
                <a:ext uri="{FF2B5EF4-FFF2-40B4-BE49-F238E27FC236}">
                  <a16:creationId xmlns:a16="http://schemas.microsoft.com/office/drawing/2014/main" id="{14F9C8E5-2045-CBFC-C28D-F847937CFCA7}"/>
                </a:ext>
              </a:extLst>
            </p:cNvPr>
            <p:cNvSpPr/>
            <p:nvPr/>
          </p:nvSpPr>
          <p:spPr>
            <a:xfrm>
              <a:off x="6008696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2" name="object 1232">
              <a:extLst>
                <a:ext uri="{FF2B5EF4-FFF2-40B4-BE49-F238E27FC236}">
                  <a16:creationId xmlns:a16="http://schemas.microsoft.com/office/drawing/2014/main" id="{C4834D29-AAE6-C7A1-C959-F7CB0BD12CE2}"/>
                </a:ext>
              </a:extLst>
            </p:cNvPr>
            <p:cNvSpPr/>
            <p:nvPr/>
          </p:nvSpPr>
          <p:spPr>
            <a:xfrm>
              <a:off x="5833725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3" name="object 1233">
              <a:extLst>
                <a:ext uri="{FF2B5EF4-FFF2-40B4-BE49-F238E27FC236}">
                  <a16:creationId xmlns:a16="http://schemas.microsoft.com/office/drawing/2014/main" id="{D6C5617A-428A-F3B3-4542-1E16976F846D}"/>
                </a:ext>
              </a:extLst>
            </p:cNvPr>
            <p:cNvSpPr/>
            <p:nvPr/>
          </p:nvSpPr>
          <p:spPr>
            <a:xfrm>
              <a:off x="6008696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4" name="object 1234">
              <a:extLst>
                <a:ext uri="{FF2B5EF4-FFF2-40B4-BE49-F238E27FC236}">
                  <a16:creationId xmlns:a16="http://schemas.microsoft.com/office/drawing/2014/main" id="{C97A2054-FDCC-ECFA-33F8-91DB5A1996C6}"/>
                </a:ext>
              </a:extLst>
            </p:cNvPr>
            <p:cNvSpPr/>
            <p:nvPr/>
          </p:nvSpPr>
          <p:spPr>
            <a:xfrm>
              <a:off x="5833725" y="27058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5" name="object 1235">
              <a:extLst>
                <a:ext uri="{FF2B5EF4-FFF2-40B4-BE49-F238E27FC236}">
                  <a16:creationId xmlns:a16="http://schemas.microsoft.com/office/drawing/2014/main" id="{8BAD6C10-EFE8-1492-A219-71AFDCC40942}"/>
                </a:ext>
              </a:extLst>
            </p:cNvPr>
            <p:cNvSpPr/>
            <p:nvPr/>
          </p:nvSpPr>
          <p:spPr>
            <a:xfrm>
              <a:off x="5292656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6" name="object 1236">
              <a:extLst>
                <a:ext uri="{FF2B5EF4-FFF2-40B4-BE49-F238E27FC236}">
                  <a16:creationId xmlns:a16="http://schemas.microsoft.com/office/drawing/2014/main" id="{74C52C96-A220-7707-449E-6E52358BD652}"/>
                </a:ext>
              </a:extLst>
            </p:cNvPr>
            <p:cNvSpPr/>
            <p:nvPr/>
          </p:nvSpPr>
          <p:spPr>
            <a:xfrm>
              <a:off x="5327678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7" name="object 1237">
              <a:extLst>
                <a:ext uri="{FF2B5EF4-FFF2-40B4-BE49-F238E27FC236}">
                  <a16:creationId xmlns:a16="http://schemas.microsoft.com/office/drawing/2014/main" id="{A710F1BB-DDD4-7553-0C84-242F0DE9040D}"/>
                </a:ext>
              </a:extLst>
            </p:cNvPr>
            <p:cNvSpPr/>
            <p:nvPr/>
          </p:nvSpPr>
          <p:spPr>
            <a:xfrm>
              <a:off x="5222613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8" name="object 1238">
              <a:extLst>
                <a:ext uri="{FF2B5EF4-FFF2-40B4-BE49-F238E27FC236}">
                  <a16:creationId xmlns:a16="http://schemas.microsoft.com/office/drawing/2014/main" id="{0045B2C6-BA38-6206-BD86-8C3F447BDC5C}"/>
                </a:ext>
              </a:extLst>
            </p:cNvPr>
            <p:cNvSpPr/>
            <p:nvPr/>
          </p:nvSpPr>
          <p:spPr>
            <a:xfrm>
              <a:off x="5117549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9" name="object 1239">
              <a:extLst>
                <a:ext uri="{FF2B5EF4-FFF2-40B4-BE49-F238E27FC236}">
                  <a16:creationId xmlns:a16="http://schemas.microsoft.com/office/drawing/2014/main" id="{26C4F21D-CD19-1D29-C7FA-6CEC31D94C43}"/>
                </a:ext>
              </a:extLst>
            </p:cNvPr>
            <p:cNvSpPr/>
            <p:nvPr/>
          </p:nvSpPr>
          <p:spPr>
            <a:xfrm>
              <a:off x="5152634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0" name="object 1240">
              <a:extLst>
                <a:ext uri="{FF2B5EF4-FFF2-40B4-BE49-F238E27FC236}">
                  <a16:creationId xmlns:a16="http://schemas.microsoft.com/office/drawing/2014/main" id="{AAFC0F57-55AA-A256-AE46-18AE32C0F34D}"/>
                </a:ext>
              </a:extLst>
            </p:cNvPr>
            <p:cNvSpPr/>
            <p:nvPr/>
          </p:nvSpPr>
          <p:spPr>
            <a:xfrm>
              <a:off x="5047506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1" name="object 1241">
              <a:extLst>
                <a:ext uri="{FF2B5EF4-FFF2-40B4-BE49-F238E27FC236}">
                  <a16:creationId xmlns:a16="http://schemas.microsoft.com/office/drawing/2014/main" id="{F18637B9-1997-8854-D935-574815285AA0}"/>
                </a:ext>
              </a:extLst>
            </p:cNvPr>
            <p:cNvSpPr/>
            <p:nvPr/>
          </p:nvSpPr>
          <p:spPr>
            <a:xfrm>
              <a:off x="5257635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2" name="object 1242">
              <a:extLst>
                <a:ext uri="{FF2B5EF4-FFF2-40B4-BE49-F238E27FC236}">
                  <a16:creationId xmlns:a16="http://schemas.microsoft.com/office/drawing/2014/main" id="{F641C6B5-966F-05A7-8B9B-C202222762C0}"/>
                </a:ext>
              </a:extLst>
            </p:cNvPr>
            <p:cNvSpPr/>
            <p:nvPr/>
          </p:nvSpPr>
          <p:spPr>
            <a:xfrm>
              <a:off x="5082527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3" name="object 1243">
              <a:extLst>
                <a:ext uri="{FF2B5EF4-FFF2-40B4-BE49-F238E27FC236}">
                  <a16:creationId xmlns:a16="http://schemas.microsoft.com/office/drawing/2014/main" id="{AE2F79C3-9076-41FA-851B-373DC0A0179A}"/>
                </a:ext>
              </a:extLst>
            </p:cNvPr>
            <p:cNvSpPr/>
            <p:nvPr/>
          </p:nvSpPr>
          <p:spPr>
            <a:xfrm>
              <a:off x="5362699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4" name="object 1244">
              <a:extLst>
                <a:ext uri="{FF2B5EF4-FFF2-40B4-BE49-F238E27FC236}">
                  <a16:creationId xmlns:a16="http://schemas.microsoft.com/office/drawing/2014/main" id="{383D946D-4DCF-51D8-8515-03D1D4779DEE}"/>
                </a:ext>
              </a:extLst>
            </p:cNvPr>
            <p:cNvSpPr/>
            <p:nvPr/>
          </p:nvSpPr>
          <p:spPr>
            <a:xfrm>
              <a:off x="5187729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5" name="object 1245">
              <a:extLst>
                <a:ext uri="{FF2B5EF4-FFF2-40B4-BE49-F238E27FC236}">
                  <a16:creationId xmlns:a16="http://schemas.microsoft.com/office/drawing/2014/main" id="{1AE2F79E-DAAE-6F5A-2D5F-4B762C620314}"/>
                </a:ext>
              </a:extLst>
            </p:cNvPr>
            <p:cNvSpPr/>
            <p:nvPr/>
          </p:nvSpPr>
          <p:spPr>
            <a:xfrm>
              <a:off x="5012759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6" name="object 1246">
              <a:extLst>
                <a:ext uri="{FF2B5EF4-FFF2-40B4-BE49-F238E27FC236}">
                  <a16:creationId xmlns:a16="http://schemas.microsoft.com/office/drawing/2014/main" id="{09E30706-FE06-9659-3F31-5F83909F7AFF}"/>
                </a:ext>
              </a:extLst>
            </p:cNvPr>
            <p:cNvSpPr/>
            <p:nvPr/>
          </p:nvSpPr>
          <p:spPr>
            <a:xfrm>
              <a:off x="5012759" y="186917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7" name="object 1247">
              <a:extLst>
                <a:ext uri="{FF2B5EF4-FFF2-40B4-BE49-F238E27FC236}">
                  <a16:creationId xmlns:a16="http://schemas.microsoft.com/office/drawing/2014/main" id="{9C344964-A432-0326-F20D-160C72A84BE5}"/>
                </a:ext>
              </a:extLst>
            </p:cNvPr>
            <p:cNvSpPr/>
            <p:nvPr/>
          </p:nvSpPr>
          <p:spPr>
            <a:xfrm>
              <a:off x="5012877" y="1843668"/>
              <a:ext cx="19946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8929"/>
                <a:gd name="f4" fmla="val 84455"/>
                <a:gd name="f5" fmla="val 328450"/>
                <a:gd name="f6" fmla="val 84112"/>
                <a:gd name="f7" fmla="*/ f0 1 328929"/>
                <a:gd name="f8" fmla="*/ f1 1 84455"/>
                <a:gd name="f9" fmla="+- f4 0 f2"/>
                <a:gd name="f10" fmla="+- f3 0 f2"/>
                <a:gd name="f11" fmla="*/ f10 1 32892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2892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8" name="object 1248">
              <a:extLst>
                <a:ext uri="{FF2B5EF4-FFF2-40B4-BE49-F238E27FC236}">
                  <a16:creationId xmlns:a16="http://schemas.microsoft.com/office/drawing/2014/main" id="{9D41BFAE-1BB4-62BA-246A-96C27B4F239C}"/>
                </a:ext>
              </a:extLst>
            </p:cNvPr>
            <p:cNvSpPr/>
            <p:nvPr/>
          </p:nvSpPr>
          <p:spPr>
            <a:xfrm>
              <a:off x="5012877" y="1915978"/>
              <a:ext cx="16557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73050"/>
                <a:gd name="f4" fmla="val 84455"/>
                <a:gd name="f5" fmla="val 272850"/>
                <a:gd name="f6" fmla="val 84081"/>
                <a:gd name="f7" fmla="*/ f0 1 273050"/>
                <a:gd name="f8" fmla="*/ f1 1 84455"/>
                <a:gd name="f9" fmla="+- f4 0 f2"/>
                <a:gd name="f10" fmla="+- f3 0 f2"/>
                <a:gd name="f11" fmla="*/ f10 1 27305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7305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9" name="object 1249">
              <a:extLst>
                <a:ext uri="{FF2B5EF4-FFF2-40B4-BE49-F238E27FC236}">
                  <a16:creationId xmlns:a16="http://schemas.microsoft.com/office/drawing/2014/main" id="{522A41FD-7FE7-C219-799E-B2876BB7C731}"/>
                </a:ext>
              </a:extLst>
            </p:cNvPr>
            <p:cNvSpPr/>
            <p:nvPr/>
          </p:nvSpPr>
          <p:spPr>
            <a:xfrm>
              <a:off x="5292309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0" name="object 1250">
              <a:extLst>
                <a:ext uri="{FF2B5EF4-FFF2-40B4-BE49-F238E27FC236}">
                  <a16:creationId xmlns:a16="http://schemas.microsoft.com/office/drawing/2014/main" id="{61861FD8-352C-0407-8798-82723607FF51}"/>
                </a:ext>
              </a:extLst>
            </p:cNvPr>
            <p:cNvSpPr/>
            <p:nvPr/>
          </p:nvSpPr>
          <p:spPr>
            <a:xfrm>
              <a:off x="5327330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1" name="object 1251">
              <a:extLst>
                <a:ext uri="{FF2B5EF4-FFF2-40B4-BE49-F238E27FC236}">
                  <a16:creationId xmlns:a16="http://schemas.microsoft.com/office/drawing/2014/main" id="{DFD9B09F-1156-A6E0-8FF2-0DD756C785F6}"/>
                </a:ext>
              </a:extLst>
            </p:cNvPr>
            <p:cNvSpPr/>
            <p:nvPr/>
          </p:nvSpPr>
          <p:spPr>
            <a:xfrm>
              <a:off x="5222266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2" name="object 1252">
              <a:extLst>
                <a:ext uri="{FF2B5EF4-FFF2-40B4-BE49-F238E27FC236}">
                  <a16:creationId xmlns:a16="http://schemas.microsoft.com/office/drawing/2014/main" id="{9E7C60E5-4FC2-60B6-C4B4-4F2B69C4B292}"/>
                </a:ext>
              </a:extLst>
            </p:cNvPr>
            <p:cNvSpPr/>
            <p:nvPr/>
          </p:nvSpPr>
          <p:spPr>
            <a:xfrm>
              <a:off x="5117201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3" name="object 1253">
              <a:extLst>
                <a:ext uri="{FF2B5EF4-FFF2-40B4-BE49-F238E27FC236}">
                  <a16:creationId xmlns:a16="http://schemas.microsoft.com/office/drawing/2014/main" id="{756437DB-C95C-1267-7D79-163E75627C8B}"/>
                </a:ext>
              </a:extLst>
            </p:cNvPr>
            <p:cNvSpPr/>
            <p:nvPr/>
          </p:nvSpPr>
          <p:spPr>
            <a:xfrm>
              <a:off x="5152296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4" name="object 1254">
              <a:extLst>
                <a:ext uri="{FF2B5EF4-FFF2-40B4-BE49-F238E27FC236}">
                  <a16:creationId xmlns:a16="http://schemas.microsoft.com/office/drawing/2014/main" id="{EDD899F1-A0AF-86C8-36F7-E2105FB5C856}"/>
                </a:ext>
              </a:extLst>
            </p:cNvPr>
            <p:cNvSpPr/>
            <p:nvPr/>
          </p:nvSpPr>
          <p:spPr>
            <a:xfrm>
              <a:off x="5047158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5" name="object 1255">
              <a:extLst>
                <a:ext uri="{FF2B5EF4-FFF2-40B4-BE49-F238E27FC236}">
                  <a16:creationId xmlns:a16="http://schemas.microsoft.com/office/drawing/2014/main" id="{3022D867-F81C-2A2B-1144-3441D538CA2B}"/>
                </a:ext>
              </a:extLst>
            </p:cNvPr>
            <p:cNvSpPr/>
            <p:nvPr/>
          </p:nvSpPr>
          <p:spPr>
            <a:xfrm>
              <a:off x="5257287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6" name="object 1256">
              <a:extLst>
                <a:ext uri="{FF2B5EF4-FFF2-40B4-BE49-F238E27FC236}">
                  <a16:creationId xmlns:a16="http://schemas.microsoft.com/office/drawing/2014/main" id="{2870A458-13F5-EA99-6CC2-C097652ED291}"/>
                </a:ext>
              </a:extLst>
            </p:cNvPr>
            <p:cNvSpPr/>
            <p:nvPr/>
          </p:nvSpPr>
          <p:spPr>
            <a:xfrm>
              <a:off x="5082180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7" name="object 1257">
              <a:extLst>
                <a:ext uri="{FF2B5EF4-FFF2-40B4-BE49-F238E27FC236}">
                  <a16:creationId xmlns:a16="http://schemas.microsoft.com/office/drawing/2014/main" id="{8F08DB80-162C-4017-8A63-578635F65680}"/>
                </a:ext>
              </a:extLst>
            </p:cNvPr>
            <p:cNvSpPr/>
            <p:nvPr/>
          </p:nvSpPr>
          <p:spPr>
            <a:xfrm>
              <a:off x="5362352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8" name="object 1258">
              <a:extLst>
                <a:ext uri="{FF2B5EF4-FFF2-40B4-BE49-F238E27FC236}">
                  <a16:creationId xmlns:a16="http://schemas.microsoft.com/office/drawing/2014/main" id="{53BFE459-A78A-596E-7A76-60B211C99B8D}"/>
                </a:ext>
              </a:extLst>
            </p:cNvPr>
            <p:cNvSpPr/>
            <p:nvPr/>
          </p:nvSpPr>
          <p:spPr>
            <a:xfrm>
              <a:off x="5187382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9" name="object 1259">
              <a:extLst>
                <a:ext uri="{FF2B5EF4-FFF2-40B4-BE49-F238E27FC236}">
                  <a16:creationId xmlns:a16="http://schemas.microsoft.com/office/drawing/2014/main" id="{6532B1AF-E6DB-B0CD-2636-8C99FE9D2EE5}"/>
                </a:ext>
              </a:extLst>
            </p:cNvPr>
            <p:cNvSpPr/>
            <p:nvPr/>
          </p:nvSpPr>
          <p:spPr>
            <a:xfrm>
              <a:off x="5012411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0" name="object 1260">
              <a:extLst>
                <a:ext uri="{FF2B5EF4-FFF2-40B4-BE49-F238E27FC236}">
                  <a16:creationId xmlns:a16="http://schemas.microsoft.com/office/drawing/2014/main" id="{ABA92FEE-5C48-4251-D997-25CA3BC7C439}"/>
                </a:ext>
              </a:extLst>
            </p:cNvPr>
            <p:cNvSpPr/>
            <p:nvPr/>
          </p:nvSpPr>
          <p:spPr>
            <a:xfrm>
              <a:off x="5187382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1" name="object 1261">
              <a:extLst>
                <a:ext uri="{FF2B5EF4-FFF2-40B4-BE49-F238E27FC236}">
                  <a16:creationId xmlns:a16="http://schemas.microsoft.com/office/drawing/2014/main" id="{E6D84254-7125-D674-BCFB-991A6D0C74BF}"/>
                </a:ext>
              </a:extLst>
            </p:cNvPr>
            <p:cNvSpPr/>
            <p:nvPr/>
          </p:nvSpPr>
          <p:spPr>
            <a:xfrm>
              <a:off x="5012411" y="19414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2" name="object 1262">
              <a:extLst>
                <a:ext uri="{FF2B5EF4-FFF2-40B4-BE49-F238E27FC236}">
                  <a16:creationId xmlns:a16="http://schemas.microsoft.com/office/drawing/2014/main" id="{66A2DDE4-AF11-034B-8F57-CC95F9A42A14}"/>
                </a:ext>
              </a:extLst>
            </p:cNvPr>
            <p:cNvSpPr/>
            <p:nvPr/>
          </p:nvSpPr>
          <p:spPr>
            <a:xfrm>
              <a:off x="5292656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3" name="object 1263">
              <a:extLst>
                <a:ext uri="{FF2B5EF4-FFF2-40B4-BE49-F238E27FC236}">
                  <a16:creationId xmlns:a16="http://schemas.microsoft.com/office/drawing/2014/main" id="{4054C41F-9DC0-6B78-322E-9E0FE542A856}"/>
                </a:ext>
              </a:extLst>
            </p:cNvPr>
            <p:cNvSpPr/>
            <p:nvPr/>
          </p:nvSpPr>
          <p:spPr>
            <a:xfrm>
              <a:off x="5327678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4" name="object 1264">
              <a:extLst>
                <a:ext uri="{FF2B5EF4-FFF2-40B4-BE49-F238E27FC236}">
                  <a16:creationId xmlns:a16="http://schemas.microsoft.com/office/drawing/2014/main" id="{9C56222B-8C3F-E2F0-8D01-36A075BFB279}"/>
                </a:ext>
              </a:extLst>
            </p:cNvPr>
            <p:cNvSpPr/>
            <p:nvPr/>
          </p:nvSpPr>
          <p:spPr>
            <a:xfrm>
              <a:off x="5222613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5" name="object 1265">
              <a:extLst>
                <a:ext uri="{FF2B5EF4-FFF2-40B4-BE49-F238E27FC236}">
                  <a16:creationId xmlns:a16="http://schemas.microsoft.com/office/drawing/2014/main" id="{87C27F66-03FB-131E-2342-2B4118B75685}"/>
                </a:ext>
              </a:extLst>
            </p:cNvPr>
            <p:cNvSpPr/>
            <p:nvPr/>
          </p:nvSpPr>
          <p:spPr>
            <a:xfrm>
              <a:off x="5117549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6" name="object 1266">
              <a:extLst>
                <a:ext uri="{FF2B5EF4-FFF2-40B4-BE49-F238E27FC236}">
                  <a16:creationId xmlns:a16="http://schemas.microsoft.com/office/drawing/2014/main" id="{45C4D2A0-85ED-2E48-8D18-80185BC6A083}"/>
                </a:ext>
              </a:extLst>
            </p:cNvPr>
            <p:cNvSpPr/>
            <p:nvPr/>
          </p:nvSpPr>
          <p:spPr>
            <a:xfrm>
              <a:off x="5152634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7" name="object 1267">
              <a:extLst>
                <a:ext uri="{FF2B5EF4-FFF2-40B4-BE49-F238E27FC236}">
                  <a16:creationId xmlns:a16="http://schemas.microsoft.com/office/drawing/2014/main" id="{63B2AC71-7767-8928-E6F4-D734D6E441D8}"/>
                </a:ext>
              </a:extLst>
            </p:cNvPr>
            <p:cNvSpPr/>
            <p:nvPr/>
          </p:nvSpPr>
          <p:spPr>
            <a:xfrm>
              <a:off x="5047506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8" name="object 1268">
              <a:extLst>
                <a:ext uri="{FF2B5EF4-FFF2-40B4-BE49-F238E27FC236}">
                  <a16:creationId xmlns:a16="http://schemas.microsoft.com/office/drawing/2014/main" id="{915F8BA8-DB4A-37A5-AEF3-3B2576408303}"/>
                </a:ext>
              </a:extLst>
            </p:cNvPr>
            <p:cNvSpPr/>
            <p:nvPr/>
          </p:nvSpPr>
          <p:spPr>
            <a:xfrm>
              <a:off x="5257635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9" name="object 1269">
              <a:extLst>
                <a:ext uri="{FF2B5EF4-FFF2-40B4-BE49-F238E27FC236}">
                  <a16:creationId xmlns:a16="http://schemas.microsoft.com/office/drawing/2014/main" id="{23CDA54B-4A73-01C8-219A-2D4742638D7A}"/>
                </a:ext>
              </a:extLst>
            </p:cNvPr>
            <p:cNvSpPr/>
            <p:nvPr/>
          </p:nvSpPr>
          <p:spPr>
            <a:xfrm>
              <a:off x="5082527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0" name="object 1270">
              <a:extLst>
                <a:ext uri="{FF2B5EF4-FFF2-40B4-BE49-F238E27FC236}">
                  <a16:creationId xmlns:a16="http://schemas.microsoft.com/office/drawing/2014/main" id="{83E7815A-1AB0-2D03-BFD7-C2E5ADAC9CAC}"/>
                </a:ext>
              </a:extLst>
            </p:cNvPr>
            <p:cNvSpPr/>
            <p:nvPr/>
          </p:nvSpPr>
          <p:spPr>
            <a:xfrm>
              <a:off x="5362699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1" name="object 1271">
              <a:extLst>
                <a:ext uri="{FF2B5EF4-FFF2-40B4-BE49-F238E27FC236}">
                  <a16:creationId xmlns:a16="http://schemas.microsoft.com/office/drawing/2014/main" id="{530F5DA8-6C3B-111E-E97E-3503ACDFBDC4}"/>
                </a:ext>
              </a:extLst>
            </p:cNvPr>
            <p:cNvSpPr/>
            <p:nvPr/>
          </p:nvSpPr>
          <p:spPr>
            <a:xfrm>
              <a:off x="5187729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2" name="object 1272">
              <a:extLst>
                <a:ext uri="{FF2B5EF4-FFF2-40B4-BE49-F238E27FC236}">
                  <a16:creationId xmlns:a16="http://schemas.microsoft.com/office/drawing/2014/main" id="{C431213D-46C7-77E3-D58B-39D8C71D2B6C}"/>
                </a:ext>
              </a:extLst>
            </p:cNvPr>
            <p:cNvSpPr/>
            <p:nvPr/>
          </p:nvSpPr>
          <p:spPr>
            <a:xfrm>
              <a:off x="5012759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3" name="object 1273">
              <a:extLst>
                <a:ext uri="{FF2B5EF4-FFF2-40B4-BE49-F238E27FC236}">
                  <a16:creationId xmlns:a16="http://schemas.microsoft.com/office/drawing/2014/main" id="{9B90251F-5390-941E-B4B7-5EE7D83BDB66}"/>
                </a:ext>
              </a:extLst>
            </p:cNvPr>
            <p:cNvSpPr/>
            <p:nvPr/>
          </p:nvSpPr>
          <p:spPr>
            <a:xfrm>
              <a:off x="5012759" y="26335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4" name="object 1274">
              <a:extLst>
                <a:ext uri="{FF2B5EF4-FFF2-40B4-BE49-F238E27FC236}">
                  <a16:creationId xmlns:a16="http://schemas.microsoft.com/office/drawing/2014/main" id="{00417832-67E6-861B-C089-E647D78E6161}"/>
                </a:ext>
              </a:extLst>
            </p:cNvPr>
            <p:cNvSpPr/>
            <p:nvPr/>
          </p:nvSpPr>
          <p:spPr>
            <a:xfrm>
              <a:off x="5012877" y="2608069"/>
              <a:ext cx="8047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715"/>
                <a:gd name="f4" fmla="val 84454"/>
                <a:gd name="f5" fmla="val 132582"/>
                <a:gd name="f6" fmla="val 84102"/>
                <a:gd name="f7" fmla="*/ f0 1 132715"/>
                <a:gd name="f8" fmla="*/ f1 1 84454"/>
                <a:gd name="f9" fmla="+- f4 0 f2"/>
                <a:gd name="f10" fmla="+- f3 0 f2"/>
                <a:gd name="f11" fmla="*/ f10 1 13271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71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5" name="object 1275">
              <a:extLst>
                <a:ext uri="{FF2B5EF4-FFF2-40B4-BE49-F238E27FC236}">
                  <a16:creationId xmlns:a16="http://schemas.microsoft.com/office/drawing/2014/main" id="{B8C450E7-E4C0-B330-5957-F5A42DE16FD0}"/>
                </a:ext>
              </a:extLst>
            </p:cNvPr>
            <p:cNvSpPr/>
            <p:nvPr/>
          </p:nvSpPr>
          <p:spPr>
            <a:xfrm>
              <a:off x="5012877" y="2680371"/>
              <a:ext cx="17481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8290"/>
                <a:gd name="f4" fmla="val 84454"/>
                <a:gd name="f5" fmla="val 287760"/>
                <a:gd name="f6" fmla="val 84102"/>
                <a:gd name="f7" fmla="*/ f0 1 288290"/>
                <a:gd name="f8" fmla="*/ f1 1 84454"/>
                <a:gd name="f9" fmla="+- f4 0 f2"/>
                <a:gd name="f10" fmla="+- f3 0 f2"/>
                <a:gd name="f11" fmla="*/ f10 1 288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88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6" name="object 1276">
              <a:extLst>
                <a:ext uri="{FF2B5EF4-FFF2-40B4-BE49-F238E27FC236}">
                  <a16:creationId xmlns:a16="http://schemas.microsoft.com/office/drawing/2014/main" id="{4670D18E-1A35-38F2-E77A-205AA8DCF93B}"/>
                </a:ext>
              </a:extLst>
            </p:cNvPr>
            <p:cNvSpPr/>
            <p:nvPr/>
          </p:nvSpPr>
          <p:spPr>
            <a:xfrm>
              <a:off x="5292309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7" name="object 1277">
              <a:extLst>
                <a:ext uri="{FF2B5EF4-FFF2-40B4-BE49-F238E27FC236}">
                  <a16:creationId xmlns:a16="http://schemas.microsoft.com/office/drawing/2014/main" id="{F3B78826-C5DD-9EE2-50C4-9308C01D0532}"/>
                </a:ext>
              </a:extLst>
            </p:cNvPr>
            <p:cNvSpPr/>
            <p:nvPr/>
          </p:nvSpPr>
          <p:spPr>
            <a:xfrm>
              <a:off x="5327330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8" name="object 1278">
              <a:extLst>
                <a:ext uri="{FF2B5EF4-FFF2-40B4-BE49-F238E27FC236}">
                  <a16:creationId xmlns:a16="http://schemas.microsoft.com/office/drawing/2014/main" id="{CEE1F73D-E273-DBFE-947D-A4CE1A6BDEF0}"/>
                </a:ext>
              </a:extLst>
            </p:cNvPr>
            <p:cNvSpPr/>
            <p:nvPr/>
          </p:nvSpPr>
          <p:spPr>
            <a:xfrm>
              <a:off x="5222266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9" name="object 1279">
              <a:extLst>
                <a:ext uri="{FF2B5EF4-FFF2-40B4-BE49-F238E27FC236}">
                  <a16:creationId xmlns:a16="http://schemas.microsoft.com/office/drawing/2014/main" id="{23817BCF-9BB6-6090-17AD-7CAFC1DBCCF4}"/>
                </a:ext>
              </a:extLst>
            </p:cNvPr>
            <p:cNvSpPr/>
            <p:nvPr/>
          </p:nvSpPr>
          <p:spPr>
            <a:xfrm>
              <a:off x="5117201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0" name="object 1280">
              <a:extLst>
                <a:ext uri="{FF2B5EF4-FFF2-40B4-BE49-F238E27FC236}">
                  <a16:creationId xmlns:a16="http://schemas.microsoft.com/office/drawing/2014/main" id="{C8BE81C8-5FFF-B3F8-7F08-02D0EE4667A2}"/>
                </a:ext>
              </a:extLst>
            </p:cNvPr>
            <p:cNvSpPr/>
            <p:nvPr/>
          </p:nvSpPr>
          <p:spPr>
            <a:xfrm>
              <a:off x="5152296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1" name="object 1281">
              <a:extLst>
                <a:ext uri="{FF2B5EF4-FFF2-40B4-BE49-F238E27FC236}">
                  <a16:creationId xmlns:a16="http://schemas.microsoft.com/office/drawing/2014/main" id="{5C6AADCE-3A8E-3B85-B36D-DF2CB655B236}"/>
                </a:ext>
              </a:extLst>
            </p:cNvPr>
            <p:cNvSpPr/>
            <p:nvPr/>
          </p:nvSpPr>
          <p:spPr>
            <a:xfrm>
              <a:off x="5047158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2" name="object 1282">
              <a:extLst>
                <a:ext uri="{FF2B5EF4-FFF2-40B4-BE49-F238E27FC236}">
                  <a16:creationId xmlns:a16="http://schemas.microsoft.com/office/drawing/2014/main" id="{9DE1A38C-2596-22E9-110F-E3A40A71F226}"/>
                </a:ext>
              </a:extLst>
            </p:cNvPr>
            <p:cNvSpPr/>
            <p:nvPr/>
          </p:nvSpPr>
          <p:spPr>
            <a:xfrm>
              <a:off x="5257287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3" name="object 1283">
              <a:extLst>
                <a:ext uri="{FF2B5EF4-FFF2-40B4-BE49-F238E27FC236}">
                  <a16:creationId xmlns:a16="http://schemas.microsoft.com/office/drawing/2014/main" id="{F6553F45-92F0-C366-FD94-101D1D127BD7}"/>
                </a:ext>
              </a:extLst>
            </p:cNvPr>
            <p:cNvSpPr/>
            <p:nvPr/>
          </p:nvSpPr>
          <p:spPr>
            <a:xfrm>
              <a:off x="5082180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4" name="object 1284">
              <a:extLst>
                <a:ext uri="{FF2B5EF4-FFF2-40B4-BE49-F238E27FC236}">
                  <a16:creationId xmlns:a16="http://schemas.microsoft.com/office/drawing/2014/main" id="{CECC9369-AC9A-A8A9-E75C-14FFC9A8D8FA}"/>
                </a:ext>
              </a:extLst>
            </p:cNvPr>
            <p:cNvSpPr/>
            <p:nvPr/>
          </p:nvSpPr>
          <p:spPr>
            <a:xfrm>
              <a:off x="5362352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5" name="object 1285">
              <a:extLst>
                <a:ext uri="{FF2B5EF4-FFF2-40B4-BE49-F238E27FC236}">
                  <a16:creationId xmlns:a16="http://schemas.microsoft.com/office/drawing/2014/main" id="{40590156-2341-14F8-C3C7-015E1EF62DBC}"/>
                </a:ext>
              </a:extLst>
            </p:cNvPr>
            <p:cNvSpPr/>
            <p:nvPr/>
          </p:nvSpPr>
          <p:spPr>
            <a:xfrm>
              <a:off x="5187382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6" name="object 1286">
              <a:extLst>
                <a:ext uri="{FF2B5EF4-FFF2-40B4-BE49-F238E27FC236}">
                  <a16:creationId xmlns:a16="http://schemas.microsoft.com/office/drawing/2014/main" id="{D903E4D2-3B24-A5FE-FDF0-F54FF20C45A2}"/>
                </a:ext>
              </a:extLst>
            </p:cNvPr>
            <p:cNvSpPr/>
            <p:nvPr/>
          </p:nvSpPr>
          <p:spPr>
            <a:xfrm>
              <a:off x="5012411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7" name="object 1287">
              <a:extLst>
                <a:ext uri="{FF2B5EF4-FFF2-40B4-BE49-F238E27FC236}">
                  <a16:creationId xmlns:a16="http://schemas.microsoft.com/office/drawing/2014/main" id="{BF8FE335-8586-2D6B-C7E1-A0E101F386C6}"/>
                </a:ext>
              </a:extLst>
            </p:cNvPr>
            <p:cNvSpPr/>
            <p:nvPr/>
          </p:nvSpPr>
          <p:spPr>
            <a:xfrm>
              <a:off x="5187382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8" name="object 1288">
              <a:extLst>
                <a:ext uri="{FF2B5EF4-FFF2-40B4-BE49-F238E27FC236}">
                  <a16:creationId xmlns:a16="http://schemas.microsoft.com/office/drawing/2014/main" id="{6E6B0522-7933-03D5-3AF7-B36D753C53D6}"/>
                </a:ext>
              </a:extLst>
            </p:cNvPr>
            <p:cNvSpPr/>
            <p:nvPr/>
          </p:nvSpPr>
          <p:spPr>
            <a:xfrm>
              <a:off x="5012411" y="27058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89" name="object 1289">
              <a:extLst>
                <a:ext uri="{FF2B5EF4-FFF2-40B4-BE49-F238E27FC236}">
                  <a16:creationId xmlns:a16="http://schemas.microsoft.com/office/drawing/2014/main" id="{5F6F9414-5385-AAD4-EEF1-C56241B221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5830781" y="2092906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90" name="object 1290">
              <a:extLst>
                <a:ext uri="{FF2B5EF4-FFF2-40B4-BE49-F238E27FC236}">
                  <a16:creationId xmlns:a16="http://schemas.microsoft.com/office/drawing/2014/main" id="{4287B6E3-7C24-85C1-6A31-33212FDD893B}"/>
                </a:ext>
              </a:extLst>
            </p:cNvPr>
            <p:cNvSpPr/>
            <p:nvPr/>
          </p:nvSpPr>
          <p:spPr>
            <a:xfrm>
              <a:off x="5834987" y="209178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91" name="object 1291">
              <a:extLst>
                <a:ext uri="{FF2B5EF4-FFF2-40B4-BE49-F238E27FC236}">
                  <a16:creationId xmlns:a16="http://schemas.microsoft.com/office/drawing/2014/main" id="{77AA64BA-EF5D-D742-E217-BD6C783911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5830781" y="552489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92" name="object 1292">
              <a:extLst>
                <a:ext uri="{FF2B5EF4-FFF2-40B4-BE49-F238E27FC236}">
                  <a16:creationId xmlns:a16="http://schemas.microsoft.com/office/drawing/2014/main" id="{A4923217-701E-F7E1-7E21-D85540D0D8B0}"/>
                </a:ext>
              </a:extLst>
            </p:cNvPr>
            <p:cNvSpPr/>
            <p:nvPr/>
          </p:nvSpPr>
          <p:spPr>
            <a:xfrm>
              <a:off x="5830781" y="55249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93" name="object 1293">
              <a:extLst>
                <a:ext uri="{FF2B5EF4-FFF2-40B4-BE49-F238E27FC236}">
                  <a16:creationId xmlns:a16="http://schemas.microsoft.com/office/drawing/2014/main" id="{8A5A9FF2-2A6C-4414-3487-594D771D3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5830781" y="2858889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94" name="object 1294">
              <a:extLst>
                <a:ext uri="{FF2B5EF4-FFF2-40B4-BE49-F238E27FC236}">
                  <a16:creationId xmlns:a16="http://schemas.microsoft.com/office/drawing/2014/main" id="{59426BB7-056E-21EF-1107-967D64385EC5}"/>
                </a:ext>
              </a:extLst>
            </p:cNvPr>
            <p:cNvSpPr/>
            <p:nvPr/>
          </p:nvSpPr>
          <p:spPr>
            <a:xfrm>
              <a:off x="5834987" y="285483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95" name="object 1295">
              <a:extLst>
                <a:ext uri="{FF2B5EF4-FFF2-40B4-BE49-F238E27FC236}">
                  <a16:creationId xmlns:a16="http://schemas.microsoft.com/office/drawing/2014/main" id="{90616BC7-FA89-0D32-7CAD-DA8694EC7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5830781" y="1319598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96" name="object 1296">
              <a:extLst>
                <a:ext uri="{FF2B5EF4-FFF2-40B4-BE49-F238E27FC236}">
                  <a16:creationId xmlns:a16="http://schemas.microsoft.com/office/drawing/2014/main" id="{A191194E-0D1C-535C-063F-0522EB38C3E4}"/>
                </a:ext>
              </a:extLst>
            </p:cNvPr>
            <p:cNvSpPr/>
            <p:nvPr/>
          </p:nvSpPr>
          <p:spPr>
            <a:xfrm>
              <a:off x="5830781" y="131959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97" name="object 1297">
              <a:extLst>
                <a:ext uri="{FF2B5EF4-FFF2-40B4-BE49-F238E27FC236}">
                  <a16:creationId xmlns:a16="http://schemas.microsoft.com/office/drawing/2014/main" id="{4E6A7B89-B25A-A987-12F8-AFF7DA92BC9D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5012393" y="563096"/>
              <a:ext cx="34995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98" name="object 1298">
              <a:extLst>
                <a:ext uri="{FF2B5EF4-FFF2-40B4-BE49-F238E27FC236}">
                  <a16:creationId xmlns:a16="http://schemas.microsoft.com/office/drawing/2014/main" id="{FF52BC99-5DE2-9D15-5564-7FC38A329948}"/>
                </a:ext>
              </a:extLst>
            </p:cNvPr>
            <p:cNvSpPr/>
            <p:nvPr/>
          </p:nvSpPr>
          <p:spPr>
            <a:xfrm>
              <a:off x="5012402" y="56310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99" name="object 1299">
              <a:extLst>
                <a:ext uri="{FF2B5EF4-FFF2-40B4-BE49-F238E27FC236}">
                  <a16:creationId xmlns:a16="http://schemas.microsoft.com/office/drawing/2014/main" id="{F4BAF4BD-7773-3BEB-1E19-64D5448A49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6656228" y="2847487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00" name="object 1300">
              <a:extLst>
                <a:ext uri="{FF2B5EF4-FFF2-40B4-BE49-F238E27FC236}">
                  <a16:creationId xmlns:a16="http://schemas.microsoft.com/office/drawing/2014/main" id="{22AC565F-E4BF-D5E5-7BB9-29942025B289}"/>
                </a:ext>
              </a:extLst>
            </p:cNvPr>
            <p:cNvSpPr/>
            <p:nvPr/>
          </p:nvSpPr>
          <p:spPr>
            <a:xfrm>
              <a:off x="6656237" y="284748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301" name="object 1301">
              <a:extLst>
                <a:ext uri="{FF2B5EF4-FFF2-40B4-BE49-F238E27FC236}">
                  <a16:creationId xmlns:a16="http://schemas.microsoft.com/office/drawing/2014/main" id="{225E8EF6-AFB6-788D-E27E-1B06B4AD7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8301014" y="1320393"/>
              <a:ext cx="347956" cy="34796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02" name="object 1302">
              <a:extLst>
                <a:ext uri="{FF2B5EF4-FFF2-40B4-BE49-F238E27FC236}">
                  <a16:creationId xmlns:a16="http://schemas.microsoft.com/office/drawing/2014/main" id="{6F5A904E-9E36-68E0-CAAE-02AC292C7F30}"/>
                </a:ext>
              </a:extLst>
            </p:cNvPr>
            <p:cNvSpPr/>
            <p:nvPr/>
          </p:nvSpPr>
          <p:spPr>
            <a:xfrm>
              <a:off x="8301014" y="1320384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40"/>
                <a:gd name="f4" fmla="val 574039"/>
                <a:gd name="f5" fmla="val 286912"/>
                <a:gd name="f6" fmla="val 3754"/>
                <a:gd name="f7" fmla="val 333451"/>
                <a:gd name="f8" fmla="val 14626"/>
                <a:gd name="f9" fmla="val 377599"/>
                <a:gd name="f10" fmla="val 32023"/>
                <a:gd name="f11" fmla="val 418767"/>
                <a:gd name="f12" fmla="val 55354"/>
                <a:gd name="f13" fmla="val 456362"/>
                <a:gd name="f14" fmla="val 84031"/>
                <a:gd name="f15" fmla="val 489795"/>
                <a:gd name="f16" fmla="val 117461"/>
                <a:gd name="f17" fmla="val 518474"/>
                <a:gd name="f18" fmla="val 155055"/>
                <a:gd name="f19" fmla="val 541808"/>
                <a:gd name="f20" fmla="val 196222"/>
                <a:gd name="f21" fmla="val 559207"/>
                <a:gd name="f22" fmla="val 240371"/>
                <a:gd name="f23" fmla="val 570080"/>
                <a:gd name="f24" fmla="val 573835"/>
                <a:gd name="f25" fmla="val 377598"/>
                <a:gd name="f26" fmla="val 418764"/>
                <a:gd name="f27" fmla="val 456358"/>
                <a:gd name="f28" fmla="val 489790"/>
                <a:gd name="f29" fmla="val 518467"/>
                <a:gd name="f30" fmla="val 541800"/>
                <a:gd name="f31" fmla="val 559198"/>
                <a:gd name="f32" fmla="val 570070"/>
                <a:gd name="f33" fmla="val 573825"/>
                <a:gd name="f34" fmla="val 240374"/>
                <a:gd name="f35" fmla="val 196226"/>
                <a:gd name="f36" fmla="val 155060"/>
                <a:gd name="f37" fmla="val 117466"/>
                <a:gd name="f38" fmla="val 84035"/>
                <a:gd name="f39" fmla="val 55357"/>
                <a:gd name="f40" fmla="val 32024"/>
                <a:gd name="f41" fmla="val 14627"/>
                <a:gd name="f42" fmla="val 3755"/>
                <a:gd name="f43" fmla="*/ f0 1 574040"/>
                <a:gd name="f44" fmla="*/ f1 1 574039"/>
                <a:gd name="f45" fmla="+- f4 0 f2"/>
                <a:gd name="f46" fmla="+- f3 0 f2"/>
                <a:gd name="f47" fmla="*/ f46 1 574040"/>
                <a:gd name="f48" fmla="*/ f45 1 574039"/>
                <a:gd name="f49" fmla="*/ f2 1 f47"/>
                <a:gd name="f50" fmla="*/ f3 1 f47"/>
                <a:gd name="f51" fmla="*/ f2 1 f48"/>
                <a:gd name="f52" fmla="*/ f4 1 f48"/>
                <a:gd name="f53" fmla="*/ f49 f43 1"/>
                <a:gd name="f54" fmla="*/ f50 f43 1"/>
                <a:gd name="f55" fmla="*/ f52 f44 1"/>
                <a:gd name="f56" fmla="*/ f51 f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3" t="f56" r="f54" b="f55"/>
              <a:pathLst>
                <a:path w="574040" h="574039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4"/>
                  </a:lnTo>
                  <a:lnTo>
                    <a:pt x="f7" y="f23"/>
                  </a:lnTo>
                  <a:lnTo>
                    <a:pt x="f25" y="f21"/>
                  </a:lnTo>
                  <a:lnTo>
                    <a:pt x="f26" y="f19"/>
                  </a:lnTo>
                  <a:lnTo>
                    <a:pt x="f27" y="f17"/>
                  </a:lnTo>
                  <a:lnTo>
                    <a:pt x="f28" y="f15"/>
                  </a:lnTo>
                  <a:lnTo>
                    <a:pt x="f29" y="f13"/>
                  </a:lnTo>
                  <a:lnTo>
                    <a:pt x="f30" y="f11"/>
                  </a:lnTo>
                  <a:lnTo>
                    <a:pt x="f31" y="f9"/>
                  </a:lnTo>
                  <a:lnTo>
                    <a:pt x="f32" y="f7"/>
                  </a:lnTo>
                  <a:lnTo>
                    <a:pt x="f33" y="f5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41"/>
                  </a:lnTo>
                  <a:lnTo>
                    <a:pt x="f7" y="f42"/>
                  </a:lnTo>
                  <a:lnTo>
                    <a:pt x="f5" y="f2"/>
                  </a:lnTo>
                  <a:lnTo>
                    <a:pt x="f22" y="f42"/>
                  </a:lnTo>
                  <a:lnTo>
                    <a:pt x="f20" y="f41"/>
                  </a:lnTo>
                  <a:lnTo>
                    <a:pt x="f18" y="f40"/>
                  </a:lnTo>
                  <a:lnTo>
                    <a:pt x="f16" y="f39"/>
                  </a:lnTo>
                  <a:lnTo>
                    <a:pt x="f14" y="f38"/>
                  </a:lnTo>
                  <a:lnTo>
                    <a:pt x="f12" y="f37"/>
                  </a:lnTo>
                  <a:lnTo>
                    <a:pt x="f10" y="f36"/>
                  </a:lnTo>
                  <a:lnTo>
                    <a:pt x="f8" y="f35"/>
                  </a:lnTo>
                  <a:lnTo>
                    <a:pt x="f6" y="f34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3" name="object 1303">
              <a:extLst>
                <a:ext uri="{FF2B5EF4-FFF2-40B4-BE49-F238E27FC236}">
                  <a16:creationId xmlns:a16="http://schemas.microsoft.com/office/drawing/2014/main" id="{3F5F6B1C-0D72-E51C-BEB4-5C5E6DF9137F}"/>
                </a:ext>
              </a:extLst>
            </p:cNvPr>
            <p:cNvSpPr/>
            <p:nvPr/>
          </p:nvSpPr>
          <p:spPr>
            <a:xfrm>
              <a:off x="9401997" y="18546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4" name="object 1304">
              <a:extLst>
                <a:ext uri="{FF2B5EF4-FFF2-40B4-BE49-F238E27FC236}">
                  <a16:creationId xmlns:a16="http://schemas.microsoft.com/office/drawing/2014/main" id="{075B4A50-FC71-D8D3-FBC0-33C579ECD61B}"/>
                </a:ext>
              </a:extLst>
            </p:cNvPr>
            <p:cNvSpPr/>
            <p:nvPr/>
          </p:nvSpPr>
          <p:spPr>
            <a:xfrm>
              <a:off x="9437019" y="18546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5" name="object 1305">
              <a:extLst>
                <a:ext uri="{FF2B5EF4-FFF2-40B4-BE49-F238E27FC236}">
                  <a16:creationId xmlns:a16="http://schemas.microsoft.com/office/drawing/2014/main" id="{C274DD8D-23A8-EC69-F270-E1FB7D3F6875}"/>
                </a:ext>
              </a:extLst>
            </p:cNvPr>
            <p:cNvSpPr/>
            <p:nvPr/>
          </p:nvSpPr>
          <p:spPr>
            <a:xfrm>
              <a:off x="9331954" y="18546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6" name="object 1306">
              <a:extLst>
                <a:ext uri="{FF2B5EF4-FFF2-40B4-BE49-F238E27FC236}">
                  <a16:creationId xmlns:a16="http://schemas.microsoft.com/office/drawing/2014/main" id="{493B34BB-EA1F-279F-E9EC-A01C077410A0}"/>
                </a:ext>
              </a:extLst>
            </p:cNvPr>
            <p:cNvSpPr/>
            <p:nvPr/>
          </p:nvSpPr>
          <p:spPr>
            <a:xfrm>
              <a:off x="9226881" y="18546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7" name="object 1307">
              <a:extLst>
                <a:ext uri="{FF2B5EF4-FFF2-40B4-BE49-F238E27FC236}">
                  <a16:creationId xmlns:a16="http://schemas.microsoft.com/office/drawing/2014/main" id="{2A7820F4-BB42-5815-04C4-04154AF304AF}"/>
                </a:ext>
              </a:extLst>
            </p:cNvPr>
            <p:cNvSpPr/>
            <p:nvPr/>
          </p:nvSpPr>
          <p:spPr>
            <a:xfrm>
              <a:off x="9261975" y="18546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8" name="object 1308">
              <a:extLst>
                <a:ext uri="{FF2B5EF4-FFF2-40B4-BE49-F238E27FC236}">
                  <a16:creationId xmlns:a16="http://schemas.microsoft.com/office/drawing/2014/main" id="{4C92BC8B-228D-3DF8-E5C2-7C9BEFF4F2AF}"/>
                </a:ext>
              </a:extLst>
            </p:cNvPr>
            <p:cNvSpPr/>
            <p:nvPr/>
          </p:nvSpPr>
          <p:spPr>
            <a:xfrm>
              <a:off x="9156838" y="18546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9" name="object 1309">
              <a:extLst>
                <a:ext uri="{FF2B5EF4-FFF2-40B4-BE49-F238E27FC236}">
                  <a16:creationId xmlns:a16="http://schemas.microsoft.com/office/drawing/2014/main" id="{DC009298-2864-34B2-611D-A4EB8CE0CE15}"/>
                </a:ext>
              </a:extLst>
            </p:cNvPr>
            <p:cNvSpPr/>
            <p:nvPr/>
          </p:nvSpPr>
          <p:spPr>
            <a:xfrm>
              <a:off x="9366976" y="18546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0" name="object 1310">
              <a:extLst>
                <a:ext uri="{FF2B5EF4-FFF2-40B4-BE49-F238E27FC236}">
                  <a16:creationId xmlns:a16="http://schemas.microsoft.com/office/drawing/2014/main" id="{C485B282-49B2-90A2-37AB-3F6276F63ECA}"/>
                </a:ext>
              </a:extLst>
            </p:cNvPr>
            <p:cNvSpPr/>
            <p:nvPr/>
          </p:nvSpPr>
          <p:spPr>
            <a:xfrm>
              <a:off x="9191859" y="18546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1" name="object 1311">
              <a:extLst>
                <a:ext uri="{FF2B5EF4-FFF2-40B4-BE49-F238E27FC236}">
                  <a16:creationId xmlns:a16="http://schemas.microsoft.com/office/drawing/2014/main" id="{B250A45A-4D6A-FE9A-F9F2-E04F4BCD4450}"/>
                </a:ext>
              </a:extLst>
            </p:cNvPr>
            <p:cNvSpPr/>
            <p:nvPr/>
          </p:nvSpPr>
          <p:spPr>
            <a:xfrm>
              <a:off x="9472041" y="18418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2" name="object 1312">
              <a:extLst>
                <a:ext uri="{FF2B5EF4-FFF2-40B4-BE49-F238E27FC236}">
                  <a16:creationId xmlns:a16="http://schemas.microsoft.com/office/drawing/2014/main" id="{00BBFA14-7BA0-D797-5AAB-7CD53DAE3B09}"/>
                </a:ext>
              </a:extLst>
            </p:cNvPr>
            <p:cNvSpPr/>
            <p:nvPr/>
          </p:nvSpPr>
          <p:spPr>
            <a:xfrm>
              <a:off x="9297070" y="18418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3" name="object 1313">
              <a:extLst>
                <a:ext uri="{FF2B5EF4-FFF2-40B4-BE49-F238E27FC236}">
                  <a16:creationId xmlns:a16="http://schemas.microsoft.com/office/drawing/2014/main" id="{9577B9D7-A485-3E0C-2647-A4C8E9AB2909}"/>
                </a:ext>
              </a:extLst>
            </p:cNvPr>
            <p:cNvSpPr/>
            <p:nvPr/>
          </p:nvSpPr>
          <p:spPr>
            <a:xfrm>
              <a:off x="9122090" y="18418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4" name="object 1314">
              <a:extLst>
                <a:ext uri="{FF2B5EF4-FFF2-40B4-BE49-F238E27FC236}">
                  <a16:creationId xmlns:a16="http://schemas.microsoft.com/office/drawing/2014/main" id="{231CB09C-4988-290D-BB51-E4C32ED2A572}"/>
                </a:ext>
              </a:extLst>
            </p:cNvPr>
            <p:cNvSpPr/>
            <p:nvPr/>
          </p:nvSpPr>
          <p:spPr>
            <a:xfrm>
              <a:off x="9122090" y="186738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5" name="object 1315">
              <a:extLst>
                <a:ext uri="{FF2B5EF4-FFF2-40B4-BE49-F238E27FC236}">
                  <a16:creationId xmlns:a16="http://schemas.microsoft.com/office/drawing/2014/main" id="{C90A80C5-EDC7-5784-FFAF-B4337B45D1DE}"/>
                </a:ext>
              </a:extLst>
            </p:cNvPr>
            <p:cNvSpPr/>
            <p:nvPr/>
          </p:nvSpPr>
          <p:spPr>
            <a:xfrm>
              <a:off x="9122228" y="1841885"/>
              <a:ext cx="1952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1944"/>
                <a:gd name="f4" fmla="val 84455"/>
                <a:gd name="f5" fmla="val 321592"/>
                <a:gd name="f6" fmla="val 84123"/>
                <a:gd name="f7" fmla="*/ f0 1 321944"/>
                <a:gd name="f8" fmla="*/ f1 1 84455"/>
                <a:gd name="f9" fmla="+- f4 0 f2"/>
                <a:gd name="f10" fmla="+- f3 0 f2"/>
                <a:gd name="f11" fmla="*/ f10 1 32194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2194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6" name="object 1316">
              <a:extLst>
                <a:ext uri="{FF2B5EF4-FFF2-40B4-BE49-F238E27FC236}">
                  <a16:creationId xmlns:a16="http://schemas.microsoft.com/office/drawing/2014/main" id="{B40A6B5E-696E-EAAB-4A43-0A2B4EA43B78}"/>
                </a:ext>
              </a:extLst>
            </p:cNvPr>
            <p:cNvSpPr/>
            <p:nvPr/>
          </p:nvSpPr>
          <p:spPr>
            <a:xfrm>
              <a:off x="9122228" y="1914177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19"/>
                <a:gd name="f4" fmla="val 84455"/>
                <a:gd name="f5" fmla="val 172560"/>
                <a:gd name="f6" fmla="val 84112"/>
                <a:gd name="f7" fmla="*/ f0 1 172719"/>
                <a:gd name="f8" fmla="*/ f1 1 84455"/>
                <a:gd name="f9" fmla="+- f4 0 f2"/>
                <a:gd name="f10" fmla="+- f3 0 f2"/>
                <a:gd name="f11" fmla="*/ f10 1 17271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1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7" name="object 1317">
              <a:extLst>
                <a:ext uri="{FF2B5EF4-FFF2-40B4-BE49-F238E27FC236}">
                  <a16:creationId xmlns:a16="http://schemas.microsoft.com/office/drawing/2014/main" id="{A4CB1970-6BBB-5162-D38C-D61BC0396C1B}"/>
                </a:ext>
              </a:extLst>
            </p:cNvPr>
            <p:cNvSpPr/>
            <p:nvPr/>
          </p:nvSpPr>
          <p:spPr>
            <a:xfrm>
              <a:off x="9401650" y="19269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8" name="object 1318">
              <a:extLst>
                <a:ext uri="{FF2B5EF4-FFF2-40B4-BE49-F238E27FC236}">
                  <a16:creationId xmlns:a16="http://schemas.microsoft.com/office/drawing/2014/main" id="{391D2D80-D185-0A3A-03D9-E6AEE1048552}"/>
                </a:ext>
              </a:extLst>
            </p:cNvPr>
            <p:cNvSpPr/>
            <p:nvPr/>
          </p:nvSpPr>
          <p:spPr>
            <a:xfrm>
              <a:off x="9436672" y="19269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9" name="object 1319">
              <a:extLst>
                <a:ext uri="{FF2B5EF4-FFF2-40B4-BE49-F238E27FC236}">
                  <a16:creationId xmlns:a16="http://schemas.microsoft.com/office/drawing/2014/main" id="{728DC7AE-B3A8-FC6A-5FAC-1B847E026E89}"/>
                </a:ext>
              </a:extLst>
            </p:cNvPr>
            <p:cNvSpPr/>
            <p:nvPr/>
          </p:nvSpPr>
          <p:spPr>
            <a:xfrm>
              <a:off x="9331607" y="19269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0" name="object 1320">
              <a:extLst>
                <a:ext uri="{FF2B5EF4-FFF2-40B4-BE49-F238E27FC236}">
                  <a16:creationId xmlns:a16="http://schemas.microsoft.com/office/drawing/2014/main" id="{38C55DD7-D371-A4FF-7EBB-A4114CB65595}"/>
                </a:ext>
              </a:extLst>
            </p:cNvPr>
            <p:cNvSpPr/>
            <p:nvPr/>
          </p:nvSpPr>
          <p:spPr>
            <a:xfrm>
              <a:off x="9226533" y="19269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1" name="object 1321">
              <a:extLst>
                <a:ext uri="{FF2B5EF4-FFF2-40B4-BE49-F238E27FC236}">
                  <a16:creationId xmlns:a16="http://schemas.microsoft.com/office/drawing/2014/main" id="{881A24E8-6D7F-8790-2283-8B515762E5E2}"/>
                </a:ext>
              </a:extLst>
            </p:cNvPr>
            <p:cNvSpPr/>
            <p:nvPr/>
          </p:nvSpPr>
          <p:spPr>
            <a:xfrm>
              <a:off x="9261628" y="19269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2" name="object 1322">
              <a:extLst>
                <a:ext uri="{FF2B5EF4-FFF2-40B4-BE49-F238E27FC236}">
                  <a16:creationId xmlns:a16="http://schemas.microsoft.com/office/drawing/2014/main" id="{55364571-8BB4-BCBA-CF57-BD95C8287915}"/>
                </a:ext>
              </a:extLst>
            </p:cNvPr>
            <p:cNvSpPr/>
            <p:nvPr/>
          </p:nvSpPr>
          <p:spPr>
            <a:xfrm>
              <a:off x="9156490" y="19269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3" name="object 1323">
              <a:extLst>
                <a:ext uri="{FF2B5EF4-FFF2-40B4-BE49-F238E27FC236}">
                  <a16:creationId xmlns:a16="http://schemas.microsoft.com/office/drawing/2014/main" id="{9D157D28-8090-F248-3157-4C158BC70545}"/>
                </a:ext>
              </a:extLst>
            </p:cNvPr>
            <p:cNvSpPr/>
            <p:nvPr/>
          </p:nvSpPr>
          <p:spPr>
            <a:xfrm>
              <a:off x="9366628" y="19269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4" name="object 1324">
              <a:extLst>
                <a:ext uri="{FF2B5EF4-FFF2-40B4-BE49-F238E27FC236}">
                  <a16:creationId xmlns:a16="http://schemas.microsoft.com/office/drawing/2014/main" id="{9072375D-B11D-A460-2885-30012D9FDB41}"/>
                </a:ext>
              </a:extLst>
            </p:cNvPr>
            <p:cNvSpPr/>
            <p:nvPr/>
          </p:nvSpPr>
          <p:spPr>
            <a:xfrm>
              <a:off x="9191512" y="19269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5" name="object 1325">
              <a:extLst>
                <a:ext uri="{FF2B5EF4-FFF2-40B4-BE49-F238E27FC236}">
                  <a16:creationId xmlns:a16="http://schemas.microsoft.com/office/drawing/2014/main" id="{C02E994F-6D15-3E7E-0BEC-2B2B45109C3F}"/>
                </a:ext>
              </a:extLst>
            </p:cNvPr>
            <p:cNvSpPr/>
            <p:nvPr/>
          </p:nvSpPr>
          <p:spPr>
            <a:xfrm>
              <a:off x="9471693" y="19141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6" name="object 1326">
              <a:extLst>
                <a:ext uri="{FF2B5EF4-FFF2-40B4-BE49-F238E27FC236}">
                  <a16:creationId xmlns:a16="http://schemas.microsoft.com/office/drawing/2014/main" id="{6DD19B4F-8721-206B-2B83-C09D7D5BBCB3}"/>
                </a:ext>
              </a:extLst>
            </p:cNvPr>
            <p:cNvSpPr/>
            <p:nvPr/>
          </p:nvSpPr>
          <p:spPr>
            <a:xfrm>
              <a:off x="9296723" y="19141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7" name="object 1327">
              <a:extLst>
                <a:ext uri="{FF2B5EF4-FFF2-40B4-BE49-F238E27FC236}">
                  <a16:creationId xmlns:a16="http://schemas.microsoft.com/office/drawing/2014/main" id="{516894D6-876B-A872-9AE0-977A16F62C13}"/>
                </a:ext>
              </a:extLst>
            </p:cNvPr>
            <p:cNvSpPr/>
            <p:nvPr/>
          </p:nvSpPr>
          <p:spPr>
            <a:xfrm>
              <a:off x="9121743" y="19141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8" name="object 1328">
              <a:extLst>
                <a:ext uri="{FF2B5EF4-FFF2-40B4-BE49-F238E27FC236}">
                  <a16:creationId xmlns:a16="http://schemas.microsoft.com/office/drawing/2014/main" id="{5402026D-D4B3-A8B0-2FAF-F27EA51D2E6C}"/>
                </a:ext>
              </a:extLst>
            </p:cNvPr>
            <p:cNvSpPr/>
            <p:nvPr/>
          </p:nvSpPr>
          <p:spPr>
            <a:xfrm>
              <a:off x="9296723" y="19141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9" name="object 1329">
              <a:extLst>
                <a:ext uri="{FF2B5EF4-FFF2-40B4-BE49-F238E27FC236}">
                  <a16:creationId xmlns:a16="http://schemas.microsoft.com/office/drawing/2014/main" id="{4E1EB21D-254F-87A7-23B2-BB07AA1953D9}"/>
                </a:ext>
              </a:extLst>
            </p:cNvPr>
            <p:cNvSpPr/>
            <p:nvPr/>
          </p:nvSpPr>
          <p:spPr>
            <a:xfrm>
              <a:off x="9121743" y="193968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0" name="object 1330">
              <a:extLst>
                <a:ext uri="{FF2B5EF4-FFF2-40B4-BE49-F238E27FC236}">
                  <a16:creationId xmlns:a16="http://schemas.microsoft.com/office/drawing/2014/main" id="{A41156AF-762E-2910-8558-C47ACBC0DBF6}"/>
                </a:ext>
              </a:extLst>
            </p:cNvPr>
            <p:cNvSpPr/>
            <p:nvPr/>
          </p:nvSpPr>
          <p:spPr>
            <a:xfrm>
              <a:off x="9401997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1" name="object 1331">
              <a:extLst>
                <a:ext uri="{FF2B5EF4-FFF2-40B4-BE49-F238E27FC236}">
                  <a16:creationId xmlns:a16="http://schemas.microsoft.com/office/drawing/2014/main" id="{CDB14DE5-60DE-E22D-BDD6-BA032F797880}"/>
                </a:ext>
              </a:extLst>
            </p:cNvPr>
            <p:cNvSpPr/>
            <p:nvPr/>
          </p:nvSpPr>
          <p:spPr>
            <a:xfrm>
              <a:off x="9437019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2" name="object 1332">
              <a:extLst>
                <a:ext uri="{FF2B5EF4-FFF2-40B4-BE49-F238E27FC236}">
                  <a16:creationId xmlns:a16="http://schemas.microsoft.com/office/drawing/2014/main" id="{1D8922AD-4646-5B09-B57E-D242F68B3FAE}"/>
                </a:ext>
              </a:extLst>
            </p:cNvPr>
            <p:cNvSpPr/>
            <p:nvPr/>
          </p:nvSpPr>
          <p:spPr>
            <a:xfrm>
              <a:off x="9331954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3" name="object 1333">
              <a:extLst>
                <a:ext uri="{FF2B5EF4-FFF2-40B4-BE49-F238E27FC236}">
                  <a16:creationId xmlns:a16="http://schemas.microsoft.com/office/drawing/2014/main" id="{6231E72E-4409-0DEA-E283-EF6FF3BF6CBF}"/>
                </a:ext>
              </a:extLst>
            </p:cNvPr>
            <p:cNvSpPr/>
            <p:nvPr/>
          </p:nvSpPr>
          <p:spPr>
            <a:xfrm>
              <a:off x="9226881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4" name="object 1334">
              <a:extLst>
                <a:ext uri="{FF2B5EF4-FFF2-40B4-BE49-F238E27FC236}">
                  <a16:creationId xmlns:a16="http://schemas.microsoft.com/office/drawing/2014/main" id="{DDB5B573-3E26-D53D-9687-3A0B2C8F3074}"/>
                </a:ext>
              </a:extLst>
            </p:cNvPr>
            <p:cNvSpPr/>
            <p:nvPr/>
          </p:nvSpPr>
          <p:spPr>
            <a:xfrm>
              <a:off x="9261975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5" name="object 1335">
              <a:extLst>
                <a:ext uri="{FF2B5EF4-FFF2-40B4-BE49-F238E27FC236}">
                  <a16:creationId xmlns:a16="http://schemas.microsoft.com/office/drawing/2014/main" id="{65378F66-6E84-E97C-90FF-9BF6267825F4}"/>
                </a:ext>
              </a:extLst>
            </p:cNvPr>
            <p:cNvSpPr/>
            <p:nvPr/>
          </p:nvSpPr>
          <p:spPr>
            <a:xfrm>
              <a:off x="9156838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6" name="object 1336">
              <a:extLst>
                <a:ext uri="{FF2B5EF4-FFF2-40B4-BE49-F238E27FC236}">
                  <a16:creationId xmlns:a16="http://schemas.microsoft.com/office/drawing/2014/main" id="{F654806B-C96C-CAE8-1858-40B33E8A8C3F}"/>
                </a:ext>
              </a:extLst>
            </p:cNvPr>
            <p:cNvSpPr/>
            <p:nvPr/>
          </p:nvSpPr>
          <p:spPr>
            <a:xfrm>
              <a:off x="9366976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7" name="object 1337">
              <a:extLst>
                <a:ext uri="{FF2B5EF4-FFF2-40B4-BE49-F238E27FC236}">
                  <a16:creationId xmlns:a16="http://schemas.microsoft.com/office/drawing/2014/main" id="{DA8D41F7-D951-B2F5-F117-214BDA6D59B6}"/>
                </a:ext>
              </a:extLst>
            </p:cNvPr>
            <p:cNvSpPr/>
            <p:nvPr/>
          </p:nvSpPr>
          <p:spPr>
            <a:xfrm>
              <a:off x="9191859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8" name="object 1338">
              <a:extLst>
                <a:ext uri="{FF2B5EF4-FFF2-40B4-BE49-F238E27FC236}">
                  <a16:creationId xmlns:a16="http://schemas.microsoft.com/office/drawing/2014/main" id="{31048AC9-A7BD-3DAF-5B57-0DD6A62A4C36}"/>
                </a:ext>
              </a:extLst>
            </p:cNvPr>
            <p:cNvSpPr/>
            <p:nvPr/>
          </p:nvSpPr>
          <p:spPr>
            <a:xfrm>
              <a:off x="9472041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9" name="object 1339">
              <a:extLst>
                <a:ext uri="{FF2B5EF4-FFF2-40B4-BE49-F238E27FC236}">
                  <a16:creationId xmlns:a16="http://schemas.microsoft.com/office/drawing/2014/main" id="{C204808D-722C-0C63-C986-0F52C487983A}"/>
                </a:ext>
              </a:extLst>
            </p:cNvPr>
            <p:cNvSpPr/>
            <p:nvPr/>
          </p:nvSpPr>
          <p:spPr>
            <a:xfrm>
              <a:off x="9297070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0" name="object 1340">
              <a:extLst>
                <a:ext uri="{FF2B5EF4-FFF2-40B4-BE49-F238E27FC236}">
                  <a16:creationId xmlns:a16="http://schemas.microsoft.com/office/drawing/2014/main" id="{45EDF780-8E33-2105-E116-682184861389}"/>
                </a:ext>
              </a:extLst>
            </p:cNvPr>
            <p:cNvSpPr/>
            <p:nvPr/>
          </p:nvSpPr>
          <p:spPr>
            <a:xfrm>
              <a:off x="9122090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1" name="object 1341">
              <a:extLst>
                <a:ext uri="{FF2B5EF4-FFF2-40B4-BE49-F238E27FC236}">
                  <a16:creationId xmlns:a16="http://schemas.microsoft.com/office/drawing/2014/main" id="{C3C4D098-F79E-907E-2239-67394545D324}"/>
                </a:ext>
              </a:extLst>
            </p:cNvPr>
            <p:cNvSpPr/>
            <p:nvPr/>
          </p:nvSpPr>
          <p:spPr>
            <a:xfrm>
              <a:off x="9122090" y="26335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2" name="object 1342">
              <a:extLst>
                <a:ext uri="{FF2B5EF4-FFF2-40B4-BE49-F238E27FC236}">
                  <a16:creationId xmlns:a16="http://schemas.microsoft.com/office/drawing/2014/main" id="{A00924DE-F3E7-0FA1-E5CF-FB59F4E5DCA5}"/>
                </a:ext>
              </a:extLst>
            </p:cNvPr>
            <p:cNvSpPr/>
            <p:nvPr/>
          </p:nvSpPr>
          <p:spPr>
            <a:xfrm>
              <a:off x="9122228" y="2608069"/>
              <a:ext cx="3565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88009"/>
                <a:gd name="f4" fmla="val 84454"/>
                <a:gd name="f5" fmla="val 587887"/>
                <a:gd name="f6" fmla="val 84102"/>
                <a:gd name="f7" fmla="*/ f0 1 588009"/>
                <a:gd name="f8" fmla="*/ f1 1 84454"/>
                <a:gd name="f9" fmla="+- f4 0 f2"/>
                <a:gd name="f10" fmla="+- f3 0 f2"/>
                <a:gd name="f11" fmla="*/ f10 1 5880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880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3" name="object 1343">
              <a:extLst>
                <a:ext uri="{FF2B5EF4-FFF2-40B4-BE49-F238E27FC236}">
                  <a16:creationId xmlns:a16="http://schemas.microsoft.com/office/drawing/2014/main" id="{9CB6D073-8B46-DF0A-8D09-282ADC84E1C0}"/>
                </a:ext>
              </a:extLst>
            </p:cNvPr>
            <p:cNvSpPr/>
            <p:nvPr/>
          </p:nvSpPr>
          <p:spPr>
            <a:xfrm>
              <a:off x="9122228" y="2680371"/>
              <a:ext cx="12014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8119"/>
                <a:gd name="f4" fmla="val 84454"/>
                <a:gd name="f5" fmla="val 197993"/>
                <a:gd name="f6" fmla="val 84102"/>
                <a:gd name="f7" fmla="*/ f0 1 198119"/>
                <a:gd name="f8" fmla="*/ f1 1 84454"/>
                <a:gd name="f9" fmla="+- f4 0 f2"/>
                <a:gd name="f10" fmla="+- f3 0 f2"/>
                <a:gd name="f11" fmla="*/ f10 1 1981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81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4" name="object 1344">
              <a:extLst>
                <a:ext uri="{FF2B5EF4-FFF2-40B4-BE49-F238E27FC236}">
                  <a16:creationId xmlns:a16="http://schemas.microsoft.com/office/drawing/2014/main" id="{3F3E945C-E5AA-9A09-E80F-88C174B23F9F}"/>
                </a:ext>
              </a:extLst>
            </p:cNvPr>
            <p:cNvSpPr/>
            <p:nvPr/>
          </p:nvSpPr>
          <p:spPr>
            <a:xfrm>
              <a:off x="9401650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5" name="object 1345">
              <a:extLst>
                <a:ext uri="{FF2B5EF4-FFF2-40B4-BE49-F238E27FC236}">
                  <a16:creationId xmlns:a16="http://schemas.microsoft.com/office/drawing/2014/main" id="{71A294D0-EE18-D69A-6B8C-42DE5EA18FBF}"/>
                </a:ext>
              </a:extLst>
            </p:cNvPr>
            <p:cNvSpPr/>
            <p:nvPr/>
          </p:nvSpPr>
          <p:spPr>
            <a:xfrm>
              <a:off x="9436672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6" name="object 1346">
              <a:extLst>
                <a:ext uri="{FF2B5EF4-FFF2-40B4-BE49-F238E27FC236}">
                  <a16:creationId xmlns:a16="http://schemas.microsoft.com/office/drawing/2014/main" id="{93BD9472-6DA0-0D03-6F01-DEAC1CD98A6E}"/>
                </a:ext>
              </a:extLst>
            </p:cNvPr>
            <p:cNvSpPr/>
            <p:nvPr/>
          </p:nvSpPr>
          <p:spPr>
            <a:xfrm>
              <a:off x="9331607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7" name="object 1347">
              <a:extLst>
                <a:ext uri="{FF2B5EF4-FFF2-40B4-BE49-F238E27FC236}">
                  <a16:creationId xmlns:a16="http://schemas.microsoft.com/office/drawing/2014/main" id="{BF60AEE5-0D39-E9E7-85FC-17C9DD1A65F0}"/>
                </a:ext>
              </a:extLst>
            </p:cNvPr>
            <p:cNvSpPr/>
            <p:nvPr/>
          </p:nvSpPr>
          <p:spPr>
            <a:xfrm>
              <a:off x="9226533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8" name="object 1348">
              <a:extLst>
                <a:ext uri="{FF2B5EF4-FFF2-40B4-BE49-F238E27FC236}">
                  <a16:creationId xmlns:a16="http://schemas.microsoft.com/office/drawing/2014/main" id="{EBADA771-E793-3708-B3E2-595D41538769}"/>
                </a:ext>
              </a:extLst>
            </p:cNvPr>
            <p:cNvSpPr/>
            <p:nvPr/>
          </p:nvSpPr>
          <p:spPr>
            <a:xfrm>
              <a:off x="9261628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9" name="object 1349">
              <a:extLst>
                <a:ext uri="{FF2B5EF4-FFF2-40B4-BE49-F238E27FC236}">
                  <a16:creationId xmlns:a16="http://schemas.microsoft.com/office/drawing/2014/main" id="{4992EE3F-0322-9C87-60EA-5CFB294C8A67}"/>
                </a:ext>
              </a:extLst>
            </p:cNvPr>
            <p:cNvSpPr/>
            <p:nvPr/>
          </p:nvSpPr>
          <p:spPr>
            <a:xfrm>
              <a:off x="9156490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0" name="object 1350">
              <a:extLst>
                <a:ext uri="{FF2B5EF4-FFF2-40B4-BE49-F238E27FC236}">
                  <a16:creationId xmlns:a16="http://schemas.microsoft.com/office/drawing/2014/main" id="{098F2D6A-2281-20A5-08DE-5FB3728B917C}"/>
                </a:ext>
              </a:extLst>
            </p:cNvPr>
            <p:cNvSpPr/>
            <p:nvPr/>
          </p:nvSpPr>
          <p:spPr>
            <a:xfrm>
              <a:off x="9366628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1" name="object 1351">
              <a:extLst>
                <a:ext uri="{FF2B5EF4-FFF2-40B4-BE49-F238E27FC236}">
                  <a16:creationId xmlns:a16="http://schemas.microsoft.com/office/drawing/2014/main" id="{E18D73FF-3A1D-BFEA-FADC-C4001C18EA5D}"/>
                </a:ext>
              </a:extLst>
            </p:cNvPr>
            <p:cNvSpPr/>
            <p:nvPr/>
          </p:nvSpPr>
          <p:spPr>
            <a:xfrm>
              <a:off x="9191512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2" name="object 1352">
              <a:extLst>
                <a:ext uri="{FF2B5EF4-FFF2-40B4-BE49-F238E27FC236}">
                  <a16:creationId xmlns:a16="http://schemas.microsoft.com/office/drawing/2014/main" id="{155530E3-A5A3-847D-12E8-9A0ECD37A88F}"/>
                </a:ext>
              </a:extLst>
            </p:cNvPr>
            <p:cNvSpPr/>
            <p:nvPr/>
          </p:nvSpPr>
          <p:spPr>
            <a:xfrm>
              <a:off x="9471693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3" name="object 1353">
              <a:extLst>
                <a:ext uri="{FF2B5EF4-FFF2-40B4-BE49-F238E27FC236}">
                  <a16:creationId xmlns:a16="http://schemas.microsoft.com/office/drawing/2014/main" id="{758C6350-5325-EC6F-4BB2-B0DE94E2DA1F}"/>
                </a:ext>
              </a:extLst>
            </p:cNvPr>
            <p:cNvSpPr/>
            <p:nvPr/>
          </p:nvSpPr>
          <p:spPr>
            <a:xfrm>
              <a:off x="9296723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4" name="object 1354">
              <a:extLst>
                <a:ext uri="{FF2B5EF4-FFF2-40B4-BE49-F238E27FC236}">
                  <a16:creationId xmlns:a16="http://schemas.microsoft.com/office/drawing/2014/main" id="{C9297C08-85E9-5E6D-462B-9DD8AFDD4146}"/>
                </a:ext>
              </a:extLst>
            </p:cNvPr>
            <p:cNvSpPr/>
            <p:nvPr/>
          </p:nvSpPr>
          <p:spPr>
            <a:xfrm>
              <a:off x="9121743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5" name="object 1355">
              <a:extLst>
                <a:ext uri="{FF2B5EF4-FFF2-40B4-BE49-F238E27FC236}">
                  <a16:creationId xmlns:a16="http://schemas.microsoft.com/office/drawing/2014/main" id="{64B1F6A4-1CB6-14B5-2B15-060ED426965F}"/>
                </a:ext>
              </a:extLst>
            </p:cNvPr>
            <p:cNvSpPr/>
            <p:nvPr/>
          </p:nvSpPr>
          <p:spPr>
            <a:xfrm>
              <a:off x="9296723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6" name="object 1356">
              <a:extLst>
                <a:ext uri="{FF2B5EF4-FFF2-40B4-BE49-F238E27FC236}">
                  <a16:creationId xmlns:a16="http://schemas.microsoft.com/office/drawing/2014/main" id="{9ABD9167-48AC-5174-FCD1-79293AB1E400}"/>
                </a:ext>
              </a:extLst>
            </p:cNvPr>
            <p:cNvSpPr/>
            <p:nvPr/>
          </p:nvSpPr>
          <p:spPr>
            <a:xfrm>
              <a:off x="9121743" y="27058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7" name="object 1357">
              <a:extLst>
                <a:ext uri="{FF2B5EF4-FFF2-40B4-BE49-F238E27FC236}">
                  <a16:creationId xmlns:a16="http://schemas.microsoft.com/office/drawing/2014/main" id="{2C9AB617-7339-5CBC-CAA1-457A5926C50B}"/>
                </a:ext>
              </a:extLst>
            </p:cNvPr>
            <p:cNvSpPr/>
            <p:nvPr/>
          </p:nvSpPr>
          <p:spPr>
            <a:xfrm>
              <a:off x="9401997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8" name="object 1358">
              <a:extLst>
                <a:ext uri="{FF2B5EF4-FFF2-40B4-BE49-F238E27FC236}">
                  <a16:creationId xmlns:a16="http://schemas.microsoft.com/office/drawing/2014/main" id="{D2224FD1-42FD-2D79-4453-78ED27A240C4}"/>
                </a:ext>
              </a:extLst>
            </p:cNvPr>
            <p:cNvSpPr/>
            <p:nvPr/>
          </p:nvSpPr>
          <p:spPr>
            <a:xfrm>
              <a:off x="9437019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9" name="object 1359">
              <a:extLst>
                <a:ext uri="{FF2B5EF4-FFF2-40B4-BE49-F238E27FC236}">
                  <a16:creationId xmlns:a16="http://schemas.microsoft.com/office/drawing/2014/main" id="{82F6BF4D-396E-B4D1-03BB-7CFF3A211674}"/>
                </a:ext>
              </a:extLst>
            </p:cNvPr>
            <p:cNvSpPr/>
            <p:nvPr/>
          </p:nvSpPr>
          <p:spPr>
            <a:xfrm>
              <a:off x="9331954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0" name="object 1360">
              <a:extLst>
                <a:ext uri="{FF2B5EF4-FFF2-40B4-BE49-F238E27FC236}">
                  <a16:creationId xmlns:a16="http://schemas.microsoft.com/office/drawing/2014/main" id="{93E5169C-576F-A813-8879-C6DD5F5174E6}"/>
                </a:ext>
              </a:extLst>
            </p:cNvPr>
            <p:cNvSpPr/>
            <p:nvPr/>
          </p:nvSpPr>
          <p:spPr>
            <a:xfrm>
              <a:off x="9226881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1" name="object 1361">
              <a:extLst>
                <a:ext uri="{FF2B5EF4-FFF2-40B4-BE49-F238E27FC236}">
                  <a16:creationId xmlns:a16="http://schemas.microsoft.com/office/drawing/2014/main" id="{F48E544D-32CC-A5B9-0A39-CE806E1D1E04}"/>
                </a:ext>
              </a:extLst>
            </p:cNvPr>
            <p:cNvSpPr/>
            <p:nvPr/>
          </p:nvSpPr>
          <p:spPr>
            <a:xfrm>
              <a:off x="9261975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2" name="object 1362">
              <a:extLst>
                <a:ext uri="{FF2B5EF4-FFF2-40B4-BE49-F238E27FC236}">
                  <a16:creationId xmlns:a16="http://schemas.microsoft.com/office/drawing/2014/main" id="{48E27870-99A5-8EDF-9EC7-199C3363CE10}"/>
                </a:ext>
              </a:extLst>
            </p:cNvPr>
            <p:cNvSpPr/>
            <p:nvPr/>
          </p:nvSpPr>
          <p:spPr>
            <a:xfrm>
              <a:off x="9156838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3" name="object 1363">
              <a:extLst>
                <a:ext uri="{FF2B5EF4-FFF2-40B4-BE49-F238E27FC236}">
                  <a16:creationId xmlns:a16="http://schemas.microsoft.com/office/drawing/2014/main" id="{0BC92575-64C2-7950-F7DB-46E5FE28A1ED}"/>
                </a:ext>
              </a:extLst>
            </p:cNvPr>
            <p:cNvSpPr/>
            <p:nvPr/>
          </p:nvSpPr>
          <p:spPr>
            <a:xfrm>
              <a:off x="9366976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4" name="object 1364">
              <a:extLst>
                <a:ext uri="{FF2B5EF4-FFF2-40B4-BE49-F238E27FC236}">
                  <a16:creationId xmlns:a16="http://schemas.microsoft.com/office/drawing/2014/main" id="{7A49B5BF-851C-5C1A-4F11-D74DE28E3299}"/>
                </a:ext>
              </a:extLst>
            </p:cNvPr>
            <p:cNvSpPr/>
            <p:nvPr/>
          </p:nvSpPr>
          <p:spPr>
            <a:xfrm>
              <a:off x="9191859" y="33855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5" name="object 1365">
              <a:extLst>
                <a:ext uri="{FF2B5EF4-FFF2-40B4-BE49-F238E27FC236}">
                  <a16:creationId xmlns:a16="http://schemas.microsoft.com/office/drawing/2014/main" id="{33341808-F300-4E4E-EE3F-444B61589436}"/>
                </a:ext>
              </a:extLst>
            </p:cNvPr>
            <p:cNvSpPr/>
            <p:nvPr/>
          </p:nvSpPr>
          <p:spPr>
            <a:xfrm>
              <a:off x="9472041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6" name="object 1366">
              <a:extLst>
                <a:ext uri="{FF2B5EF4-FFF2-40B4-BE49-F238E27FC236}">
                  <a16:creationId xmlns:a16="http://schemas.microsoft.com/office/drawing/2014/main" id="{0714C6D8-A094-7C26-5A22-2212218E74A3}"/>
                </a:ext>
              </a:extLst>
            </p:cNvPr>
            <p:cNvSpPr/>
            <p:nvPr/>
          </p:nvSpPr>
          <p:spPr>
            <a:xfrm>
              <a:off x="9297070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7" name="object 1367">
              <a:extLst>
                <a:ext uri="{FF2B5EF4-FFF2-40B4-BE49-F238E27FC236}">
                  <a16:creationId xmlns:a16="http://schemas.microsoft.com/office/drawing/2014/main" id="{B2D52822-C06C-855B-8D33-16F3EA479C29}"/>
                </a:ext>
              </a:extLst>
            </p:cNvPr>
            <p:cNvSpPr/>
            <p:nvPr/>
          </p:nvSpPr>
          <p:spPr>
            <a:xfrm>
              <a:off x="9122090" y="33728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8" name="object 1368">
              <a:extLst>
                <a:ext uri="{FF2B5EF4-FFF2-40B4-BE49-F238E27FC236}">
                  <a16:creationId xmlns:a16="http://schemas.microsoft.com/office/drawing/2014/main" id="{A86ACDDC-442F-BAF6-51EB-F4E6196E0F03}"/>
                </a:ext>
              </a:extLst>
            </p:cNvPr>
            <p:cNvSpPr/>
            <p:nvPr/>
          </p:nvSpPr>
          <p:spPr>
            <a:xfrm>
              <a:off x="9122090" y="33983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9" name="object 1369">
              <a:extLst>
                <a:ext uri="{FF2B5EF4-FFF2-40B4-BE49-F238E27FC236}">
                  <a16:creationId xmlns:a16="http://schemas.microsoft.com/office/drawing/2014/main" id="{5DB886F8-1414-6351-305B-32CA3FA73FDC}"/>
                </a:ext>
              </a:extLst>
            </p:cNvPr>
            <p:cNvSpPr/>
            <p:nvPr/>
          </p:nvSpPr>
          <p:spPr>
            <a:xfrm>
              <a:off x="9122228" y="3372837"/>
              <a:ext cx="22026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63219"/>
                <a:gd name="f4" fmla="val 84454"/>
                <a:gd name="f5" fmla="val 362816"/>
                <a:gd name="f6" fmla="val 84112"/>
                <a:gd name="f7" fmla="*/ f0 1 363219"/>
                <a:gd name="f8" fmla="*/ f1 1 84454"/>
                <a:gd name="f9" fmla="+- f4 0 f2"/>
                <a:gd name="f10" fmla="+- f3 0 f2"/>
                <a:gd name="f11" fmla="*/ f10 1 3632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632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0" name="object 1370">
              <a:extLst>
                <a:ext uri="{FF2B5EF4-FFF2-40B4-BE49-F238E27FC236}">
                  <a16:creationId xmlns:a16="http://schemas.microsoft.com/office/drawing/2014/main" id="{97B8075F-69B3-BDC1-795B-C82E3AB98090}"/>
                </a:ext>
              </a:extLst>
            </p:cNvPr>
            <p:cNvSpPr/>
            <p:nvPr/>
          </p:nvSpPr>
          <p:spPr>
            <a:xfrm>
              <a:off x="9122228" y="3445148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02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1" name="object 1371">
              <a:extLst>
                <a:ext uri="{FF2B5EF4-FFF2-40B4-BE49-F238E27FC236}">
                  <a16:creationId xmlns:a16="http://schemas.microsoft.com/office/drawing/2014/main" id="{58384F07-B110-BC8B-E146-125E01838D51}"/>
                </a:ext>
              </a:extLst>
            </p:cNvPr>
            <p:cNvSpPr/>
            <p:nvPr/>
          </p:nvSpPr>
          <p:spPr>
            <a:xfrm>
              <a:off x="9401650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2" name="object 1372">
              <a:extLst>
                <a:ext uri="{FF2B5EF4-FFF2-40B4-BE49-F238E27FC236}">
                  <a16:creationId xmlns:a16="http://schemas.microsoft.com/office/drawing/2014/main" id="{AC4597D0-800E-B56A-4231-03ADFD46AC23}"/>
                </a:ext>
              </a:extLst>
            </p:cNvPr>
            <p:cNvSpPr/>
            <p:nvPr/>
          </p:nvSpPr>
          <p:spPr>
            <a:xfrm>
              <a:off x="9436672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3" name="object 1373">
              <a:extLst>
                <a:ext uri="{FF2B5EF4-FFF2-40B4-BE49-F238E27FC236}">
                  <a16:creationId xmlns:a16="http://schemas.microsoft.com/office/drawing/2014/main" id="{85A7614E-7204-066C-75AE-3C862EAA45D4}"/>
                </a:ext>
              </a:extLst>
            </p:cNvPr>
            <p:cNvSpPr/>
            <p:nvPr/>
          </p:nvSpPr>
          <p:spPr>
            <a:xfrm>
              <a:off x="9331607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4" name="object 1374">
              <a:extLst>
                <a:ext uri="{FF2B5EF4-FFF2-40B4-BE49-F238E27FC236}">
                  <a16:creationId xmlns:a16="http://schemas.microsoft.com/office/drawing/2014/main" id="{D76F370A-B634-0C3B-7F8C-0D1532ACACF2}"/>
                </a:ext>
              </a:extLst>
            </p:cNvPr>
            <p:cNvSpPr/>
            <p:nvPr/>
          </p:nvSpPr>
          <p:spPr>
            <a:xfrm>
              <a:off x="9226533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5" name="object 1375">
              <a:extLst>
                <a:ext uri="{FF2B5EF4-FFF2-40B4-BE49-F238E27FC236}">
                  <a16:creationId xmlns:a16="http://schemas.microsoft.com/office/drawing/2014/main" id="{F8CF6658-BACF-75CD-ABF2-BD5437DA6986}"/>
                </a:ext>
              </a:extLst>
            </p:cNvPr>
            <p:cNvSpPr/>
            <p:nvPr/>
          </p:nvSpPr>
          <p:spPr>
            <a:xfrm>
              <a:off x="9261628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6" name="object 1376">
              <a:extLst>
                <a:ext uri="{FF2B5EF4-FFF2-40B4-BE49-F238E27FC236}">
                  <a16:creationId xmlns:a16="http://schemas.microsoft.com/office/drawing/2014/main" id="{237252B6-C013-5306-589B-AFE2A2847890}"/>
                </a:ext>
              </a:extLst>
            </p:cNvPr>
            <p:cNvSpPr/>
            <p:nvPr/>
          </p:nvSpPr>
          <p:spPr>
            <a:xfrm>
              <a:off x="9156490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7" name="object 1377">
              <a:extLst>
                <a:ext uri="{FF2B5EF4-FFF2-40B4-BE49-F238E27FC236}">
                  <a16:creationId xmlns:a16="http://schemas.microsoft.com/office/drawing/2014/main" id="{1BF7A4BE-DCEA-90D6-0E01-D93B9CC8F740}"/>
                </a:ext>
              </a:extLst>
            </p:cNvPr>
            <p:cNvSpPr/>
            <p:nvPr/>
          </p:nvSpPr>
          <p:spPr>
            <a:xfrm>
              <a:off x="9366628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8" name="object 1378">
              <a:extLst>
                <a:ext uri="{FF2B5EF4-FFF2-40B4-BE49-F238E27FC236}">
                  <a16:creationId xmlns:a16="http://schemas.microsoft.com/office/drawing/2014/main" id="{D5749C98-FCB5-F0C1-5E37-FBF44A56F06A}"/>
                </a:ext>
              </a:extLst>
            </p:cNvPr>
            <p:cNvSpPr/>
            <p:nvPr/>
          </p:nvSpPr>
          <p:spPr>
            <a:xfrm>
              <a:off x="9191512" y="345788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9" name="object 1379">
              <a:extLst>
                <a:ext uri="{FF2B5EF4-FFF2-40B4-BE49-F238E27FC236}">
                  <a16:creationId xmlns:a16="http://schemas.microsoft.com/office/drawing/2014/main" id="{71322956-7F11-1AA1-420A-AC7A960F9B52}"/>
                </a:ext>
              </a:extLst>
            </p:cNvPr>
            <p:cNvSpPr/>
            <p:nvPr/>
          </p:nvSpPr>
          <p:spPr>
            <a:xfrm>
              <a:off x="9471693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0" name="object 1380">
              <a:extLst>
                <a:ext uri="{FF2B5EF4-FFF2-40B4-BE49-F238E27FC236}">
                  <a16:creationId xmlns:a16="http://schemas.microsoft.com/office/drawing/2014/main" id="{EC84B736-5F99-D9F6-34B9-CB4C46C7C111}"/>
                </a:ext>
              </a:extLst>
            </p:cNvPr>
            <p:cNvSpPr/>
            <p:nvPr/>
          </p:nvSpPr>
          <p:spPr>
            <a:xfrm>
              <a:off x="9296723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1" name="object 1381">
              <a:extLst>
                <a:ext uri="{FF2B5EF4-FFF2-40B4-BE49-F238E27FC236}">
                  <a16:creationId xmlns:a16="http://schemas.microsoft.com/office/drawing/2014/main" id="{01BDCD45-0EF6-E59E-E645-78E4F40C0FD5}"/>
                </a:ext>
              </a:extLst>
            </p:cNvPr>
            <p:cNvSpPr/>
            <p:nvPr/>
          </p:nvSpPr>
          <p:spPr>
            <a:xfrm>
              <a:off x="9121743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2" name="object 1382">
              <a:extLst>
                <a:ext uri="{FF2B5EF4-FFF2-40B4-BE49-F238E27FC236}">
                  <a16:creationId xmlns:a16="http://schemas.microsoft.com/office/drawing/2014/main" id="{90F69AA1-47F0-3649-81D1-7B8C6E1E7A1F}"/>
                </a:ext>
              </a:extLst>
            </p:cNvPr>
            <p:cNvSpPr/>
            <p:nvPr/>
          </p:nvSpPr>
          <p:spPr>
            <a:xfrm>
              <a:off x="9296723" y="344513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3" name="object 1383">
              <a:extLst>
                <a:ext uri="{FF2B5EF4-FFF2-40B4-BE49-F238E27FC236}">
                  <a16:creationId xmlns:a16="http://schemas.microsoft.com/office/drawing/2014/main" id="{73762F90-0A1E-1BEE-095B-95E1A09BD303}"/>
                </a:ext>
              </a:extLst>
            </p:cNvPr>
            <p:cNvSpPr/>
            <p:nvPr/>
          </p:nvSpPr>
          <p:spPr>
            <a:xfrm>
              <a:off x="9121743" y="347063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4" name="object 1384">
              <a:extLst>
                <a:ext uri="{FF2B5EF4-FFF2-40B4-BE49-F238E27FC236}">
                  <a16:creationId xmlns:a16="http://schemas.microsoft.com/office/drawing/2014/main" id="{0372D2FB-C10B-12D6-8729-F920DB5596DA}"/>
                </a:ext>
              </a:extLst>
            </p:cNvPr>
            <p:cNvSpPr/>
            <p:nvPr/>
          </p:nvSpPr>
          <p:spPr>
            <a:xfrm>
              <a:off x="9401997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5" name="object 1385">
              <a:extLst>
                <a:ext uri="{FF2B5EF4-FFF2-40B4-BE49-F238E27FC236}">
                  <a16:creationId xmlns:a16="http://schemas.microsoft.com/office/drawing/2014/main" id="{EA5C18C1-C06B-2B40-4DEC-B7594938DFAB}"/>
                </a:ext>
              </a:extLst>
            </p:cNvPr>
            <p:cNvSpPr/>
            <p:nvPr/>
          </p:nvSpPr>
          <p:spPr>
            <a:xfrm>
              <a:off x="9437019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6" name="object 1386">
              <a:extLst>
                <a:ext uri="{FF2B5EF4-FFF2-40B4-BE49-F238E27FC236}">
                  <a16:creationId xmlns:a16="http://schemas.microsoft.com/office/drawing/2014/main" id="{FFFFC0DC-5825-F496-6C0C-D93EC0F0BCAC}"/>
                </a:ext>
              </a:extLst>
            </p:cNvPr>
            <p:cNvSpPr/>
            <p:nvPr/>
          </p:nvSpPr>
          <p:spPr>
            <a:xfrm>
              <a:off x="9331954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7" name="object 1387">
              <a:extLst>
                <a:ext uri="{FF2B5EF4-FFF2-40B4-BE49-F238E27FC236}">
                  <a16:creationId xmlns:a16="http://schemas.microsoft.com/office/drawing/2014/main" id="{43E9E938-D959-776B-35A0-E1AFDD0AB595}"/>
                </a:ext>
              </a:extLst>
            </p:cNvPr>
            <p:cNvSpPr/>
            <p:nvPr/>
          </p:nvSpPr>
          <p:spPr>
            <a:xfrm>
              <a:off x="9226881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8" name="object 1388">
              <a:extLst>
                <a:ext uri="{FF2B5EF4-FFF2-40B4-BE49-F238E27FC236}">
                  <a16:creationId xmlns:a16="http://schemas.microsoft.com/office/drawing/2014/main" id="{141DD742-3680-C520-2F5D-B86CB9482400}"/>
                </a:ext>
              </a:extLst>
            </p:cNvPr>
            <p:cNvSpPr/>
            <p:nvPr/>
          </p:nvSpPr>
          <p:spPr>
            <a:xfrm>
              <a:off x="9261975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9" name="object 1389">
              <a:extLst>
                <a:ext uri="{FF2B5EF4-FFF2-40B4-BE49-F238E27FC236}">
                  <a16:creationId xmlns:a16="http://schemas.microsoft.com/office/drawing/2014/main" id="{6F48005F-34CE-2556-D1AA-AC3D1354A962}"/>
                </a:ext>
              </a:extLst>
            </p:cNvPr>
            <p:cNvSpPr/>
            <p:nvPr/>
          </p:nvSpPr>
          <p:spPr>
            <a:xfrm>
              <a:off x="9156838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0" name="object 1390">
              <a:extLst>
                <a:ext uri="{FF2B5EF4-FFF2-40B4-BE49-F238E27FC236}">
                  <a16:creationId xmlns:a16="http://schemas.microsoft.com/office/drawing/2014/main" id="{B92B2587-7592-E63D-A45B-2C70F9B8C097}"/>
                </a:ext>
              </a:extLst>
            </p:cNvPr>
            <p:cNvSpPr/>
            <p:nvPr/>
          </p:nvSpPr>
          <p:spPr>
            <a:xfrm>
              <a:off x="9366976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1" name="object 1391">
              <a:extLst>
                <a:ext uri="{FF2B5EF4-FFF2-40B4-BE49-F238E27FC236}">
                  <a16:creationId xmlns:a16="http://schemas.microsoft.com/office/drawing/2014/main" id="{B7BD6F6A-8940-07B7-D511-2F8D4503CC43}"/>
                </a:ext>
              </a:extLst>
            </p:cNvPr>
            <p:cNvSpPr/>
            <p:nvPr/>
          </p:nvSpPr>
          <p:spPr>
            <a:xfrm>
              <a:off x="9191859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2" name="object 1392">
              <a:extLst>
                <a:ext uri="{FF2B5EF4-FFF2-40B4-BE49-F238E27FC236}">
                  <a16:creationId xmlns:a16="http://schemas.microsoft.com/office/drawing/2014/main" id="{20B76B6E-1C2C-089C-3F77-18251098E5D1}"/>
                </a:ext>
              </a:extLst>
            </p:cNvPr>
            <p:cNvSpPr/>
            <p:nvPr/>
          </p:nvSpPr>
          <p:spPr>
            <a:xfrm>
              <a:off x="9472041" y="41400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3" name="object 1393">
              <a:extLst>
                <a:ext uri="{FF2B5EF4-FFF2-40B4-BE49-F238E27FC236}">
                  <a16:creationId xmlns:a16="http://schemas.microsoft.com/office/drawing/2014/main" id="{655C32E0-5BA4-BA11-8413-455D4F0E5904}"/>
                </a:ext>
              </a:extLst>
            </p:cNvPr>
            <p:cNvSpPr/>
            <p:nvPr/>
          </p:nvSpPr>
          <p:spPr>
            <a:xfrm>
              <a:off x="9297070" y="41400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4" name="object 1394">
              <a:extLst>
                <a:ext uri="{FF2B5EF4-FFF2-40B4-BE49-F238E27FC236}">
                  <a16:creationId xmlns:a16="http://schemas.microsoft.com/office/drawing/2014/main" id="{2E1B1D0E-961A-C154-0878-42CF008CD0B3}"/>
                </a:ext>
              </a:extLst>
            </p:cNvPr>
            <p:cNvSpPr/>
            <p:nvPr/>
          </p:nvSpPr>
          <p:spPr>
            <a:xfrm>
              <a:off x="9122090" y="41400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5" name="object 1395">
              <a:extLst>
                <a:ext uri="{FF2B5EF4-FFF2-40B4-BE49-F238E27FC236}">
                  <a16:creationId xmlns:a16="http://schemas.microsoft.com/office/drawing/2014/main" id="{7C6100ED-3330-B105-A904-CE94C550EA00}"/>
                </a:ext>
              </a:extLst>
            </p:cNvPr>
            <p:cNvSpPr/>
            <p:nvPr/>
          </p:nvSpPr>
          <p:spPr>
            <a:xfrm>
              <a:off x="9122090" y="416559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6" name="object 1396">
              <a:extLst>
                <a:ext uri="{FF2B5EF4-FFF2-40B4-BE49-F238E27FC236}">
                  <a16:creationId xmlns:a16="http://schemas.microsoft.com/office/drawing/2014/main" id="{119F1FE5-90FD-DF5F-2A9D-92B9F7BC4451}"/>
                </a:ext>
              </a:extLst>
            </p:cNvPr>
            <p:cNvSpPr/>
            <p:nvPr/>
          </p:nvSpPr>
          <p:spPr>
            <a:xfrm>
              <a:off x="9122228" y="4140092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23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7" name="object 1397">
              <a:extLst>
                <a:ext uri="{FF2B5EF4-FFF2-40B4-BE49-F238E27FC236}">
                  <a16:creationId xmlns:a16="http://schemas.microsoft.com/office/drawing/2014/main" id="{12638764-AA69-C5D0-BEB7-2093C75065B6}"/>
                </a:ext>
              </a:extLst>
            </p:cNvPr>
            <p:cNvSpPr/>
            <p:nvPr/>
          </p:nvSpPr>
          <p:spPr>
            <a:xfrm>
              <a:off x="9122228" y="4212393"/>
              <a:ext cx="739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19"/>
                <a:gd name="f4" fmla="val 84454"/>
                <a:gd name="f5" fmla="val 121409"/>
                <a:gd name="f6" fmla="val 84123"/>
                <a:gd name="f7" fmla="*/ f0 1 121919"/>
                <a:gd name="f8" fmla="*/ f1 1 84454"/>
                <a:gd name="f9" fmla="+- f4 0 f2"/>
                <a:gd name="f10" fmla="+- f3 0 f2"/>
                <a:gd name="f11" fmla="*/ f10 1 1219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19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8" name="object 1398">
              <a:extLst>
                <a:ext uri="{FF2B5EF4-FFF2-40B4-BE49-F238E27FC236}">
                  <a16:creationId xmlns:a16="http://schemas.microsoft.com/office/drawing/2014/main" id="{B5BDFD71-07C1-D235-FBCD-952B836E5296}"/>
                </a:ext>
              </a:extLst>
            </p:cNvPr>
            <p:cNvSpPr/>
            <p:nvPr/>
          </p:nvSpPr>
          <p:spPr>
            <a:xfrm>
              <a:off x="9401650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9" name="object 1399">
              <a:extLst>
                <a:ext uri="{FF2B5EF4-FFF2-40B4-BE49-F238E27FC236}">
                  <a16:creationId xmlns:a16="http://schemas.microsoft.com/office/drawing/2014/main" id="{6C927ACA-4365-6615-4E10-7F48E21EF600}"/>
                </a:ext>
              </a:extLst>
            </p:cNvPr>
            <p:cNvSpPr/>
            <p:nvPr/>
          </p:nvSpPr>
          <p:spPr>
            <a:xfrm>
              <a:off x="9436672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0" name="object 1400">
              <a:extLst>
                <a:ext uri="{FF2B5EF4-FFF2-40B4-BE49-F238E27FC236}">
                  <a16:creationId xmlns:a16="http://schemas.microsoft.com/office/drawing/2014/main" id="{93F0E9A3-4E7B-0FD2-74C0-AB2E1AF78AFA}"/>
                </a:ext>
              </a:extLst>
            </p:cNvPr>
            <p:cNvSpPr/>
            <p:nvPr/>
          </p:nvSpPr>
          <p:spPr>
            <a:xfrm>
              <a:off x="9331607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1" name="object 1401">
              <a:extLst>
                <a:ext uri="{FF2B5EF4-FFF2-40B4-BE49-F238E27FC236}">
                  <a16:creationId xmlns:a16="http://schemas.microsoft.com/office/drawing/2014/main" id="{DC974807-B357-8077-F9EA-79822F127BAA}"/>
                </a:ext>
              </a:extLst>
            </p:cNvPr>
            <p:cNvSpPr/>
            <p:nvPr/>
          </p:nvSpPr>
          <p:spPr>
            <a:xfrm>
              <a:off x="9226533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2" name="object 1402">
              <a:extLst>
                <a:ext uri="{FF2B5EF4-FFF2-40B4-BE49-F238E27FC236}">
                  <a16:creationId xmlns:a16="http://schemas.microsoft.com/office/drawing/2014/main" id="{3D297671-3582-BB8C-C61E-537E674BA4CD}"/>
                </a:ext>
              </a:extLst>
            </p:cNvPr>
            <p:cNvSpPr/>
            <p:nvPr/>
          </p:nvSpPr>
          <p:spPr>
            <a:xfrm>
              <a:off x="9261628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3" name="object 1403">
              <a:extLst>
                <a:ext uri="{FF2B5EF4-FFF2-40B4-BE49-F238E27FC236}">
                  <a16:creationId xmlns:a16="http://schemas.microsoft.com/office/drawing/2014/main" id="{3422C712-1C6F-6B28-FA46-7A5E60A097F0}"/>
                </a:ext>
              </a:extLst>
            </p:cNvPr>
            <p:cNvSpPr/>
            <p:nvPr/>
          </p:nvSpPr>
          <p:spPr>
            <a:xfrm>
              <a:off x="9156490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4" name="object 1404">
              <a:extLst>
                <a:ext uri="{FF2B5EF4-FFF2-40B4-BE49-F238E27FC236}">
                  <a16:creationId xmlns:a16="http://schemas.microsoft.com/office/drawing/2014/main" id="{BF57CB73-60A1-FF0F-0660-8131908220C2}"/>
                </a:ext>
              </a:extLst>
            </p:cNvPr>
            <p:cNvSpPr/>
            <p:nvPr/>
          </p:nvSpPr>
          <p:spPr>
            <a:xfrm>
              <a:off x="9366628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5" name="object 1405">
              <a:extLst>
                <a:ext uri="{FF2B5EF4-FFF2-40B4-BE49-F238E27FC236}">
                  <a16:creationId xmlns:a16="http://schemas.microsoft.com/office/drawing/2014/main" id="{D740C800-EA57-D227-BE52-5ADE5DDD68EE}"/>
                </a:ext>
              </a:extLst>
            </p:cNvPr>
            <p:cNvSpPr/>
            <p:nvPr/>
          </p:nvSpPr>
          <p:spPr>
            <a:xfrm>
              <a:off x="9191512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6" name="object 1406">
              <a:extLst>
                <a:ext uri="{FF2B5EF4-FFF2-40B4-BE49-F238E27FC236}">
                  <a16:creationId xmlns:a16="http://schemas.microsoft.com/office/drawing/2014/main" id="{A7AB6D5F-9699-DA2B-01E2-3F32EE3219C3}"/>
                </a:ext>
              </a:extLst>
            </p:cNvPr>
            <p:cNvSpPr/>
            <p:nvPr/>
          </p:nvSpPr>
          <p:spPr>
            <a:xfrm>
              <a:off x="9471693" y="42123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7" name="object 1407">
              <a:extLst>
                <a:ext uri="{FF2B5EF4-FFF2-40B4-BE49-F238E27FC236}">
                  <a16:creationId xmlns:a16="http://schemas.microsoft.com/office/drawing/2014/main" id="{8BEDE0B3-AAA0-7482-9A9E-576672C1EBE8}"/>
                </a:ext>
              </a:extLst>
            </p:cNvPr>
            <p:cNvSpPr/>
            <p:nvPr/>
          </p:nvSpPr>
          <p:spPr>
            <a:xfrm>
              <a:off x="9296723" y="42123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8" name="object 1408">
              <a:extLst>
                <a:ext uri="{FF2B5EF4-FFF2-40B4-BE49-F238E27FC236}">
                  <a16:creationId xmlns:a16="http://schemas.microsoft.com/office/drawing/2014/main" id="{7D5B7551-F46A-0F6F-2943-3BB576D46EA8}"/>
                </a:ext>
              </a:extLst>
            </p:cNvPr>
            <p:cNvSpPr/>
            <p:nvPr/>
          </p:nvSpPr>
          <p:spPr>
            <a:xfrm>
              <a:off x="9121743" y="42123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9" name="object 1409">
              <a:extLst>
                <a:ext uri="{FF2B5EF4-FFF2-40B4-BE49-F238E27FC236}">
                  <a16:creationId xmlns:a16="http://schemas.microsoft.com/office/drawing/2014/main" id="{1DC22EBA-C805-C4DF-8F78-B91F1CEC4DBE}"/>
                </a:ext>
              </a:extLst>
            </p:cNvPr>
            <p:cNvSpPr/>
            <p:nvPr/>
          </p:nvSpPr>
          <p:spPr>
            <a:xfrm>
              <a:off x="9296723" y="42123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0" name="object 1410">
              <a:extLst>
                <a:ext uri="{FF2B5EF4-FFF2-40B4-BE49-F238E27FC236}">
                  <a16:creationId xmlns:a16="http://schemas.microsoft.com/office/drawing/2014/main" id="{8885602D-B750-2A9F-E23B-D82A7F71569B}"/>
                </a:ext>
              </a:extLst>
            </p:cNvPr>
            <p:cNvSpPr/>
            <p:nvPr/>
          </p:nvSpPr>
          <p:spPr>
            <a:xfrm>
              <a:off x="9121743" y="423789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1" name="object 1411">
              <a:extLst>
                <a:ext uri="{FF2B5EF4-FFF2-40B4-BE49-F238E27FC236}">
                  <a16:creationId xmlns:a16="http://schemas.microsoft.com/office/drawing/2014/main" id="{071E2E7C-ED14-57DE-B61A-057E4EDB904E}"/>
                </a:ext>
              </a:extLst>
            </p:cNvPr>
            <p:cNvSpPr/>
            <p:nvPr/>
          </p:nvSpPr>
          <p:spPr>
            <a:xfrm>
              <a:off x="9128729" y="1311999"/>
              <a:ext cx="341162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62609"/>
                <a:gd name="f4" fmla="val 577214"/>
                <a:gd name="f5" fmla="val 562371"/>
                <a:gd name="f6" fmla="val 288535"/>
                <a:gd name="f7" fmla="val 558594"/>
                <a:gd name="f8" fmla="val 241733"/>
                <a:gd name="f9" fmla="val 547661"/>
                <a:gd name="f10" fmla="val 197335"/>
                <a:gd name="f11" fmla="val 542462"/>
                <a:gd name="f12" fmla="val 185031"/>
                <a:gd name="f13" fmla="val 506701"/>
                <a:gd name="f14" fmla="val 118129"/>
                <a:gd name="f15" fmla="val 477862"/>
                <a:gd name="f16" fmla="val 84509"/>
                <a:gd name="f17" fmla="val 444242"/>
                <a:gd name="f18" fmla="val 55669"/>
                <a:gd name="f19" fmla="val 406435"/>
                <a:gd name="f20" fmla="val 32205"/>
                <a:gd name="f21" fmla="val 365036"/>
                <a:gd name="f22" fmla="val 14709"/>
                <a:gd name="f23" fmla="val 320638"/>
                <a:gd name="f24" fmla="val 3776"/>
                <a:gd name="f25" fmla="val 273835"/>
                <a:gd name="f26" fmla="val 227032"/>
                <a:gd name="f27" fmla="val 182633"/>
                <a:gd name="f28" fmla="val 141233"/>
                <a:gd name="f29" fmla="val 103425"/>
                <a:gd name="f30" fmla="val 69803"/>
                <a:gd name="f31" fmla="val 59567"/>
                <a:gd name="f32" fmla="val 96441"/>
                <a:gd name="f33" fmla="val 379737"/>
                <a:gd name="f34" fmla="val 17496"/>
                <a:gd name="f35" fmla="val 421137"/>
                <a:gd name="f36" fmla="val 40962"/>
                <a:gd name="f37" fmla="val 458945"/>
                <a:gd name="f38" fmla="val 492567"/>
                <a:gd name="f39" fmla="val 521408"/>
                <a:gd name="f40" fmla="val 544874"/>
                <a:gd name="f41" fmla="val 573305"/>
                <a:gd name="f42" fmla="val 577081"/>
                <a:gd name="f43" fmla="val 530165"/>
                <a:gd name="f44" fmla="val 335338"/>
                <a:gd name="f45" fmla="*/ f0 1 562609"/>
                <a:gd name="f46" fmla="*/ f1 1 577214"/>
                <a:gd name="f47" fmla="+- f4 0 f2"/>
                <a:gd name="f48" fmla="+- f3 0 f2"/>
                <a:gd name="f49" fmla="*/ f48 1 562609"/>
                <a:gd name="f50" fmla="*/ f47 1 577214"/>
                <a:gd name="f51" fmla="*/ f2 1 f49"/>
                <a:gd name="f52" fmla="*/ f3 1 f49"/>
                <a:gd name="f53" fmla="*/ f2 1 f50"/>
                <a:gd name="f54" fmla="*/ f4 1 f50"/>
                <a:gd name="f55" fmla="*/ f51 f45 1"/>
                <a:gd name="f56" fmla="*/ f52 f45 1"/>
                <a:gd name="f57" fmla="*/ f54 f46 1"/>
                <a:gd name="f58" fmla="*/ f53 f4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5" t="f58" r="f56" b="f57"/>
              <a:pathLst>
                <a:path w="562609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</a:path>
                <a:path w="562609" h="577214">
                  <a:moveTo>
                    <a:pt x="f11" y="f12"/>
                  </a:move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32"/>
                  </a:lnTo>
                </a:path>
                <a:path w="562609" h="577214">
                  <a:moveTo>
                    <a:pt x="f2" y="f33"/>
                  </a:moveTo>
                  <a:lnTo>
                    <a:pt x="f34" y="f35"/>
                  </a:lnTo>
                  <a:lnTo>
                    <a:pt x="f36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5"/>
                  </a:lnTo>
                  <a:lnTo>
                    <a:pt x="f26" y="f41"/>
                  </a:lnTo>
                  <a:lnTo>
                    <a:pt x="f25" y="f42"/>
                  </a:lnTo>
                  <a:lnTo>
                    <a:pt x="f23" y="f41"/>
                  </a:lnTo>
                  <a:lnTo>
                    <a:pt x="f21" y="f5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43" y="f35"/>
                  </a:lnTo>
                  <a:lnTo>
                    <a:pt x="f9" y="f33"/>
                  </a:lnTo>
                  <a:lnTo>
                    <a:pt x="f7" y="f44"/>
                  </a:lnTo>
                  <a:lnTo>
                    <a:pt x="f5" y="f6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12" name="object 1412">
              <a:extLst>
                <a:ext uri="{FF2B5EF4-FFF2-40B4-BE49-F238E27FC236}">
                  <a16:creationId xmlns:a16="http://schemas.microsoft.com/office/drawing/2014/main" id="{259AE9E0-EEDA-AD66-E860-3E8D12819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9162480" y="1336194"/>
              <a:ext cx="296137" cy="32573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13" name="object 1413">
              <a:extLst>
                <a:ext uri="{FF2B5EF4-FFF2-40B4-BE49-F238E27FC236}">
                  <a16:creationId xmlns:a16="http://schemas.microsoft.com/office/drawing/2014/main" id="{9964BE10-F132-4A6F-0D0A-0279AB5C9470}"/>
                </a:ext>
              </a:extLst>
            </p:cNvPr>
            <p:cNvSpPr/>
            <p:nvPr/>
          </p:nvSpPr>
          <p:spPr>
            <a:xfrm>
              <a:off x="9119814" y="131199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14" name="object 1414">
              <a:extLst>
                <a:ext uri="{FF2B5EF4-FFF2-40B4-BE49-F238E27FC236}">
                  <a16:creationId xmlns:a16="http://schemas.microsoft.com/office/drawing/2014/main" id="{ADB37C4D-26F5-8217-FE62-1E812DA4F9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9117409" y="5918975"/>
              <a:ext cx="308838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15" name="object 1415">
              <a:extLst>
                <a:ext uri="{FF2B5EF4-FFF2-40B4-BE49-F238E27FC236}">
                  <a16:creationId xmlns:a16="http://schemas.microsoft.com/office/drawing/2014/main" id="{24EF01F2-1E45-BEDC-325D-14FB70611E44}"/>
                </a:ext>
              </a:extLst>
            </p:cNvPr>
            <p:cNvSpPr/>
            <p:nvPr/>
          </p:nvSpPr>
          <p:spPr>
            <a:xfrm>
              <a:off x="9117409" y="591897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16" name="object 1416">
              <a:extLst>
                <a:ext uri="{FF2B5EF4-FFF2-40B4-BE49-F238E27FC236}">
                  <a16:creationId xmlns:a16="http://schemas.microsoft.com/office/drawing/2014/main" id="{B75BCBB3-8F22-C62C-E97D-27015C23B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9178308" y="5153869"/>
              <a:ext cx="291108" cy="34620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17" name="object 1417">
              <a:extLst>
                <a:ext uri="{FF2B5EF4-FFF2-40B4-BE49-F238E27FC236}">
                  <a16:creationId xmlns:a16="http://schemas.microsoft.com/office/drawing/2014/main" id="{D93FB0A5-F854-FA7C-B9D7-8CE7337B97DB}"/>
                </a:ext>
              </a:extLst>
            </p:cNvPr>
            <p:cNvSpPr/>
            <p:nvPr/>
          </p:nvSpPr>
          <p:spPr>
            <a:xfrm>
              <a:off x="9119466" y="515387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0"/>
                <a:gd name="f26" fmla="val 197340"/>
                <a:gd name="f27" fmla="val 155939"/>
                <a:gd name="f28" fmla="val 118131"/>
                <a:gd name="f29" fmla="val 84510"/>
                <a:gd name="f30" fmla="val 55670"/>
                <a:gd name="f31" fmla="val 335338"/>
                <a:gd name="f32" fmla="val 379737"/>
                <a:gd name="f33" fmla="val 421137"/>
                <a:gd name="f34" fmla="val 458945"/>
                <a:gd name="f35" fmla="val 492567"/>
                <a:gd name="f36" fmla="val 521408"/>
                <a:gd name="f37" fmla="val 544874"/>
                <a:gd name="f38" fmla="val 562371"/>
                <a:gd name="f39" fmla="*/ f0 1 577215"/>
                <a:gd name="f40" fmla="*/ f1 1 577215"/>
                <a:gd name="f41" fmla="+- f3 0 f2"/>
                <a:gd name="f42" fmla="*/ f41 1 577215"/>
                <a:gd name="f43" fmla="*/ f2 1 f42"/>
                <a:gd name="f44" fmla="*/ f3 1 f42"/>
                <a:gd name="f45" fmla="*/ f43 f39 1"/>
                <a:gd name="f46" fmla="*/ f44 f39 1"/>
                <a:gd name="f47" fmla="*/ f44 f40 1"/>
                <a:gd name="f48" fmla="*/ f43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5" t="f48" r="f46" b="f47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1"/>
                  </a:lnTo>
                  <a:lnTo>
                    <a:pt x="f21" y="f32"/>
                  </a:lnTo>
                  <a:lnTo>
                    <a:pt x="f19" y="f33"/>
                  </a:lnTo>
                  <a:lnTo>
                    <a:pt x="f30" y="f34"/>
                  </a:lnTo>
                  <a:lnTo>
                    <a:pt x="f29" y="f35"/>
                  </a:lnTo>
                  <a:lnTo>
                    <a:pt x="f28" y="f36"/>
                  </a:lnTo>
                  <a:lnTo>
                    <a:pt x="f27" y="f37"/>
                  </a:lnTo>
                  <a:lnTo>
                    <a:pt x="f26" y="f38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38"/>
                  </a:lnTo>
                  <a:lnTo>
                    <a:pt x="f18" y="f37"/>
                  </a:lnTo>
                  <a:lnTo>
                    <a:pt x="f16" y="f36"/>
                  </a:lnTo>
                  <a:lnTo>
                    <a:pt x="f14" y="f35"/>
                  </a:lnTo>
                  <a:lnTo>
                    <a:pt x="f12" y="f34"/>
                  </a:lnTo>
                  <a:lnTo>
                    <a:pt x="f10" y="f33"/>
                  </a:lnTo>
                  <a:lnTo>
                    <a:pt x="f8" y="f32"/>
                  </a:lnTo>
                  <a:lnTo>
                    <a:pt x="f6" y="f31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18" name="object 1418">
              <a:extLst>
                <a:ext uri="{FF2B5EF4-FFF2-40B4-BE49-F238E27FC236}">
                  <a16:creationId xmlns:a16="http://schemas.microsoft.com/office/drawing/2014/main" id="{A2FD9309-7EB2-D7D6-0580-AE87A14B66E1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9123334" y="2880506"/>
              <a:ext cx="349931" cy="27756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19" name="object 1419">
              <a:extLst>
                <a:ext uri="{FF2B5EF4-FFF2-40B4-BE49-F238E27FC236}">
                  <a16:creationId xmlns:a16="http://schemas.microsoft.com/office/drawing/2014/main" id="{F33AB60C-D00D-491D-9E2C-E18E07BBFDA9}"/>
                </a:ext>
              </a:extLst>
            </p:cNvPr>
            <p:cNvSpPr/>
            <p:nvPr/>
          </p:nvSpPr>
          <p:spPr>
            <a:xfrm>
              <a:off x="9123325" y="285066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20" name="object 1420">
              <a:extLst>
                <a:ext uri="{FF2B5EF4-FFF2-40B4-BE49-F238E27FC236}">
                  <a16:creationId xmlns:a16="http://schemas.microsoft.com/office/drawing/2014/main" id="{172B499A-060E-159B-D99F-87EC101D2769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/>
            <a:stretch>
              <a:fillRect/>
            </a:stretch>
          </p:blipFill>
          <p:spPr>
            <a:xfrm>
              <a:off x="9125401" y="2128000"/>
              <a:ext cx="349931" cy="2732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21" name="object 1421">
              <a:extLst>
                <a:ext uri="{FF2B5EF4-FFF2-40B4-BE49-F238E27FC236}">
                  <a16:creationId xmlns:a16="http://schemas.microsoft.com/office/drawing/2014/main" id="{34679009-2C73-07A8-659B-9345B8E08E08}"/>
                </a:ext>
              </a:extLst>
            </p:cNvPr>
            <p:cNvSpPr/>
            <p:nvPr/>
          </p:nvSpPr>
          <p:spPr>
            <a:xfrm>
              <a:off x="9125391" y="209509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22" name="object 1422">
              <a:extLst>
                <a:ext uri="{FF2B5EF4-FFF2-40B4-BE49-F238E27FC236}">
                  <a16:creationId xmlns:a16="http://schemas.microsoft.com/office/drawing/2014/main" id="{1F3F87E0-66C8-7D48-2BE4-98AF49D883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9125318" y="4430185"/>
              <a:ext cx="341665" cy="25624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23" name="object 1423">
              <a:extLst>
                <a:ext uri="{FF2B5EF4-FFF2-40B4-BE49-F238E27FC236}">
                  <a16:creationId xmlns:a16="http://schemas.microsoft.com/office/drawing/2014/main" id="{E611E702-939C-05C3-8D23-B2FA587FC2EC}"/>
                </a:ext>
              </a:extLst>
            </p:cNvPr>
            <p:cNvSpPr/>
            <p:nvPr/>
          </p:nvSpPr>
          <p:spPr>
            <a:xfrm>
              <a:off x="9125135" y="438011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24" name="object 1424">
              <a:extLst>
                <a:ext uri="{FF2B5EF4-FFF2-40B4-BE49-F238E27FC236}">
                  <a16:creationId xmlns:a16="http://schemas.microsoft.com/office/drawing/2014/main" id="{C96A5C9B-F7E5-B7DE-B489-91F140CFB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/>
            <a:stretch>
              <a:fillRect/>
            </a:stretch>
          </p:blipFill>
          <p:spPr>
            <a:xfrm>
              <a:off x="9162251" y="3659145"/>
              <a:ext cx="267791" cy="26778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25" name="object 1425">
              <a:extLst>
                <a:ext uri="{FF2B5EF4-FFF2-40B4-BE49-F238E27FC236}">
                  <a16:creationId xmlns:a16="http://schemas.microsoft.com/office/drawing/2014/main" id="{A2C67DAF-F916-FEB5-D3C7-C27E071B7696}"/>
                </a:ext>
              </a:extLst>
            </p:cNvPr>
            <p:cNvSpPr/>
            <p:nvPr/>
          </p:nvSpPr>
          <p:spPr>
            <a:xfrm>
              <a:off x="9126096" y="362354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6" name="object 1426">
              <a:extLst>
                <a:ext uri="{FF2B5EF4-FFF2-40B4-BE49-F238E27FC236}">
                  <a16:creationId xmlns:a16="http://schemas.microsoft.com/office/drawing/2014/main" id="{5C82565B-CA06-FE76-A60D-5AD01C6108B1}"/>
                </a:ext>
              </a:extLst>
            </p:cNvPr>
            <p:cNvSpPr/>
            <p:nvPr/>
          </p:nvSpPr>
          <p:spPr>
            <a:xfrm>
              <a:off x="9401997" y="49148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7" name="object 1427">
              <a:extLst>
                <a:ext uri="{FF2B5EF4-FFF2-40B4-BE49-F238E27FC236}">
                  <a16:creationId xmlns:a16="http://schemas.microsoft.com/office/drawing/2014/main" id="{DBE82789-B4EF-7B34-C4BF-789C7F5C564E}"/>
                </a:ext>
              </a:extLst>
            </p:cNvPr>
            <p:cNvSpPr/>
            <p:nvPr/>
          </p:nvSpPr>
          <p:spPr>
            <a:xfrm>
              <a:off x="9437019" y="49148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8" name="object 1428">
              <a:extLst>
                <a:ext uri="{FF2B5EF4-FFF2-40B4-BE49-F238E27FC236}">
                  <a16:creationId xmlns:a16="http://schemas.microsoft.com/office/drawing/2014/main" id="{09D75D10-319E-6CB7-8501-EACFE62704D6}"/>
                </a:ext>
              </a:extLst>
            </p:cNvPr>
            <p:cNvSpPr/>
            <p:nvPr/>
          </p:nvSpPr>
          <p:spPr>
            <a:xfrm>
              <a:off x="9331954" y="49148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9" name="object 1429">
              <a:extLst>
                <a:ext uri="{FF2B5EF4-FFF2-40B4-BE49-F238E27FC236}">
                  <a16:creationId xmlns:a16="http://schemas.microsoft.com/office/drawing/2014/main" id="{2E5CBEE5-7169-3325-5837-870C34E526C9}"/>
                </a:ext>
              </a:extLst>
            </p:cNvPr>
            <p:cNvSpPr/>
            <p:nvPr/>
          </p:nvSpPr>
          <p:spPr>
            <a:xfrm>
              <a:off x="9226881" y="49148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0" name="object 1430">
              <a:extLst>
                <a:ext uri="{FF2B5EF4-FFF2-40B4-BE49-F238E27FC236}">
                  <a16:creationId xmlns:a16="http://schemas.microsoft.com/office/drawing/2014/main" id="{A01D5478-44F9-5C0A-0506-62767E74317F}"/>
                </a:ext>
              </a:extLst>
            </p:cNvPr>
            <p:cNvSpPr/>
            <p:nvPr/>
          </p:nvSpPr>
          <p:spPr>
            <a:xfrm>
              <a:off x="9261975" y="49148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1" name="object 1431">
              <a:extLst>
                <a:ext uri="{FF2B5EF4-FFF2-40B4-BE49-F238E27FC236}">
                  <a16:creationId xmlns:a16="http://schemas.microsoft.com/office/drawing/2014/main" id="{33157865-5BA1-55F7-3639-89605C1656EA}"/>
                </a:ext>
              </a:extLst>
            </p:cNvPr>
            <p:cNvSpPr/>
            <p:nvPr/>
          </p:nvSpPr>
          <p:spPr>
            <a:xfrm>
              <a:off x="9156838" y="49148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2" name="object 1432">
              <a:extLst>
                <a:ext uri="{FF2B5EF4-FFF2-40B4-BE49-F238E27FC236}">
                  <a16:creationId xmlns:a16="http://schemas.microsoft.com/office/drawing/2014/main" id="{C09608DE-00E5-3808-023D-D30C66FA6849}"/>
                </a:ext>
              </a:extLst>
            </p:cNvPr>
            <p:cNvSpPr/>
            <p:nvPr/>
          </p:nvSpPr>
          <p:spPr>
            <a:xfrm>
              <a:off x="9366976" y="49148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3" name="object 1433">
              <a:extLst>
                <a:ext uri="{FF2B5EF4-FFF2-40B4-BE49-F238E27FC236}">
                  <a16:creationId xmlns:a16="http://schemas.microsoft.com/office/drawing/2014/main" id="{0EABA1DE-D05F-1B0F-8B0E-24F7AB026AF3}"/>
                </a:ext>
              </a:extLst>
            </p:cNvPr>
            <p:cNvSpPr/>
            <p:nvPr/>
          </p:nvSpPr>
          <p:spPr>
            <a:xfrm>
              <a:off x="9191859" y="49148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4" name="object 1434">
              <a:extLst>
                <a:ext uri="{FF2B5EF4-FFF2-40B4-BE49-F238E27FC236}">
                  <a16:creationId xmlns:a16="http://schemas.microsoft.com/office/drawing/2014/main" id="{EACD1ECC-0A8E-768A-0190-58B57094B22D}"/>
                </a:ext>
              </a:extLst>
            </p:cNvPr>
            <p:cNvSpPr/>
            <p:nvPr/>
          </p:nvSpPr>
          <p:spPr>
            <a:xfrm>
              <a:off x="9472041" y="49020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5" name="object 1435">
              <a:extLst>
                <a:ext uri="{FF2B5EF4-FFF2-40B4-BE49-F238E27FC236}">
                  <a16:creationId xmlns:a16="http://schemas.microsoft.com/office/drawing/2014/main" id="{8FB67540-9E51-1111-3BBA-59744CAFD693}"/>
                </a:ext>
              </a:extLst>
            </p:cNvPr>
            <p:cNvSpPr/>
            <p:nvPr/>
          </p:nvSpPr>
          <p:spPr>
            <a:xfrm>
              <a:off x="9297070" y="49020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6" name="object 1436">
              <a:extLst>
                <a:ext uri="{FF2B5EF4-FFF2-40B4-BE49-F238E27FC236}">
                  <a16:creationId xmlns:a16="http://schemas.microsoft.com/office/drawing/2014/main" id="{087E8946-BF41-13A9-F377-C331B814B453}"/>
                </a:ext>
              </a:extLst>
            </p:cNvPr>
            <p:cNvSpPr/>
            <p:nvPr/>
          </p:nvSpPr>
          <p:spPr>
            <a:xfrm>
              <a:off x="9122090" y="49020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7" name="object 1437">
              <a:extLst>
                <a:ext uri="{FF2B5EF4-FFF2-40B4-BE49-F238E27FC236}">
                  <a16:creationId xmlns:a16="http://schemas.microsoft.com/office/drawing/2014/main" id="{6365EFBA-7C5B-CFC1-2372-75CECBC3CE9F}"/>
                </a:ext>
              </a:extLst>
            </p:cNvPr>
            <p:cNvSpPr/>
            <p:nvPr/>
          </p:nvSpPr>
          <p:spPr>
            <a:xfrm>
              <a:off x="9122090" y="49275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8" name="object 1438">
              <a:extLst>
                <a:ext uri="{FF2B5EF4-FFF2-40B4-BE49-F238E27FC236}">
                  <a16:creationId xmlns:a16="http://schemas.microsoft.com/office/drawing/2014/main" id="{5826152A-6B92-DA15-DF1D-0FBBA59F333E}"/>
                </a:ext>
              </a:extLst>
            </p:cNvPr>
            <p:cNvSpPr/>
            <p:nvPr/>
          </p:nvSpPr>
          <p:spPr>
            <a:xfrm>
              <a:off x="9122228" y="4902080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23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9" name="object 1439">
              <a:extLst>
                <a:ext uri="{FF2B5EF4-FFF2-40B4-BE49-F238E27FC236}">
                  <a16:creationId xmlns:a16="http://schemas.microsoft.com/office/drawing/2014/main" id="{F26720EF-48BA-54D2-AF3F-ACC4B77502A4}"/>
                </a:ext>
              </a:extLst>
            </p:cNvPr>
            <p:cNvSpPr/>
            <p:nvPr/>
          </p:nvSpPr>
          <p:spPr>
            <a:xfrm>
              <a:off x="9122228" y="4974372"/>
              <a:ext cx="1417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3680"/>
                <a:gd name="f4" fmla="val 84454"/>
                <a:gd name="f5" fmla="val 233291"/>
                <a:gd name="f6" fmla="val 84123"/>
                <a:gd name="f7" fmla="*/ f0 1 233680"/>
                <a:gd name="f8" fmla="*/ f1 1 84454"/>
                <a:gd name="f9" fmla="+- f4 0 f2"/>
                <a:gd name="f10" fmla="+- f3 0 f2"/>
                <a:gd name="f11" fmla="*/ f10 1 23368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368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0" name="object 1440">
              <a:extLst>
                <a:ext uri="{FF2B5EF4-FFF2-40B4-BE49-F238E27FC236}">
                  <a16:creationId xmlns:a16="http://schemas.microsoft.com/office/drawing/2014/main" id="{C03BAE9D-31D5-7158-9306-FE9BD2060976}"/>
                </a:ext>
              </a:extLst>
            </p:cNvPr>
            <p:cNvSpPr/>
            <p:nvPr/>
          </p:nvSpPr>
          <p:spPr>
            <a:xfrm>
              <a:off x="9401650" y="498712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1" name="object 1441">
              <a:extLst>
                <a:ext uri="{FF2B5EF4-FFF2-40B4-BE49-F238E27FC236}">
                  <a16:creationId xmlns:a16="http://schemas.microsoft.com/office/drawing/2014/main" id="{4A1AEAB1-DC70-FE13-10A4-D7576CBA9B3A}"/>
                </a:ext>
              </a:extLst>
            </p:cNvPr>
            <p:cNvSpPr/>
            <p:nvPr/>
          </p:nvSpPr>
          <p:spPr>
            <a:xfrm>
              <a:off x="9436672" y="498712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2" name="object 1442">
              <a:extLst>
                <a:ext uri="{FF2B5EF4-FFF2-40B4-BE49-F238E27FC236}">
                  <a16:creationId xmlns:a16="http://schemas.microsoft.com/office/drawing/2014/main" id="{D74F6DF6-D26F-5F63-29AC-50ACFF3EF073}"/>
                </a:ext>
              </a:extLst>
            </p:cNvPr>
            <p:cNvSpPr/>
            <p:nvPr/>
          </p:nvSpPr>
          <p:spPr>
            <a:xfrm>
              <a:off x="9331607" y="498712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3" name="object 1443">
              <a:extLst>
                <a:ext uri="{FF2B5EF4-FFF2-40B4-BE49-F238E27FC236}">
                  <a16:creationId xmlns:a16="http://schemas.microsoft.com/office/drawing/2014/main" id="{8CBF6F53-CA72-A857-11B3-16690B40579C}"/>
                </a:ext>
              </a:extLst>
            </p:cNvPr>
            <p:cNvSpPr/>
            <p:nvPr/>
          </p:nvSpPr>
          <p:spPr>
            <a:xfrm>
              <a:off x="9226533" y="498712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4" name="object 1444">
              <a:extLst>
                <a:ext uri="{FF2B5EF4-FFF2-40B4-BE49-F238E27FC236}">
                  <a16:creationId xmlns:a16="http://schemas.microsoft.com/office/drawing/2014/main" id="{B45B8E7F-49F1-BB2B-0442-47DF79F55017}"/>
                </a:ext>
              </a:extLst>
            </p:cNvPr>
            <p:cNvSpPr/>
            <p:nvPr/>
          </p:nvSpPr>
          <p:spPr>
            <a:xfrm>
              <a:off x="9261628" y="498712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5" name="object 1445">
              <a:extLst>
                <a:ext uri="{FF2B5EF4-FFF2-40B4-BE49-F238E27FC236}">
                  <a16:creationId xmlns:a16="http://schemas.microsoft.com/office/drawing/2014/main" id="{9058C03D-6471-EF0F-2CF9-9BC353EE9121}"/>
                </a:ext>
              </a:extLst>
            </p:cNvPr>
            <p:cNvSpPr/>
            <p:nvPr/>
          </p:nvSpPr>
          <p:spPr>
            <a:xfrm>
              <a:off x="9156490" y="498712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6" name="object 1446">
              <a:extLst>
                <a:ext uri="{FF2B5EF4-FFF2-40B4-BE49-F238E27FC236}">
                  <a16:creationId xmlns:a16="http://schemas.microsoft.com/office/drawing/2014/main" id="{508734B6-537C-CFA3-1C38-DF611505C22E}"/>
                </a:ext>
              </a:extLst>
            </p:cNvPr>
            <p:cNvSpPr/>
            <p:nvPr/>
          </p:nvSpPr>
          <p:spPr>
            <a:xfrm>
              <a:off x="9366628" y="498712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7" name="object 1447">
              <a:extLst>
                <a:ext uri="{FF2B5EF4-FFF2-40B4-BE49-F238E27FC236}">
                  <a16:creationId xmlns:a16="http://schemas.microsoft.com/office/drawing/2014/main" id="{208CAB68-3A09-05CB-3FD0-881F6FEBA35C}"/>
                </a:ext>
              </a:extLst>
            </p:cNvPr>
            <p:cNvSpPr/>
            <p:nvPr/>
          </p:nvSpPr>
          <p:spPr>
            <a:xfrm>
              <a:off x="9191512" y="498712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8" name="object 1448">
              <a:extLst>
                <a:ext uri="{FF2B5EF4-FFF2-40B4-BE49-F238E27FC236}">
                  <a16:creationId xmlns:a16="http://schemas.microsoft.com/office/drawing/2014/main" id="{4BF1DDEF-ED94-9B41-6754-E8454C036E5D}"/>
                </a:ext>
              </a:extLst>
            </p:cNvPr>
            <p:cNvSpPr/>
            <p:nvPr/>
          </p:nvSpPr>
          <p:spPr>
            <a:xfrm>
              <a:off x="9471693" y="49743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9" name="object 1449">
              <a:extLst>
                <a:ext uri="{FF2B5EF4-FFF2-40B4-BE49-F238E27FC236}">
                  <a16:creationId xmlns:a16="http://schemas.microsoft.com/office/drawing/2014/main" id="{B162929F-F31E-1686-4034-77181987A3C2}"/>
                </a:ext>
              </a:extLst>
            </p:cNvPr>
            <p:cNvSpPr/>
            <p:nvPr/>
          </p:nvSpPr>
          <p:spPr>
            <a:xfrm>
              <a:off x="9296723" y="49743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0" name="object 1450">
              <a:extLst>
                <a:ext uri="{FF2B5EF4-FFF2-40B4-BE49-F238E27FC236}">
                  <a16:creationId xmlns:a16="http://schemas.microsoft.com/office/drawing/2014/main" id="{EB6BBB9D-187C-FFDC-91BB-C0B1E9248898}"/>
                </a:ext>
              </a:extLst>
            </p:cNvPr>
            <p:cNvSpPr/>
            <p:nvPr/>
          </p:nvSpPr>
          <p:spPr>
            <a:xfrm>
              <a:off x="9121743" y="49743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1" name="object 1451">
              <a:extLst>
                <a:ext uri="{FF2B5EF4-FFF2-40B4-BE49-F238E27FC236}">
                  <a16:creationId xmlns:a16="http://schemas.microsoft.com/office/drawing/2014/main" id="{43FF185C-0CBF-5A62-02F0-82BEA8225E0F}"/>
                </a:ext>
              </a:extLst>
            </p:cNvPr>
            <p:cNvSpPr/>
            <p:nvPr/>
          </p:nvSpPr>
          <p:spPr>
            <a:xfrm>
              <a:off x="9296723" y="49743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2" name="object 1452">
              <a:extLst>
                <a:ext uri="{FF2B5EF4-FFF2-40B4-BE49-F238E27FC236}">
                  <a16:creationId xmlns:a16="http://schemas.microsoft.com/office/drawing/2014/main" id="{86E9F883-DDAF-8477-D9DC-96F1CCE29AEB}"/>
                </a:ext>
              </a:extLst>
            </p:cNvPr>
            <p:cNvSpPr/>
            <p:nvPr/>
          </p:nvSpPr>
          <p:spPr>
            <a:xfrm>
              <a:off x="9121743" y="499987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3" name="object 1453">
              <a:extLst>
                <a:ext uri="{FF2B5EF4-FFF2-40B4-BE49-F238E27FC236}">
                  <a16:creationId xmlns:a16="http://schemas.microsoft.com/office/drawing/2014/main" id="{9A6D816A-2D2D-C734-3FDF-ADB90A22B56F}"/>
                </a:ext>
              </a:extLst>
            </p:cNvPr>
            <p:cNvSpPr/>
            <p:nvPr/>
          </p:nvSpPr>
          <p:spPr>
            <a:xfrm>
              <a:off x="9401997" y="56776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4" name="object 1454">
              <a:extLst>
                <a:ext uri="{FF2B5EF4-FFF2-40B4-BE49-F238E27FC236}">
                  <a16:creationId xmlns:a16="http://schemas.microsoft.com/office/drawing/2014/main" id="{4B34B47A-43A4-BCC6-C060-C05460122C6C}"/>
                </a:ext>
              </a:extLst>
            </p:cNvPr>
            <p:cNvSpPr/>
            <p:nvPr/>
          </p:nvSpPr>
          <p:spPr>
            <a:xfrm>
              <a:off x="9437019" y="56776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5" name="object 1455">
              <a:extLst>
                <a:ext uri="{FF2B5EF4-FFF2-40B4-BE49-F238E27FC236}">
                  <a16:creationId xmlns:a16="http://schemas.microsoft.com/office/drawing/2014/main" id="{34184F5D-79D0-EF7A-9A24-D1EA9E01434C}"/>
                </a:ext>
              </a:extLst>
            </p:cNvPr>
            <p:cNvSpPr/>
            <p:nvPr/>
          </p:nvSpPr>
          <p:spPr>
            <a:xfrm>
              <a:off x="9331954" y="56776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6" name="object 1456">
              <a:extLst>
                <a:ext uri="{FF2B5EF4-FFF2-40B4-BE49-F238E27FC236}">
                  <a16:creationId xmlns:a16="http://schemas.microsoft.com/office/drawing/2014/main" id="{80000312-4E95-03F2-CE03-DEE0897E2D4A}"/>
                </a:ext>
              </a:extLst>
            </p:cNvPr>
            <p:cNvSpPr/>
            <p:nvPr/>
          </p:nvSpPr>
          <p:spPr>
            <a:xfrm>
              <a:off x="9226881" y="56776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7" name="object 1457">
              <a:extLst>
                <a:ext uri="{FF2B5EF4-FFF2-40B4-BE49-F238E27FC236}">
                  <a16:creationId xmlns:a16="http://schemas.microsoft.com/office/drawing/2014/main" id="{AEBAEB21-1049-DD54-1C46-75BD75B4FE52}"/>
                </a:ext>
              </a:extLst>
            </p:cNvPr>
            <p:cNvSpPr/>
            <p:nvPr/>
          </p:nvSpPr>
          <p:spPr>
            <a:xfrm>
              <a:off x="9261975" y="56776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8" name="object 1458">
              <a:extLst>
                <a:ext uri="{FF2B5EF4-FFF2-40B4-BE49-F238E27FC236}">
                  <a16:creationId xmlns:a16="http://schemas.microsoft.com/office/drawing/2014/main" id="{5F6E54D4-9F45-E952-CD6A-95C65FA5A3B2}"/>
                </a:ext>
              </a:extLst>
            </p:cNvPr>
            <p:cNvSpPr/>
            <p:nvPr/>
          </p:nvSpPr>
          <p:spPr>
            <a:xfrm>
              <a:off x="9156838" y="56776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9" name="object 1459">
              <a:extLst>
                <a:ext uri="{FF2B5EF4-FFF2-40B4-BE49-F238E27FC236}">
                  <a16:creationId xmlns:a16="http://schemas.microsoft.com/office/drawing/2014/main" id="{0B06830C-C584-C160-70B3-FD023367D784}"/>
                </a:ext>
              </a:extLst>
            </p:cNvPr>
            <p:cNvSpPr/>
            <p:nvPr/>
          </p:nvSpPr>
          <p:spPr>
            <a:xfrm>
              <a:off x="9366976" y="56776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0" name="object 1460">
              <a:extLst>
                <a:ext uri="{FF2B5EF4-FFF2-40B4-BE49-F238E27FC236}">
                  <a16:creationId xmlns:a16="http://schemas.microsoft.com/office/drawing/2014/main" id="{F7448FEB-5895-BFB0-DBA6-2528313CE0FF}"/>
                </a:ext>
              </a:extLst>
            </p:cNvPr>
            <p:cNvSpPr/>
            <p:nvPr/>
          </p:nvSpPr>
          <p:spPr>
            <a:xfrm>
              <a:off x="9191859" y="56776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1" name="object 1461">
              <a:extLst>
                <a:ext uri="{FF2B5EF4-FFF2-40B4-BE49-F238E27FC236}">
                  <a16:creationId xmlns:a16="http://schemas.microsoft.com/office/drawing/2014/main" id="{6E19C40E-0412-D484-7207-051B16EDBF7F}"/>
                </a:ext>
              </a:extLst>
            </p:cNvPr>
            <p:cNvSpPr/>
            <p:nvPr/>
          </p:nvSpPr>
          <p:spPr>
            <a:xfrm>
              <a:off x="9472041" y="56649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2" name="object 1462">
              <a:extLst>
                <a:ext uri="{FF2B5EF4-FFF2-40B4-BE49-F238E27FC236}">
                  <a16:creationId xmlns:a16="http://schemas.microsoft.com/office/drawing/2014/main" id="{7E233B61-15B0-8F93-82D1-3B0296E2B624}"/>
                </a:ext>
              </a:extLst>
            </p:cNvPr>
            <p:cNvSpPr/>
            <p:nvPr/>
          </p:nvSpPr>
          <p:spPr>
            <a:xfrm>
              <a:off x="9297070" y="56649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3" name="object 1463">
              <a:extLst>
                <a:ext uri="{FF2B5EF4-FFF2-40B4-BE49-F238E27FC236}">
                  <a16:creationId xmlns:a16="http://schemas.microsoft.com/office/drawing/2014/main" id="{15C6F549-0D69-FF93-DD68-9089D4D4A72D}"/>
                </a:ext>
              </a:extLst>
            </p:cNvPr>
            <p:cNvSpPr/>
            <p:nvPr/>
          </p:nvSpPr>
          <p:spPr>
            <a:xfrm>
              <a:off x="9122090" y="56649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4" name="object 1464">
              <a:extLst>
                <a:ext uri="{FF2B5EF4-FFF2-40B4-BE49-F238E27FC236}">
                  <a16:creationId xmlns:a16="http://schemas.microsoft.com/office/drawing/2014/main" id="{14D9CBC2-C838-D2F0-43B2-B51272986976}"/>
                </a:ext>
              </a:extLst>
            </p:cNvPr>
            <p:cNvSpPr/>
            <p:nvPr/>
          </p:nvSpPr>
          <p:spPr>
            <a:xfrm>
              <a:off x="9122090" y="569044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5" name="object 1465">
              <a:extLst>
                <a:ext uri="{FF2B5EF4-FFF2-40B4-BE49-F238E27FC236}">
                  <a16:creationId xmlns:a16="http://schemas.microsoft.com/office/drawing/2014/main" id="{4E9D628C-8250-4558-F41B-06ED5581F5E9}"/>
                </a:ext>
              </a:extLst>
            </p:cNvPr>
            <p:cNvSpPr/>
            <p:nvPr/>
          </p:nvSpPr>
          <p:spPr>
            <a:xfrm>
              <a:off x="9122228" y="5664936"/>
              <a:ext cx="3119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1434"/>
                <a:gd name="f4" fmla="val 84454"/>
                <a:gd name="f5" fmla="val 50836"/>
                <a:gd name="f6" fmla="val 84133"/>
                <a:gd name="f7" fmla="*/ f0 1 51434"/>
                <a:gd name="f8" fmla="*/ f1 1 84454"/>
                <a:gd name="f9" fmla="+- f4 0 f2"/>
                <a:gd name="f10" fmla="+- f3 0 f2"/>
                <a:gd name="f11" fmla="*/ f10 1 514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14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6" name="object 1466">
              <a:extLst>
                <a:ext uri="{FF2B5EF4-FFF2-40B4-BE49-F238E27FC236}">
                  <a16:creationId xmlns:a16="http://schemas.microsoft.com/office/drawing/2014/main" id="{6A9F68F5-D3C3-0920-9484-A218372CDCFC}"/>
                </a:ext>
              </a:extLst>
            </p:cNvPr>
            <p:cNvSpPr/>
            <p:nvPr/>
          </p:nvSpPr>
          <p:spPr>
            <a:xfrm>
              <a:off x="9122228" y="5737238"/>
              <a:ext cx="277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719"/>
                <a:gd name="f4" fmla="val 84454"/>
                <a:gd name="f5" fmla="val 45286"/>
                <a:gd name="f6" fmla="val 84123"/>
                <a:gd name="f7" fmla="*/ f0 1 45719"/>
                <a:gd name="f8" fmla="*/ f1 1 84454"/>
                <a:gd name="f9" fmla="+- f4 0 f2"/>
                <a:gd name="f10" fmla="+- f3 0 f2"/>
                <a:gd name="f11" fmla="*/ f10 1 457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7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7" name="object 1467">
              <a:extLst>
                <a:ext uri="{FF2B5EF4-FFF2-40B4-BE49-F238E27FC236}">
                  <a16:creationId xmlns:a16="http://schemas.microsoft.com/office/drawing/2014/main" id="{CEC32C1A-81D5-397E-2B4C-37C6539BA93C}"/>
                </a:ext>
              </a:extLst>
            </p:cNvPr>
            <p:cNvSpPr/>
            <p:nvPr/>
          </p:nvSpPr>
          <p:spPr>
            <a:xfrm>
              <a:off x="9401650" y="57499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8" name="object 1468">
              <a:extLst>
                <a:ext uri="{FF2B5EF4-FFF2-40B4-BE49-F238E27FC236}">
                  <a16:creationId xmlns:a16="http://schemas.microsoft.com/office/drawing/2014/main" id="{59BB6042-089C-EDB1-C3D6-45CBE22BFF0D}"/>
                </a:ext>
              </a:extLst>
            </p:cNvPr>
            <p:cNvSpPr/>
            <p:nvPr/>
          </p:nvSpPr>
          <p:spPr>
            <a:xfrm>
              <a:off x="9436672" y="57499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9" name="object 1469">
              <a:extLst>
                <a:ext uri="{FF2B5EF4-FFF2-40B4-BE49-F238E27FC236}">
                  <a16:creationId xmlns:a16="http://schemas.microsoft.com/office/drawing/2014/main" id="{2C6D6BD9-DA28-89A9-0904-11800F31E8A3}"/>
                </a:ext>
              </a:extLst>
            </p:cNvPr>
            <p:cNvSpPr/>
            <p:nvPr/>
          </p:nvSpPr>
          <p:spPr>
            <a:xfrm>
              <a:off x="9331607" y="57499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0" name="object 1470">
              <a:extLst>
                <a:ext uri="{FF2B5EF4-FFF2-40B4-BE49-F238E27FC236}">
                  <a16:creationId xmlns:a16="http://schemas.microsoft.com/office/drawing/2014/main" id="{25D93C99-7344-1F1E-79B7-26AA7B8E46AB}"/>
                </a:ext>
              </a:extLst>
            </p:cNvPr>
            <p:cNvSpPr/>
            <p:nvPr/>
          </p:nvSpPr>
          <p:spPr>
            <a:xfrm>
              <a:off x="9226533" y="57499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1" name="object 1471">
              <a:extLst>
                <a:ext uri="{FF2B5EF4-FFF2-40B4-BE49-F238E27FC236}">
                  <a16:creationId xmlns:a16="http://schemas.microsoft.com/office/drawing/2014/main" id="{2F5D78ED-78FE-E7CA-C47F-3F85CAEE16D3}"/>
                </a:ext>
              </a:extLst>
            </p:cNvPr>
            <p:cNvSpPr/>
            <p:nvPr/>
          </p:nvSpPr>
          <p:spPr>
            <a:xfrm>
              <a:off x="9261628" y="57499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2" name="object 1472">
              <a:extLst>
                <a:ext uri="{FF2B5EF4-FFF2-40B4-BE49-F238E27FC236}">
                  <a16:creationId xmlns:a16="http://schemas.microsoft.com/office/drawing/2014/main" id="{863494B1-8478-D207-2871-E3D66F2B4990}"/>
                </a:ext>
              </a:extLst>
            </p:cNvPr>
            <p:cNvSpPr/>
            <p:nvPr/>
          </p:nvSpPr>
          <p:spPr>
            <a:xfrm>
              <a:off x="9156490" y="57499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3" name="object 1473">
              <a:extLst>
                <a:ext uri="{FF2B5EF4-FFF2-40B4-BE49-F238E27FC236}">
                  <a16:creationId xmlns:a16="http://schemas.microsoft.com/office/drawing/2014/main" id="{5E1AFAD4-22A9-CB43-044A-DF956BC64A42}"/>
                </a:ext>
              </a:extLst>
            </p:cNvPr>
            <p:cNvSpPr/>
            <p:nvPr/>
          </p:nvSpPr>
          <p:spPr>
            <a:xfrm>
              <a:off x="9366628" y="57499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4" name="object 1474">
              <a:extLst>
                <a:ext uri="{FF2B5EF4-FFF2-40B4-BE49-F238E27FC236}">
                  <a16:creationId xmlns:a16="http://schemas.microsoft.com/office/drawing/2014/main" id="{65D02338-434B-50F3-E12C-2809B1EBB2DA}"/>
                </a:ext>
              </a:extLst>
            </p:cNvPr>
            <p:cNvSpPr/>
            <p:nvPr/>
          </p:nvSpPr>
          <p:spPr>
            <a:xfrm>
              <a:off x="9191512" y="57499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5" name="object 1475">
              <a:extLst>
                <a:ext uri="{FF2B5EF4-FFF2-40B4-BE49-F238E27FC236}">
                  <a16:creationId xmlns:a16="http://schemas.microsoft.com/office/drawing/2014/main" id="{C7A8FE28-B2C7-3A0E-65A3-8D90ACDDDA0C}"/>
                </a:ext>
              </a:extLst>
            </p:cNvPr>
            <p:cNvSpPr/>
            <p:nvPr/>
          </p:nvSpPr>
          <p:spPr>
            <a:xfrm>
              <a:off x="9471693" y="573722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6" name="object 1476">
              <a:extLst>
                <a:ext uri="{FF2B5EF4-FFF2-40B4-BE49-F238E27FC236}">
                  <a16:creationId xmlns:a16="http://schemas.microsoft.com/office/drawing/2014/main" id="{CA286ED3-FCF4-8548-9458-24A48EBB9E86}"/>
                </a:ext>
              </a:extLst>
            </p:cNvPr>
            <p:cNvSpPr/>
            <p:nvPr/>
          </p:nvSpPr>
          <p:spPr>
            <a:xfrm>
              <a:off x="9296723" y="573722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7" name="object 1477">
              <a:extLst>
                <a:ext uri="{FF2B5EF4-FFF2-40B4-BE49-F238E27FC236}">
                  <a16:creationId xmlns:a16="http://schemas.microsoft.com/office/drawing/2014/main" id="{A4D20AC2-3881-57E8-E749-2B75AB1094E3}"/>
                </a:ext>
              </a:extLst>
            </p:cNvPr>
            <p:cNvSpPr/>
            <p:nvPr/>
          </p:nvSpPr>
          <p:spPr>
            <a:xfrm>
              <a:off x="9121743" y="573722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8" name="object 1478">
              <a:extLst>
                <a:ext uri="{FF2B5EF4-FFF2-40B4-BE49-F238E27FC236}">
                  <a16:creationId xmlns:a16="http://schemas.microsoft.com/office/drawing/2014/main" id="{BC15AE69-4E54-D772-1E49-E4B6FE54ED8F}"/>
                </a:ext>
              </a:extLst>
            </p:cNvPr>
            <p:cNvSpPr/>
            <p:nvPr/>
          </p:nvSpPr>
          <p:spPr>
            <a:xfrm>
              <a:off x="9296723" y="573722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9" name="object 1479">
              <a:extLst>
                <a:ext uri="{FF2B5EF4-FFF2-40B4-BE49-F238E27FC236}">
                  <a16:creationId xmlns:a16="http://schemas.microsoft.com/office/drawing/2014/main" id="{1780D74B-DB37-DF31-7110-30CF9DB4C5D0}"/>
                </a:ext>
              </a:extLst>
            </p:cNvPr>
            <p:cNvSpPr/>
            <p:nvPr/>
          </p:nvSpPr>
          <p:spPr>
            <a:xfrm>
              <a:off x="9121743" y="57627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0" name="object 1480">
              <a:extLst>
                <a:ext uri="{FF2B5EF4-FFF2-40B4-BE49-F238E27FC236}">
                  <a16:creationId xmlns:a16="http://schemas.microsoft.com/office/drawing/2014/main" id="{E0322E8A-99FA-6D12-1207-FC8FB74D5CDF}"/>
                </a:ext>
              </a:extLst>
            </p:cNvPr>
            <p:cNvSpPr/>
            <p:nvPr/>
          </p:nvSpPr>
          <p:spPr>
            <a:xfrm>
              <a:off x="10223293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1" name="object 1481">
              <a:extLst>
                <a:ext uri="{FF2B5EF4-FFF2-40B4-BE49-F238E27FC236}">
                  <a16:creationId xmlns:a16="http://schemas.microsoft.com/office/drawing/2014/main" id="{E39517D9-7D40-93C6-4E4B-4D6B53921908}"/>
                </a:ext>
              </a:extLst>
            </p:cNvPr>
            <p:cNvSpPr/>
            <p:nvPr/>
          </p:nvSpPr>
          <p:spPr>
            <a:xfrm>
              <a:off x="10258315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2" name="object 1482">
              <a:extLst>
                <a:ext uri="{FF2B5EF4-FFF2-40B4-BE49-F238E27FC236}">
                  <a16:creationId xmlns:a16="http://schemas.microsoft.com/office/drawing/2014/main" id="{EB790E44-A380-340E-AAC8-A237DA8F951E}"/>
                </a:ext>
              </a:extLst>
            </p:cNvPr>
            <p:cNvSpPr/>
            <p:nvPr/>
          </p:nvSpPr>
          <p:spPr>
            <a:xfrm>
              <a:off x="10153241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3" name="object 1483">
              <a:extLst>
                <a:ext uri="{FF2B5EF4-FFF2-40B4-BE49-F238E27FC236}">
                  <a16:creationId xmlns:a16="http://schemas.microsoft.com/office/drawing/2014/main" id="{462FBA8D-57FF-4A25-2880-A42A32482B44}"/>
                </a:ext>
              </a:extLst>
            </p:cNvPr>
            <p:cNvSpPr/>
            <p:nvPr/>
          </p:nvSpPr>
          <p:spPr>
            <a:xfrm>
              <a:off x="10048177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4" name="object 1484">
              <a:extLst>
                <a:ext uri="{FF2B5EF4-FFF2-40B4-BE49-F238E27FC236}">
                  <a16:creationId xmlns:a16="http://schemas.microsoft.com/office/drawing/2014/main" id="{FCB41A0E-7217-5D4D-22DA-BFB38965A956}"/>
                </a:ext>
              </a:extLst>
            </p:cNvPr>
            <p:cNvSpPr/>
            <p:nvPr/>
          </p:nvSpPr>
          <p:spPr>
            <a:xfrm>
              <a:off x="10083271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5" name="object 1485">
              <a:extLst>
                <a:ext uri="{FF2B5EF4-FFF2-40B4-BE49-F238E27FC236}">
                  <a16:creationId xmlns:a16="http://schemas.microsoft.com/office/drawing/2014/main" id="{C8AF5DB0-34EE-E331-76FB-4C0B889BD488}"/>
                </a:ext>
              </a:extLst>
            </p:cNvPr>
            <p:cNvSpPr/>
            <p:nvPr/>
          </p:nvSpPr>
          <p:spPr>
            <a:xfrm>
              <a:off x="9978133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6" name="object 1486">
              <a:extLst>
                <a:ext uri="{FF2B5EF4-FFF2-40B4-BE49-F238E27FC236}">
                  <a16:creationId xmlns:a16="http://schemas.microsoft.com/office/drawing/2014/main" id="{87A3FF58-99CA-66DC-D979-892AE7BEC435}"/>
                </a:ext>
              </a:extLst>
            </p:cNvPr>
            <p:cNvSpPr/>
            <p:nvPr/>
          </p:nvSpPr>
          <p:spPr>
            <a:xfrm>
              <a:off x="10188272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7" name="object 1487">
              <a:extLst>
                <a:ext uri="{FF2B5EF4-FFF2-40B4-BE49-F238E27FC236}">
                  <a16:creationId xmlns:a16="http://schemas.microsoft.com/office/drawing/2014/main" id="{489DE20E-93CE-39F4-1042-7F78E3CB5F5D}"/>
                </a:ext>
              </a:extLst>
            </p:cNvPr>
            <p:cNvSpPr/>
            <p:nvPr/>
          </p:nvSpPr>
          <p:spPr>
            <a:xfrm>
              <a:off x="10013155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8" name="object 1488">
              <a:extLst>
                <a:ext uri="{FF2B5EF4-FFF2-40B4-BE49-F238E27FC236}">
                  <a16:creationId xmlns:a16="http://schemas.microsoft.com/office/drawing/2014/main" id="{35F6E356-FDAE-7089-2BC0-54D1A044362F}"/>
                </a:ext>
              </a:extLst>
            </p:cNvPr>
            <p:cNvSpPr/>
            <p:nvPr/>
          </p:nvSpPr>
          <p:spPr>
            <a:xfrm>
              <a:off x="10293336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9" name="object 1489">
              <a:extLst>
                <a:ext uri="{FF2B5EF4-FFF2-40B4-BE49-F238E27FC236}">
                  <a16:creationId xmlns:a16="http://schemas.microsoft.com/office/drawing/2014/main" id="{9D7C0DBD-AB41-7CFD-E7F8-1F6293131099}"/>
                </a:ext>
              </a:extLst>
            </p:cNvPr>
            <p:cNvSpPr/>
            <p:nvPr/>
          </p:nvSpPr>
          <p:spPr>
            <a:xfrm>
              <a:off x="10118366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0" name="object 1490">
              <a:extLst>
                <a:ext uri="{FF2B5EF4-FFF2-40B4-BE49-F238E27FC236}">
                  <a16:creationId xmlns:a16="http://schemas.microsoft.com/office/drawing/2014/main" id="{9408D782-9104-4091-F30C-FAFB01438A68}"/>
                </a:ext>
              </a:extLst>
            </p:cNvPr>
            <p:cNvSpPr/>
            <p:nvPr/>
          </p:nvSpPr>
          <p:spPr>
            <a:xfrm>
              <a:off x="9943386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1" name="object 1491">
              <a:extLst>
                <a:ext uri="{FF2B5EF4-FFF2-40B4-BE49-F238E27FC236}">
                  <a16:creationId xmlns:a16="http://schemas.microsoft.com/office/drawing/2014/main" id="{D5E54800-1D95-6321-E6F4-7A8BE20721EF}"/>
                </a:ext>
              </a:extLst>
            </p:cNvPr>
            <p:cNvSpPr/>
            <p:nvPr/>
          </p:nvSpPr>
          <p:spPr>
            <a:xfrm>
              <a:off x="9943395" y="186917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2" name="object 1492">
              <a:extLst>
                <a:ext uri="{FF2B5EF4-FFF2-40B4-BE49-F238E27FC236}">
                  <a16:creationId xmlns:a16="http://schemas.microsoft.com/office/drawing/2014/main" id="{EEA0859F-540B-E99C-F2D0-EB72BFBB4D3E}"/>
                </a:ext>
              </a:extLst>
            </p:cNvPr>
            <p:cNvSpPr/>
            <p:nvPr/>
          </p:nvSpPr>
          <p:spPr>
            <a:xfrm>
              <a:off x="9943514" y="1843668"/>
              <a:ext cx="419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9215"/>
                <a:gd name="f4" fmla="val 84455"/>
                <a:gd name="f5" fmla="val 68689"/>
                <a:gd name="f6" fmla="val 84112"/>
                <a:gd name="f7" fmla="*/ f0 1 69215"/>
                <a:gd name="f8" fmla="*/ f1 1 84455"/>
                <a:gd name="f9" fmla="+- f4 0 f2"/>
                <a:gd name="f10" fmla="+- f3 0 f2"/>
                <a:gd name="f11" fmla="*/ f10 1 6921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921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3" name="object 1493">
              <a:extLst>
                <a:ext uri="{FF2B5EF4-FFF2-40B4-BE49-F238E27FC236}">
                  <a16:creationId xmlns:a16="http://schemas.microsoft.com/office/drawing/2014/main" id="{4B744987-0785-E5AD-9450-4FC699C57DDD}"/>
                </a:ext>
              </a:extLst>
            </p:cNvPr>
            <p:cNvSpPr/>
            <p:nvPr/>
          </p:nvSpPr>
          <p:spPr>
            <a:xfrm>
              <a:off x="10292989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4" name="object 1494">
              <a:extLst>
                <a:ext uri="{FF2B5EF4-FFF2-40B4-BE49-F238E27FC236}">
                  <a16:creationId xmlns:a16="http://schemas.microsoft.com/office/drawing/2014/main" id="{FC824AAB-CC76-CF03-6FB1-E506FB656923}"/>
                </a:ext>
              </a:extLst>
            </p:cNvPr>
            <p:cNvSpPr/>
            <p:nvPr/>
          </p:nvSpPr>
          <p:spPr>
            <a:xfrm>
              <a:off x="10118018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5" name="object 1495">
              <a:extLst>
                <a:ext uri="{FF2B5EF4-FFF2-40B4-BE49-F238E27FC236}">
                  <a16:creationId xmlns:a16="http://schemas.microsoft.com/office/drawing/2014/main" id="{A5AC5B33-0EA4-C3C6-E013-74D828E192E1}"/>
                </a:ext>
              </a:extLst>
            </p:cNvPr>
            <p:cNvSpPr/>
            <p:nvPr/>
          </p:nvSpPr>
          <p:spPr>
            <a:xfrm>
              <a:off x="9943048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6" name="object 1496">
              <a:extLst>
                <a:ext uri="{FF2B5EF4-FFF2-40B4-BE49-F238E27FC236}">
                  <a16:creationId xmlns:a16="http://schemas.microsoft.com/office/drawing/2014/main" id="{34D4018F-E46E-675E-B9C8-155D5EB5DD76}"/>
                </a:ext>
              </a:extLst>
            </p:cNvPr>
            <p:cNvSpPr/>
            <p:nvPr/>
          </p:nvSpPr>
          <p:spPr>
            <a:xfrm>
              <a:off x="10118018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7" name="object 1497">
              <a:extLst>
                <a:ext uri="{FF2B5EF4-FFF2-40B4-BE49-F238E27FC236}">
                  <a16:creationId xmlns:a16="http://schemas.microsoft.com/office/drawing/2014/main" id="{4BB9E0CF-4A57-C14D-11D2-5E6D849E3A43}"/>
                </a:ext>
              </a:extLst>
            </p:cNvPr>
            <p:cNvSpPr/>
            <p:nvPr/>
          </p:nvSpPr>
          <p:spPr>
            <a:xfrm>
              <a:off x="10222946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8" name="object 1498">
              <a:extLst>
                <a:ext uri="{FF2B5EF4-FFF2-40B4-BE49-F238E27FC236}">
                  <a16:creationId xmlns:a16="http://schemas.microsoft.com/office/drawing/2014/main" id="{88AF4D23-F8F4-CA8E-87A7-081EE277582A}"/>
                </a:ext>
              </a:extLst>
            </p:cNvPr>
            <p:cNvSpPr/>
            <p:nvPr/>
          </p:nvSpPr>
          <p:spPr>
            <a:xfrm>
              <a:off x="10257967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9" name="object 1499">
              <a:extLst>
                <a:ext uri="{FF2B5EF4-FFF2-40B4-BE49-F238E27FC236}">
                  <a16:creationId xmlns:a16="http://schemas.microsoft.com/office/drawing/2014/main" id="{409D2546-56C8-B093-8401-73530BB8D1BC}"/>
                </a:ext>
              </a:extLst>
            </p:cNvPr>
            <p:cNvSpPr/>
            <p:nvPr/>
          </p:nvSpPr>
          <p:spPr>
            <a:xfrm>
              <a:off x="10152903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0" name="object 1500">
              <a:extLst>
                <a:ext uri="{FF2B5EF4-FFF2-40B4-BE49-F238E27FC236}">
                  <a16:creationId xmlns:a16="http://schemas.microsoft.com/office/drawing/2014/main" id="{1E5A00CE-89FA-413B-7E50-207D59533BED}"/>
                </a:ext>
              </a:extLst>
            </p:cNvPr>
            <p:cNvSpPr/>
            <p:nvPr/>
          </p:nvSpPr>
          <p:spPr>
            <a:xfrm>
              <a:off x="10047829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1" name="object 1501">
              <a:extLst>
                <a:ext uri="{FF2B5EF4-FFF2-40B4-BE49-F238E27FC236}">
                  <a16:creationId xmlns:a16="http://schemas.microsoft.com/office/drawing/2014/main" id="{A2BDFC9D-71EE-668C-7B79-06F69EE3A9CA}"/>
                </a:ext>
              </a:extLst>
            </p:cNvPr>
            <p:cNvSpPr/>
            <p:nvPr/>
          </p:nvSpPr>
          <p:spPr>
            <a:xfrm>
              <a:off x="10082924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2" name="object 1502">
              <a:extLst>
                <a:ext uri="{FF2B5EF4-FFF2-40B4-BE49-F238E27FC236}">
                  <a16:creationId xmlns:a16="http://schemas.microsoft.com/office/drawing/2014/main" id="{8737C45D-0ACA-262B-A34A-2578DC292F18}"/>
                </a:ext>
              </a:extLst>
            </p:cNvPr>
            <p:cNvSpPr/>
            <p:nvPr/>
          </p:nvSpPr>
          <p:spPr>
            <a:xfrm>
              <a:off x="9977786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3" name="object 1503">
              <a:extLst>
                <a:ext uri="{FF2B5EF4-FFF2-40B4-BE49-F238E27FC236}">
                  <a16:creationId xmlns:a16="http://schemas.microsoft.com/office/drawing/2014/main" id="{248D71CC-0904-4F27-2A36-E01FA435123F}"/>
                </a:ext>
              </a:extLst>
            </p:cNvPr>
            <p:cNvSpPr/>
            <p:nvPr/>
          </p:nvSpPr>
          <p:spPr>
            <a:xfrm>
              <a:off x="10187924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4" name="object 1504">
              <a:extLst>
                <a:ext uri="{FF2B5EF4-FFF2-40B4-BE49-F238E27FC236}">
                  <a16:creationId xmlns:a16="http://schemas.microsoft.com/office/drawing/2014/main" id="{945EC645-262F-81E8-AA94-904B340B0ACE}"/>
                </a:ext>
              </a:extLst>
            </p:cNvPr>
            <p:cNvSpPr/>
            <p:nvPr/>
          </p:nvSpPr>
          <p:spPr>
            <a:xfrm>
              <a:off x="10012808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5" name="object 1505">
              <a:extLst>
                <a:ext uri="{FF2B5EF4-FFF2-40B4-BE49-F238E27FC236}">
                  <a16:creationId xmlns:a16="http://schemas.microsoft.com/office/drawing/2014/main" id="{EC0ECBF2-DC3A-E57E-9E47-D9884BF1CBB4}"/>
                </a:ext>
              </a:extLst>
            </p:cNvPr>
            <p:cNvSpPr/>
            <p:nvPr/>
          </p:nvSpPr>
          <p:spPr>
            <a:xfrm>
              <a:off x="9943048" y="19414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506" name="object 1506">
              <a:extLst>
                <a:ext uri="{FF2B5EF4-FFF2-40B4-BE49-F238E27FC236}">
                  <a16:creationId xmlns:a16="http://schemas.microsoft.com/office/drawing/2014/main" id="{F2DB8C21-D38E-8E05-A302-76AA5DBC0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9944676" y="3631301"/>
              <a:ext cx="346694" cy="34668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07" name="object 1507">
              <a:extLst>
                <a:ext uri="{FF2B5EF4-FFF2-40B4-BE49-F238E27FC236}">
                  <a16:creationId xmlns:a16="http://schemas.microsoft.com/office/drawing/2014/main" id="{B593DCCD-D7A7-8D95-DC3F-6EC6306E6F3A}"/>
                </a:ext>
              </a:extLst>
            </p:cNvPr>
            <p:cNvSpPr/>
            <p:nvPr/>
          </p:nvSpPr>
          <p:spPr>
            <a:xfrm>
              <a:off x="9944676" y="3631301"/>
              <a:ext cx="346941" cy="34694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2134"/>
                <a:gd name="f4" fmla="val 285865"/>
                <a:gd name="f5" fmla="val 3741"/>
                <a:gd name="f6" fmla="val 332231"/>
                <a:gd name="f7" fmla="val 14573"/>
                <a:gd name="f8" fmla="val 376215"/>
                <a:gd name="f9" fmla="val 31907"/>
                <a:gd name="f10" fmla="val 417228"/>
                <a:gd name="f11" fmla="val 55155"/>
                <a:gd name="f12" fmla="val 454682"/>
                <a:gd name="f13" fmla="val 83727"/>
                <a:gd name="f14" fmla="val 487989"/>
                <a:gd name="f15" fmla="val 117036"/>
                <a:gd name="f16" fmla="val 516559"/>
                <a:gd name="f17" fmla="val 154493"/>
                <a:gd name="f18" fmla="val 539805"/>
                <a:gd name="f19" fmla="val 195509"/>
                <a:gd name="f20" fmla="val 557137"/>
                <a:gd name="f21" fmla="val 239496"/>
                <a:gd name="f22" fmla="val 567969"/>
                <a:gd name="f23" fmla="val 571710"/>
                <a:gd name="f24" fmla="val 376216"/>
                <a:gd name="f25" fmla="val 417230"/>
                <a:gd name="f26" fmla="val 454686"/>
                <a:gd name="f27" fmla="val 487994"/>
                <a:gd name="f28" fmla="val 516566"/>
                <a:gd name="f29" fmla="val 539813"/>
                <a:gd name="f30" fmla="val 557147"/>
                <a:gd name="f31" fmla="val 567979"/>
                <a:gd name="f32" fmla="val 571720"/>
                <a:gd name="f33" fmla="*/ f0 1 572134"/>
                <a:gd name="f34" fmla="*/ f1 1 572134"/>
                <a:gd name="f35" fmla="+- f3 0 f2"/>
                <a:gd name="f36" fmla="*/ f35 1 572134"/>
                <a:gd name="f37" fmla="*/ f2 1 f36"/>
                <a:gd name="f38" fmla="*/ f3 1 f36"/>
                <a:gd name="f39" fmla="*/ f37 f33 1"/>
                <a:gd name="f40" fmla="*/ f38 f33 1"/>
                <a:gd name="f41" fmla="*/ f38 f34 1"/>
                <a:gd name="f42" fmla="*/ f37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9" t="f42" r="f40" b="f41"/>
              <a:pathLst>
                <a:path w="572134" h="572134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4" y="f23"/>
                  </a:lnTo>
                  <a:lnTo>
                    <a:pt x="f6" y="f22"/>
                  </a:lnTo>
                  <a:lnTo>
                    <a:pt x="f24" y="f20"/>
                  </a:lnTo>
                  <a:lnTo>
                    <a:pt x="f25" y="f18"/>
                  </a:lnTo>
                  <a:lnTo>
                    <a:pt x="f26" y="f16"/>
                  </a:lnTo>
                  <a:lnTo>
                    <a:pt x="f27" y="f14"/>
                  </a:lnTo>
                  <a:lnTo>
                    <a:pt x="f28" y="f12"/>
                  </a:lnTo>
                  <a:lnTo>
                    <a:pt x="f29" y="f10"/>
                  </a:lnTo>
                  <a:lnTo>
                    <a:pt x="f30" y="f8"/>
                  </a:lnTo>
                  <a:lnTo>
                    <a:pt x="f31" y="f6"/>
                  </a:lnTo>
                  <a:lnTo>
                    <a:pt x="f32" y="f4"/>
                  </a:lnTo>
                  <a:lnTo>
                    <a:pt x="f31" y="f21"/>
                  </a:lnTo>
                  <a:lnTo>
                    <a:pt x="f30" y="f19"/>
                  </a:lnTo>
                  <a:lnTo>
                    <a:pt x="f29" y="f17"/>
                  </a:lnTo>
                  <a:lnTo>
                    <a:pt x="f28" y="f15"/>
                  </a:lnTo>
                  <a:lnTo>
                    <a:pt x="f27" y="f13"/>
                  </a:lnTo>
                  <a:lnTo>
                    <a:pt x="f26" y="f11"/>
                  </a:lnTo>
                  <a:lnTo>
                    <a:pt x="f25" y="f9"/>
                  </a:lnTo>
                  <a:lnTo>
                    <a:pt x="f24" y="f7"/>
                  </a:lnTo>
                  <a:lnTo>
                    <a:pt x="f6" y="f5"/>
                  </a:lnTo>
                  <a:lnTo>
                    <a:pt x="f4" y="f2"/>
                  </a:lnTo>
                  <a:lnTo>
                    <a:pt x="f21" y="f5"/>
                  </a:lnTo>
                  <a:lnTo>
                    <a:pt x="f19" y="f7"/>
                  </a:lnTo>
                  <a:lnTo>
                    <a:pt x="f17" y="f9"/>
                  </a:lnTo>
                  <a:lnTo>
                    <a:pt x="f15" y="f11"/>
                  </a:lnTo>
                  <a:lnTo>
                    <a:pt x="f13" y="f13"/>
                  </a:lnTo>
                  <a:lnTo>
                    <a:pt x="f11" y="f15"/>
                  </a:lnTo>
                  <a:lnTo>
                    <a:pt x="f9" y="f17"/>
                  </a:lnTo>
                  <a:lnTo>
                    <a:pt x="f7" y="f19"/>
                  </a:lnTo>
                  <a:lnTo>
                    <a:pt x="f5" y="f21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508" name="object 1508">
              <a:extLst>
                <a:ext uri="{FF2B5EF4-FFF2-40B4-BE49-F238E27FC236}">
                  <a16:creationId xmlns:a16="http://schemas.microsoft.com/office/drawing/2014/main" id="{EC487116-44EF-A2B2-0B4C-28326E337C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9943039" y="1311816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09" name="object 1509">
              <a:extLst>
                <a:ext uri="{FF2B5EF4-FFF2-40B4-BE49-F238E27FC236}">
                  <a16:creationId xmlns:a16="http://schemas.microsoft.com/office/drawing/2014/main" id="{836D416C-D834-9DB8-C7F5-D768A60A16BA}"/>
                </a:ext>
              </a:extLst>
            </p:cNvPr>
            <p:cNvSpPr/>
            <p:nvPr/>
          </p:nvSpPr>
          <p:spPr>
            <a:xfrm>
              <a:off x="9943048" y="131181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510" name="object 1510">
              <a:extLst>
                <a:ext uri="{FF2B5EF4-FFF2-40B4-BE49-F238E27FC236}">
                  <a16:creationId xmlns:a16="http://schemas.microsoft.com/office/drawing/2014/main" id="{6C935386-D6CF-76A7-17F8-9DB206DA30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>
              <a:off x="9943039" y="2095100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11" name="object 1511">
              <a:extLst>
                <a:ext uri="{FF2B5EF4-FFF2-40B4-BE49-F238E27FC236}">
                  <a16:creationId xmlns:a16="http://schemas.microsoft.com/office/drawing/2014/main" id="{20B48707-60F1-C279-407F-18D79CBFAB34}"/>
                </a:ext>
              </a:extLst>
            </p:cNvPr>
            <p:cNvSpPr/>
            <p:nvPr/>
          </p:nvSpPr>
          <p:spPr>
            <a:xfrm>
              <a:off x="9943048" y="209510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2" name="object 1512">
              <a:extLst>
                <a:ext uri="{FF2B5EF4-FFF2-40B4-BE49-F238E27FC236}">
                  <a16:creationId xmlns:a16="http://schemas.microsoft.com/office/drawing/2014/main" id="{CF980035-0497-A485-F74B-9AB791A27A3E}"/>
                </a:ext>
              </a:extLst>
            </p:cNvPr>
            <p:cNvSpPr/>
            <p:nvPr/>
          </p:nvSpPr>
          <p:spPr>
            <a:xfrm>
              <a:off x="10223293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3" name="object 1513">
              <a:extLst>
                <a:ext uri="{FF2B5EF4-FFF2-40B4-BE49-F238E27FC236}">
                  <a16:creationId xmlns:a16="http://schemas.microsoft.com/office/drawing/2014/main" id="{C4B2CEE7-21D9-A37E-148C-A6EC2881986F}"/>
                </a:ext>
              </a:extLst>
            </p:cNvPr>
            <p:cNvSpPr/>
            <p:nvPr/>
          </p:nvSpPr>
          <p:spPr>
            <a:xfrm>
              <a:off x="10258315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4" name="object 1514">
              <a:extLst>
                <a:ext uri="{FF2B5EF4-FFF2-40B4-BE49-F238E27FC236}">
                  <a16:creationId xmlns:a16="http://schemas.microsoft.com/office/drawing/2014/main" id="{BAB89AF6-0FD5-DA74-97E1-75854EADE740}"/>
                </a:ext>
              </a:extLst>
            </p:cNvPr>
            <p:cNvSpPr/>
            <p:nvPr/>
          </p:nvSpPr>
          <p:spPr>
            <a:xfrm>
              <a:off x="10153241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5" name="object 1515">
              <a:extLst>
                <a:ext uri="{FF2B5EF4-FFF2-40B4-BE49-F238E27FC236}">
                  <a16:creationId xmlns:a16="http://schemas.microsoft.com/office/drawing/2014/main" id="{2851BFAA-45E2-07E8-3C5B-2E7C2B94D943}"/>
                </a:ext>
              </a:extLst>
            </p:cNvPr>
            <p:cNvSpPr/>
            <p:nvPr/>
          </p:nvSpPr>
          <p:spPr>
            <a:xfrm>
              <a:off x="10048177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6" name="object 1516">
              <a:extLst>
                <a:ext uri="{FF2B5EF4-FFF2-40B4-BE49-F238E27FC236}">
                  <a16:creationId xmlns:a16="http://schemas.microsoft.com/office/drawing/2014/main" id="{7FC72876-D620-3C5D-696B-3F94F4EEE536}"/>
                </a:ext>
              </a:extLst>
            </p:cNvPr>
            <p:cNvSpPr/>
            <p:nvPr/>
          </p:nvSpPr>
          <p:spPr>
            <a:xfrm>
              <a:off x="10083271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7" name="object 1517">
              <a:extLst>
                <a:ext uri="{FF2B5EF4-FFF2-40B4-BE49-F238E27FC236}">
                  <a16:creationId xmlns:a16="http://schemas.microsoft.com/office/drawing/2014/main" id="{2F7BEDE6-6917-FC89-B776-DFC4A94BE803}"/>
                </a:ext>
              </a:extLst>
            </p:cNvPr>
            <p:cNvSpPr/>
            <p:nvPr/>
          </p:nvSpPr>
          <p:spPr>
            <a:xfrm>
              <a:off x="9978133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8" name="object 1518">
              <a:extLst>
                <a:ext uri="{FF2B5EF4-FFF2-40B4-BE49-F238E27FC236}">
                  <a16:creationId xmlns:a16="http://schemas.microsoft.com/office/drawing/2014/main" id="{4B7D55C1-D81D-DC93-00BC-2F9D4385A7B8}"/>
                </a:ext>
              </a:extLst>
            </p:cNvPr>
            <p:cNvSpPr/>
            <p:nvPr/>
          </p:nvSpPr>
          <p:spPr>
            <a:xfrm>
              <a:off x="10188272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9" name="object 1519">
              <a:extLst>
                <a:ext uri="{FF2B5EF4-FFF2-40B4-BE49-F238E27FC236}">
                  <a16:creationId xmlns:a16="http://schemas.microsoft.com/office/drawing/2014/main" id="{09887D67-C416-1697-5074-1498D3284763}"/>
                </a:ext>
              </a:extLst>
            </p:cNvPr>
            <p:cNvSpPr/>
            <p:nvPr/>
          </p:nvSpPr>
          <p:spPr>
            <a:xfrm>
              <a:off x="10013155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0" name="object 1520">
              <a:extLst>
                <a:ext uri="{FF2B5EF4-FFF2-40B4-BE49-F238E27FC236}">
                  <a16:creationId xmlns:a16="http://schemas.microsoft.com/office/drawing/2014/main" id="{92C0D29C-7C14-1618-56E1-C0D083032059}"/>
                </a:ext>
              </a:extLst>
            </p:cNvPr>
            <p:cNvSpPr/>
            <p:nvPr/>
          </p:nvSpPr>
          <p:spPr>
            <a:xfrm>
              <a:off x="10293336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1" name="object 1521">
              <a:extLst>
                <a:ext uri="{FF2B5EF4-FFF2-40B4-BE49-F238E27FC236}">
                  <a16:creationId xmlns:a16="http://schemas.microsoft.com/office/drawing/2014/main" id="{B1218E1B-38D5-C901-9087-CEA9C772B989}"/>
                </a:ext>
              </a:extLst>
            </p:cNvPr>
            <p:cNvSpPr/>
            <p:nvPr/>
          </p:nvSpPr>
          <p:spPr>
            <a:xfrm>
              <a:off x="10118366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2" name="object 1522">
              <a:extLst>
                <a:ext uri="{FF2B5EF4-FFF2-40B4-BE49-F238E27FC236}">
                  <a16:creationId xmlns:a16="http://schemas.microsoft.com/office/drawing/2014/main" id="{E096AF2F-B85D-DDF1-B707-960F55B92AD3}"/>
                </a:ext>
              </a:extLst>
            </p:cNvPr>
            <p:cNvSpPr/>
            <p:nvPr/>
          </p:nvSpPr>
          <p:spPr>
            <a:xfrm>
              <a:off x="9943386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3" name="object 1523">
              <a:extLst>
                <a:ext uri="{FF2B5EF4-FFF2-40B4-BE49-F238E27FC236}">
                  <a16:creationId xmlns:a16="http://schemas.microsoft.com/office/drawing/2014/main" id="{740391EB-7A04-A0F5-728F-F2E696231FA6}"/>
                </a:ext>
              </a:extLst>
            </p:cNvPr>
            <p:cNvSpPr/>
            <p:nvPr/>
          </p:nvSpPr>
          <p:spPr>
            <a:xfrm>
              <a:off x="9943395" y="26335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4" name="object 1524">
              <a:extLst>
                <a:ext uri="{FF2B5EF4-FFF2-40B4-BE49-F238E27FC236}">
                  <a16:creationId xmlns:a16="http://schemas.microsoft.com/office/drawing/2014/main" id="{AD683CCF-713E-B559-8A02-A0D919D6E13E}"/>
                </a:ext>
              </a:extLst>
            </p:cNvPr>
            <p:cNvSpPr/>
            <p:nvPr/>
          </p:nvSpPr>
          <p:spPr>
            <a:xfrm>
              <a:off x="9943514" y="2608069"/>
              <a:ext cx="11474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9230"/>
                <a:gd name="f4" fmla="val 84454"/>
                <a:gd name="f5" fmla="val 189104"/>
                <a:gd name="f6" fmla="val 84102"/>
                <a:gd name="f7" fmla="*/ f0 1 189230"/>
                <a:gd name="f8" fmla="*/ f1 1 84454"/>
                <a:gd name="f9" fmla="+- f4 0 f2"/>
                <a:gd name="f10" fmla="+- f3 0 f2"/>
                <a:gd name="f11" fmla="*/ f10 1 1892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92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5" name="object 1525">
              <a:extLst>
                <a:ext uri="{FF2B5EF4-FFF2-40B4-BE49-F238E27FC236}">
                  <a16:creationId xmlns:a16="http://schemas.microsoft.com/office/drawing/2014/main" id="{97F4B5D3-4713-57E6-0FA4-EDEC3A8704DC}"/>
                </a:ext>
              </a:extLst>
            </p:cNvPr>
            <p:cNvSpPr/>
            <p:nvPr/>
          </p:nvSpPr>
          <p:spPr>
            <a:xfrm>
              <a:off x="10292989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6" name="object 1526">
              <a:extLst>
                <a:ext uri="{FF2B5EF4-FFF2-40B4-BE49-F238E27FC236}">
                  <a16:creationId xmlns:a16="http://schemas.microsoft.com/office/drawing/2014/main" id="{976398B3-FF3B-399E-C760-32203B69291C}"/>
                </a:ext>
              </a:extLst>
            </p:cNvPr>
            <p:cNvSpPr/>
            <p:nvPr/>
          </p:nvSpPr>
          <p:spPr>
            <a:xfrm>
              <a:off x="10118018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7" name="object 1527">
              <a:extLst>
                <a:ext uri="{FF2B5EF4-FFF2-40B4-BE49-F238E27FC236}">
                  <a16:creationId xmlns:a16="http://schemas.microsoft.com/office/drawing/2014/main" id="{8F0010A6-8C27-2F11-D18E-FCCF5ADCD3B0}"/>
                </a:ext>
              </a:extLst>
            </p:cNvPr>
            <p:cNvSpPr/>
            <p:nvPr/>
          </p:nvSpPr>
          <p:spPr>
            <a:xfrm>
              <a:off x="9943048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8" name="object 1528">
              <a:extLst>
                <a:ext uri="{FF2B5EF4-FFF2-40B4-BE49-F238E27FC236}">
                  <a16:creationId xmlns:a16="http://schemas.microsoft.com/office/drawing/2014/main" id="{D9268DC8-7F31-8210-2B1E-AF4049B2F3B8}"/>
                </a:ext>
              </a:extLst>
            </p:cNvPr>
            <p:cNvSpPr/>
            <p:nvPr/>
          </p:nvSpPr>
          <p:spPr>
            <a:xfrm>
              <a:off x="10118018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9" name="object 1529">
              <a:extLst>
                <a:ext uri="{FF2B5EF4-FFF2-40B4-BE49-F238E27FC236}">
                  <a16:creationId xmlns:a16="http://schemas.microsoft.com/office/drawing/2014/main" id="{B2ABB642-54C0-C864-3742-3ABA879947EF}"/>
                </a:ext>
              </a:extLst>
            </p:cNvPr>
            <p:cNvSpPr/>
            <p:nvPr/>
          </p:nvSpPr>
          <p:spPr>
            <a:xfrm>
              <a:off x="10222946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0" name="object 1530">
              <a:extLst>
                <a:ext uri="{FF2B5EF4-FFF2-40B4-BE49-F238E27FC236}">
                  <a16:creationId xmlns:a16="http://schemas.microsoft.com/office/drawing/2014/main" id="{E221F505-9305-B430-0F2F-6C52DA5A3754}"/>
                </a:ext>
              </a:extLst>
            </p:cNvPr>
            <p:cNvSpPr/>
            <p:nvPr/>
          </p:nvSpPr>
          <p:spPr>
            <a:xfrm>
              <a:off x="10257967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1" name="object 1531">
              <a:extLst>
                <a:ext uri="{FF2B5EF4-FFF2-40B4-BE49-F238E27FC236}">
                  <a16:creationId xmlns:a16="http://schemas.microsoft.com/office/drawing/2014/main" id="{8311E7BA-1362-9230-22A4-703A084124E9}"/>
                </a:ext>
              </a:extLst>
            </p:cNvPr>
            <p:cNvSpPr/>
            <p:nvPr/>
          </p:nvSpPr>
          <p:spPr>
            <a:xfrm>
              <a:off x="10152903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2" name="object 1532">
              <a:extLst>
                <a:ext uri="{FF2B5EF4-FFF2-40B4-BE49-F238E27FC236}">
                  <a16:creationId xmlns:a16="http://schemas.microsoft.com/office/drawing/2014/main" id="{1EE965D4-0907-AF48-C814-B33C6D10869B}"/>
                </a:ext>
              </a:extLst>
            </p:cNvPr>
            <p:cNvSpPr/>
            <p:nvPr/>
          </p:nvSpPr>
          <p:spPr>
            <a:xfrm>
              <a:off x="10047829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3" name="object 1533">
              <a:extLst>
                <a:ext uri="{FF2B5EF4-FFF2-40B4-BE49-F238E27FC236}">
                  <a16:creationId xmlns:a16="http://schemas.microsoft.com/office/drawing/2014/main" id="{78D7C7C4-F744-6CFC-67E9-E607035427C8}"/>
                </a:ext>
              </a:extLst>
            </p:cNvPr>
            <p:cNvSpPr/>
            <p:nvPr/>
          </p:nvSpPr>
          <p:spPr>
            <a:xfrm>
              <a:off x="10082924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4" name="object 1534">
              <a:extLst>
                <a:ext uri="{FF2B5EF4-FFF2-40B4-BE49-F238E27FC236}">
                  <a16:creationId xmlns:a16="http://schemas.microsoft.com/office/drawing/2014/main" id="{35EF9C52-9D61-5810-B5EC-F7351D326FB1}"/>
                </a:ext>
              </a:extLst>
            </p:cNvPr>
            <p:cNvSpPr/>
            <p:nvPr/>
          </p:nvSpPr>
          <p:spPr>
            <a:xfrm>
              <a:off x="9977786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5" name="object 1535">
              <a:extLst>
                <a:ext uri="{FF2B5EF4-FFF2-40B4-BE49-F238E27FC236}">
                  <a16:creationId xmlns:a16="http://schemas.microsoft.com/office/drawing/2014/main" id="{AD2E043C-6F83-24EE-1FD0-6E77C8C49177}"/>
                </a:ext>
              </a:extLst>
            </p:cNvPr>
            <p:cNvSpPr/>
            <p:nvPr/>
          </p:nvSpPr>
          <p:spPr>
            <a:xfrm>
              <a:off x="10187924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6" name="object 1536">
              <a:extLst>
                <a:ext uri="{FF2B5EF4-FFF2-40B4-BE49-F238E27FC236}">
                  <a16:creationId xmlns:a16="http://schemas.microsoft.com/office/drawing/2014/main" id="{D92BD09C-D6CC-779C-4881-0953E235B0CD}"/>
                </a:ext>
              </a:extLst>
            </p:cNvPr>
            <p:cNvSpPr/>
            <p:nvPr/>
          </p:nvSpPr>
          <p:spPr>
            <a:xfrm>
              <a:off x="10012808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7" name="object 1537">
              <a:extLst>
                <a:ext uri="{FF2B5EF4-FFF2-40B4-BE49-F238E27FC236}">
                  <a16:creationId xmlns:a16="http://schemas.microsoft.com/office/drawing/2014/main" id="{A0F5B54E-B2BA-33A5-C1B6-43854FEB0C49}"/>
                </a:ext>
              </a:extLst>
            </p:cNvPr>
            <p:cNvSpPr/>
            <p:nvPr/>
          </p:nvSpPr>
          <p:spPr>
            <a:xfrm>
              <a:off x="9943048" y="27058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538" name="object 1538">
              <a:extLst>
                <a:ext uri="{FF2B5EF4-FFF2-40B4-BE49-F238E27FC236}">
                  <a16:creationId xmlns:a16="http://schemas.microsoft.com/office/drawing/2014/main" id="{38E017C9-9B28-3514-C862-E423E4AC1C52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6654820" y="564001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39" name="object 1539">
              <a:extLst>
                <a:ext uri="{FF2B5EF4-FFF2-40B4-BE49-F238E27FC236}">
                  <a16:creationId xmlns:a16="http://schemas.microsoft.com/office/drawing/2014/main" id="{3313B9F2-4075-49D5-403A-B026DB2E8C3D}"/>
                </a:ext>
              </a:extLst>
            </p:cNvPr>
            <p:cNvSpPr/>
            <p:nvPr/>
          </p:nvSpPr>
          <p:spPr>
            <a:xfrm>
              <a:off x="6654820" y="710589"/>
              <a:ext cx="350023" cy="20370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335915"/>
                <a:gd name="f5" fmla="val 3776"/>
                <a:gd name="f6" fmla="val 1972"/>
                <a:gd name="f7" fmla="val 22355"/>
                <a:gd name="f8" fmla="val 46796"/>
                <a:gd name="f9" fmla="val 93598"/>
                <a:gd name="f10" fmla="val 14710"/>
                <a:gd name="f11" fmla="val 137996"/>
                <a:gd name="f12" fmla="val 32207"/>
                <a:gd name="f13" fmla="val 179397"/>
                <a:gd name="f14" fmla="val 55673"/>
                <a:gd name="f15" fmla="val 217205"/>
                <a:gd name="f16" fmla="val 84514"/>
                <a:gd name="f17" fmla="val 250827"/>
                <a:gd name="f18" fmla="val 118135"/>
                <a:gd name="f19" fmla="val 279667"/>
                <a:gd name="f20" fmla="val 155943"/>
                <a:gd name="f21" fmla="val 303133"/>
                <a:gd name="f22" fmla="val 197344"/>
                <a:gd name="f23" fmla="val 320630"/>
                <a:gd name="f24" fmla="val 241743"/>
                <a:gd name="f25" fmla="val 331564"/>
                <a:gd name="f26" fmla="val 288546"/>
                <a:gd name="f27" fmla="val 335341"/>
                <a:gd name="f28" fmla="val 335348"/>
                <a:gd name="f29" fmla="val 379746"/>
                <a:gd name="f30" fmla="val 421146"/>
                <a:gd name="f31" fmla="val 458952"/>
                <a:gd name="f32" fmla="val 492572"/>
                <a:gd name="f33" fmla="val 521411"/>
                <a:gd name="f34" fmla="val 544876"/>
                <a:gd name="f35" fmla="val 562372"/>
                <a:gd name="f36" fmla="val 573305"/>
                <a:gd name="f37" fmla="val 577081"/>
                <a:gd name="f38" fmla="val 46805"/>
                <a:gd name="f39" fmla="*/ f0 1 577215"/>
                <a:gd name="f40" fmla="*/ f1 1 335915"/>
                <a:gd name="f41" fmla="+- f4 0 f2"/>
                <a:gd name="f42" fmla="+- f3 0 f2"/>
                <a:gd name="f43" fmla="*/ f42 1 577215"/>
                <a:gd name="f44" fmla="*/ f41 1 335915"/>
                <a:gd name="f45" fmla="*/ f2 1 f43"/>
                <a:gd name="f46" fmla="*/ f3 1 f43"/>
                <a:gd name="f47" fmla="*/ f2 1 f44"/>
                <a:gd name="f48" fmla="*/ f4 1 f44"/>
                <a:gd name="f49" fmla="*/ f45 f39 1"/>
                <a:gd name="f50" fmla="*/ f46 f39 1"/>
                <a:gd name="f51" fmla="*/ f48 f40 1"/>
                <a:gd name="f52" fmla="*/ f47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9" t="f52" r="f50" b="f51"/>
              <a:pathLst>
                <a:path w="577215" h="335915">
                  <a:moveTo>
                    <a:pt x="f5" y="f2"/>
                  </a:moveTo>
                  <a:lnTo>
                    <a:pt x="f6" y="f7"/>
                  </a:lnTo>
                </a:path>
                <a:path w="577215" h="335915">
                  <a:moveTo>
                    <a:pt x="f2" y="f8"/>
                  </a:moveTo>
                  <a:lnTo>
                    <a:pt x="f5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5"/>
                  </a:lnTo>
                  <a:lnTo>
                    <a:pt x="f29" y="f23"/>
                  </a:lnTo>
                  <a:lnTo>
                    <a:pt x="f30" y="f21"/>
                  </a:lnTo>
                  <a:lnTo>
                    <a:pt x="f31" y="f19"/>
                  </a:lnTo>
                  <a:lnTo>
                    <a:pt x="f32" y="f17"/>
                  </a:lnTo>
                  <a:lnTo>
                    <a:pt x="f33" y="f15"/>
                  </a:lnTo>
                  <a:lnTo>
                    <a:pt x="f34" y="f13"/>
                  </a:lnTo>
                  <a:lnTo>
                    <a:pt x="f35" y="f11"/>
                  </a:lnTo>
                  <a:lnTo>
                    <a:pt x="f36" y="f9"/>
                  </a:lnTo>
                  <a:lnTo>
                    <a:pt x="f37" y="f38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0" name="object 1540">
              <a:extLst>
                <a:ext uri="{FF2B5EF4-FFF2-40B4-BE49-F238E27FC236}">
                  <a16:creationId xmlns:a16="http://schemas.microsoft.com/office/drawing/2014/main" id="{01B67AE7-73A8-84E9-EFFE-2E4890427E99}"/>
                </a:ext>
              </a:extLst>
            </p:cNvPr>
            <p:cNvSpPr/>
            <p:nvPr/>
          </p:nvSpPr>
          <p:spPr>
            <a:xfrm>
              <a:off x="6654820" y="56400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541" name="object 1541">
              <a:extLst>
                <a:ext uri="{FF2B5EF4-FFF2-40B4-BE49-F238E27FC236}">
                  <a16:creationId xmlns:a16="http://schemas.microsoft.com/office/drawing/2014/main" id="{2ADA38CC-03D6-EA09-A44E-3821303A42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/>
            <a:stretch>
              <a:fillRect/>
            </a:stretch>
          </p:blipFill>
          <p:spPr>
            <a:xfrm>
              <a:off x="7483275" y="564011"/>
              <a:ext cx="349950" cy="3499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542" name="object 1542">
              <a:extLst>
                <a:ext uri="{FF2B5EF4-FFF2-40B4-BE49-F238E27FC236}">
                  <a16:creationId xmlns:a16="http://schemas.microsoft.com/office/drawing/2014/main" id="{C7D42B7D-CB4F-4A5D-F70A-5FE9E7B283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7479481" y="559256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543" name="object 1543">
              <a:extLst>
                <a:ext uri="{FF2B5EF4-FFF2-40B4-BE49-F238E27FC236}">
                  <a16:creationId xmlns:a16="http://schemas.microsoft.com/office/drawing/2014/main" id="{940B3569-0AB4-198E-B752-68D1CD2B4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7479481" y="559256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44" name="object 1544">
              <a:extLst>
                <a:ext uri="{FF2B5EF4-FFF2-40B4-BE49-F238E27FC236}">
                  <a16:creationId xmlns:a16="http://schemas.microsoft.com/office/drawing/2014/main" id="{906B449B-06A2-6D3F-6E33-2826FF3B9690}"/>
                </a:ext>
              </a:extLst>
            </p:cNvPr>
            <p:cNvSpPr/>
            <p:nvPr/>
          </p:nvSpPr>
          <p:spPr>
            <a:xfrm>
              <a:off x="7484235" y="56401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545" name="object 1545">
              <a:extLst>
                <a:ext uri="{FF2B5EF4-FFF2-40B4-BE49-F238E27FC236}">
                  <a16:creationId xmlns:a16="http://schemas.microsoft.com/office/drawing/2014/main" id="{3975CFC0-3F4C-D3A2-F2C2-1CA795278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>
              <a:off x="7471809" y="1318162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546" name="object 1546">
              <a:extLst>
                <a:ext uri="{FF2B5EF4-FFF2-40B4-BE49-F238E27FC236}">
                  <a16:creationId xmlns:a16="http://schemas.microsoft.com/office/drawing/2014/main" id="{E9E267DC-2C52-96CB-0EC3-222F5B9DE409}"/>
                </a:ext>
              </a:extLst>
            </p:cNvPr>
            <p:cNvSpPr/>
            <p:nvPr/>
          </p:nvSpPr>
          <p:spPr>
            <a:xfrm>
              <a:off x="7471809" y="131816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7" name="object 1547">
              <a:extLst>
                <a:ext uri="{FF2B5EF4-FFF2-40B4-BE49-F238E27FC236}">
                  <a16:creationId xmlns:a16="http://schemas.microsoft.com/office/drawing/2014/main" id="{ECB4D303-B81B-EE65-AA8B-006CAAE83E6D}"/>
                </a:ext>
              </a:extLst>
            </p:cNvPr>
            <p:cNvSpPr/>
            <p:nvPr/>
          </p:nvSpPr>
          <p:spPr>
            <a:xfrm>
              <a:off x="7758199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8" name="object 1548">
              <a:extLst>
                <a:ext uri="{FF2B5EF4-FFF2-40B4-BE49-F238E27FC236}">
                  <a16:creationId xmlns:a16="http://schemas.microsoft.com/office/drawing/2014/main" id="{F6BAB9D2-3379-3A54-5839-3FF7D4C75136}"/>
                </a:ext>
              </a:extLst>
            </p:cNvPr>
            <p:cNvSpPr/>
            <p:nvPr/>
          </p:nvSpPr>
          <p:spPr>
            <a:xfrm>
              <a:off x="7793220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9" name="object 1549">
              <a:extLst>
                <a:ext uri="{FF2B5EF4-FFF2-40B4-BE49-F238E27FC236}">
                  <a16:creationId xmlns:a16="http://schemas.microsoft.com/office/drawing/2014/main" id="{E1A61360-89BE-9639-438B-166DA4009E72}"/>
                </a:ext>
              </a:extLst>
            </p:cNvPr>
            <p:cNvSpPr/>
            <p:nvPr/>
          </p:nvSpPr>
          <p:spPr>
            <a:xfrm>
              <a:off x="7688156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0" name="object 1550">
              <a:extLst>
                <a:ext uri="{FF2B5EF4-FFF2-40B4-BE49-F238E27FC236}">
                  <a16:creationId xmlns:a16="http://schemas.microsoft.com/office/drawing/2014/main" id="{CB8420DC-3B08-8C61-9473-0D4D1C1A795B}"/>
                </a:ext>
              </a:extLst>
            </p:cNvPr>
            <p:cNvSpPr/>
            <p:nvPr/>
          </p:nvSpPr>
          <p:spPr>
            <a:xfrm>
              <a:off x="7583091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1" name="object 1551">
              <a:extLst>
                <a:ext uri="{FF2B5EF4-FFF2-40B4-BE49-F238E27FC236}">
                  <a16:creationId xmlns:a16="http://schemas.microsoft.com/office/drawing/2014/main" id="{82B27CE1-8631-47FA-F023-51C357C13772}"/>
                </a:ext>
              </a:extLst>
            </p:cNvPr>
            <p:cNvSpPr/>
            <p:nvPr/>
          </p:nvSpPr>
          <p:spPr>
            <a:xfrm>
              <a:off x="7618186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2" name="object 1552">
              <a:extLst>
                <a:ext uri="{FF2B5EF4-FFF2-40B4-BE49-F238E27FC236}">
                  <a16:creationId xmlns:a16="http://schemas.microsoft.com/office/drawing/2014/main" id="{0BF59843-D52C-5932-B982-A170E1DE8947}"/>
                </a:ext>
              </a:extLst>
            </p:cNvPr>
            <p:cNvSpPr/>
            <p:nvPr/>
          </p:nvSpPr>
          <p:spPr>
            <a:xfrm>
              <a:off x="7513048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3" name="object 1553">
              <a:extLst>
                <a:ext uri="{FF2B5EF4-FFF2-40B4-BE49-F238E27FC236}">
                  <a16:creationId xmlns:a16="http://schemas.microsoft.com/office/drawing/2014/main" id="{68AF16DC-C434-339F-109F-4E5E64AC6AF1}"/>
                </a:ext>
              </a:extLst>
            </p:cNvPr>
            <p:cNvSpPr/>
            <p:nvPr/>
          </p:nvSpPr>
          <p:spPr>
            <a:xfrm>
              <a:off x="7723177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4" name="object 1554">
              <a:extLst>
                <a:ext uri="{FF2B5EF4-FFF2-40B4-BE49-F238E27FC236}">
                  <a16:creationId xmlns:a16="http://schemas.microsoft.com/office/drawing/2014/main" id="{D0122991-B6E8-2CA9-0B56-E6B57CF36F92}"/>
                </a:ext>
              </a:extLst>
            </p:cNvPr>
            <p:cNvSpPr/>
            <p:nvPr/>
          </p:nvSpPr>
          <p:spPr>
            <a:xfrm>
              <a:off x="7548070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5" name="object 1555">
              <a:extLst>
                <a:ext uri="{FF2B5EF4-FFF2-40B4-BE49-F238E27FC236}">
                  <a16:creationId xmlns:a16="http://schemas.microsoft.com/office/drawing/2014/main" id="{32242A38-93CF-BA2A-7E9F-CDA3A1177628}"/>
                </a:ext>
              </a:extLst>
            </p:cNvPr>
            <p:cNvSpPr/>
            <p:nvPr/>
          </p:nvSpPr>
          <p:spPr>
            <a:xfrm>
              <a:off x="7828242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6" name="object 1556">
              <a:extLst>
                <a:ext uri="{FF2B5EF4-FFF2-40B4-BE49-F238E27FC236}">
                  <a16:creationId xmlns:a16="http://schemas.microsoft.com/office/drawing/2014/main" id="{0FE7BD97-9CAD-FAB3-664C-C14EA4626E7A}"/>
                </a:ext>
              </a:extLst>
            </p:cNvPr>
            <p:cNvSpPr/>
            <p:nvPr/>
          </p:nvSpPr>
          <p:spPr>
            <a:xfrm>
              <a:off x="7653271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7" name="object 1557">
              <a:extLst>
                <a:ext uri="{FF2B5EF4-FFF2-40B4-BE49-F238E27FC236}">
                  <a16:creationId xmlns:a16="http://schemas.microsoft.com/office/drawing/2014/main" id="{0474A86D-D18B-57BE-3AAB-6B45BAE78A31}"/>
                </a:ext>
              </a:extLst>
            </p:cNvPr>
            <p:cNvSpPr/>
            <p:nvPr/>
          </p:nvSpPr>
          <p:spPr>
            <a:xfrm>
              <a:off x="7478301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8" name="object 1558">
              <a:extLst>
                <a:ext uri="{FF2B5EF4-FFF2-40B4-BE49-F238E27FC236}">
                  <a16:creationId xmlns:a16="http://schemas.microsoft.com/office/drawing/2014/main" id="{251DF270-D1CE-4C8D-6FF4-671BF08B6635}"/>
                </a:ext>
              </a:extLst>
            </p:cNvPr>
            <p:cNvSpPr/>
            <p:nvPr/>
          </p:nvSpPr>
          <p:spPr>
            <a:xfrm>
              <a:off x="7478301" y="11057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9" name="object 1559">
              <a:extLst>
                <a:ext uri="{FF2B5EF4-FFF2-40B4-BE49-F238E27FC236}">
                  <a16:creationId xmlns:a16="http://schemas.microsoft.com/office/drawing/2014/main" id="{86D8470A-8270-80C3-B750-A2C93E0548F4}"/>
                </a:ext>
              </a:extLst>
            </p:cNvPr>
            <p:cNvSpPr/>
            <p:nvPr/>
          </p:nvSpPr>
          <p:spPr>
            <a:xfrm>
              <a:off x="7478429" y="1080263"/>
              <a:ext cx="25568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1640"/>
                <a:gd name="f4" fmla="val 84455"/>
                <a:gd name="f5" fmla="val 421034"/>
                <a:gd name="f6" fmla="val 84112"/>
                <a:gd name="f7" fmla="*/ f0 1 421640"/>
                <a:gd name="f8" fmla="*/ f1 1 84455"/>
                <a:gd name="f9" fmla="+- f4 0 f2"/>
                <a:gd name="f10" fmla="+- f3 0 f2"/>
                <a:gd name="f11" fmla="*/ f10 1 42164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164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0" name="object 1560">
              <a:extLst>
                <a:ext uri="{FF2B5EF4-FFF2-40B4-BE49-F238E27FC236}">
                  <a16:creationId xmlns:a16="http://schemas.microsoft.com/office/drawing/2014/main" id="{9CD98BC3-86FF-195A-FBD3-C90B820C04C3}"/>
                </a:ext>
              </a:extLst>
            </p:cNvPr>
            <p:cNvSpPr/>
            <p:nvPr/>
          </p:nvSpPr>
          <p:spPr>
            <a:xfrm>
              <a:off x="7478429" y="1152555"/>
              <a:ext cx="33692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55625"/>
                <a:gd name="f4" fmla="val 84455"/>
                <a:gd name="f5" fmla="val 555250"/>
                <a:gd name="f6" fmla="val 84112"/>
                <a:gd name="f7" fmla="*/ f0 1 555625"/>
                <a:gd name="f8" fmla="*/ f1 1 84455"/>
                <a:gd name="f9" fmla="+- f4 0 f2"/>
                <a:gd name="f10" fmla="+- f3 0 f2"/>
                <a:gd name="f11" fmla="*/ f10 1 55562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5562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1" name="object 1561">
              <a:extLst>
                <a:ext uri="{FF2B5EF4-FFF2-40B4-BE49-F238E27FC236}">
                  <a16:creationId xmlns:a16="http://schemas.microsoft.com/office/drawing/2014/main" id="{B669DD03-C2A7-65C9-691F-06D8F8EDDDFF}"/>
                </a:ext>
              </a:extLst>
            </p:cNvPr>
            <p:cNvSpPr/>
            <p:nvPr/>
          </p:nvSpPr>
          <p:spPr>
            <a:xfrm>
              <a:off x="7757851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2" name="object 1562">
              <a:extLst>
                <a:ext uri="{FF2B5EF4-FFF2-40B4-BE49-F238E27FC236}">
                  <a16:creationId xmlns:a16="http://schemas.microsoft.com/office/drawing/2014/main" id="{11A02A23-BF1E-0E6A-C73F-AE4776B4330B}"/>
                </a:ext>
              </a:extLst>
            </p:cNvPr>
            <p:cNvSpPr/>
            <p:nvPr/>
          </p:nvSpPr>
          <p:spPr>
            <a:xfrm>
              <a:off x="7792873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3" name="object 1563">
              <a:extLst>
                <a:ext uri="{FF2B5EF4-FFF2-40B4-BE49-F238E27FC236}">
                  <a16:creationId xmlns:a16="http://schemas.microsoft.com/office/drawing/2014/main" id="{926A00C5-356F-09C9-FF9E-0724480A9D46}"/>
                </a:ext>
              </a:extLst>
            </p:cNvPr>
            <p:cNvSpPr/>
            <p:nvPr/>
          </p:nvSpPr>
          <p:spPr>
            <a:xfrm>
              <a:off x="768780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4" name="object 1564">
              <a:extLst>
                <a:ext uri="{FF2B5EF4-FFF2-40B4-BE49-F238E27FC236}">
                  <a16:creationId xmlns:a16="http://schemas.microsoft.com/office/drawing/2014/main" id="{BA355F6D-F5A4-81A6-EE21-BACD466A5321}"/>
                </a:ext>
              </a:extLst>
            </p:cNvPr>
            <p:cNvSpPr/>
            <p:nvPr/>
          </p:nvSpPr>
          <p:spPr>
            <a:xfrm>
              <a:off x="7582744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5" name="object 1565">
              <a:extLst>
                <a:ext uri="{FF2B5EF4-FFF2-40B4-BE49-F238E27FC236}">
                  <a16:creationId xmlns:a16="http://schemas.microsoft.com/office/drawing/2014/main" id="{DEA0E932-BB1E-B0B9-001A-24B81ED5E05E}"/>
                </a:ext>
              </a:extLst>
            </p:cNvPr>
            <p:cNvSpPr/>
            <p:nvPr/>
          </p:nvSpPr>
          <p:spPr>
            <a:xfrm>
              <a:off x="761783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6" name="object 1566">
              <a:extLst>
                <a:ext uri="{FF2B5EF4-FFF2-40B4-BE49-F238E27FC236}">
                  <a16:creationId xmlns:a16="http://schemas.microsoft.com/office/drawing/2014/main" id="{D92ECE90-E70A-36F2-CF25-B9870B665964}"/>
                </a:ext>
              </a:extLst>
            </p:cNvPr>
            <p:cNvSpPr/>
            <p:nvPr/>
          </p:nvSpPr>
          <p:spPr>
            <a:xfrm>
              <a:off x="7512701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7" name="object 1567">
              <a:extLst>
                <a:ext uri="{FF2B5EF4-FFF2-40B4-BE49-F238E27FC236}">
                  <a16:creationId xmlns:a16="http://schemas.microsoft.com/office/drawing/2014/main" id="{1E94EBA2-B131-4E80-A361-DD69843270DD}"/>
                </a:ext>
              </a:extLst>
            </p:cNvPr>
            <p:cNvSpPr/>
            <p:nvPr/>
          </p:nvSpPr>
          <p:spPr>
            <a:xfrm>
              <a:off x="772283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8" name="object 1568">
              <a:extLst>
                <a:ext uri="{FF2B5EF4-FFF2-40B4-BE49-F238E27FC236}">
                  <a16:creationId xmlns:a16="http://schemas.microsoft.com/office/drawing/2014/main" id="{675F48C7-FE24-7F29-E75B-EE17964E644E}"/>
                </a:ext>
              </a:extLst>
            </p:cNvPr>
            <p:cNvSpPr/>
            <p:nvPr/>
          </p:nvSpPr>
          <p:spPr>
            <a:xfrm>
              <a:off x="7547722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9" name="object 1569">
              <a:extLst>
                <a:ext uri="{FF2B5EF4-FFF2-40B4-BE49-F238E27FC236}">
                  <a16:creationId xmlns:a16="http://schemas.microsoft.com/office/drawing/2014/main" id="{20A80E3F-C0FD-D093-E87F-A25CF1EF9C60}"/>
                </a:ext>
              </a:extLst>
            </p:cNvPr>
            <p:cNvSpPr/>
            <p:nvPr/>
          </p:nvSpPr>
          <p:spPr>
            <a:xfrm>
              <a:off x="7827894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0" name="object 1570">
              <a:extLst>
                <a:ext uri="{FF2B5EF4-FFF2-40B4-BE49-F238E27FC236}">
                  <a16:creationId xmlns:a16="http://schemas.microsoft.com/office/drawing/2014/main" id="{8AA7E6C7-3722-37A7-99D2-DEBB24D71CA7}"/>
                </a:ext>
              </a:extLst>
            </p:cNvPr>
            <p:cNvSpPr/>
            <p:nvPr/>
          </p:nvSpPr>
          <p:spPr>
            <a:xfrm>
              <a:off x="7652924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1" name="object 1571">
              <a:extLst>
                <a:ext uri="{FF2B5EF4-FFF2-40B4-BE49-F238E27FC236}">
                  <a16:creationId xmlns:a16="http://schemas.microsoft.com/office/drawing/2014/main" id="{663014CF-2C73-2FB2-1CD5-D515BF78F7A2}"/>
                </a:ext>
              </a:extLst>
            </p:cNvPr>
            <p:cNvSpPr/>
            <p:nvPr/>
          </p:nvSpPr>
          <p:spPr>
            <a:xfrm>
              <a:off x="7477954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2" name="object 1572">
              <a:extLst>
                <a:ext uri="{FF2B5EF4-FFF2-40B4-BE49-F238E27FC236}">
                  <a16:creationId xmlns:a16="http://schemas.microsoft.com/office/drawing/2014/main" id="{142E0201-2421-BA1B-C6AA-C9B87FEDD378}"/>
                </a:ext>
              </a:extLst>
            </p:cNvPr>
            <p:cNvSpPr/>
            <p:nvPr/>
          </p:nvSpPr>
          <p:spPr>
            <a:xfrm>
              <a:off x="7652924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3" name="object 1573">
              <a:extLst>
                <a:ext uri="{FF2B5EF4-FFF2-40B4-BE49-F238E27FC236}">
                  <a16:creationId xmlns:a16="http://schemas.microsoft.com/office/drawing/2014/main" id="{237A3DB9-D2BD-32F6-0A95-FDBCE2F84489}"/>
                </a:ext>
              </a:extLst>
            </p:cNvPr>
            <p:cNvSpPr/>
            <p:nvPr/>
          </p:nvSpPr>
          <p:spPr>
            <a:xfrm>
              <a:off x="7477954" y="11780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4" name="object 1574">
              <a:extLst>
                <a:ext uri="{FF2B5EF4-FFF2-40B4-BE49-F238E27FC236}">
                  <a16:creationId xmlns:a16="http://schemas.microsoft.com/office/drawing/2014/main" id="{CFA66764-E90B-FDB2-5B2A-D01B112E777A}"/>
                </a:ext>
              </a:extLst>
            </p:cNvPr>
            <p:cNvSpPr/>
            <p:nvPr/>
          </p:nvSpPr>
          <p:spPr>
            <a:xfrm>
              <a:off x="8579376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5" name="object 1575">
              <a:extLst>
                <a:ext uri="{FF2B5EF4-FFF2-40B4-BE49-F238E27FC236}">
                  <a16:creationId xmlns:a16="http://schemas.microsoft.com/office/drawing/2014/main" id="{AB748B8A-4DA2-8B6A-5763-9D71B3182005}"/>
                </a:ext>
              </a:extLst>
            </p:cNvPr>
            <p:cNvSpPr/>
            <p:nvPr/>
          </p:nvSpPr>
          <p:spPr>
            <a:xfrm>
              <a:off x="8614397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6" name="object 1576">
              <a:extLst>
                <a:ext uri="{FF2B5EF4-FFF2-40B4-BE49-F238E27FC236}">
                  <a16:creationId xmlns:a16="http://schemas.microsoft.com/office/drawing/2014/main" id="{C4F51A96-BADA-A2CC-343D-C055A415EF4A}"/>
                </a:ext>
              </a:extLst>
            </p:cNvPr>
            <p:cNvSpPr/>
            <p:nvPr/>
          </p:nvSpPr>
          <p:spPr>
            <a:xfrm>
              <a:off x="8509333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7" name="object 1577">
              <a:extLst>
                <a:ext uri="{FF2B5EF4-FFF2-40B4-BE49-F238E27FC236}">
                  <a16:creationId xmlns:a16="http://schemas.microsoft.com/office/drawing/2014/main" id="{1FD64316-B1C1-FDB1-4567-C6E78A8BE4A3}"/>
                </a:ext>
              </a:extLst>
            </p:cNvPr>
            <p:cNvSpPr/>
            <p:nvPr/>
          </p:nvSpPr>
          <p:spPr>
            <a:xfrm>
              <a:off x="8404268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8" name="object 1578">
              <a:extLst>
                <a:ext uri="{FF2B5EF4-FFF2-40B4-BE49-F238E27FC236}">
                  <a16:creationId xmlns:a16="http://schemas.microsoft.com/office/drawing/2014/main" id="{21FD6CA4-E558-AF1F-2838-69EF1C0F5EEC}"/>
                </a:ext>
              </a:extLst>
            </p:cNvPr>
            <p:cNvSpPr/>
            <p:nvPr/>
          </p:nvSpPr>
          <p:spPr>
            <a:xfrm>
              <a:off x="8439363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9" name="object 1579">
              <a:extLst>
                <a:ext uri="{FF2B5EF4-FFF2-40B4-BE49-F238E27FC236}">
                  <a16:creationId xmlns:a16="http://schemas.microsoft.com/office/drawing/2014/main" id="{6FA7E411-81C8-8C03-B747-C59034353A26}"/>
                </a:ext>
              </a:extLst>
            </p:cNvPr>
            <p:cNvSpPr/>
            <p:nvPr/>
          </p:nvSpPr>
          <p:spPr>
            <a:xfrm>
              <a:off x="8334225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0" name="object 1580">
              <a:extLst>
                <a:ext uri="{FF2B5EF4-FFF2-40B4-BE49-F238E27FC236}">
                  <a16:creationId xmlns:a16="http://schemas.microsoft.com/office/drawing/2014/main" id="{4E1D1B1F-C346-7478-76C8-BD67AADA214E}"/>
                </a:ext>
              </a:extLst>
            </p:cNvPr>
            <p:cNvSpPr/>
            <p:nvPr/>
          </p:nvSpPr>
          <p:spPr>
            <a:xfrm>
              <a:off x="8544354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1" name="object 1581">
              <a:extLst>
                <a:ext uri="{FF2B5EF4-FFF2-40B4-BE49-F238E27FC236}">
                  <a16:creationId xmlns:a16="http://schemas.microsoft.com/office/drawing/2014/main" id="{FF8A4709-84D1-24BA-3AA0-F95B2341F07B}"/>
                </a:ext>
              </a:extLst>
            </p:cNvPr>
            <p:cNvSpPr/>
            <p:nvPr/>
          </p:nvSpPr>
          <p:spPr>
            <a:xfrm>
              <a:off x="8369247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2" name="object 1582">
              <a:extLst>
                <a:ext uri="{FF2B5EF4-FFF2-40B4-BE49-F238E27FC236}">
                  <a16:creationId xmlns:a16="http://schemas.microsoft.com/office/drawing/2014/main" id="{88ACBB06-7191-5CE2-35B7-72E70A7E84F9}"/>
                </a:ext>
              </a:extLst>
            </p:cNvPr>
            <p:cNvSpPr/>
            <p:nvPr/>
          </p:nvSpPr>
          <p:spPr>
            <a:xfrm>
              <a:off x="8649419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3" name="object 1583">
              <a:extLst>
                <a:ext uri="{FF2B5EF4-FFF2-40B4-BE49-F238E27FC236}">
                  <a16:creationId xmlns:a16="http://schemas.microsoft.com/office/drawing/2014/main" id="{96426C47-E513-AB45-7EBB-8E3BC1BD1185}"/>
                </a:ext>
              </a:extLst>
            </p:cNvPr>
            <p:cNvSpPr/>
            <p:nvPr/>
          </p:nvSpPr>
          <p:spPr>
            <a:xfrm>
              <a:off x="8474448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4" name="object 1584">
              <a:extLst>
                <a:ext uri="{FF2B5EF4-FFF2-40B4-BE49-F238E27FC236}">
                  <a16:creationId xmlns:a16="http://schemas.microsoft.com/office/drawing/2014/main" id="{6E49AC6A-E8C2-6855-7A8B-FA955D910C81}"/>
                </a:ext>
              </a:extLst>
            </p:cNvPr>
            <p:cNvSpPr/>
            <p:nvPr/>
          </p:nvSpPr>
          <p:spPr>
            <a:xfrm>
              <a:off x="8299478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5" name="object 1585">
              <a:extLst>
                <a:ext uri="{FF2B5EF4-FFF2-40B4-BE49-F238E27FC236}">
                  <a16:creationId xmlns:a16="http://schemas.microsoft.com/office/drawing/2014/main" id="{694F2915-DA1A-237E-510E-414623906791}"/>
                </a:ext>
              </a:extLst>
            </p:cNvPr>
            <p:cNvSpPr/>
            <p:nvPr/>
          </p:nvSpPr>
          <p:spPr>
            <a:xfrm>
              <a:off x="8299478" y="11057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6" name="object 1586">
              <a:extLst>
                <a:ext uri="{FF2B5EF4-FFF2-40B4-BE49-F238E27FC236}">
                  <a16:creationId xmlns:a16="http://schemas.microsoft.com/office/drawing/2014/main" id="{67874317-1AFE-F903-18A2-497C5133B1F7}"/>
                </a:ext>
              </a:extLst>
            </p:cNvPr>
            <p:cNvSpPr/>
            <p:nvPr/>
          </p:nvSpPr>
          <p:spPr>
            <a:xfrm>
              <a:off x="8299597" y="1080263"/>
              <a:ext cx="1386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859"/>
                <a:gd name="f4" fmla="val 84455"/>
                <a:gd name="f5" fmla="val 22334"/>
                <a:gd name="f6" fmla="val 84112"/>
                <a:gd name="f7" fmla="*/ f0 1 22859"/>
                <a:gd name="f8" fmla="*/ f1 1 84455"/>
                <a:gd name="f9" fmla="+- f4 0 f2"/>
                <a:gd name="f10" fmla="+- f3 0 f2"/>
                <a:gd name="f11" fmla="*/ f10 1 2285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285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7" name="object 1587">
              <a:extLst>
                <a:ext uri="{FF2B5EF4-FFF2-40B4-BE49-F238E27FC236}">
                  <a16:creationId xmlns:a16="http://schemas.microsoft.com/office/drawing/2014/main" id="{E04140B2-C2FD-01BE-113B-3058B520216B}"/>
                </a:ext>
              </a:extLst>
            </p:cNvPr>
            <p:cNvSpPr/>
            <p:nvPr/>
          </p:nvSpPr>
          <p:spPr>
            <a:xfrm>
              <a:off x="8299597" y="1152555"/>
              <a:ext cx="119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684"/>
                <a:gd name="f4" fmla="val 84455"/>
                <a:gd name="f5" fmla="val 19392"/>
                <a:gd name="f6" fmla="val 84112"/>
                <a:gd name="f7" fmla="*/ f0 1 19684"/>
                <a:gd name="f8" fmla="*/ f1 1 84455"/>
                <a:gd name="f9" fmla="+- f4 0 f2"/>
                <a:gd name="f10" fmla="+- f3 0 f2"/>
                <a:gd name="f11" fmla="*/ f10 1 1968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68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8" name="object 1588">
              <a:extLst>
                <a:ext uri="{FF2B5EF4-FFF2-40B4-BE49-F238E27FC236}">
                  <a16:creationId xmlns:a16="http://schemas.microsoft.com/office/drawing/2014/main" id="{45E5C851-9ADA-632B-2FB3-A16AC74A966B}"/>
                </a:ext>
              </a:extLst>
            </p:cNvPr>
            <p:cNvSpPr/>
            <p:nvPr/>
          </p:nvSpPr>
          <p:spPr>
            <a:xfrm>
              <a:off x="857902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9" name="object 1589">
              <a:extLst>
                <a:ext uri="{FF2B5EF4-FFF2-40B4-BE49-F238E27FC236}">
                  <a16:creationId xmlns:a16="http://schemas.microsoft.com/office/drawing/2014/main" id="{BA1B3883-653A-6A22-C1F9-F4439B9168AF}"/>
                </a:ext>
              </a:extLst>
            </p:cNvPr>
            <p:cNvSpPr/>
            <p:nvPr/>
          </p:nvSpPr>
          <p:spPr>
            <a:xfrm>
              <a:off x="861405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0" name="object 1590">
              <a:extLst>
                <a:ext uri="{FF2B5EF4-FFF2-40B4-BE49-F238E27FC236}">
                  <a16:creationId xmlns:a16="http://schemas.microsoft.com/office/drawing/2014/main" id="{D662E6F8-F81E-EF63-5289-DA54CB462547}"/>
                </a:ext>
              </a:extLst>
            </p:cNvPr>
            <p:cNvSpPr/>
            <p:nvPr/>
          </p:nvSpPr>
          <p:spPr>
            <a:xfrm>
              <a:off x="8508985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1" name="object 1591">
              <a:extLst>
                <a:ext uri="{FF2B5EF4-FFF2-40B4-BE49-F238E27FC236}">
                  <a16:creationId xmlns:a16="http://schemas.microsoft.com/office/drawing/2014/main" id="{A0C6BBC0-F1A9-4C50-7D35-6EB80978D9EC}"/>
                </a:ext>
              </a:extLst>
            </p:cNvPr>
            <p:cNvSpPr/>
            <p:nvPr/>
          </p:nvSpPr>
          <p:spPr>
            <a:xfrm>
              <a:off x="8403921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2" name="object 1592">
              <a:extLst>
                <a:ext uri="{FF2B5EF4-FFF2-40B4-BE49-F238E27FC236}">
                  <a16:creationId xmlns:a16="http://schemas.microsoft.com/office/drawing/2014/main" id="{9E8FDB8C-48CD-18B2-22B7-A2942A51871B}"/>
                </a:ext>
              </a:extLst>
            </p:cNvPr>
            <p:cNvSpPr/>
            <p:nvPr/>
          </p:nvSpPr>
          <p:spPr>
            <a:xfrm>
              <a:off x="8439015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3" name="object 1593">
              <a:extLst>
                <a:ext uri="{FF2B5EF4-FFF2-40B4-BE49-F238E27FC236}">
                  <a16:creationId xmlns:a16="http://schemas.microsoft.com/office/drawing/2014/main" id="{1CFCD2DD-1795-5B29-A821-C64E98D78927}"/>
                </a:ext>
              </a:extLst>
            </p:cNvPr>
            <p:cNvSpPr/>
            <p:nvPr/>
          </p:nvSpPr>
          <p:spPr>
            <a:xfrm>
              <a:off x="833387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4" name="object 1594">
              <a:extLst>
                <a:ext uri="{FF2B5EF4-FFF2-40B4-BE49-F238E27FC236}">
                  <a16:creationId xmlns:a16="http://schemas.microsoft.com/office/drawing/2014/main" id="{6229D87F-E70C-C953-B5DC-E4885DE19B0E}"/>
                </a:ext>
              </a:extLst>
            </p:cNvPr>
            <p:cNvSpPr/>
            <p:nvPr/>
          </p:nvSpPr>
          <p:spPr>
            <a:xfrm>
              <a:off x="8544007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5" name="object 1595">
              <a:extLst>
                <a:ext uri="{FF2B5EF4-FFF2-40B4-BE49-F238E27FC236}">
                  <a16:creationId xmlns:a16="http://schemas.microsoft.com/office/drawing/2014/main" id="{62EBA7ED-EFE6-F775-A5C9-091313F24E53}"/>
                </a:ext>
              </a:extLst>
            </p:cNvPr>
            <p:cNvSpPr/>
            <p:nvPr/>
          </p:nvSpPr>
          <p:spPr>
            <a:xfrm>
              <a:off x="8368899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6" name="object 1596">
              <a:extLst>
                <a:ext uri="{FF2B5EF4-FFF2-40B4-BE49-F238E27FC236}">
                  <a16:creationId xmlns:a16="http://schemas.microsoft.com/office/drawing/2014/main" id="{C69EA6C9-E7B2-EDCA-0C86-04AABDAC0C84}"/>
                </a:ext>
              </a:extLst>
            </p:cNvPr>
            <p:cNvSpPr/>
            <p:nvPr/>
          </p:nvSpPr>
          <p:spPr>
            <a:xfrm>
              <a:off x="8649071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7" name="object 1597">
              <a:extLst>
                <a:ext uri="{FF2B5EF4-FFF2-40B4-BE49-F238E27FC236}">
                  <a16:creationId xmlns:a16="http://schemas.microsoft.com/office/drawing/2014/main" id="{04306388-2DD1-759C-611D-5856D7B38D83}"/>
                </a:ext>
              </a:extLst>
            </p:cNvPr>
            <p:cNvSpPr/>
            <p:nvPr/>
          </p:nvSpPr>
          <p:spPr>
            <a:xfrm>
              <a:off x="8474101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8" name="object 1598">
              <a:extLst>
                <a:ext uri="{FF2B5EF4-FFF2-40B4-BE49-F238E27FC236}">
                  <a16:creationId xmlns:a16="http://schemas.microsoft.com/office/drawing/2014/main" id="{5906894A-3CFE-0DBD-895A-09D6E6D7819F}"/>
                </a:ext>
              </a:extLst>
            </p:cNvPr>
            <p:cNvSpPr/>
            <p:nvPr/>
          </p:nvSpPr>
          <p:spPr>
            <a:xfrm>
              <a:off x="8299130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9" name="object 1599">
              <a:extLst>
                <a:ext uri="{FF2B5EF4-FFF2-40B4-BE49-F238E27FC236}">
                  <a16:creationId xmlns:a16="http://schemas.microsoft.com/office/drawing/2014/main" id="{0B9039A1-3633-82D8-1404-6CDA2A57FD45}"/>
                </a:ext>
              </a:extLst>
            </p:cNvPr>
            <p:cNvSpPr/>
            <p:nvPr/>
          </p:nvSpPr>
          <p:spPr>
            <a:xfrm>
              <a:off x="8474101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0" name="object 1600">
              <a:extLst>
                <a:ext uri="{FF2B5EF4-FFF2-40B4-BE49-F238E27FC236}">
                  <a16:creationId xmlns:a16="http://schemas.microsoft.com/office/drawing/2014/main" id="{75EB989B-A51F-C17C-541B-DCD476552E54}"/>
                </a:ext>
              </a:extLst>
            </p:cNvPr>
            <p:cNvSpPr/>
            <p:nvPr/>
          </p:nvSpPr>
          <p:spPr>
            <a:xfrm>
              <a:off x="8299130" y="11780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01" name="object 1601">
              <a:extLst>
                <a:ext uri="{FF2B5EF4-FFF2-40B4-BE49-F238E27FC236}">
                  <a16:creationId xmlns:a16="http://schemas.microsoft.com/office/drawing/2014/main" id="{8946D0EA-81D1-AB0D-9CD6-54F093736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8299478" y="561048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02" name="object 1602">
              <a:extLst>
                <a:ext uri="{FF2B5EF4-FFF2-40B4-BE49-F238E27FC236}">
                  <a16:creationId xmlns:a16="http://schemas.microsoft.com/office/drawing/2014/main" id="{E7579BB8-0377-DC57-25DC-1AEB0A25BE58}"/>
                </a:ext>
              </a:extLst>
            </p:cNvPr>
            <p:cNvSpPr/>
            <p:nvPr/>
          </p:nvSpPr>
          <p:spPr>
            <a:xfrm>
              <a:off x="8299478" y="56104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03" name="object 1603">
              <a:extLst>
                <a:ext uri="{FF2B5EF4-FFF2-40B4-BE49-F238E27FC236}">
                  <a16:creationId xmlns:a16="http://schemas.microsoft.com/office/drawing/2014/main" id="{879D4657-3369-E0CE-8CA8-F42434B1A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/>
            <a:stretch>
              <a:fillRect/>
            </a:stretch>
          </p:blipFill>
          <p:spPr>
            <a:xfrm>
              <a:off x="6656402" y="1324636"/>
              <a:ext cx="349940" cy="34490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04" name="object 1604">
              <a:extLst>
                <a:ext uri="{FF2B5EF4-FFF2-40B4-BE49-F238E27FC236}">
                  <a16:creationId xmlns:a16="http://schemas.microsoft.com/office/drawing/2014/main" id="{7733F5B1-27F0-5714-504D-025C4C266243}"/>
                </a:ext>
              </a:extLst>
            </p:cNvPr>
            <p:cNvSpPr/>
            <p:nvPr/>
          </p:nvSpPr>
          <p:spPr>
            <a:xfrm>
              <a:off x="6656411" y="131959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05" name="object 1605">
              <a:extLst>
                <a:ext uri="{FF2B5EF4-FFF2-40B4-BE49-F238E27FC236}">
                  <a16:creationId xmlns:a16="http://schemas.microsoft.com/office/drawing/2014/main" id="{E563B114-525A-FC67-C857-276946AA76C2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/>
            <a:stretch>
              <a:fillRect/>
            </a:stretch>
          </p:blipFill>
          <p:spPr>
            <a:xfrm>
              <a:off x="6654820" y="2095091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06" name="object 1606">
              <a:extLst>
                <a:ext uri="{FF2B5EF4-FFF2-40B4-BE49-F238E27FC236}">
                  <a16:creationId xmlns:a16="http://schemas.microsoft.com/office/drawing/2014/main" id="{36C1A30F-6AE8-EAD5-65C2-7FE66D5DAB34}"/>
                </a:ext>
              </a:extLst>
            </p:cNvPr>
            <p:cNvSpPr/>
            <p:nvPr/>
          </p:nvSpPr>
          <p:spPr>
            <a:xfrm>
              <a:off x="6654820" y="209509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7" name="object 1607">
              <a:extLst>
                <a:ext uri="{FF2B5EF4-FFF2-40B4-BE49-F238E27FC236}">
                  <a16:creationId xmlns:a16="http://schemas.microsoft.com/office/drawing/2014/main" id="{058AA484-8180-F116-ECDF-91C5EF09F1E1}"/>
                </a:ext>
              </a:extLst>
            </p:cNvPr>
            <p:cNvSpPr/>
            <p:nvPr/>
          </p:nvSpPr>
          <p:spPr>
            <a:xfrm>
              <a:off x="6936309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8" name="object 1608">
              <a:extLst>
                <a:ext uri="{FF2B5EF4-FFF2-40B4-BE49-F238E27FC236}">
                  <a16:creationId xmlns:a16="http://schemas.microsoft.com/office/drawing/2014/main" id="{5E2D0528-F6DE-35E0-484E-3B0D443A5B5A}"/>
                </a:ext>
              </a:extLst>
            </p:cNvPr>
            <p:cNvSpPr/>
            <p:nvPr/>
          </p:nvSpPr>
          <p:spPr>
            <a:xfrm>
              <a:off x="6971330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9" name="object 1609">
              <a:extLst>
                <a:ext uri="{FF2B5EF4-FFF2-40B4-BE49-F238E27FC236}">
                  <a16:creationId xmlns:a16="http://schemas.microsoft.com/office/drawing/2014/main" id="{D0085B18-D988-2C77-5A55-F5FA3D89E546}"/>
                </a:ext>
              </a:extLst>
            </p:cNvPr>
            <p:cNvSpPr/>
            <p:nvPr/>
          </p:nvSpPr>
          <p:spPr>
            <a:xfrm>
              <a:off x="6866266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0" name="object 1610">
              <a:extLst>
                <a:ext uri="{FF2B5EF4-FFF2-40B4-BE49-F238E27FC236}">
                  <a16:creationId xmlns:a16="http://schemas.microsoft.com/office/drawing/2014/main" id="{A29229E4-AC60-E929-9832-F82A334C237E}"/>
                </a:ext>
              </a:extLst>
            </p:cNvPr>
            <p:cNvSpPr/>
            <p:nvPr/>
          </p:nvSpPr>
          <p:spPr>
            <a:xfrm>
              <a:off x="6761192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1" name="object 1611">
              <a:extLst>
                <a:ext uri="{FF2B5EF4-FFF2-40B4-BE49-F238E27FC236}">
                  <a16:creationId xmlns:a16="http://schemas.microsoft.com/office/drawing/2014/main" id="{245F3872-6132-0F03-C62E-199A7295E080}"/>
                </a:ext>
              </a:extLst>
            </p:cNvPr>
            <p:cNvSpPr/>
            <p:nvPr/>
          </p:nvSpPr>
          <p:spPr>
            <a:xfrm>
              <a:off x="6796287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2" name="object 1612">
              <a:extLst>
                <a:ext uri="{FF2B5EF4-FFF2-40B4-BE49-F238E27FC236}">
                  <a16:creationId xmlns:a16="http://schemas.microsoft.com/office/drawing/2014/main" id="{671E5AF8-F605-524F-A3C4-9EE55DF35FFF}"/>
                </a:ext>
              </a:extLst>
            </p:cNvPr>
            <p:cNvSpPr/>
            <p:nvPr/>
          </p:nvSpPr>
          <p:spPr>
            <a:xfrm>
              <a:off x="6691149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3" name="object 1613">
              <a:extLst>
                <a:ext uri="{FF2B5EF4-FFF2-40B4-BE49-F238E27FC236}">
                  <a16:creationId xmlns:a16="http://schemas.microsoft.com/office/drawing/2014/main" id="{36E2E027-8F3A-F0EB-1E9B-C3E42CDA8EEA}"/>
                </a:ext>
              </a:extLst>
            </p:cNvPr>
            <p:cNvSpPr/>
            <p:nvPr/>
          </p:nvSpPr>
          <p:spPr>
            <a:xfrm>
              <a:off x="6901287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4" name="object 1614">
              <a:extLst>
                <a:ext uri="{FF2B5EF4-FFF2-40B4-BE49-F238E27FC236}">
                  <a16:creationId xmlns:a16="http://schemas.microsoft.com/office/drawing/2014/main" id="{C6FDC3F9-F299-1DF7-453D-F119A447AF09}"/>
                </a:ext>
              </a:extLst>
            </p:cNvPr>
            <p:cNvSpPr/>
            <p:nvPr/>
          </p:nvSpPr>
          <p:spPr>
            <a:xfrm>
              <a:off x="6726170" y="109300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5" name="object 1615">
              <a:extLst>
                <a:ext uri="{FF2B5EF4-FFF2-40B4-BE49-F238E27FC236}">
                  <a16:creationId xmlns:a16="http://schemas.microsoft.com/office/drawing/2014/main" id="{B19A9E70-0E6E-9544-6B59-05CAFB226257}"/>
                </a:ext>
              </a:extLst>
            </p:cNvPr>
            <p:cNvSpPr/>
            <p:nvPr/>
          </p:nvSpPr>
          <p:spPr>
            <a:xfrm>
              <a:off x="7006352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6" name="object 1616">
              <a:extLst>
                <a:ext uri="{FF2B5EF4-FFF2-40B4-BE49-F238E27FC236}">
                  <a16:creationId xmlns:a16="http://schemas.microsoft.com/office/drawing/2014/main" id="{DB6210D9-2635-4BEF-E678-EC8E7BC9822B}"/>
                </a:ext>
              </a:extLst>
            </p:cNvPr>
            <p:cNvSpPr/>
            <p:nvPr/>
          </p:nvSpPr>
          <p:spPr>
            <a:xfrm>
              <a:off x="6831381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7" name="object 1617">
              <a:extLst>
                <a:ext uri="{FF2B5EF4-FFF2-40B4-BE49-F238E27FC236}">
                  <a16:creationId xmlns:a16="http://schemas.microsoft.com/office/drawing/2014/main" id="{E10B3C60-455E-2526-9457-88CBB7F91E61}"/>
                </a:ext>
              </a:extLst>
            </p:cNvPr>
            <p:cNvSpPr/>
            <p:nvPr/>
          </p:nvSpPr>
          <p:spPr>
            <a:xfrm>
              <a:off x="6656402" y="108025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8" name="object 1618">
              <a:extLst>
                <a:ext uri="{FF2B5EF4-FFF2-40B4-BE49-F238E27FC236}">
                  <a16:creationId xmlns:a16="http://schemas.microsoft.com/office/drawing/2014/main" id="{BE17C21F-785A-0C68-F511-D39C6943CEF2}"/>
                </a:ext>
              </a:extLst>
            </p:cNvPr>
            <p:cNvSpPr/>
            <p:nvPr/>
          </p:nvSpPr>
          <p:spPr>
            <a:xfrm>
              <a:off x="6656402" y="11057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9" name="object 1619">
              <a:extLst>
                <a:ext uri="{FF2B5EF4-FFF2-40B4-BE49-F238E27FC236}">
                  <a16:creationId xmlns:a16="http://schemas.microsoft.com/office/drawing/2014/main" id="{206C3772-0982-B5E1-1B8C-A8BA94651C8D}"/>
                </a:ext>
              </a:extLst>
            </p:cNvPr>
            <p:cNvSpPr/>
            <p:nvPr/>
          </p:nvSpPr>
          <p:spPr>
            <a:xfrm>
              <a:off x="6656539" y="1080263"/>
              <a:ext cx="5891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97154"/>
                <a:gd name="f4" fmla="val 84455"/>
                <a:gd name="f5" fmla="val 96625"/>
                <a:gd name="f6" fmla="val 84112"/>
                <a:gd name="f7" fmla="*/ f0 1 97154"/>
                <a:gd name="f8" fmla="*/ f1 1 84455"/>
                <a:gd name="f9" fmla="+- f4 0 f2"/>
                <a:gd name="f10" fmla="+- f3 0 f2"/>
                <a:gd name="f11" fmla="*/ f10 1 9715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9715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0" name="object 1620">
              <a:extLst>
                <a:ext uri="{FF2B5EF4-FFF2-40B4-BE49-F238E27FC236}">
                  <a16:creationId xmlns:a16="http://schemas.microsoft.com/office/drawing/2014/main" id="{C1E065D7-F230-7B1F-22F1-70B1EA21330B}"/>
                </a:ext>
              </a:extLst>
            </p:cNvPr>
            <p:cNvSpPr/>
            <p:nvPr/>
          </p:nvSpPr>
          <p:spPr>
            <a:xfrm>
              <a:off x="6656539" y="1152555"/>
              <a:ext cx="2884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75615"/>
                <a:gd name="f4" fmla="val 84455"/>
                <a:gd name="f5" fmla="val 475482"/>
                <a:gd name="f6" fmla="val 84112"/>
                <a:gd name="f7" fmla="*/ f0 1 475615"/>
                <a:gd name="f8" fmla="*/ f1 1 84455"/>
                <a:gd name="f9" fmla="+- f4 0 f2"/>
                <a:gd name="f10" fmla="+- f3 0 f2"/>
                <a:gd name="f11" fmla="*/ f10 1 47561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7561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1" name="object 1621">
              <a:extLst>
                <a:ext uri="{FF2B5EF4-FFF2-40B4-BE49-F238E27FC236}">
                  <a16:creationId xmlns:a16="http://schemas.microsoft.com/office/drawing/2014/main" id="{30EF7629-ECAC-DB81-06FA-A099606C6B53}"/>
                </a:ext>
              </a:extLst>
            </p:cNvPr>
            <p:cNvSpPr/>
            <p:nvPr/>
          </p:nvSpPr>
          <p:spPr>
            <a:xfrm>
              <a:off x="6935961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2" name="object 1622">
              <a:extLst>
                <a:ext uri="{FF2B5EF4-FFF2-40B4-BE49-F238E27FC236}">
                  <a16:creationId xmlns:a16="http://schemas.microsoft.com/office/drawing/2014/main" id="{FEB33195-0C12-1D66-7A1F-0940C64EF20D}"/>
                </a:ext>
              </a:extLst>
            </p:cNvPr>
            <p:cNvSpPr/>
            <p:nvPr/>
          </p:nvSpPr>
          <p:spPr>
            <a:xfrm>
              <a:off x="6970983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3" name="object 1623">
              <a:extLst>
                <a:ext uri="{FF2B5EF4-FFF2-40B4-BE49-F238E27FC236}">
                  <a16:creationId xmlns:a16="http://schemas.microsoft.com/office/drawing/2014/main" id="{4EE49C1B-2A7F-9DC9-6135-0079455414EE}"/>
                </a:ext>
              </a:extLst>
            </p:cNvPr>
            <p:cNvSpPr/>
            <p:nvPr/>
          </p:nvSpPr>
          <p:spPr>
            <a:xfrm>
              <a:off x="686591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4" name="object 1624">
              <a:extLst>
                <a:ext uri="{FF2B5EF4-FFF2-40B4-BE49-F238E27FC236}">
                  <a16:creationId xmlns:a16="http://schemas.microsoft.com/office/drawing/2014/main" id="{24AFE86B-3B4C-33F8-EC92-79310E652781}"/>
                </a:ext>
              </a:extLst>
            </p:cNvPr>
            <p:cNvSpPr/>
            <p:nvPr/>
          </p:nvSpPr>
          <p:spPr>
            <a:xfrm>
              <a:off x="6760845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5" name="object 1625">
              <a:extLst>
                <a:ext uri="{FF2B5EF4-FFF2-40B4-BE49-F238E27FC236}">
                  <a16:creationId xmlns:a16="http://schemas.microsoft.com/office/drawing/2014/main" id="{BE348C05-F393-6496-872A-47E3678848B2}"/>
                </a:ext>
              </a:extLst>
            </p:cNvPr>
            <p:cNvSpPr/>
            <p:nvPr/>
          </p:nvSpPr>
          <p:spPr>
            <a:xfrm>
              <a:off x="6795939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6" name="object 1626">
              <a:extLst>
                <a:ext uri="{FF2B5EF4-FFF2-40B4-BE49-F238E27FC236}">
                  <a16:creationId xmlns:a16="http://schemas.microsoft.com/office/drawing/2014/main" id="{D617874A-0FE3-DC54-35B2-403248F66362}"/>
                </a:ext>
              </a:extLst>
            </p:cNvPr>
            <p:cNvSpPr/>
            <p:nvPr/>
          </p:nvSpPr>
          <p:spPr>
            <a:xfrm>
              <a:off x="6690801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7" name="object 1627">
              <a:extLst>
                <a:ext uri="{FF2B5EF4-FFF2-40B4-BE49-F238E27FC236}">
                  <a16:creationId xmlns:a16="http://schemas.microsoft.com/office/drawing/2014/main" id="{92F02B7E-4EAA-B178-7716-D386075B5619}"/>
                </a:ext>
              </a:extLst>
            </p:cNvPr>
            <p:cNvSpPr/>
            <p:nvPr/>
          </p:nvSpPr>
          <p:spPr>
            <a:xfrm>
              <a:off x="6900940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8" name="object 1628">
              <a:extLst>
                <a:ext uri="{FF2B5EF4-FFF2-40B4-BE49-F238E27FC236}">
                  <a16:creationId xmlns:a16="http://schemas.microsoft.com/office/drawing/2014/main" id="{51ACA436-DD4B-3982-552A-10A8DAC6A35E}"/>
                </a:ext>
              </a:extLst>
            </p:cNvPr>
            <p:cNvSpPr/>
            <p:nvPr/>
          </p:nvSpPr>
          <p:spPr>
            <a:xfrm>
              <a:off x="6725823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9" name="object 1629">
              <a:extLst>
                <a:ext uri="{FF2B5EF4-FFF2-40B4-BE49-F238E27FC236}">
                  <a16:creationId xmlns:a16="http://schemas.microsoft.com/office/drawing/2014/main" id="{0358D09D-BD09-6B3E-5C1E-B0A9A4D41296}"/>
                </a:ext>
              </a:extLst>
            </p:cNvPr>
            <p:cNvSpPr/>
            <p:nvPr/>
          </p:nvSpPr>
          <p:spPr>
            <a:xfrm>
              <a:off x="7006004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0" name="object 1630">
              <a:extLst>
                <a:ext uri="{FF2B5EF4-FFF2-40B4-BE49-F238E27FC236}">
                  <a16:creationId xmlns:a16="http://schemas.microsoft.com/office/drawing/2014/main" id="{850A0044-87F2-9AE6-E51E-E7C271E49D4C}"/>
                </a:ext>
              </a:extLst>
            </p:cNvPr>
            <p:cNvSpPr/>
            <p:nvPr/>
          </p:nvSpPr>
          <p:spPr>
            <a:xfrm>
              <a:off x="6831034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1" name="object 1631">
              <a:extLst>
                <a:ext uri="{FF2B5EF4-FFF2-40B4-BE49-F238E27FC236}">
                  <a16:creationId xmlns:a16="http://schemas.microsoft.com/office/drawing/2014/main" id="{87A21D16-C5EE-75D5-3553-89E1777375BD}"/>
                </a:ext>
              </a:extLst>
            </p:cNvPr>
            <p:cNvSpPr/>
            <p:nvPr/>
          </p:nvSpPr>
          <p:spPr>
            <a:xfrm>
              <a:off x="6656063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2" name="object 1632">
              <a:extLst>
                <a:ext uri="{FF2B5EF4-FFF2-40B4-BE49-F238E27FC236}">
                  <a16:creationId xmlns:a16="http://schemas.microsoft.com/office/drawing/2014/main" id="{0DF1168D-01B0-C630-DF76-4BC9CBEF4292}"/>
                </a:ext>
              </a:extLst>
            </p:cNvPr>
            <p:cNvSpPr/>
            <p:nvPr/>
          </p:nvSpPr>
          <p:spPr>
            <a:xfrm>
              <a:off x="6831034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3" name="object 1633">
              <a:extLst>
                <a:ext uri="{FF2B5EF4-FFF2-40B4-BE49-F238E27FC236}">
                  <a16:creationId xmlns:a16="http://schemas.microsoft.com/office/drawing/2014/main" id="{08485CAC-9B9F-75EC-7D21-B8B161F317CE}"/>
                </a:ext>
              </a:extLst>
            </p:cNvPr>
            <p:cNvSpPr/>
            <p:nvPr/>
          </p:nvSpPr>
          <p:spPr>
            <a:xfrm>
              <a:off x="6656054" y="11780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4" name="object 1634">
              <a:extLst>
                <a:ext uri="{FF2B5EF4-FFF2-40B4-BE49-F238E27FC236}">
                  <a16:creationId xmlns:a16="http://schemas.microsoft.com/office/drawing/2014/main" id="{4969A256-352A-5DF4-DD18-CECFB4A2F60F}"/>
                </a:ext>
              </a:extLst>
            </p:cNvPr>
            <p:cNvSpPr/>
            <p:nvPr/>
          </p:nvSpPr>
          <p:spPr>
            <a:xfrm>
              <a:off x="6936309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5" name="object 1635">
              <a:extLst>
                <a:ext uri="{FF2B5EF4-FFF2-40B4-BE49-F238E27FC236}">
                  <a16:creationId xmlns:a16="http://schemas.microsoft.com/office/drawing/2014/main" id="{CE851D81-DF9B-A348-6477-E0526FAB01E9}"/>
                </a:ext>
              </a:extLst>
            </p:cNvPr>
            <p:cNvSpPr/>
            <p:nvPr/>
          </p:nvSpPr>
          <p:spPr>
            <a:xfrm>
              <a:off x="6971330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6" name="object 1636">
              <a:extLst>
                <a:ext uri="{FF2B5EF4-FFF2-40B4-BE49-F238E27FC236}">
                  <a16:creationId xmlns:a16="http://schemas.microsoft.com/office/drawing/2014/main" id="{FE12723E-798B-F688-8B91-F9BE79265859}"/>
                </a:ext>
              </a:extLst>
            </p:cNvPr>
            <p:cNvSpPr/>
            <p:nvPr/>
          </p:nvSpPr>
          <p:spPr>
            <a:xfrm>
              <a:off x="6866266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7" name="object 1637">
              <a:extLst>
                <a:ext uri="{FF2B5EF4-FFF2-40B4-BE49-F238E27FC236}">
                  <a16:creationId xmlns:a16="http://schemas.microsoft.com/office/drawing/2014/main" id="{9F61891D-BF15-7DD4-CF32-69F5DC8999C0}"/>
                </a:ext>
              </a:extLst>
            </p:cNvPr>
            <p:cNvSpPr/>
            <p:nvPr/>
          </p:nvSpPr>
          <p:spPr>
            <a:xfrm>
              <a:off x="6761192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8" name="object 1638">
              <a:extLst>
                <a:ext uri="{FF2B5EF4-FFF2-40B4-BE49-F238E27FC236}">
                  <a16:creationId xmlns:a16="http://schemas.microsoft.com/office/drawing/2014/main" id="{1DDC1805-D89E-0ADF-F1FA-15606792090C}"/>
                </a:ext>
              </a:extLst>
            </p:cNvPr>
            <p:cNvSpPr/>
            <p:nvPr/>
          </p:nvSpPr>
          <p:spPr>
            <a:xfrm>
              <a:off x="6796287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9" name="object 1639">
              <a:extLst>
                <a:ext uri="{FF2B5EF4-FFF2-40B4-BE49-F238E27FC236}">
                  <a16:creationId xmlns:a16="http://schemas.microsoft.com/office/drawing/2014/main" id="{F88E48E6-9825-E5EC-6774-74ABB2595848}"/>
                </a:ext>
              </a:extLst>
            </p:cNvPr>
            <p:cNvSpPr/>
            <p:nvPr/>
          </p:nvSpPr>
          <p:spPr>
            <a:xfrm>
              <a:off x="6691149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0" name="object 1640">
              <a:extLst>
                <a:ext uri="{FF2B5EF4-FFF2-40B4-BE49-F238E27FC236}">
                  <a16:creationId xmlns:a16="http://schemas.microsoft.com/office/drawing/2014/main" id="{8FFDD904-0D07-6AF1-D9A7-45911F7C0AA8}"/>
                </a:ext>
              </a:extLst>
            </p:cNvPr>
            <p:cNvSpPr/>
            <p:nvPr/>
          </p:nvSpPr>
          <p:spPr>
            <a:xfrm>
              <a:off x="6901287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1" name="object 1641">
              <a:extLst>
                <a:ext uri="{FF2B5EF4-FFF2-40B4-BE49-F238E27FC236}">
                  <a16:creationId xmlns:a16="http://schemas.microsoft.com/office/drawing/2014/main" id="{CD016026-3AD9-7B46-89D8-927F48A2651E}"/>
                </a:ext>
              </a:extLst>
            </p:cNvPr>
            <p:cNvSpPr/>
            <p:nvPr/>
          </p:nvSpPr>
          <p:spPr>
            <a:xfrm>
              <a:off x="6726170" y="18564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2" name="object 1642">
              <a:extLst>
                <a:ext uri="{FF2B5EF4-FFF2-40B4-BE49-F238E27FC236}">
                  <a16:creationId xmlns:a16="http://schemas.microsoft.com/office/drawing/2014/main" id="{DA22FC44-327E-99E1-074E-0215D2B76F9B}"/>
                </a:ext>
              </a:extLst>
            </p:cNvPr>
            <p:cNvSpPr/>
            <p:nvPr/>
          </p:nvSpPr>
          <p:spPr>
            <a:xfrm>
              <a:off x="7006352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3" name="object 1643">
              <a:extLst>
                <a:ext uri="{FF2B5EF4-FFF2-40B4-BE49-F238E27FC236}">
                  <a16:creationId xmlns:a16="http://schemas.microsoft.com/office/drawing/2014/main" id="{8D387D5E-759F-44AC-FF6D-9BFC440A14E6}"/>
                </a:ext>
              </a:extLst>
            </p:cNvPr>
            <p:cNvSpPr/>
            <p:nvPr/>
          </p:nvSpPr>
          <p:spPr>
            <a:xfrm>
              <a:off x="6831381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4" name="object 1644">
              <a:extLst>
                <a:ext uri="{FF2B5EF4-FFF2-40B4-BE49-F238E27FC236}">
                  <a16:creationId xmlns:a16="http://schemas.microsoft.com/office/drawing/2014/main" id="{43DEA0A8-312B-84C5-907B-7C0430C0DCE6}"/>
                </a:ext>
              </a:extLst>
            </p:cNvPr>
            <p:cNvSpPr/>
            <p:nvPr/>
          </p:nvSpPr>
          <p:spPr>
            <a:xfrm>
              <a:off x="6656402" y="18436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5" name="object 1645">
              <a:extLst>
                <a:ext uri="{FF2B5EF4-FFF2-40B4-BE49-F238E27FC236}">
                  <a16:creationId xmlns:a16="http://schemas.microsoft.com/office/drawing/2014/main" id="{E29C45B8-B2C1-C180-55D9-3DEC936116C6}"/>
                </a:ext>
              </a:extLst>
            </p:cNvPr>
            <p:cNvSpPr/>
            <p:nvPr/>
          </p:nvSpPr>
          <p:spPr>
            <a:xfrm>
              <a:off x="6656402" y="186917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6" name="object 1646">
              <a:extLst>
                <a:ext uri="{FF2B5EF4-FFF2-40B4-BE49-F238E27FC236}">
                  <a16:creationId xmlns:a16="http://schemas.microsoft.com/office/drawing/2014/main" id="{0607F729-621A-B991-8C2B-0B49AB80A747}"/>
                </a:ext>
              </a:extLst>
            </p:cNvPr>
            <p:cNvSpPr/>
            <p:nvPr/>
          </p:nvSpPr>
          <p:spPr>
            <a:xfrm>
              <a:off x="6656539" y="1843668"/>
              <a:ext cx="8779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4779"/>
                <a:gd name="f4" fmla="val 84455"/>
                <a:gd name="f5" fmla="val 144341"/>
                <a:gd name="f6" fmla="val 84112"/>
                <a:gd name="f7" fmla="*/ f0 1 144779"/>
                <a:gd name="f8" fmla="*/ f1 1 84455"/>
                <a:gd name="f9" fmla="+- f4 0 f2"/>
                <a:gd name="f10" fmla="+- f3 0 f2"/>
                <a:gd name="f11" fmla="*/ f10 1 14477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477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7" name="object 1647">
              <a:extLst>
                <a:ext uri="{FF2B5EF4-FFF2-40B4-BE49-F238E27FC236}">
                  <a16:creationId xmlns:a16="http://schemas.microsoft.com/office/drawing/2014/main" id="{7C6FCA12-9B83-5D01-E429-5BECCB23CA78}"/>
                </a:ext>
              </a:extLst>
            </p:cNvPr>
            <p:cNvSpPr/>
            <p:nvPr/>
          </p:nvSpPr>
          <p:spPr>
            <a:xfrm>
              <a:off x="6656539" y="1915978"/>
              <a:ext cx="29034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78790"/>
                <a:gd name="f4" fmla="val 84455"/>
                <a:gd name="f5" fmla="val 478310"/>
                <a:gd name="f6" fmla="val 84081"/>
                <a:gd name="f7" fmla="*/ f0 1 478790"/>
                <a:gd name="f8" fmla="*/ f1 1 84455"/>
                <a:gd name="f9" fmla="+- f4 0 f2"/>
                <a:gd name="f10" fmla="+- f3 0 f2"/>
                <a:gd name="f11" fmla="*/ f10 1 47879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7879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8" name="object 1648">
              <a:extLst>
                <a:ext uri="{FF2B5EF4-FFF2-40B4-BE49-F238E27FC236}">
                  <a16:creationId xmlns:a16="http://schemas.microsoft.com/office/drawing/2014/main" id="{112E259D-87EB-9607-86A0-233133DB9738}"/>
                </a:ext>
              </a:extLst>
            </p:cNvPr>
            <p:cNvSpPr/>
            <p:nvPr/>
          </p:nvSpPr>
          <p:spPr>
            <a:xfrm>
              <a:off x="6935961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9" name="object 1649">
              <a:extLst>
                <a:ext uri="{FF2B5EF4-FFF2-40B4-BE49-F238E27FC236}">
                  <a16:creationId xmlns:a16="http://schemas.microsoft.com/office/drawing/2014/main" id="{53367A23-5FF9-D58C-9840-66101FC5435A}"/>
                </a:ext>
              </a:extLst>
            </p:cNvPr>
            <p:cNvSpPr/>
            <p:nvPr/>
          </p:nvSpPr>
          <p:spPr>
            <a:xfrm>
              <a:off x="6970983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0" name="object 1650">
              <a:extLst>
                <a:ext uri="{FF2B5EF4-FFF2-40B4-BE49-F238E27FC236}">
                  <a16:creationId xmlns:a16="http://schemas.microsoft.com/office/drawing/2014/main" id="{1A2B9597-2B4E-AABA-FE9D-700DE66C0BC3}"/>
                </a:ext>
              </a:extLst>
            </p:cNvPr>
            <p:cNvSpPr/>
            <p:nvPr/>
          </p:nvSpPr>
          <p:spPr>
            <a:xfrm>
              <a:off x="6865918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1" name="object 1651">
              <a:extLst>
                <a:ext uri="{FF2B5EF4-FFF2-40B4-BE49-F238E27FC236}">
                  <a16:creationId xmlns:a16="http://schemas.microsoft.com/office/drawing/2014/main" id="{E8037F77-716C-CDF9-E884-1B646CB520D7}"/>
                </a:ext>
              </a:extLst>
            </p:cNvPr>
            <p:cNvSpPr/>
            <p:nvPr/>
          </p:nvSpPr>
          <p:spPr>
            <a:xfrm>
              <a:off x="6760845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2" name="object 1652">
              <a:extLst>
                <a:ext uri="{FF2B5EF4-FFF2-40B4-BE49-F238E27FC236}">
                  <a16:creationId xmlns:a16="http://schemas.microsoft.com/office/drawing/2014/main" id="{B61FEF54-F07E-4A1C-99D7-B1419DF04A04}"/>
                </a:ext>
              </a:extLst>
            </p:cNvPr>
            <p:cNvSpPr/>
            <p:nvPr/>
          </p:nvSpPr>
          <p:spPr>
            <a:xfrm>
              <a:off x="6795939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3" name="object 1653">
              <a:extLst>
                <a:ext uri="{FF2B5EF4-FFF2-40B4-BE49-F238E27FC236}">
                  <a16:creationId xmlns:a16="http://schemas.microsoft.com/office/drawing/2014/main" id="{6BB4B7C5-3E5E-4C65-C8BF-5E7E9FD3940E}"/>
                </a:ext>
              </a:extLst>
            </p:cNvPr>
            <p:cNvSpPr/>
            <p:nvPr/>
          </p:nvSpPr>
          <p:spPr>
            <a:xfrm>
              <a:off x="6690801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4" name="object 1654">
              <a:extLst>
                <a:ext uri="{FF2B5EF4-FFF2-40B4-BE49-F238E27FC236}">
                  <a16:creationId xmlns:a16="http://schemas.microsoft.com/office/drawing/2014/main" id="{F53A9141-14F4-CD27-3389-EE4832B9AC38}"/>
                </a:ext>
              </a:extLst>
            </p:cNvPr>
            <p:cNvSpPr/>
            <p:nvPr/>
          </p:nvSpPr>
          <p:spPr>
            <a:xfrm>
              <a:off x="6900940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5" name="object 1655">
              <a:extLst>
                <a:ext uri="{FF2B5EF4-FFF2-40B4-BE49-F238E27FC236}">
                  <a16:creationId xmlns:a16="http://schemas.microsoft.com/office/drawing/2014/main" id="{1461E6A0-A0C0-37E0-B8B7-7291F09AA544}"/>
                </a:ext>
              </a:extLst>
            </p:cNvPr>
            <p:cNvSpPr/>
            <p:nvPr/>
          </p:nvSpPr>
          <p:spPr>
            <a:xfrm>
              <a:off x="6725823" y="19287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6" name="object 1656">
              <a:extLst>
                <a:ext uri="{FF2B5EF4-FFF2-40B4-BE49-F238E27FC236}">
                  <a16:creationId xmlns:a16="http://schemas.microsoft.com/office/drawing/2014/main" id="{5A59FBA1-FD82-5326-302D-1190BCA2A0A8}"/>
                </a:ext>
              </a:extLst>
            </p:cNvPr>
            <p:cNvSpPr/>
            <p:nvPr/>
          </p:nvSpPr>
          <p:spPr>
            <a:xfrm>
              <a:off x="7006004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7" name="object 1657">
              <a:extLst>
                <a:ext uri="{FF2B5EF4-FFF2-40B4-BE49-F238E27FC236}">
                  <a16:creationId xmlns:a16="http://schemas.microsoft.com/office/drawing/2014/main" id="{77006F43-8143-535C-BB5D-539688C024CA}"/>
                </a:ext>
              </a:extLst>
            </p:cNvPr>
            <p:cNvSpPr/>
            <p:nvPr/>
          </p:nvSpPr>
          <p:spPr>
            <a:xfrm>
              <a:off x="6831034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8" name="object 1658">
              <a:extLst>
                <a:ext uri="{FF2B5EF4-FFF2-40B4-BE49-F238E27FC236}">
                  <a16:creationId xmlns:a16="http://schemas.microsoft.com/office/drawing/2014/main" id="{7CFD98BA-592D-E4C9-4AAA-8572B22B15CC}"/>
                </a:ext>
              </a:extLst>
            </p:cNvPr>
            <p:cNvSpPr/>
            <p:nvPr/>
          </p:nvSpPr>
          <p:spPr>
            <a:xfrm>
              <a:off x="6656063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9" name="object 1659">
              <a:extLst>
                <a:ext uri="{FF2B5EF4-FFF2-40B4-BE49-F238E27FC236}">
                  <a16:creationId xmlns:a16="http://schemas.microsoft.com/office/drawing/2014/main" id="{B811C55A-D23B-EAB9-D2EE-D009D8000668}"/>
                </a:ext>
              </a:extLst>
            </p:cNvPr>
            <p:cNvSpPr/>
            <p:nvPr/>
          </p:nvSpPr>
          <p:spPr>
            <a:xfrm>
              <a:off x="6831034" y="19159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0" name="object 1660">
              <a:extLst>
                <a:ext uri="{FF2B5EF4-FFF2-40B4-BE49-F238E27FC236}">
                  <a16:creationId xmlns:a16="http://schemas.microsoft.com/office/drawing/2014/main" id="{9E60D02C-76D7-6FE0-0187-47B5D1D5C6BB}"/>
                </a:ext>
              </a:extLst>
            </p:cNvPr>
            <p:cNvSpPr/>
            <p:nvPr/>
          </p:nvSpPr>
          <p:spPr>
            <a:xfrm>
              <a:off x="6656054" y="19414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1" name="object 1661">
              <a:extLst>
                <a:ext uri="{FF2B5EF4-FFF2-40B4-BE49-F238E27FC236}">
                  <a16:creationId xmlns:a16="http://schemas.microsoft.com/office/drawing/2014/main" id="{A2FF278A-2D28-4D9E-8D56-872AD6EB3575}"/>
                </a:ext>
              </a:extLst>
            </p:cNvPr>
            <p:cNvSpPr/>
            <p:nvPr/>
          </p:nvSpPr>
          <p:spPr>
            <a:xfrm>
              <a:off x="6936309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2" name="object 1662">
              <a:extLst>
                <a:ext uri="{FF2B5EF4-FFF2-40B4-BE49-F238E27FC236}">
                  <a16:creationId xmlns:a16="http://schemas.microsoft.com/office/drawing/2014/main" id="{336F8592-8EEC-0FD7-DB07-127DF9B92DCC}"/>
                </a:ext>
              </a:extLst>
            </p:cNvPr>
            <p:cNvSpPr/>
            <p:nvPr/>
          </p:nvSpPr>
          <p:spPr>
            <a:xfrm>
              <a:off x="6971330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3" name="object 1663">
              <a:extLst>
                <a:ext uri="{FF2B5EF4-FFF2-40B4-BE49-F238E27FC236}">
                  <a16:creationId xmlns:a16="http://schemas.microsoft.com/office/drawing/2014/main" id="{2E697CDE-BC3B-83F9-AD3C-A4AE461B6D60}"/>
                </a:ext>
              </a:extLst>
            </p:cNvPr>
            <p:cNvSpPr/>
            <p:nvPr/>
          </p:nvSpPr>
          <p:spPr>
            <a:xfrm>
              <a:off x="6866266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4" name="object 1664">
              <a:extLst>
                <a:ext uri="{FF2B5EF4-FFF2-40B4-BE49-F238E27FC236}">
                  <a16:creationId xmlns:a16="http://schemas.microsoft.com/office/drawing/2014/main" id="{81F88A0F-75E9-BFAD-FA54-7AE7CEA08024}"/>
                </a:ext>
              </a:extLst>
            </p:cNvPr>
            <p:cNvSpPr/>
            <p:nvPr/>
          </p:nvSpPr>
          <p:spPr>
            <a:xfrm>
              <a:off x="6761192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5" name="object 1665">
              <a:extLst>
                <a:ext uri="{FF2B5EF4-FFF2-40B4-BE49-F238E27FC236}">
                  <a16:creationId xmlns:a16="http://schemas.microsoft.com/office/drawing/2014/main" id="{609CB022-02EA-EE44-44AA-CA223F224A3E}"/>
                </a:ext>
              </a:extLst>
            </p:cNvPr>
            <p:cNvSpPr/>
            <p:nvPr/>
          </p:nvSpPr>
          <p:spPr>
            <a:xfrm>
              <a:off x="6796287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6" name="object 1666">
              <a:extLst>
                <a:ext uri="{FF2B5EF4-FFF2-40B4-BE49-F238E27FC236}">
                  <a16:creationId xmlns:a16="http://schemas.microsoft.com/office/drawing/2014/main" id="{85638BF5-F512-86B7-0996-8C1CA890F0CE}"/>
                </a:ext>
              </a:extLst>
            </p:cNvPr>
            <p:cNvSpPr/>
            <p:nvPr/>
          </p:nvSpPr>
          <p:spPr>
            <a:xfrm>
              <a:off x="6691149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7" name="object 1667">
              <a:extLst>
                <a:ext uri="{FF2B5EF4-FFF2-40B4-BE49-F238E27FC236}">
                  <a16:creationId xmlns:a16="http://schemas.microsoft.com/office/drawing/2014/main" id="{7D676F71-365D-6CDD-13DC-E68E253B0733}"/>
                </a:ext>
              </a:extLst>
            </p:cNvPr>
            <p:cNvSpPr/>
            <p:nvPr/>
          </p:nvSpPr>
          <p:spPr>
            <a:xfrm>
              <a:off x="6901287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8" name="object 1668">
              <a:extLst>
                <a:ext uri="{FF2B5EF4-FFF2-40B4-BE49-F238E27FC236}">
                  <a16:creationId xmlns:a16="http://schemas.microsoft.com/office/drawing/2014/main" id="{7954AAF4-4931-5185-2791-1F08003FFE62}"/>
                </a:ext>
              </a:extLst>
            </p:cNvPr>
            <p:cNvSpPr/>
            <p:nvPr/>
          </p:nvSpPr>
          <p:spPr>
            <a:xfrm>
              <a:off x="6726170" y="26208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9" name="object 1669">
              <a:extLst>
                <a:ext uri="{FF2B5EF4-FFF2-40B4-BE49-F238E27FC236}">
                  <a16:creationId xmlns:a16="http://schemas.microsoft.com/office/drawing/2014/main" id="{5E5ABF5D-7E5C-737F-5438-C12476C530B3}"/>
                </a:ext>
              </a:extLst>
            </p:cNvPr>
            <p:cNvSpPr/>
            <p:nvPr/>
          </p:nvSpPr>
          <p:spPr>
            <a:xfrm>
              <a:off x="7006352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0" name="object 1670">
              <a:extLst>
                <a:ext uri="{FF2B5EF4-FFF2-40B4-BE49-F238E27FC236}">
                  <a16:creationId xmlns:a16="http://schemas.microsoft.com/office/drawing/2014/main" id="{C48CCC95-D921-BEE9-069C-09815DF26D96}"/>
                </a:ext>
              </a:extLst>
            </p:cNvPr>
            <p:cNvSpPr/>
            <p:nvPr/>
          </p:nvSpPr>
          <p:spPr>
            <a:xfrm>
              <a:off x="6831381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1" name="object 1671">
              <a:extLst>
                <a:ext uri="{FF2B5EF4-FFF2-40B4-BE49-F238E27FC236}">
                  <a16:creationId xmlns:a16="http://schemas.microsoft.com/office/drawing/2014/main" id="{2E251707-37EA-923C-D825-BEA7FF1B2DAE}"/>
                </a:ext>
              </a:extLst>
            </p:cNvPr>
            <p:cNvSpPr/>
            <p:nvPr/>
          </p:nvSpPr>
          <p:spPr>
            <a:xfrm>
              <a:off x="6656402" y="26080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2" name="object 1672">
              <a:extLst>
                <a:ext uri="{FF2B5EF4-FFF2-40B4-BE49-F238E27FC236}">
                  <a16:creationId xmlns:a16="http://schemas.microsoft.com/office/drawing/2014/main" id="{D5A71482-899A-A256-E873-2DA29E9D232F}"/>
                </a:ext>
              </a:extLst>
            </p:cNvPr>
            <p:cNvSpPr/>
            <p:nvPr/>
          </p:nvSpPr>
          <p:spPr>
            <a:xfrm>
              <a:off x="6656402" y="26335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3" name="object 1673">
              <a:extLst>
                <a:ext uri="{FF2B5EF4-FFF2-40B4-BE49-F238E27FC236}">
                  <a16:creationId xmlns:a16="http://schemas.microsoft.com/office/drawing/2014/main" id="{0A1E91ED-A41C-FF98-076D-C11D4CD1B0C8}"/>
                </a:ext>
              </a:extLst>
            </p:cNvPr>
            <p:cNvSpPr/>
            <p:nvPr/>
          </p:nvSpPr>
          <p:spPr>
            <a:xfrm>
              <a:off x="6656539" y="2608069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20"/>
                <a:gd name="f4" fmla="val 84454"/>
                <a:gd name="f5" fmla="val 172560"/>
                <a:gd name="f6" fmla="val 84102"/>
                <a:gd name="f7" fmla="*/ f0 1 172720"/>
                <a:gd name="f8" fmla="*/ f1 1 84454"/>
                <a:gd name="f9" fmla="+- f4 0 f2"/>
                <a:gd name="f10" fmla="+- f3 0 f2"/>
                <a:gd name="f11" fmla="*/ f10 1 1727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4" name="object 1674">
              <a:extLst>
                <a:ext uri="{FF2B5EF4-FFF2-40B4-BE49-F238E27FC236}">
                  <a16:creationId xmlns:a16="http://schemas.microsoft.com/office/drawing/2014/main" id="{AAF86C7B-46ED-C1D3-5D72-E5511CA7A2D1}"/>
                </a:ext>
              </a:extLst>
            </p:cNvPr>
            <p:cNvSpPr/>
            <p:nvPr/>
          </p:nvSpPr>
          <p:spPr>
            <a:xfrm>
              <a:off x="6656539" y="2680371"/>
              <a:ext cx="26184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1800"/>
                <a:gd name="f4" fmla="val 84454"/>
                <a:gd name="f5" fmla="val 431285"/>
                <a:gd name="f6" fmla="val 84102"/>
                <a:gd name="f7" fmla="*/ f0 1 431800"/>
                <a:gd name="f8" fmla="*/ f1 1 84454"/>
                <a:gd name="f9" fmla="+- f4 0 f2"/>
                <a:gd name="f10" fmla="+- f3 0 f2"/>
                <a:gd name="f11" fmla="*/ f10 1 43180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180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5" name="object 1675">
              <a:extLst>
                <a:ext uri="{FF2B5EF4-FFF2-40B4-BE49-F238E27FC236}">
                  <a16:creationId xmlns:a16="http://schemas.microsoft.com/office/drawing/2014/main" id="{37A5605B-A022-5335-6C48-A321720A747C}"/>
                </a:ext>
              </a:extLst>
            </p:cNvPr>
            <p:cNvSpPr/>
            <p:nvPr/>
          </p:nvSpPr>
          <p:spPr>
            <a:xfrm>
              <a:off x="6935961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6" name="object 1676">
              <a:extLst>
                <a:ext uri="{FF2B5EF4-FFF2-40B4-BE49-F238E27FC236}">
                  <a16:creationId xmlns:a16="http://schemas.microsoft.com/office/drawing/2014/main" id="{993BE92B-4217-DE08-6717-2382093E9197}"/>
                </a:ext>
              </a:extLst>
            </p:cNvPr>
            <p:cNvSpPr/>
            <p:nvPr/>
          </p:nvSpPr>
          <p:spPr>
            <a:xfrm>
              <a:off x="6970983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7" name="object 1677">
              <a:extLst>
                <a:ext uri="{FF2B5EF4-FFF2-40B4-BE49-F238E27FC236}">
                  <a16:creationId xmlns:a16="http://schemas.microsoft.com/office/drawing/2014/main" id="{0621EA81-71F2-F7C8-63CB-4B24D36A1A60}"/>
                </a:ext>
              </a:extLst>
            </p:cNvPr>
            <p:cNvSpPr/>
            <p:nvPr/>
          </p:nvSpPr>
          <p:spPr>
            <a:xfrm>
              <a:off x="6865918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8" name="object 1678">
              <a:extLst>
                <a:ext uri="{FF2B5EF4-FFF2-40B4-BE49-F238E27FC236}">
                  <a16:creationId xmlns:a16="http://schemas.microsoft.com/office/drawing/2014/main" id="{CDF37E12-1641-B75D-D792-A8B7E26D9B9F}"/>
                </a:ext>
              </a:extLst>
            </p:cNvPr>
            <p:cNvSpPr/>
            <p:nvPr/>
          </p:nvSpPr>
          <p:spPr>
            <a:xfrm>
              <a:off x="6760845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9" name="object 1679">
              <a:extLst>
                <a:ext uri="{FF2B5EF4-FFF2-40B4-BE49-F238E27FC236}">
                  <a16:creationId xmlns:a16="http://schemas.microsoft.com/office/drawing/2014/main" id="{CD1B28EA-146A-F194-5634-5305318327C6}"/>
                </a:ext>
              </a:extLst>
            </p:cNvPr>
            <p:cNvSpPr/>
            <p:nvPr/>
          </p:nvSpPr>
          <p:spPr>
            <a:xfrm>
              <a:off x="6795939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0" name="object 1680">
              <a:extLst>
                <a:ext uri="{FF2B5EF4-FFF2-40B4-BE49-F238E27FC236}">
                  <a16:creationId xmlns:a16="http://schemas.microsoft.com/office/drawing/2014/main" id="{614FA8DB-3F1B-70E7-CD3C-8E904267534A}"/>
                </a:ext>
              </a:extLst>
            </p:cNvPr>
            <p:cNvSpPr/>
            <p:nvPr/>
          </p:nvSpPr>
          <p:spPr>
            <a:xfrm>
              <a:off x="6690801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1" name="object 1681">
              <a:extLst>
                <a:ext uri="{FF2B5EF4-FFF2-40B4-BE49-F238E27FC236}">
                  <a16:creationId xmlns:a16="http://schemas.microsoft.com/office/drawing/2014/main" id="{12CD2E5C-AB45-4BD1-127A-E16E427374A8}"/>
                </a:ext>
              </a:extLst>
            </p:cNvPr>
            <p:cNvSpPr/>
            <p:nvPr/>
          </p:nvSpPr>
          <p:spPr>
            <a:xfrm>
              <a:off x="6900940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2" name="object 1682">
              <a:extLst>
                <a:ext uri="{FF2B5EF4-FFF2-40B4-BE49-F238E27FC236}">
                  <a16:creationId xmlns:a16="http://schemas.microsoft.com/office/drawing/2014/main" id="{D63BC1F2-EE1F-41EE-2396-892F2753378C}"/>
                </a:ext>
              </a:extLst>
            </p:cNvPr>
            <p:cNvSpPr/>
            <p:nvPr/>
          </p:nvSpPr>
          <p:spPr>
            <a:xfrm>
              <a:off x="6725823" y="26931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3" name="object 1683">
              <a:extLst>
                <a:ext uri="{FF2B5EF4-FFF2-40B4-BE49-F238E27FC236}">
                  <a16:creationId xmlns:a16="http://schemas.microsoft.com/office/drawing/2014/main" id="{E86EE12C-1A61-5EA2-5423-2AFAB17A9855}"/>
                </a:ext>
              </a:extLst>
            </p:cNvPr>
            <p:cNvSpPr/>
            <p:nvPr/>
          </p:nvSpPr>
          <p:spPr>
            <a:xfrm>
              <a:off x="7006004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4" name="object 1684">
              <a:extLst>
                <a:ext uri="{FF2B5EF4-FFF2-40B4-BE49-F238E27FC236}">
                  <a16:creationId xmlns:a16="http://schemas.microsoft.com/office/drawing/2014/main" id="{8D18CA66-FEF3-899D-5ACE-6208738F2786}"/>
                </a:ext>
              </a:extLst>
            </p:cNvPr>
            <p:cNvSpPr/>
            <p:nvPr/>
          </p:nvSpPr>
          <p:spPr>
            <a:xfrm>
              <a:off x="6831034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5" name="object 1685">
              <a:extLst>
                <a:ext uri="{FF2B5EF4-FFF2-40B4-BE49-F238E27FC236}">
                  <a16:creationId xmlns:a16="http://schemas.microsoft.com/office/drawing/2014/main" id="{E5146919-0965-FEBA-37DD-7F4D6B901E81}"/>
                </a:ext>
              </a:extLst>
            </p:cNvPr>
            <p:cNvSpPr/>
            <p:nvPr/>
          </p:nvSpPr>
          <p:spPr>
            <a:xfrm>
              <a:off x="6656063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6" name="object 1686">
              <a:extLst>
                <a:ext uri="{FF2B5EF4-FFF2-40B4-BE49-F238E27FC236}">
                  <a16:creationId xmlns:a16="http://schemas.microsoft.com/office/drawing/2014/main" id="{B370931A-2241-8B67-EBE1-6D739D6D9016}"/>
                </a:ext>
              </a:extLst>
            </p:cNvPr>
            <p:cNvSpPr/>
            <p:nvPr/>
          </p:nvSpPr>
          <p:spPr>
            <a:xfrm>
              <a:off x="6831034" y="26803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7" name="object 1687">
              <a:extLst>
                <a:ext uri="{FF2B5EF4-FFF2-40B4-BE49-F238E27FC236}">
                  <a16:creationId xmlns:a16="http://schemas.microsoft.com/office/drawing/2014/main" id="{6F297406-25DB-F638-5B59-ED7A815947E6}"/>
                </a:ext>
              </a:extLst>
            </p:cNvPr>
            <p:cNvSpPr/>
            <p:nvPr/>
          </p:nvSpPr>
          <p:spPr>
            <a:xfrm>
              <a:off x="6656054" y="270586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8" name="object 1688">
              <a:extLst>
                <a:ext uri="{FF2B5EF4-FFF2-40B4-BE49-F238E27FC236}">
                  <a16:creationId xmlns:a16="http://schemas.microsoft.com/office/drawing/2014/main" id="{017FC5A0-A90C-1E93-3AFF-0B4A0AC89628}"/>
                </a:ext>
              </a:extLst>
            </p:cNvPr>
            <p:cNvSpPr/>
            <p:nvPr/>
          </p:nvSpPr>
          <p:spPr>
            <a:xfrm>
              <a:off x="3369692" y="1842351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5"/>
                <a:gd name="f4" fmla="val 84455"/>
                <a:gd name="f5" fmla="val 241406"/>
                <a:gd name="f6" fmla="val 84123"/>
                <a:gd name="f7" fmla="*/ f0 1 241935"/>
                <a:gd name="f8" fmla="*/ f1 1 84455"/>
                <a:gd name="f9" fmla="+- f4 0 f2"/>
                <a:gd name="f10" fmla="+- f3 0 f2"/>
                <a:gd name="f11" fmla="*/ f10 1 24193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9" name="object 1689">
              <a:extLst>
                <a:ext uri="{FF2B5EF4-FFF2-40B4-BE49-F238E27FC236}">
                  <a16:creationId xmlns:a16="http://schemas.microsoft.com/office/drawing/2014/main" id="{9E97C237-3122-D486-C2D2-E41D63C30C07}"/>
                </a:ext>
              </a:extLst>
            </p:cNvPr>
            <p:cNvSpPr/>
            <p:nvPr/>
          </p:nvSpPr>
          <p:spPr>
            <a:xfrm>
              <a:off x="3474482" y="18551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0" name="object 1690">
              <a:extLst>
                <a:ext uri="{FF2B5EF4-FFF2-40B4-BE49-F238E27FC236}">
                  <a16:creationId xmlns:a16="http://schemas.microsoft.com/office/drawing/2014/main" id="{DCDAB8D4-AB98-50A5-371D-591E5D70A8DD}"/>
                </a:ext>
              </a:extLst>
            </p:cNvPr>
            <p:cNvSpPr/>
            <p:nvPr/>
          </p:nvSpPr>
          <p:spPr>
            <a:xfrm>
              <a:off x="3509576" y="18551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1" name="object 1691">
              <a:extLst>
                <a:ext uri="{FF2B5EF4-FFF2-40B4-BE49-F238E27FC236}">
                  <a16:creationId xmlns:a16="http://schemas.microsoft.com/office/drawing/2014/main" id="{A6EB65BB-F7F2-D494-99AE-165ADE8922A6}"/>
                </a:ext>
              </a:extLst>
            </p:cNvPr>
            <p:cNvSpPr/>
            <p:nvPr/>
          </p:nvSpPr>
          <p:spPr>
            <a:xfrm>
              <a:off x="3404439" y="18551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2" name="object 1692">
              <a:extLst>
                <a:ext uri="{FF2B5EF4-FFF2-40B4-BE49-F238E27FC236}">
                  <a16:creationId xmlns:a16="http://schemas.microsoft.com/office/drawing/2014/main" id="{A3127E96-FE4B-2AAC-DA8C-D8478344CC94}"/>
                </a:ext>
              </a:extLst>
            </p:cNvPr>
            <p:cNvSpPr/>
            <p:nvPr/>
          </p:nvSpPr>
          <p:spPr>
            <a:xfrm>
              <a:off x="3439460" y="18551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3" name="object 1693">
              <a:extLst>
                <a:ext uri="{FF2B5EF4-FFF2-40B4-BE49-F238E27FC236}">
                  <a16:creationId xmlns:a16="http://schemas.microsoft.com/office/drawing/2014/main" id="{20B48FD1-46D5-C405-0011-B0B3F667BC3B}"/>
                </a:ext>
              </a:extLst>
            </p:cNvPr>
            <p:cNvSpPr/>
            <p:nvPr/>
          </p:nvSpPr>
          <p:spPr>
            <a:xfrm>
              <a:off x="3369692" y="18423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4" name="object 1694">
              <a:extLst>
                <a:ext uri="{FF2B5EF4-FFF2-40B4-BE49-F238E27FC236}">
                  <a16:creationId xmlns:a16="http://schemas.microsoft.com/office/drawing/2014/main" id="{019BE4B0-14E5-969A-6C00-76093AAEFC4E}"/>
                </a:ext>
              </a:extLst>
            </p:cNvPr>
            <p:cNvSpPr/>
            <p:nvPr/>
          </p:nvSpPr>
          <p:spPr>
            <a:xfrm>
              <a:off x="3649589" y="18551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5" name="object 1695">
              <a:extLst>
                <a:ext uri="{FF2B5EF4-FFF2-40B4-BE49-F238E27FC236}">
                  <a16:creationId xmlns:a16="http://schemas.microsoft.com/office/drawing/2014/main" id="{EF2F190B-012B-CFAF-EAE8-62C19DF4ABC0}"/>
                </a:ext>
              </a:extLst>
            </p:cNvPr>
            <p:cNvSpPr/>
            <p:nvPr/>
          </p:nvSpPr>
          <p:spPr>
            <a:xfrm>
              <a:off x="3684611" y="18551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6" name="object 1696">
              <a:extLst>
                <a:ext uri="{FF2B5EF4-FFF2-40B4-BE49-F238E27FC236}">
                  <a16:creationId xmlns:a16="http://schemas.microsoft.com/office/drawing/2014/main" id="{E5DD3518-69E4-D78A-EF39-3DEFD5C80C47}"/>
                </a:ext>
              </a:extLst>
            </p:cNvPr>
            <p:cNvSpPr/>
            <p:nvPr/>
          </p:nvSpPr>
          <p:spPr>
            <a:xfrm>
              <a:off x="3579546" y="18551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7" name="object 1697">
              <a:extLst>
                <a:ext uri="{FF2B5EF4-FFF2-40B4-BE49-F238E27FC236}">
                  <a16:creationId xmlns:a16="http://schemas.microsoft.com/office/drawing/2014/main" id="{39CB1A4C-407A-BB81-2EB8-D5EE12FEFFEA}"/>
                </a:ext>
              </a:extLst>
            </p:cNvPr>
            <p:cNvSpPr/>
            <p:nvPr/>
          </p:nvSpPr>
          <p:spPr>
            <a:xfrm>
              <a:off x="3614568" y="185510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8" name="object 1698">
              <a:extLst>
                <a:ext uri="{FF2B5EF4-FFF2-40B4-BE49-F238E27FC236}">
                  <a16:creationId xmlns:a16="http://schemas.microsoft.com/office/drawing/2014/main" id="{B0BC0CC1-D5C9-F570-6A1F-513784084BDE}"/>
                </a:ext>
              </a:extLst>
            </p:cNvPr>
            <p:cNvSpPr/>
            <p:nvPr/>
          </p:nvSpPr>
          <p:spPr>
            <a:xfrm>
              <a:off x="3719642" y="18423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9" name="object 1699">
              <a:extLst>
                <a:ext uri="{FF2B5EF4-FFF2-40B4-BE49-F238E27FC236}">
                  <a16:creationId xmlns:a16="http://schemas.microsoft.com/office/drawing/2014/main" id="{C2402103-4C8E-BCC3-D7D0-53CDAFC3A3F5}"/>
                </a:ext>
              </a:extLst>
            </p:cNvPr>
            <p:cNvSpPr/>
            <p:nvPr/>
          </p:nvSpPr>
          <p:spPr>
            <a:xfrm>
              <a:off x="3544662" y="18423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0" name="object 1700">
              <a:extLst>
                <a:ext uri="{FF2B5EF4-FFF2-40B4-BE49-F238E27FC236}">
                  <a16:creationId xmlns:a16="http://schemas.microsoft.com/office/drawing/2014/main" id="{E6761D08-8629-8C64-B9BD-3A000CA70DE8}"/>
                </a:ext>
              </a:extLst>
            </p:cNvPr>
            <p:cNvSpPr/>
            <p:nvPr/>
          </p:nvSpPr>
          <p:spPr>
            <a:xfrm>
              <a:off x="3369692" y="186786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1" name="object 1701">
              <a:extLst>
                <a:ext uri="{FF2B5EF4-FFF2-40B4-BE49-F238E27FC236}">
                  <a16:creationId xmlns:a16="http://schemas.microsoft.com/office/drawing/2014/main" id="{B7E8F888-81ED-38A0-8E64-971522562167}"/>
                </a:ext>
              </a:extLst>
            </p:cNvPr>
            <p:cNvSpPr/>
            <p:nvPr/>
          </p:nvSpPr>
          <p:spPr>
            <a:xfrm>
              <a:off x="3370158" y="1915375"/>
              <a:ext cx="6507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7314"/>
                <a:gd name="f4" fmla="val 84455"/>
                <a:gd name="f5" fmla="val 106834"/>
                <a:gd name="f6" fmla="val 84123"/>
                <a:gd name="f7" fmla="*/ f0 1 107314"/>
                <a:gd name="f8" fmla="*/ f1 1 84455"/>
                <a:gd name="f9" fmla="+- f4 0 f2"/>
                <a:gd name="f10" fmla="+- f3 0 f2"/>
                <a:gd name="f11" fmla="*/ f10 1 10731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731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2" name="object 1702">
              <a:extLst>
                <a:ext uri="{FF2B5EF4-FFF2-40B4-BE49-F238E27FC236}">
                  <a16:creationId xmlns:a16="http://schemas.microsoft.com/office/drawing/2014/main" id="{8B4C531D-200D-C991-7674-C3D75F9C90E4}"/>
                </a:ext>
              </a:extLst>
            </p:cNvPr>
            <p:cNvSpPr/>
            <p:nvPr/>
          </p:nvSpPr>
          <p:spPr>
            <a:xfrm>
              <a:off x="3649589" y="19281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3" name="object 1703">
              <a:extLst>
                <a:ext uri="{FF2B5EF4-FFF2-40B4-BE49-F238E27FC236}">
                  <a16:creationId xmlns:a16="http://schemas.microsoft.com/office/drawing/2014/main" id="{4F5F15B1-B9F9-7DDA-888E-7B54B9B13750}"/>
                </a:ext>
              </a:extLst>
            </p:cNvPr>
            <p:cNvSpPr/>
            <p:nvPr/>
          </p:nvSpPr>
          <p:spPr>
            <a:xfrm>
              <a:off x="3684611" y="19281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4" name="object 1704">
              <a:extLst>
                <a:ext uri="{FF2B5EF4-FFF2-40B4-BE49-F238E27FC236}">
                  <a16:creationId xmlns:a16="http://schemas.microsoft.com/office/drawing/2014/main" id="{02E01D36-F0E9-C3B0-DB14-AC1A9CCA5C29}"/>
                </a:ext>
              </a:extLst>
            </p:cNvPr>
            <p:cNvSpPr/>
            <p:nvPr/>
          </p:nvSpPr>
          <p:spPr>
            <a:xfrm>
              <a:off x="3579546" y="19281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5" name="object 1705">
              <a:extLst>
                <a:ext uri="{FF2B5EF4-FFF2-40B4-BE49-F238E27FC236}">
                  <a16:creationId xmlns:a16="http://schemas.microsoft.com/office/drawing/2014/main" id="{04F375B6-5FBB-F77C-E9F4-B70037075F83}"/>
                </a:ext>
              </a:extLst>
            </p:cNvPr>
            <p:cNvSpPr/>
            <p:nvPr/>
          </p:nvSpPr>
          <p:spPr>
            <a:xfrm>
              <a:off x="3474482" y="19281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6" name="object 1706">
              <a:extLst>
                <a:ext uri="{FF2B5EF4-FFF2-40B4-BE49-F238E27FC236}">
                  <a16:creationId xmlns:a16="http://schemas.microsoft.com/office/drawing/2014/main" id="{4A446522-6273-DB0C-882D-32C5BF234059}"/>
                </a:ext>
              </a:extLst>
            </p:cNvPr>
            <p:cNvSpPr/>
            <p:nvPr/>
          </p:nvSpPr>
          <p:spPr>
            <a:xfrm>
              <a:off x="3509576" y="19281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7" name="object 1707">
              <a:extLst>
                <a:ext uri="{FF2B5EF4-FFF2-40B4-BE49-F238E27FC236}">
                  <a16:creationId xmlns:a16="http://schemas.microsoft.com/office/drawing/2014/main" id="{07B2BB72-BBE8-777C-9CB4-20F6924E0881}"/>
                </a:ext>
              </a:extLst>
            </p:cNvPr>
            <p:cNvSpPr/>
            <p:nvPr/>
          </p:nvSpPr>
          <p:spPr>
            <a:xfrm>
              <a:off x="3404439" y="19281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8" name="object 1708">
              <a:extLst>
                <a:ext uri="{FF2B5EF4-FFF2-40B4-BE49-F238E27FC236}">
                  <a16:creationId xmlns:a16="http://schemas.microsoft.com/office/drawing/2014/main" id="{B5CE75AF-179A-A26F-28CA-F6E87A2EBB0B}"/>
                </a:ext>
              </a:extLst>
            </p:cNvPr>
            <p:cNvSpPr/>
            <p:nvPr/>
          </p:nvSpPr>
          <p:spPr>
            <a:xfrm>
              <a:off x="3614568" y="19281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9" name="object 1709">
              <a:extLst>
                <a:ext uri="{FF2B5EF4-FFF2-40B4-BE49-F238E27FC236}">
                  <a16:creationId xmlns:a16="http://schemas.microsoft.com/office/drawing/2014/main" id="{ED214CB9-89AE-9274-3BA4-6F6C875BA515}"/>
                </a:ext>
              </a:extLst>
            </p:cNvPr>
            <p:cNvSpPr/>
            <p:nvPr/>
          </p:nvSpPr>
          <p:spPr>
            <a:xfrm>
              <a:off x="3439460" y="192813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0" name="object 1710">
              <a:extLst>
                <a:ext uri="{FF2B5EF4-FFF2-40B4-BE49-F238E27FC236}">
                  <a16:creationId xmlns:a16="http://schemas.microsoft.com/office/drawing/2014/main" id="{707DE37A-750C-5BBB-AE21-7B064733E91A}"/>
                </a:ext>
              </a:extLst>
            </p:cNvPr>
            <p:cNvSpPr/>
            <p:nvPr/>
          </p:nvSpPr>
          <p:spPr>
            <a:xfrm>
              <a:off x="3719642" y="19153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1" name="object 1711">
              <a:extLst>
                <a:ext uri="{FF2B5EF4-FFF2-40B4-BE49-F238E27FC236}">
                  <a16:creationId xmlns:a16="http://schemas.microsoft.com/office/drawing/2014/main" id="{42E6950A-6716-5E92-7DD1-666D4AF2DE83}"/>
                </a:ext>
              </a:extLst>
            </p:cNvPr>
            <p:cNvSpPr/>
            <p:nvPr/>
          </p:nvSpPr>
          <p:spPr>
            <a:xfrm>
              <a:off x="3544662" y="19153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2" name="object 1712">
              <a:extLst>
                <a:ext uri="{FF2B5EF4-FFF2-40B4-BE49-F238E27FC236}">
                  <a16:creationId xmlns:a16="http://schemas.microsoft.com/office/drawing/2014/main" id="{17609B34-DC4B-BEFA-873E-5933ED866290}"/>
                </a:ext>
              </a:extLst>
            </p:cNvPr>
            <p:cNvSpPr/>
            <p:nvPr/>
          </p:nvSpPr>
          <p:spPr>
            <a:xfrm>
              <a:off x="3369692" y="19153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3" name="object 1713">
              <a:extLst>
                <a:ext uri="{FF2B5EF4-FFF2-40B4-BE49-F238E27FC236}">
                  <a16:creationId xmlns:a16="http://schemas.microsoft.com/office/drawing/2014/main" id="{53BAF470-ACE5-6E14-D123-A86DA1753FB1}"/>
                </a:ext>
              </a:extLst>
            </p:cNvPr>
            <p:cNvSpPr/>
            <p:nvPr/>
          </p:nvSpPr>
          <p:spPr>
            <a:xfrm>
              <a:off x="3544662" y="191537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4" name="object 1714">
              <a:extLst>
                <a:ext uri="{FF2B5EF4-FFF2-40B4-BE49-F238E27FC236}">
                  <a16:creationId xmlns:a16="http://schemas.microsoft.com/office/drawing/2014/main" id="{BC68FE87-478F-0A00-8FE5-9C6F77FB860E}"/>
                </a:ext>
              </a:extLst>
            </p:cNvPr>
            <p:cNvSpPr/>
            <p:nvPr/>
          </p:nvSpPr>
          <p:spPr>
            <a:xfrm>
              <a:off x="3369692" y="194087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5" name="object 1715">
              <a:extLst>
                <a:ext uri="{FF2B5EF4-FFF2-40B4-BE49-F238E27FC236}">
                  <a16:creationId xmlns:a16="http://schemas.microsoft.com/office/drawing/2014/main" id="{39561CE2-8DF3-1994-0FE7-7074BC222440}"/>
                </a:ext>
              </a:extLst>
            </p:cNvPr>
            <p:cNvSpPr/>
            <p:nvPr/>
          </p:nvSpPr>
          <p:spPr>
            <a:xfrm>
              <a:off x="2827736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6" name="object 1716">
              <a:extLst>
                <a:ext uri="{FF2B5EF4-FFF2-40B4-BE49-F238E27FC236}">
                  <a16:creationId xmlns:a16="http://schemas.microsoft.com/office/drawing/2014/main" id="{783D9E8A-73C0-B582-BB2E-A55D99C50A6A}"/>
                </a:ext>
              </a:extLst>
            </p:cNvPr>
            <p:cNvSpPr/>
            <p:nvPr/>
          </p:nvSpPr>
          <p:spPr>
            <a:xfrm>
              <a:off x="2862757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7" name="object 1717">
              <a:extLst>
                <a:ext uri="{FF2B5EF4-FFF2-40B4-BE49-F238E27FC236}">
                  <a16:creationId xmlns:a16="http://schemas.microsoft.com/office/drawing/2014/main" id="{2EF8A5D4-D312-0C1C-7F8B-153941F56D00}"/>
                </a:ext>
              </a:extLst>
            </p:cNvPr>
            <p:cNvSpPr/>
            <p:nvPr/>
          </p:nvSpPr>
          <p:spPr>
            <a:xfrm>
              <a:off x="2757693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8" name="object 1718">
              <a:extLst>
                <a:ext uri="{FF2B5EF4-FFF2-40B4-BE49-F238E27FC236}">
                  <a16:creationId xmlns:a16="http://schemas.microsoft.com/office/drawing/2014/main" id="{B151EB89-897B-7328-DBED-D11C48DA9D85}"/>
                </a:ext>
              </a:extLst>
            </p:cNvPr>
            <p:cNvSpPr/>
            <p:nvPr/>
          </p:nvSpPr>
          <p:spPr>
            <a:xfrm>
              <a:off x="2652619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9" name="object 1719">
              <a:extLst>
                <a:ext uri="{FF2B5EF4-FFF2-40B4-BE49-F238E27FC236}">
                  <a16:creationId xmlns:a16="http://schemas.microsoft.com/office/drawing/2014/main" id="{2FDB1524-7969-7E1B-D297-DDF133E628A6}"/>
                </a:ext>
              </a:extLst>
            </p:cNvPr>
            <p:cNvSpPr/>
            <p:nvPr/>
          </p:nvSpPr>
          <p:spPr>
            <a:xfrm>
              <a:off x="2687714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0" name="object 1720">
              <a:extLst>
                <a:ext uri="{FF2B5EF4-FFF2-40B4-BE49-F238E27FC236}">
                  <a16:creationId xmlns:a16="http://schemas.microsoft.com/office/drawing/2014/main" id="{02879073-38FB-F6F6-3A28-A3E905D6B7BA}"/>
                </a:ext>
              </a:extLst>
            </p:cNvPr>
            <p:cNvSpPr/>
            <p:nvPr/>
          </p:nvSpPr>
          <p:spPr>
            <a:xfrm>
              <a:off x="2582576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1" name="object 1721">
              <a:extLst>
                <a:ext uri="{FF2B5EF4-FFF2-40B4-BE49-F238E27FC236}">
                  <a16:creationId xmlns:a16="http://schemas.microsoft.com/office/drawing/2014/main" id="{FC65BF0D-938F-8764-CF53-1555BE5A7997}"/>
                </a:ext>
              </a:extLst>
            </p:cNvPr>
            <p:cNvSpPr/>
            <p:nvPr/>
          </p:nvSpPr>
          <p:spPr>
            <a:xfrm>
              <a:off x="2792714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2" name="object 1722">
              <a:extLst>
                <a:ext uri="{FF2B5EF4-FFF2-40B4-BE49-F238E27FC236}">
                  <a16:creationId xmlns:a16="http://schemas.microsoft.com/office/drawing/2014/main" id="{F9094D42-318F-FB39-B360-B81F6C27E00C}"/>
                </a:ext>
              </a:extLst>
            </p:cNvPr>
            <p:cNvSpPr/>
            <p:nvPr/>
          </p:nvSpPr>
          <p:spPr>
            <a:xfrm>
              <a:off x="2617598" y="10922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3" name="object 1723">
              <a:extLst>
                <a:ext uri="{FF2B5EF4-FFF2-40B4-BE49-F238E27FC236}">
                  <a16:creationId xmlns:a16="http://schemas.microsoft.com/office/drawing/2014/main" id="{EDE682A4-7E6C-8740-7D4B-34DA04368367}"/>
                </a:ext>
              </a:extLst>
            </p:cNvPr>
            <p:cNvSpPr/>
            <p:nvPr/>
          </p:nvSpPr>
          <p:spPr>
            <a:xfrm>
              <a:off x="2897779" y="107953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4" name="object 1724">
              <a:extLst>
                <a:ext uri="{FF2B5EF4-FFF2-40B4-BE49-F238E27FC236}">
                  <a16:creationId xmlns:a16="http://schemas.microsoft.com/office/drawing/2014/main" id="{9B038B6F-C34B-62AA-D6E3-C5CE98B3E492}"/>
                </a:ext>
              </a:extLst>
            </p:cNvPr>
            <p:cNvSpPr/>
            <p:nvPr/>
          </p:nvSpPr>
          <p:spPr>
            <a:xfrm>
              <a:off x="2722808" y="107953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5" name="object 1725">
              <a:extLst>
                <a:ext uri="{FF2B5EF4-FFF2-40B4-BE49-F238E27FC236}">
                  <a16:creationId xmlns:a16="http://schemas.microsoft.com/office/drawing/2014/main" id="{78F78543-9717-9B95-73C2-7F18BB95A568}"/>
                </a:ext>
              </a:extLst>
            </p:cNvPr>
            <p:cNvSpPr/>
            <p:nvPr/>
          </p:nvSpPr>
          <p:spPr>
            <a:xfrm>
              <a:off x="2547838" y="107953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6" name="object 1726">
              <a:extLst>
                <a:ext uri="{FF2B5EF4-FFF2-40B4-BE49-F238E27FC236}">
                  <a16:creationId xmlns:a16="http://schemas.microsoft.com/office/drawing/2014/main" id="{ECBE8722-9C76-065B-CDA8-AF73301335B8}"/>
                </a:ext>
              </a:extLst>
            </p:cNvPr>
            <p:cNvSpPr/>
            <p:nvPr/>
          </p:nvSpPr>
          <p:spPr>
            <a:xfrm>
              <a:off x="2547829" y="110504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7" name="object 1727">
              <a:extLst>
                <a:ext uri="{FF2B5EF4-FFF2-40B4-BE49-F238E27FC236}">
                  <a16:creationId xmlns:a16="http://schemas.microsoft.com/office/drawing/2014/main" id="{553C76E1-9E02-A474-0472-9BAC8AE6DF23}"/>
                </a:ext>
              </a:extLst>
            </p:cNvPr>
            <p:cNvSpPr/>
            <p:nvPr/>
          </p:nvSpPr>
          <p:spPr>
            <a:xfrm>
              <a:off x="2547838" y="1079540"/>
              <a:ext cx="14401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7489"/>
                <a:gd name="f4" fmla="val 84455"/>
                <a:gd name="f5" fmla="val 236924"/>
                <a:gd name="f6" fmla="val 84102"/>
                <a:gd name="f7" fmla="*/ f0 1 237489"/>
                <a:gd name="f8" fmla="*/ f1 1 84455"/>
                <a:gd name="f9" fmla="+- f4 0 f2"/>
                <a:gd name="f10" fmla="+- f3 0 f2"/>
                <a:gd name="f11" fmla="*/ f10 1 23748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748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8" name="object 1728">
              <a:extLst>
                <a:ext uri="{FF2B5EF4-FFF2-40B4-BE49-F238E27FC236}">
                  <a16:creationId xmlns:a16="http://schemas.microsoft.com/office/drawing/2014/main" id="{0CBBA587-59A5-41E5-F5DC-6DE78FFE977B}"/>
                </a:ext>
              </a:extLst>
            </p:cNvPr>
            <p:cNvSpPr/>
            <p:nvPr/>
          </p:nvSpPr>
          <p:spPr>
            <a:xfrm>
              <a:off x="2897779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9" name="object 1729">
              <a:extLst>
                <a:ext uri="{FF2B5EF4-FFF2-40B4-BE49-F238E27FC236}">
                  <a16:creationId xmlns:a16="http://schemas.microsoft.com/office/drawing/2014/main" id="{47407A3E-C6A8-324C-A67B-E25A58469964}"/>
                </a:ext>
              </a:extLst>
            </p:cNvPr>
            <p:cNvSpPr/>
            <p:nvPr/>
          </p:nvSpPr>
          <p:spPr>
            <a:xfrm>
              <a:off x="2722808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0" name="object 1730">
              <a:extLst>
                <a:ext uri="{FF2B5EF4-FFF2-40B4-BE49-F238E27FC236}">
                  <a16:creationId xmlns:a16="http://schemas.microsoft.com/office/drawing/2014/main" id="{2B462ED0-3D20-DE6F-C5FE-B2FAFE7F87E9}"/>
                </a:ext>
              </a:extLst>
            </p:cNvPr>
            <p:cNvSpPr/>
            <p:nvPr/>
          </p:nvSpPr>
          <p:spPr>
            <a:xfrm>
              <a:off x="2547838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1" name="object 1731">
              <a:extLst>
                <a:ext uri="{FF2B5EF4-FFF2-40B4-BE49-F238E27FC236}">
                  <a16:creationId xmlns:a16="http://schemas.microsoft.com/office/drawing/2014/main" id="{A8E372E9-3380-E01C-F5BF-C85B8C97B1C6}"/>
                </a:ext>
              </a:extLst>
            </p:cNvPr>
            <p:cNvSpPr/>
            <p:nvPr/>
          </p:nvSpPr>
          <p:spPr>
            <a:xfrm>
              <a:off x="2722808" y="115255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2" name="object 1732">
              <a:extLst>
                <a:ext uri="{FF2B5EF4-FFF2-40B4-BE49-F238E27FC236}">
                  <a16:creationId xmlns:a16="http://schemas.microsoft.com/office/drawing/2014/main" id="{51553731-B84A-1DA8-4425-EE204182B6EC}"/>
                </a:ext>
              </a:extLst>
            </p:cNvPr>
            <p:cNvSpPr/>
            <p:nvPr/>
          </p:nvSpPr>
          <p:spPr>
            <a:xfrm>
              <a:off x="2827736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3" name="object 1733">
              <a:extLst>
                <a:ext uri="{FF2B5EF4-FFF2-40B4-BE49-F238E27FC236}">
                  <a16:creationId xmlns:a16="http://schemas.microsoft.com/office/drawing/2014/main" id="{588C54E9-183B-B0E3-F50E-31373355A989}"/>
                </a:ext>
              </a:extLst>
            </p:cNvPr>
            <p:cNvSpPr/>
            <p:nvPr/>
          </p:nvSpPr>
          <p:spPr>
            <a:xfrm>
              <a:off x="2862757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4" name="object 1734">
              <a:extLst>
                <a:ext uri="{FF2B5EF4-FFF2-40B4-BE49-F238E27FC236}">
                  <a16:creationId xmlns:a16="http://schemas.microsoft.com/office/drawing/2014/main" id="{300DAE08-FC26-08B3-04AE-A9043B939C4B}"/>
                </a:ext>
              </a:extLst>
            </p:cNvPr>
            <p:cNvSpPr/>
            <p:nvPr/>
          </p:nvSpPr>
          <p:spPr>
            <a:xfrm>
              <a:off x="2757693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5" name="object 1735">
              <a:extLst>
                <a:ext uri="{FF2B5EF4-FFF2-40B4-BE49-F238E27FC236}">
                  <a16:creationId xmlns:a16="http://schemas.microsoft.com/office/drawing/2014/main" id="{987F1B56-90DB-25EE-0E95-4B8C4376C8EB}"/>
                </a:ext>
              </a:extLst>
            </p:cNvPr>
            <p:cNvSpPr/>
            <p:nvPr/>
          </p:nvSpPr>
          <p:spPr>
            <a:xfrm>
              <a:off x="2652619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6" name="object 1736">
              <a:extLst>
                <a:ext uri="{FF2B5EF4-FFF2-40B4-BE49-F238E27FC236}">
                  <a16:creationId xmlns:a16="http://schemas.microsoft.com/office/drawing/2014/main" id="{6B0B6D62-27D0-1E7D-0C9F-05BC92F865A2}"/>
                </a:ext>
              </a:extLst>
            </p:cNvPr>
            <p:cNvSpPr/>
            <p:nvPr/>
          </p:nvSpPr>
          <p:spPr>
            <a:xfrm>
              <a:off x="2687714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7" name="object 1737">
              <a:extLst>
                <a:ext uri="{FF2B5EF4-FFF2-40B4-BE49-F238E27FC236}">
                  <a16:creationId xmlns:a16="http://schemas.microsoft.com/office/drawing/2014/main" id="{E2986E68-47BE-4550-B84C-CBA2CE5B659E}"/>
                </a:ext>
              </a:extLst>
            </p:cNvPr>
            <p:cNvSpPr/>
            <p:nvPr/>
          </p:nvSpPr>
          <p:spPr>
            <a:xfrm>
              <a:off x="2582576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8" name="object 1738">
              <a:extLst>
                <a:ext uri="{FF2B5EF4-FFF2-40B4-BE49-F238E27FC236}">
                  <a16:creationId xmlns:a16="http://schemas.microsoft.com/office/drawing/2014/main" id="{087E1602-145C-46BC-3CCF-9842EB507789}"/>
                </a:ext>
              </a:extLst>
            </p:cNvPr>
            <p:cNvSpPr/>
            <p:nvPr/>
          </p:nvSpPr>
          <p:spPr>
            <a:xfrm>
              <a:off x="2792714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9" name="object 1739">
              <a:extLst>
                <a:ext uri="{FF2B5EF4-FFF2-40B4-BE49-F238E27FC236}">
                  <a16:creationId xmlns:a16="http://schemas.microsoft.com/office/drawing/2014/main" id="{870C3D9A-1CBF-4176-E8F1-3F668F5CAF46}"/>
                </a:ext>
              </a:extLst>
            </p:cNvPr>
            <p:cNvSpPr/>
            <p:nvPr/>
          </p:nvSpPr>
          <p:spPr>
            <a:xfrm>
              <a:off x="2617598" y="116531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0" name="object 1740">
              <a:extLst>
                <a:ext uri="{FF2B5EF4-FFF2-40B4-BE49-F238E27FC236}">
                  <a16:creationId xmlns:a16="http://schemas.microsoft.com/office/drawing/2014/main" id="{F873E054-E334-F641-C6AE-ABA7AA4A3482}"/>
                </a:ext>
              </a:extLst>
            </p:cNvPr>
            <p:cNvSpPr/>
            <p:nvPr/>
          </p:nvSpPr>
          <p:spPr>
            <a:xfrm>
              <a:off x="2547829" y="117805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1" name="object 1741">
              <a:extLst>
                <a:ext uri="{FF2B5EF4-FFF2-40B4-BE49-F238E27FC236}">
                  <a16:creationId xmlns:a16="http://schemas.microsoft.com/office/drawing/2014/main" id="{51396868-5202-B1BB-284A-A2FD8F74C144}"/>
                </a:ext>
              </a:extLst>
            </p:cNvPr>
            <p:cNvSpPr/>
            <p:nvPr/>
          </p:nvSpPr>
          <p:spPr>
            <a:xfrm>
              <a:off x="2547838" y="1152555"/>
              <a:ext cx="7662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6364"/>
                <a:gd name="f4" fmla="val 84455"/>
                <a:gd name="f5" fmla="val 125818"/>
                <a:gd name="f6" fmla="val 84112"/>
                <a:gd name="f7" fmla="*/ f0 1 126364"/>
                <a:gd name="f8" fmla="*/ f1 1 84455"/>
                <a:gd name="f9" fmla="+- f4 0 f2"/>
                <a:gd name="f10" fmla="+- f3 0 f2"/>
                <a:gd name="f11" fmla="*/ f10 1 12636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636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42" name="object 1742">
              <a:extLst>
                <a:ext uri="{FF2B5EF4-FFF2-40B4-BE49-F238E27FC236}">
                  <a16:creationId xmlns:a16="http://schemas.microsoft.com/office/drawing/2014/main" id="{C53077F7-B2D2-5803-EDA6-C947DD41D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/>
            <a:stretch>
              <a:fillRect/>
            </a:stretch>
          </p:blipFill>
          <p:spPr>
            <a:xfrm>
              <a:off x="2545707" y="2098127"/>
              <a:ext cx="349959" cy="349959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43" name="object 1743">
              <a:extLst>
                <a:ext uri="{FF2B5EF4-FFF2-40B4-BE49-F238E27FC236}">
                  <a16:creationId xmlns:a16="http://schemas.microsoft.com/office/drawing/2014/main" id="{4848C757-A029-7E66-9911-558DEC67FD60}"/>
                </a:ext>
              </a:extLst>
            </p:cNvPr>
            <p:cNvSpPr/>
            <p:nvPr/>
          </p:nvSpPr>
          <p:spPr>
            <a:xfrm>
              <a:off x="2545707" y="209812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288546"/>
                <a:gd name="f5" fmla="val 3776"/>
                <a:gd name="f6" fmla="val 335351"/>
                <a:gd name="f7" fmla="val 14710"/>
                <a:gd name="f8" fmla="val 379752"/>
                <a:gd name="f9" fmla="val 32207"/>
                <a:gd name="f10" fmla="val 421155"/>
                <a:gd name="f11" fmla="val 55674"/>
                <a:gd name="f12" fmla="val 458964"/>
                <a:gd name="f13" fmla="val 84515"/>
                <a:gd name="f14" fmla="val 492587"/>
                <a:gd name="f15" fmla="val 118138"/>
                <a:gd name="f16" fmla="val 521428"/>
                <a:gd name="f17" fmla="val 155947"/>
                <a:gd name="f18" fmla="val 544894"/>
                <a:gd name="f19" fmla="val 197349"/>
                <a:gd name="f20" fmla="val 562392"/>
                <a:gd name="f21" fmla="val 241750"/>
                <a:gd name="f22" fmla="val 573326"/>
                <a:gd name="f23" fmla="val 288556"/>
                <a:gd name="f24" fmla="val 577102"/>
                <a:gd name="f25" fmla="val 335359"/>
                <a:gd name="f26" fmla="val 379758"/>
                <a:gd name="f27" fmla="val 421158"/>
                <a:gd name="f28" fmla="val 458966"/>
                <a:gd name="f29" fmla="val 492588"/>
                <a:gd name="f30" fmla="val 521429"/>
                <a:gd name="f31" fmla="val 544895"/>
                <a:gd name="f32" fmla="val 241743"/>
                <a:gd name="f33" fmla="val 197344"/>
                <a:gd name="f34" fmla="val 155944"/>
                <a:gd name="f35" fmla="val 118135"/>
                <a:gd name="f36" fmla="val 84514"/>
                <a:gd name="f37" fmla="val 55673"/>
                <a:gd name="f38" fmla="*/ f0 1 577214"/>
                <a:gd name="f39" fmla="*/ f1 1 577214"/>
                <a:gd name="f40" fmla="+- f3 0 f2"/>
                <a:gd name="f41" fmla="*/ f40 1 577214"/>
                <a:gd name="f42" fmla="*/ f2 1 f41"/>
                <a:gd name="f43" fmla="*/ f3 1 f41"/>
                <a:gd name="f44" fmla="*/ f42 f38 1"/>
                <a:gd name="f45" fmla="*/ f43 f38 1"/>
                <a:gd name="f46" fmla="*/ f43 f39 1"/>
                <a:gd name="f47" fmla="*/ f42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4" t="f47" r="f45" b="f46"/>
              <a:pathLst>
                <a:path w="577214" h="577214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2"/>
                  </a:lnTo>
                  <a:lnTo>
                    <a:pt x="f26" y="f20"/>
                  </a:lnTo>
                  <a:lnTo>
                    <a:pt x="f27" y="f18"/>
                  </a:lnTo>
                  <a:lnTo>
                    <a:pt x="f28" y="f16"/>
                  </a:lnTo>
                  <a:lnTo>
                    <a:pt x="f29" y="f14"/>
                  </a:lnTo>
                  <a:lnTo>
                    <a:pt x="f30" y="f12"/>
                  </a:lnTo>
                  <a:lnTo>
                    <a:pt x="f31" y="f10"/>
                  </a:lnTo>
                  <a:lnTo>
                    <a:pt x="f20" y="f8"/>
                  </a:lnTo>
                  <a:lnTo>
                    <a:pt x="f22" y="f6"/>
                  </a:lnTo>
                  <a:lnTo>
                    <a:pt x="f24" y="f4"/>
                  </a:lnTo>
                  <a:lnTo>
                    <a:pt x="f22" y="f32"/>
                  </a:lnTo>
                  <a:lnTo>
                    <a:pt x="f20" y="f33"/>
                  </a:lnTo>
                  <a:lnTo>
                    <a:pt x="f31" y="f34"/>
                  </a:lnTo>
                  <a:lnTo>
                    <a:pt x="f30" y="f35"/>
                  </a:lnTo>
                  <a:lnTo>
                    <a:pt x="f29" y="f36"/>
                  </a:lnTo>
                  <a:lnTo>
                    <a:pt x="f28" y="f37"/>
                  </a:lnTo>
                  <a:lnTo>
                    <a:pt x="f27" y="f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2"/>
                  </a:lnTo>
                  <a:lnTo>
                    <a:pt x="f21" y="f5"/>
                  </a:lnTo>
                  <a:lnTo>
                    <a:pt x="f19" y="f7"/>
                  </a:lnTo>
                  <a:lnTo>
                    <a:pt x="f17" y="f9"/>
                  </a:lnTo>
                  <a:lnTo>
                    <a:pt x="f15" y="f37"/>
                  </a:lnTo>
                  <a:lnTo>
                    <a:pt x="f13" y="f36"/>
                  </a:lnTo>
                  <a:lnTo>
                    <a:pt x="f11" y="f35"/>
                  </a:lnTo>
                  <a:lnTo>
                    <a:pt x="f9" y="f34"/>
                  </a:lnTo>
                  <a:lnTo>
                    <a:pt x="f7" y="f33"/>
                  </a:lnTo>
                  <a:lnTo>
                    <a:pt x="f5" y="f32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44" name="object 1744">
              <a:extLst>
                <a:ext uri="{FF2B5EF4-FFF2-40B4-BE49-F238E27FC236}">
                  <a16:creationId xmlns:a16="http://schemas.microsoft.com/office/drawing/2014/main" id="{F66708ED-3C97-43CC-3864-6D64D80CF5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2548890" y="1324718"/>
              <a:ext cx="34995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45" name="object 1745">
              <a:extLst>
                <a:ext uri="{FF2B5EF4-FFF2-40B4-BE49-F238E27FC236}">
                  <a16:creationId xmlns:a16="http://schemas.microsoft.com/office/drawing/2014/main" id="{AB38BDCF-5BD6-65FA-5B29-D0FA266A6C63}"/>
                </a:ext>
              </a:extLst>
            </p:cNvPr>
            <p:cNvSpPr/>
            <p:nvPr/>
          </p:nvSpPr>
          <p:spPr>
            <a:xfrm>
              <a:off x="2548890" y="132471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46" name="object 1746">
              <a:extLst>
                <a:ext uri="{FF2B5EF4-FFF2-40B4-BE49-F238E27FC236}">
                  <a16:creationId xmlns:a16="http://schemas.microsoft.com/office/drawing/2014/main" id="{5778A6AA-3524-D24A-666E-2CBCC46109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/>
            <a:stretch>
              <a:fillRect/>
            </a:stretch>
          </p:blipFill>
          <p:spPr>
            <a:xfrm>
              <a:off x="3373441" y="2096892"/>
              <a:ext cx="349940" cy="34979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47" name="object 1747">
              <a:extLst>
                <a:ext uri="{FF2B5EF4-FFF2-40B4-BE49-F238E27FC236}">
                  <a16:creationId xmlns:a16="http://schemas.microsoft.com/office/drawing/2014/main" id="{6DC9DC90-ACDF-BBA0-ACED-B35FE883FA60}"/>
                </a:ext>
              </a:extLst>
            </p:cNvPr>
            <p:cNvSpPr/>
            <p:nvPr/>
          </p:nvSpPr>
          <p:spPr>
            <a:xfrm>
              <a:off x="3373441" y="20969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8" name="object 1748">
              <a:extLst>
                <a:ext uri="{FF2B5EF4-FFF2-40B4-BE49-F238E27FC236}">
                  <a16:creationId xmlns:a16="http://schemas.microsoft.com/office/drawing/2014/main" id="{7190C28B-DADB-9133-B049-5C48BC493C6E}"/>
                </a:ext>
              </a:extLst>
            </p:cNvPr>
            <p:cNvSpPr/>
            <p:nvPr/>
          </p:nvSpPr>
          <p:spPr>
            <a:xfrm>
              <a:off x="2827736" y="1856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9" name="object 1749">
              <a:extLst>
                <a:ext uri="{FF2B5EF4-FFF2-40B4-BE49-F238E27FC236}">
                  <a16:creationId xmlns:a16="http://schemas.microsoft.com/office/drawing/2014/main" id="{2DC0E2C1-4CDE-7FF4-A43A-900912BA32AE}"/>
                </a:ext>
              </a:extLst>
            </p:cNvPr>
            <p:cNvSpPr/>
            <p:nvPr/>
          </p:nvSpPr>
          <p:spPr>
            <a:xfrm>
              <a:off x="2862757" y="1856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0" name="object 1750">
              <a:extLst>
                <a:ext uri="{FF2B5EF4-FFF2-40B4-BE49-F238E27FC236}">
                  <a16:creationId xmlns:a16="http://schemas.microsoft.com/office/drawing/2014/main" id="{2C7DA407-7856-E695-6C57-3A1991FEC792}"/>
                </a:ext>
              </a:extLst>
            </p:cNvPr>
            <p:cNvSpPr/>
            <p:nvPr/>
          </p:nvSpPr>
          <p:spPr>
            <a:xfrm>
              <a:off x="2757693" y="1856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1" name="object 1751">
              <a:extLst>
                <a:ext uri="{FF2B5EF4-FFF2-40B4-BE49-F238E27FC236}">
                  <a16:creationId xmlns:a16="http://schemas.microsoft.com/office/drawing/2014/main" id="{3852CD99-4905-409D-EAD7-5483795C8C4E}"/>
                </a:ext>
              </a:extLst>
            </p:cNvPr>
            <p:cNvSpPr/>
            <p:nvPr/>
          </p:nvSpPr>
          <p:spPr>
            <a:xfrm>
              <a:off x="2652619" y="1856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2" name="object 1752">
              <a:extLst>
                <a:ext uri="{FF2B5EF4-FFF2-40B4-BE49-F238E27FC236}">
                  <a16:creationId xmlns:a16="http://schemas.microsoft.com/office/drawing/2014/main" id="{1A921E4B-4FE2-D9DD-E69C-6D6202EB292C}"/>
                </a:ext>
              </a:extLst>
            </p:cNvPr>
            <p:cNvSpPr/>
            <p:nvPr/>
          </p:nvSpPr>
          <p:spPr>
            <a:xfrm>
              <a:off x="2687714" y="1856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3" name="object 1753">
              <a:extLst>
                <a:ext uri="{FF2B5EF4-FFF2-40B4-BE49-F238E27FC236}">
                  <a16:creationId xmlns:a16="http://schemas.microsoft.com/office/drawing/2014/main" id="{0A40DCD2-85F4-B6CE-0F40-FC72D4E6278D}"/>
                </a:ext>
              </a:extLst>
            </p:cNvPr>
            <p:cNvSpPr/>
            <p:nvPr/>
          </p:nvSpPr>
          <p:spPr>
            <a:xfrm>
              <a:off x="2582576" y="1856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4" name="object 1754">
              <a:extLst>
                <a:ext uri="{FF2B5EF4-FFF2-40B4-BE49-F238E27FC236}">
                  <a16:creationId xmlns:a16="http://schemas.microsoft.com/office/drawing/2014/main" id="{04AF1A4B-EB93-953E-2851-26DD0616363A}"/>
                </a:ext>
              </a:extLst>
            </p:cNvPr>
            <p:cNvSpPr/>
            <p:nvPr/>
          </p:nvSpPr>
          <p:spPr>
            <a:xfrm>
              <a:off x="2792714" y="1856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5" name="object 1755">
              <a:extLst>
                <a:ext uri="{FF2B5EF4-FFF2-40B4-BE49-F238E27FC236}">
                  <a16:creationId xmlns:a16="http://schemas.microsoft.com/office/drawing/2014/main" id="{95BE8867-140F-B790-2472-9FAA7D85485A}"/>
                </a:ext>
              </a:extLst>
            </p:cNvPr>
            <p:cNvSpPr/>
            <p:nvPr/>
          </p:nvSpPr>
          <p:spPr>
            <a:xfrm>
              <a:off x="2617598" y="185600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6" name="object 1756">
              <a:extLst>
                <a:ext uri="{FF2B5EF4-FFF2-40B4-BE49-F238E27FC236}">
                  <a16:creationId xmlns:a16="http://schemas.microsoft.com/office/drawing/2014/main" id="{6765CA52-FA23-3ADC-AE88-ABD96F931C77}"/>
                </a:ext>
              </a:extLst>
            </p:cNvPr>
            <p:cNvSpPr/>
            <p:nvPr/>
          </p:nvSpPr>
          <p:spPr>
            <a:xfrm>
              <a:off x="2897779" y="184324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7" name="object 1757">
              <a:extLst>
                <a:ext uri="{FF2B5EF4-FFF2-40B4-BE49-F238E27FC236}">
                  <a16:creationId xmlns:a16="http://schemas.microsoft.com/office/drawing/2014/main" id="{841CA9EE-CC27-C679-EDDC-BEBFBA7A7230}"/>
                </a:ext>
              </a:extLst>
            </p:cNvPr>
            <p:cNvSpPr/>
            <p:nvPr/>
          </p:nvSpPr>
          <p:spPr>
            <a:xfrm>
              <a:off x="2722808" y="184324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8" name="object 1758">
              <a:extLst>
                <a:ext uri="{FF2B5EF4-FFF2-40B4-BE49-F238E27FC236}">
                  <a16:creationId xmlns:a16="http://schemas.microsoft.com/office/drawing/2014/main" id="{A40C1A43-E89F-44B4-4B92-A8D9D3052813}"/>
                </a:ext>
              </a:extLst>
            </p:cNvPr>
            <p:cNvSpPr/>
            <p:nvPr/>
          </p:nvSpPr>
          <p:spPr>
            <a:xfrm>
              <a:off x="2547838" y="184324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9" name="object 1759">
              <a:extLst>
                <a:ext uri="{FF2B5EF4-FFF2-40B4-BE49-F238E27FC236}">
                  <a16:creationId xmlns:a16="http://schemas.microsoft.com/office/drawing/2014/main" id="{E3EA64CA-C981-1961-5212-D1886E998CD4}"/>
                </a:ext>
              </a:extLst>
            </p:cNvPr>
            <p:cNvSpPr/>
            <p:nvPr/>
          </p:nvSpPr>
          <p:spPr>
            <a:xfrm>
              <a:off x="2547829" y="186875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0" name="object 1760">
              <a:extLst>
                <a:ext uri="{FF2B5EF4-FFF2-40B4-BE49-F238E27FC236}">
                  <a16:creationId xmlns:a16="http://schemas.microsoft.com/office/drawing/2014/main" id="{FAD28DDF-F034-209B-0EB8-B6B21C46EBF0}"/>
                </a:ext>
              </a:extLst>
            </p:cNvPr>
            <p:cNvSpPr/>
            <p:nvPr/>
          </p:nvSpPr>
          <p:spPr>
            <a:xfrm>
              <a:off x="2547838" y="1843247"/>
              <a:ext cx="11898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6214"/>
                <a:gd name="f4" fmla="val 84455"/>
                <a:gd name="f5" fmla="val 195617"/>
                <a:gd name="f6" fmla="val 84123"/>
                <a:gd name="f7" fmla="*/ f0 1 196214"/>
                <a:gd name="f8" fmla="*/ f1 1 84455"/>
                <a:gd name="f9" fmla="+- f4 0 f2"/>
                <a:gd name="f10" fmla="+- f3 0 f2"/>
                <a:gd name="f11" fmla="*/ f10 1 19621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621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1" name="object 1761">
              <a:extLst>
                <a:ext uri="{FF2B5EF4-FFF2-40B4-BE49-F238E27FC236}">
                  <a16:creationId xmlns:a16="http://schemas.microsoft.com/office/drawing/2014/main" id="{7C1B706E-D847-5C16-6BBA-BDCE36C16253}"/>
                </a:ext>
              </a:extLst>
            </p:cNvPr>
            <p:cNvSpPr/>
            <p:nvPr/>
          </p:nvSpPr>
          <p:spPr>
            <a:xfrm>
              <a:off x="2897779" y="19162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2" name="object 1762">
              <a:extLst>
                <a:ext uri="{FF2B5EF4-FFF2-40B4-BE49-F238E27FC236}">
                  <a16:creationId xmlns:a16="http://schemas.microsoft.com/office/drawing/2014/main" id="{09135B6F-FAD3-C1BC-5C7A-15E629332C9F}"/>
                </a:ext>
              </a:extLst>
            </p:cNvPr>
            <p:cNvSpPr/>
            <p:nvPr/>
          </p:nvSpPr>
          <p:spPr>
            <a:xfrm>
              <a:off x="2722808" y="19162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3" name="object 1763">
              <a:extLst>
                <a:ext uri="{FF2B5EF4-FFF2-40B4-BE49-F238E27FC236}">
                  <a16:creationId xmlns:a16="http://schemas.microsoft.com/office/drawing/2014/main" id="{A7FA671D-0385-3EA6-CFAF-2B9180DB94F8}"/>
                </a:ext>
              </a:extLst>
            </p:cNvPr>
            <p:cNvSpPr/>
            <p:nvPr/>
          </p:nvSpPr>
          <p:spPr>
            <a:xfrm>
              <a:off x="2547838" y="19162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4" name="object 1764">
              <a:extLst>
                <a:ext uri="{FF2B5EF4-FFF2-40B4-BE49-F238E27FC236}">
                  <a16:creationId xmlns:a16="http://schemas.microsoft.com/office/drawing/2014/main" id="{51524DA5-A1FD-D7DA-1D43-4EACF5181EB0}"/>
                </a:ext>
              </a:extLst>
            </p:cNvPr>
            <p:cNvSpPr/>
            <p:nvPr/>
          </p:nvSpPr>
          <p:spPr>
            <a:xfrm>
              <a:off x="2722808" y="19162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5" name="object 1765">
              <a:extLst>
                <a:ext uri="{FF2B5EF4-FFF2-40B4-BE49-F238E27FC236}">
                  <a16:creationId xmlns:a16="http://schemas.microsoft.com/office/drawing/2014/main" id="{ABB85FBC-26D3-E59A-8163-CB19E94200CC}"/>
                </a:ext>
              </a:extLst>
            </p:cNvPr>
            <p:cNvSpPr/>
            <p:nvPr/>
          </p:nvSpPr>
          <p:spPr>
            <a:xfrm>
              <a:off x="2827736" y="19290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6" name="object 1766">
              <a:extLst>
                <a:ext uri="{FF2B5EF4-FFF2-40B4-BE49-F238E27FC236}">
                  <a16:creationId xmlns:a16="http://schemas.microsoft.com/office/drawing/2014/main" id="{140A91D7-BE22-6F63-4D50-4390FE8DCAFF}"/>
                </a:ext>
              </a:extLst>
            </p:cNvPr>
            <p:cNvSpPr/>
            <p:nvPr/>
          </p:nvSpPr>
          <p:spPr>
            <a:xfrm>
              <a:off x="2862757" y="19290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7" name="object 1767">
              <a:extLst>
                <a:ext uri="{FF2B5EF4-FFF2-40B4-BE49-F238E27FC236}">
                  <a16:creationId xmlns:a16="http://schemas.microsoft.com/office/drawing/2014/main" id="{F6A152F1-56B2-2444-2386-305F60265D31}"/>
                </a:ext>
              </a:extLst>
            </p:cNvPr>
            <p:cNvSpPr/>
            <p:nvPr/>
          </p:nvSpPr>
          <p:spPr>
            <a:xfrm>
              <a:off x="2757693" y="19290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8" name="object 1768">
              <a:extLst>
                <a:ext uri="{FF2B5EF4-FFF2-40B4-BE49-F238E27FC236}">
                  <a16:creationId xmlns:a16="http://schemas.microsoft.com/office/drawing/2014/main" id="{1B8188E6-D3E5-068F-6C28-F8A96170BA25}"/>
                </a:ext>
              </a:extLst>
            </p:cNvPr>
            <p:cNvSpPr/>
            <p:nvPr/>
          </p:nvSpPr>
          <p:spPr>
            <a:xfrm>
              <a:off x="2652619" y="19290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9" name="object 1769">
              <a:extLst>
                <a:ext uri="{FF2B5EF4-FFF2-40B4-BE49-F238E27FC236}">
                  <a16:creationId xmlns:a16="http://schemas.microsoft.com/office/drawing/2014/main" id="{DE9E7873-2D93-4964-2BC8-2045077E6BCA}"/>
                </a:ext>
              </a:extLst>
            </p:cNvPr>
            <p:cNvSpPr/>
            <p:nvPr/>
          </p:nvSpPr>
          <p:spPr>
            <a:xfrm>
              <a:off x="2687714" y="19290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0" name="object 1770">
              <a:extLst>
                <a:ext uri="{FF2B5EF4-FFF2-40B4-BE49-F238E27FC236}">
                  <a16:creationId xmlns:a16="http://schemas.microsoft.com/office/drawing/2014/main" id="{3B0895A9-0ACD-04BA-2D68-D3156FA8AE8E}"/>
                </a:ext>
              </a:extLst>
            </p:cNvPr>
            <p:cNvSpPr/>
            <p:nvPr/>
          </p:nvSpPr>
          <p:spPr>
            <a:xfrm>
              <a:off x="2582576" y="19290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1" name="object 1771">
              <a:extLst>
                <a:ext uri="{FF2B5EF4-FFF2-40B4-BE49-F238E27FC236}">
                  <a16:creationId xmlns:a16="http://schemas.microsoft.com/office/drawing/2014/main" id="{20619A65-45EE-C1FF-5BBC-81C5007DBE55}"/>
                </a:ext>
              </a:extLst>
            </p:cNvPr>
            <p:cNvSpPr/>
            <p:nvPr/>
          </p:nvSpPr>
          <p:spPr>
            <a:xfrm>
              <a:off x="2792714" y="19290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2" name="object 1772">
              <a:extLst>
                <a:ext uri="{FF2B5EF4-FFF2-40B4-BE49-F238E27FC236}">
                  <a16:creationId xmlns:a16="http://schemas.microsoft.com/office/drawing/2014/main" id="{F0761C0E-6748-B8B9-464D-E4C06EC2D2FF}"/>
                </a:ext>
              </a:extLst>
            </p:cNvPr>
            <p:cNvSpPr/>
            <p:nvPr/>
          </p:nvSpPr>
          <p:spPr>
            <a:xfrm>
              <a:off x="2617598" y="19290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3" name="object 1773">
              <a:extLst>
                <a:ext uri="{FF2B5EF4-FFF2-40B4-BE49-F238E27FC236}">
                  <a16:creationId xmlns:a16="http://schemas.microsoft.com/office/drawing/2014/main" id="{85652990-C068-B344-D661-9B6D207469B0}"/>
                </a:ext>
              </a:extLst>
            </p:cNvPr>
            <p:cNvSpPr/>
            <p:nvPr/>
          </p:nvSpPr>
          <p:spPr>
            <a:xfrm>
              <a:off x="2547829" y="19417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4" name="object 1774">
              <a:extLst>
                <a:ext uri="{FF2B5EF4-FFF2-40B4-BE49-F238E27FC236}">
                  <a16:creationId xmlns:a16="http://schemas.microsoft.com/office/drawing/2014/main" id="{F21FB3B1-2946-3699-7A21-D21C2B04C12C}"/>
                </a:ext>
              </a:extLst>
            </p:cNvPr>
            <p:cNvSpPr/>
            <p:nvPr/>
          </p:nvSpPr>
          <p:spPr>
            <a:xfrm>
              <a:off x="2547838" y="1916271"/>
              <a:ext cx="8355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7795"/>
                <a:gd name="f4" fmla="val 84455"/>
                <a:gd name="f5" fmla="val 137440"/>
                <a:gd name="f6" fmla="val 84123"/>
                <a:gd name="f7" fmla="*/ f0 1 137795"/>
                <a:gd name="f8" fmla="*/ f1 1 84455"/>
                <a:gd name="f9" fmla="+- f4 0 f2"/>
                <a:gd name="f10" fmla="+- f3 0 f2"/>
                <a:gd name="f11" fmla="*/ f10 1 13779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779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75" name="object 1775">
              <a:extLst>
                <a:ext uri="{FF2B5EF4-FFF2-40B4-BE49-F238E27FC236}">
                  <a16:creationId xmlns:a16="http://schemas.microsoft.com/office/drawing/2014/main" id="{38B9ECA5-835D-8AF4-639D-8958551879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2"/>
            <a:stretch>
              <a:fillRect/>
            </a:stretch>
          </p:blipFill>
          <p:spPr>
            <a:xfrm>
              <a:off x="2546192" y="560298"/>
              <a:ext cx="348989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76" name="object 1776">
              <a:extLst>
                <a:ext uri="{FF2B5EF4-FFF2-40B4-BE49-F238E27FC236}">
                  <a16:creationId xmlns:a16="http://schemas.microsoft.com/office/drawing/2014/main" id="{D2E8B392-8EDF-0EBD-5A78-458C61E1F98D}"/>
                </a:ext>
              </a:extLst>
            </p:cNvPr>
            <p:cNvSpPr/>
            <p:nvPr/>
          </p:nvSpPr>
          <p:spPr>
            <a:xfrm>
              <a:off x="2545241" y="56030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7" name="object 1777">
              <a:extLst>
                <a:ext uri="{FF2B5EF4-FFF2-40B4-BE49-F238E27FC236}">
                  <a16:creationId xmlns:a16="http://schemas.microsoft.com/office/drawing/2014/main" id="{517487D0-D139-C4A8-DA3F-26CCB9068EE5}"/>
                </a:ext>
              </a:extLst>
            </p:cNvPr>
            <p:cNvSpPr/>
            <p:nvPr/>
          </p:nvSpPr>
          <p:spPr>
            <a:xfrm>
              <a:off x="2546201" y="56030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1778" name="object 1778">
            <a:extLst>
              <a:ext uri="{FF2B5EF4-FFF2-40B4-BE49-F238E27FC236}">
                <a16:creationId xmlns:a16="http://schemas.microsoft.com/office/drawing/2014/main" id="{E198788B-F283-D727-78F5-51D88207A8E1}"/>
              </a:ext>
            </a:extLst>
          </p:cNvPr>
          <p:cNvSpPr txBox="1"/>
          <p:nvPr/>
        </p:nvSpPr>
        <p:spPr>
          <a:xfrm>
            <a:off x="2540120" y="3237085"/>
            <a:ext cx="456303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-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lement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polystyrene+</a:t>
            </a:r>
            <a:r>
              <a:rPr lang="en-US" sz="334" b="0" i="0" u="none" strike="noStrike" kern="1200" cap="none" spc="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grpSp>
        <p:nvGrpSpPr>
          <p:cNvPr id="1779" name="object 1779">
            <a:extLst>
              <a:ext uri="{FF2B5EF4-FFF2-40B4-BE49-F238E27FC236}">
                <a16:creationId xmlns:a16="http://schemas.microsoft.com/office/drawing/2014/main" id="{75137087-6D6A-1191-64B3-53F39EF01D98}"/>
              </a:ext>
            </a:extLst>
          </p:cNvPr>
          <p:cNvGrpSpPr/>
          <p:nvPr/>
        </p:nvGrpSpPr>
        <p:grpSpPr>
          <a:xfrm>
            <a:off x="2547829" y="3373660"/>
            <a:ext cx="350023" cy="124248"/>
            <a:chOff x="2547829" y="3373660"/>
            <a:chExt cx="350023" cy="124248"/>
          </a:xfrm>
        </p:grpSpPr>
        <p:sp>
          <p:nvSpPr>
            <p:cNvPr id="1780" name="object 1780">
              <a:extLst>
                <a:ext uri="{FF2B5EF4-FFF2-40B4-BE49-F238E27FC236}">
                  <a16:creationId xmlns:a16="http://schemas.microsoft.com/office/drawing/2014/main" id="{D54DC63E-C685-9B9E-12A0-162FA802E6D0}"/>
                </a:ext>
              </a:extLst>
            </p:cNvPr>
            <p:cNvSpPr/>
            <p:nvPr/>
          </p:nvSpPr>
          <p:spPr>
            <a:xfrm>
              <a:off x="2547838" y="3373770"/>
              <a:ext cx="11590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1135"/>
                <a:gd name="f4" fmla="val 84454"/>
                <a:gd name="f5" fmla="val 190968"/>
                <a:gd name="f6" fmla="val 84133"/>
                <a:gd name="f7" fmla="*/ f0 1 191135"/>
                <a:gd name="f8" fmla="*/ f1 1 84454"/>
                <a:gd name="f9" fmla="+- f4 0 f2"/>
                <a:gd name="f10" fmla="+- f3 0 f2"/>
                <a:gd name="f11" fmla="*/ f10 1 1911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11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1" name="object 1781">
              <a:extLst>
                <a:ext uri="{FF2B5EF4-FFF2-40B4-BE49-F238E27FC236}">
                  <a16:creationId xmlns:a16="http://schemas.microsoft.com/office/drawing/2014/main" id="{94DCFD38-29C7-213D-8E9B-ADF0CA29D576}"/>
                </a:ext>
              </a:extLst>
            </p:cNvPr>
            <p:cNvSpPr/>
            <p:nvPr/>
          </p:nvSpPr>
          <p:spPr>
            <a:xfrm>
              <a:off x="2652619" y="33864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2" name="object 1782">
              <a:extLst>
                <a:ext uri="{FF2B5EF4-FFF2-40B4-BE49-F238E27FC236}">
                  <a16:creationId xmlns:a16="http://schemas.microsoft.com/office/drawing/2014/main" id="{8079858B-472F-3604-B77E-F03737815257}"/>
                </a:ext>
              </a:extLst>
            </p:cNvPr>
            <p:cNvSpPr/>
            <p:nvPr/>
          </p:nvSpPr>
          <p:spPr>
            <a:xfrm>
              <a:off x="2687714" y="33864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3" name="object 1783">
              <a:extLst>
                <a:ext uri="{FF2B5EF4-FFF2-40B4-BE49-F238E27FC236}">
                  <a16:creationId xmlns:a16="http://schemas.microsoft.com/office/drawing/2014/main" id="{CE2C7FC5-6E78-7C1F-B2E2-C9908737466D}"/>
                </a:ext>
              </a:extLst>
            </p:cNvPr>
            <p:cNvSpPr/>
            <p:nvPr/>
          </p:nvSpPr>
          <p:spPr>
            <a:xfrm>
              <a:off x="2582576" y="33864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4" name="object 1784">
              <a:extLst>
                <a:ext uri="{FF2B5EF4-FFF2-40B4-BE49-F238E27FC236}">
                  <a16:creationId xmlns:a16="http://schemas.microsoft.com/office/drawing/2014/main" id="{4AED2C9F-2726-2739-64D7-E11E3B209617}"/>
                </a:ext>
              </a:extLst>
            </p:cNvPr>
            <p:cNvSpPr/>
            <p:nvPr/>
          </p:nvSpPr>
          <p:spPr>
            <a:xfrm>
              <a:off x="2617598" y="33864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5" name="object 1785">
              <a:extLst>
                <a:ext uri="{FF2B5EF4-FFF2-40B4-BE49-F238E27FC236}">
                  <a16:creationId xmlns:a16="http://schemas.microsoft.com/office/drawing/2014/main" id="{30849123-C913-325A-A50C-3A03B5D3DF06}"/>
                </a:ext>
              </a:extLst>
            </p:cNvPr>
            <p:cNvSpPr/>
            <p:nvPr/>
          </p:nvSpPr>
          <p:spPr>
            <a:xfrm>
              <a:off x="2547838" y="33736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6" name="object 1786">
              <a:extLst>
                <a:ext uri="{FF2B5EF4-FFF2-40B4-BE49-F238E27FC236}">
                  <a16:creationId xmlns:a16="http://schemas.microsoft.com/office/drawing/2014/main" id="{414A690D-3A84-877B-7BC2-1C3B8DC4A87B}"/>
                </a:ext>
              </a:extLst>
            </p:cNvPr>
            <p:cNvSpPr/>
            <p:nvPr/>
          </p:nvSpPr>
          <p:spPr>
            <a:xfrm>
              <a:off x="2827736" y="33864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7" name="object 1787">
              <a:extLst>
                <a:ext uri="{FF2B5EF4-FFF2-40B4-BE49-F238E27FC236}">
                  <a16:creationId xmlns:a16="http://schemas.microsoft.com/office/drawing/2014/main" id="{47B1994A-80B9-FEE8-1101-1F89558ABFB2}"/>
                </a:ext>
              </a:extLst>
            </p:cNvPr>
            <p:cNvSpPr/>
            <p:nvPr/>
          </p:nvSpPr>
          <p:spPr>
            <a:xfrm>
              <a:off x="2862757" y="33864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8" name="object 1788">
              <a:extLst>
                <a:ext uri="{FF2B5EF4-FFF2-40B4-BE49-F238E27FC236}">
                  <a16:creationId xmlns:a16="http://schemas.microsoft.com/office/drawing/2014/main" id="{2936C456-331D-29F6-4A41-8787C83D98A4}"/>
                </a:ext>
              </a:extLst>
            </p:cNvPr>
            <p:cNvSpPr/>
            <p:nvPr/>
          </p:nvSpPr>
          <p:spPr>
            <a:xfrm>
              <a:off x="2757693" y="33864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9" name="object 1789">
              <a:extLst>
                <a:ext uri="{FF2B5EF4-FFF2-40B4-BE49-F238E27FC236}">
                  <a16:creationId xmlns:a16="http://schemas.microsoft.com/office/drawing/2014/main" id="{B7ECE96F-6859-D57A-0A94-F41585828B5E}"/>
                </a:ext>
              </a:extLst>
            </p:cNvPr>
            <p:cNvSpPr/>
            <p:nvPr/>
          </p:nvSpPr>
          <p:spPr>
            <a:xfrm>
              <a:off x="2792714" y="33864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0" name="object 1790">
              <a:extLst>
                <a:ext uri="{FF2B5EF4-FFF2-40B4-BE49-F238E27FC236}">
                  <a16:creationId xmlns:a16="http://schemas.microsoft.com/office/drawing/2014/main" id="{5DAE0F1E-AFEB-916A-552B-B7B7AB73D543}"/>
                </a:ext>
              </a:extLst>
            </p:cNvPr>
            <p:cNvSpPr/>
            <p:nvPr/>
          </p:nvSpPr>
          <p:spPr>
            <a:xfrm>
              <a:off x="2897779" y="33736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1" name="object 1791">
              <a:extLst>
                <a:ext uri="{FF2B5EF4-FFF2-40B4-BE49-F238E27FC236}">
                  <a16:creationId xmlns:a16="http://schemas.microsoft.com/office/drawing/2014/main" id="{425AADDF-5F0F-CDE2-9D1C-564F4BD0932E}"/>
                </a:ext>
              </a:extLst>
            </p:cNvPr>
            <p:cNvSpPr/>
            <p:nvPr/>
          </p:nvSpPr>
          <p:spPr>
            <a:xfrm>
              <a:off x="2722808" y="33736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2" name="object 1792">
              <a:extLst>
                <a:ext uri="{FF2B5EF4-FFF2-40B4-BE49-F238E27FC236}">
                  <a16:creationId xmlns:a16="http://schemas.microsoft.com/office/drawing/2014/main" id="{83BC7BD5-28E7-38E7-559E-33721CD80DFE}"/>
                </a:ext>
              </a:extLst>
            </p:cNvPr>
            <p:cNvSpPr/>
            <p:nvPr/>
          </p:nvSpPr>
          <p:spPr>
            <a:xfrm>
              <a:off x="2547829" y="33991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3" name="object 1793">
              <a:extLst>
                <a:ext uri="{FF2B5EF4-FFF2-40B4-BE49-F238E27FC236}">
                  <a16:creationId xmlns:a16="http://schemas.microsoft.com/office/drawing/2014/main" id="{98C5BB58-7AB9-CEE4-2A8A-7EDC2B53EFC5}"/>
                </a:ext>
              </a:extLst>
            </p:cNvPr>
            <p:cNvSpPr/>
            <p:nvPr/>
          </p:nvSpPr>
          <p:spPr>
            <a:xfrm>
              <a:off x="2897779" y="34466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4" name="object 1794">
              <a:extLst>
                <a:ext uri="{FF2B5EF4-FFF2-40B4-BE49-F238E27FC236}">
                  <a16:creationId xmlns:a16="http://schemas.microsoft.com/office/drawing/2014/main" id="{880CB826-DFDC-AD11-81CE-881223660E44}"/>
                </a:ext>
              </a:extLst>
            </p:cNvPr>
            <p:cNvSpPr/>
            <p:nvPr/>
          </p:nvSpPr>
          <p:spPr>
            <a:xfrm>
              <a:off x="2722808" y="34466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5" name="object 1795">
              <a:extLst>
                <a:ext uri="{FF2B5EF4-FFF2-40B4-BE49-F238E27FC236}">
                  <a16:creationId xmlns:a16="http://schemas.microsoft.com/office/drawing/2014/main" id="{0225251B-0080-8681-5677-6186E15C62DA}"/>
                </a:ext>
              </a:extLst>
            </p:cNvPr>
            <p:cNvSpPr/>
            <p:nvPr/>
          </p:nvSpPr>
          <p:spPr>
            <a:xfrm>
              <a:off x="2547838" y="34466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6" name="object 1796">
              <a:extLst>
                <a:ext uri="{FF2B5EF4-FFF2-40B4-BE49-F238E27FC236}">
                  <a16:creationId xmlns:a16="http://schemas.microsoft.com/office/drawing/2014/main" id="{20D3D82D-697D-0443-F8CE-0FBE93CFEBA6}"/>
                </a:ext>
              </a:extLst>
            </p:cNvPr>
            <p:cNvSpPr/>
            <p:nvPr/>
          </p:nvSpPr>
          <p:spPr>
            <a:xfrm>
              <a:off x="2722808" y="34466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7" name="object 1797">
              <a:extLst>
                <a:ext uri="{FF2B5EF4-FFF2-40B4-BE49-F238E27FC236}">
                  <a16:creationId xmlns:a16="http://schemas.microsoft.com/office/drawing/2014/main" id="{D0B5AB2B-C4AD-F86D-6938-CA630F0085E6}"/>
                </a:ext>
              </a:extLst>
            </p:cNvPr>
            <p:cNvSpPr/>
            <p:nvPr/>
          </p:nvSpPr>
          <p:spPr>
            <a:xfrm>
              <a:off x="2827736" y="34594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8" name="object 1798">
              <a:extLst>
                <a:ext uri="{FF2B5EF4-FFF2-40B4-BE49-F238E27FC236}">
                  <a16:creationId xmlns:a16="http://schemas.microsoft.com/office/drawing/2014/main" id="{3ADA0EDC-A417-4336-0886-970AD82FEBC2}"/>
                </a:ext>
              </a:extLst>
            </p:cNvPr>
            <p:cNvSpPr/>
            <p:nvPr/>
          </p:nvSpPr>
          <p:spPr>
            <a:xfrm>
              <a:off x="2862757" y="34594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9" name="object 1799">
              <a:extLst>
                <a:ext uri="{FF2B5EF4-FFF2-40B4-BE49-F238E27FC236}">
                  <a16:creationId xmlns:a16="http://schemas.microsoft.com/office/drawing/2014/main" id="{5B533D78-06F7-B2C5-6A57-E2399DAC8D15}"/>
                </a:ext>
              </a:extLst>
            </p:cNvPr>
            <p:cNvSpPr/>
            <p:nvPr/>
          </p:nvSpPr>
          <p:spPr>
            <a:xfrm>
              <a:off x="2757693" y="34594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0" name="object 1800">
              <a:extLst>
                <a:ext uri="{FF2B5EF4-FFF2-40B4-BE49-F238E27FC236}">
                  <a16:creationId xmlns:a16="http://schemas.microsoft.com/office/drawing/2014/main" id="{7A42B201-B80D-8CEC-80C7-25099965115E}"/>
                </a:ext>
              </a:extLst>
            </p:cNvPr>
            <p:cNvSpPr/>
            <p:nvPr/>
          </p:nvSpPr>
          <p:spPr>
            <a:xfrm>
              <a:off x="2652619" y="34594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1" name="object 1801">
              <a:extLst>
                <a:ext uri="{FF2B5EF4-FFF2-40B4-BE49-F238E27FC236}">
                  <a16:creationId xmlns:a16="http://schemas.microsoft.com/office/drawing/2014/main" id="{77A62EF4-27E1-354F-30EB-88E518956464}"/>
                </a:ext>
              </a:extLst>
            </p:cNvPr>
            <p:cNvSpPr/>
            <p:nvPr/>
          </p:nvSpPr>
          <p:spPr>
            <a:xfrm>
              <a:off x="2687714" y="34594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2" name="object 1802">
              <a:extLst>
                <a:ext uri="{FF2B5EF4-FFF2-40B4-BE49-F238E27FC236}">
                  <a16:creationId xmlns:a16="http://schemas.microsoft.com/office/drawing/2014/main" id="{2E6FB160-8339-D366-012E-06EECA1ACE02}"/>
                </a:ext>
              </a:extLst>
            </p:cNvPr>
            <p:cNvSpPr/>
            <p:nvPr/>
          </p:nvSpPr>
          <p:spPr>
            <a:xfrm>
              <a:off x="2582576" y="34594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3" name="object 1803">
              <a:extLst>
                <a:ext uri="{FF2B5EF4-FFF2-40B4-BE49-F238E27FC236}">
                  <a16:creationId xmlns:a16="http://schemas.microsoft.com/office/drawing/2014/main" id="{39496BFF-4FA0-A106-2083-FBE83DF3DD44}"/>
                </a:ext>
              </a:extLst>
            </p:cNvPr>
            <p:cNvSpPr/>
            <p:nvPr/>
          </p:nvSpPr>
          <p:spPr>
            <a:xfrm>
              <a:off x="2792714" y="34594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4" name="object 1804">
              <a:extLst>
                <a:ext uri="{FF2B5EF4-FFF2-40B4-BE49-F238E27FC236}">
                  <a16:creationId xmlns:a16="http://schemas.microsoft.com/office/drawing/2014/main" id="{854B7D8D-9DB8-CDA6-725E-E26381342FF8}"/>
                </a:ext>
              </a:extLst>
            </p:cNvPr>
            <p:cNvSpPr/>
            <p:nvPr/>
          </p:nvSpPr>
          <p:spPr>
            <a:xfrm>
              <a:off x="2617598" y="34594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5" name="object 1805">
              <a:extLst>
                <a:ext uri="{FF2B5EF4-FFF2-40B4-BE49-F238E27FC236}">
                  <a16:creationId xmlns:a16="http://schemas.microsoft.com/office/drawing/2014/main" id="{796754F3-62D3-FA73-48F8-9AA706C4461C}"/>
                </a:ext>
              </a:extLst>
            </p:cNvPr>
            <p:cNvSpPr/>
            <p:nvPr/>
          </p:nvSpPr>
          <p:spPr>
            <a:xfrm>
              <a:off x="2547829" y="347218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6" name="object 1806">
              <a:extLst>
                <a:ext uri="{FF2B5EF4-FFF2-40B4-BE49-F238E27FC236}">
                  <a16:creationId xmlns:a16="http://schemas.microsoft.com/office/drawing/2014/main" id="{086F494B-125C-59A2-33F9-3AAF77881C79}"/>
                </a:ext>
              </a:extLst>
            </p:cNvPr>
            <p:cNvSpPr/>
            <p:nvPr/>
          </p:nvSpPr>
          <p:spPr>
            <a:xfrm>
              <a:off x="2547838" y="3446693"/>
              <a:ext cx="8202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5254"/>
                <a:gd name="f4" fmla="val 84454"/>
                <a:gd name="f5" fmla="val 135116"/>
                <a:gd name="f6" fmla="val 84102"/>
                <a:gd name="f7" fmla="*/ f0 1 135254"/>
                <a:gd name="f8" fmla="*/ f1 1 84454"/>
                <a:gd name="f9" fmla="+- f4 0 f2"/>
                <a:gd name="f10" fmla="+- f3 0 f2"/>
                <a:gd name="f11" fmla="*/ f10 1 13525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525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07" name="object 1807">
            <a:extLst>
              <a:ext uri="{FF2B5EF4-FFF2-40B4-BE49-F238E27FC236}">
                <a16:creationId xmlns:a16="http://schemas.microsoft.com/office/drawing/2014/main" id="{2CC531EB-FD0E-9479-26A0-1522107797BB}"/>
              </a:ext>
            </a:extLst>
          </p:cNvPr>
          <p:cNvGrpSpPr/>
          <p:nvPr/>
        </p:nvGrpSpPr>
        <p:grpSpPr>
          <a:xfrm>
            <a:off x="3369692" y="4139836"/>
            <a:ext cx="350023" cy="124230"/>
            <a:chOff x="3369692" y="4139836"/>
            <a:chExt cx="350023" cy="124230"/>
          </a:xfrm>
        </p:grpSpPr>
        <p:sp>
          <p:nvSpPr>
            <p:cNvPr id="1808" name="object 1808">
              <a:extLst>
                <a:ext uri="{FF2B5EF4-FFF2-40B4-BE49-F238E27FC236}">
                  <a16:creationId xmlns:a16="http://schemas.microsoft.com/office/drawing/2014/main" id="{A15624D4-C821-DF15-97E0-91165FB1B7E6}"/>
                </a:ext>
              </a:extLst>
            </p:cNvPr>
            <p:cNvSpPr/>
            <p:nvPr/>
          </p:nvSpPr>
          <p:spPr>
            <a:xfrm>
              <a:off x="3370158" y="4212851"/>
              <a:ext cx="86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2875"/>
                <a:gd name="f4" fmla="val 84454"/>
                <a:gd name="f5" fmla="val 142330"/>
                <a:gd name="f6" fmla="val 84123"/>
                <a:gd name="f7" fmla="*/ f0 1 142875"/>
                <a:gd name="f8" fmla="*/ f1 1 84454"/>
                <a:gd name="f9" fmla="+- f4 0 f2"/>
                <a:gd name="f10" fmla="+- f3 0 f2"/>
                <a:gd name="f11" fmla="*/ f10 1 1428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28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9" name="object 1809">
              <a:extLst>
                <a:ext uri="{FF2B5EF4-FFF2-40B4-BE49-F238E27FC236}">
                  <a16:creationId xmlns:a16="http://schemas.microsoft.com/office/drawing/2014/main" id="{F94FA065-B2C9-CF3A-6C87-A240C10FC80B}"/>
                </a:ext>
              </a:extLst>
            </p:cNvPr>
            <p:cNvSpPr/>
            <p:nvPr/>
          </p:nvSpPr>
          <p:spPr>
            <a:xfrm>
              <a:off x="3369692" y="4139836"/>
              <a:ext cx="2398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95604"/>
                <a:gd name="f4" fmla="val 84454"/>
                <a:gd name="f5" fmla="val 395569"/>
                <a:gd name="f6" fmla="val 84123"/>
                <a:gd name="f7" fmla="*/ f0 1 395604"/>
                <a:gd name="f8" fmla="*/ f1 1 84454"/>
                <a:gd name="f9" fmla="+- f4 0 f2"/>
                <a:gd name="f10" fmla="+- f3 0 f2"/>
                <a:gd name="f11" fmla="*/ f10 1 3956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956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0" name="object 1810">
              <a:extLst>
                <a:ext uri="{FF2B5EF4-FFF2-40B4-BE49-F238E27FC236}">
                  <a16:creationId xmlns:a16="http://schemas.microsoft.com/office/drawing/2014/main" id="{704D2A38-00CC-5149-6764-39CAF9AB9D87}"/>
                </a:ext>
              </a:extLst>
            </p:cNvPr>
            <p:cNvSpPr/>
            <p:nvPr/>
          </p:nvSpPr>
          <p:spPr>
            <a:xfrm>
              <a:off x="3579546" y="41525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1" name="object 1811">
              <a:extLst>
                <a:ext uri="{FF2B5EF4-FFF2-40B4-BE49-F238E27FC236}">
                  <a16:creationId xmlns:a16="http://schemas.microsoft.com/office/drawing/2014/main" id="{1382EA38-C66C-F1C7-8CAA-1D5B00332584}"/>
                </a:ext>
              </a:extLst>
            </p:cNvPr>
            <p:cNvSpPr/>
            <p:nvPr/>
          </p:nvSpPr>
          <p:spPr>
            <a:xfrm>
              <a:off x="3474482" y="41525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2" name="object 1812">
              <a:extLst>
                <a:ext uri="{FF2B5EF4-FFF2-40B4-BE49-F238E27FC236}">
                  <a16:creationId xmlns:a16="http://schemas.microsoft.com/office/drawing/2014/main" id="{55AD5302-F21F-4457-C86B-7DDEAAA27D0A}"/>
                </a:ext>
              </a:extLst>
            </p:cNvPr>
            <p:cNvSpPr/>
            <p:nvPr/>
          </p:nvSpPr>
          <p:spPr>
            <a:xfrm>
              <a:off x="3509576" y="41525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3" name="object 1813">
              <a:extLst>
                <a:ext uri="{FF2B5EF4-FFF2-40B4-BE49-F238E27FC236}">
                  <a16:creationId xmlns:a16="http://schemas.microsoft.com/office/drawing/2014/main" id="{F2F434C3-760A-8FE9-8245-85384A0C8007}"/>
                </a:ext>
              </a:extLst>
            </p:cNvPr>
            <p:cNvSpPr/>
            <p:nvPr/>
          </p:nvSpPr>
          <p:spPr>
            <a:xfrm>
              <a:off x="3404439" y="41525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4" name="object 1814">
              <a:extLst>
                <a:ext uri="{FF2B5EF4-FFF2-40B4-BE49-F238E27FC236}">
                  <a16:creationId xmlns:a16="http://schemas.microsoft.com/office/drawing/2014/main" id="{7E103BD8-479E-6DD9-E464-DAED00A44077}"/>
                </a:ext>
              </a:extLst>
            </p:cNvPr>
            <p:cNvSpPr/>
            <p:nvPr/>
          </p:nvSpPr>
          <p:spPr>
            <a:xfrm>
              <a:off x="3614568" y="41525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5" name="object 1815">
              <a:extLst>
                <a:ext uri="{FF2B5EF4-FFF2-40B4-BE49-F238E27FC236}">
                  <a16:creationId xmlns:a16="http://schemas.microsoft.com/office/drawing/2014/main" id="{74295866-EE5F-6034-6183-F2348BA6EEAB}"/>
                </a:ext>
              </a:extLst>
            </p:cNvPr>
            <p:cNvSpPr/>
            <p:nvPr/>
          </p:nvSpPr>
          <p:spPr>
            <a:xfrm>
              <a:off x="3439460" y="41525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6" name="object 1816">
              <a:extLst>
                <a:ext uri="{FF2B5EF4-FFF2-40B4-BE49-F238E27FC236}">
                  <a16:creationId xmlns:a16="http://schemas.microsoft.com/office/drawing/2014/main" id="{148303AA-C524-D5E4-2900-36D914684A45}"/>
                </a:ext>
              </a:extLst>
            </p:cNvPr>
            <p:cNvSpPr/>
            <p:nvPr/>
          </p:nvSpPr>
          <p:spPr>
            <a:xfrm>
              <a:off x="3544662" y="41398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7" name="object 1817">
              <a:extLst>
                <a:ext uri="{FF2B5EF4-FFF2-40B4-BE49-F238E27FC236}">
                  <a16:creationId xmlns:a16="http://schemas.microsoft.com/office/drawing/2014/main" id="{6D1B7B3D-A376-D6E2-6E0E-2EAD00EC3EDD}"/>
                </a:ext>
              </a:extLst>
            </p:cNvPr>
            <p:cNvSpPr/>
            <p:nvPr/>
          </p:nvSpPr>
          <p:spPr>
            <a:xfrm>
              <a:off x="3369692" y="41398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8" name="object 1818">
              <a:extLst>
                <a:ext uri="{FF2B5EF4-FFF2-40B4-BE49-F238E27FC236}">
                  <a16:creationId xmlns:a16="http://schemas.microsoft.com/office/drawing/2014/main" id="{7BF62978-9177-79A9-3B9B-CC3A8FF5018C}"/>
                </a:ext>
              </a:extLst>
            </p:cNvPr>
            <p:cNvSpPr/>
            <p:nvPr/>
          </p:nvSpPr>
          <p:spPr>
            <a:xfrm>
              <a:off x="3544662" y="41398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9" name="object 1819">
              <a:extLst>
                <a:ext uri="{FF2B5EF4-FFF2-40B4-BE49-F238E27FC236}">
                  <a16:creationId xmlns:a16="http://schemas.microsoft.com/office/drawing/2014/main" id="{EC2DFFCB-53FA-DB2A-915F-E33FC47762E1}"/>
                </a:ext>
              </a:extLst>
            </p:cNvPr>
            <p:cNvSpPr/>
            <p:nvPr/>
          </p:nvSpPr>
          <p:spPr>
            <a:xfrm>
              <a:off x="3649589" y="41525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0" name="object 1820">
              <a:extLst>
                <a:ext uri="{FF2B5EF4-FFF2-40B4-BE49-F238E27FC236}">
                  <a16:creationId xmlns:a16="http://schemas.microsoft.com/office/drawing/2014/main" id="{3E4CA56C-E8C7-8185-0D58-E70B801EC607}"/>
                </a:ext>
              </a:extLst>
            </p:cNvPr>
            <p:cNvSpPr/>
            <p:nvPr/>
          </p:nvSpPr>
          <p:spPr>
            <a:xfrm>
              <a:off x="3684611" y="41525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1" name="object 1821">
              <a:extLst>
                <a:ext uri="{FF2B5EF4-FFF2-40B4-BE49-F238E27FC236}">
                  <a16:creationId xmlns:a16="http://schemas.microsoft.com/office/drawing/2014/main" id="{A3470010-A841-6526-8BA3-91EB7674EE9B}"/>
                </a:ext>
              </a:extLst>
            </p:cNvPr>
            <p:cNvSpPr/>
            <p:nvPr/>
          </p:nvSpPr>
          <p:spPr>
            <a:xfrm>
              <a:off x="3719632" y="41398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2" name="object 1822">
              <a:extLst>
                <a:ext uri="{FF2B5EF4-FFF2-40B4-BE49-F238E27FC236}">
                  <a16:creationId xmlns:a16="http://schemas.microsoft.com/office/drawing/2014/main" id="{67C9E49F-4790-3E2B-B7F5-529548AE5562}"/>
                </a:ext>
              </a:extLst>
            </p:cNvPr>
            <p:cNvSpPr/>
            <p:nvPr/>
          </p:nvSpPr>
          <p:spPr>
            <a:xfrm>
              <a:off x="3369692" y="416533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3" name="object 1823">
              <a:extLst>
                <a:ext uri="{FF2B5EF4-FFF2-40B4-BE49-F238E27FC236}">
                  <a16:creationId xmlns:a16="http://schemas.microsoft.com/office/drawing/2014/main" id="{A26DBF98-6566-78F1-0C75-28EF9E6F9999}"/>
                </a:ext>
              </a:extLst>
            </p:cNvPr>
            <p:cNvSpPr/>
            <p:nvPr/>
          </p:nvSpPr>
          <p:spPr>
            <a:xfrm>
              <a:off x="3649589" y="42256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4" name="object 1824">
              <a:extLst>
                <a:ext uri="{FF2B5EF4-FFF2-40B4-BE49-F238E27FC236}">
                  <a16:creationId xmlns:a16="http://schemas.microsoft.com/office/drawing/2014/main" id="{FC435000-01BF-3391-8CF3-B74D99817525}"/>
                </a:ext>
              </a:extLst>
            </p:cNvPr>
            <p:cNvSpPr/>
            <p:nvPr/>
          </p:nvSpPr>
          <p:spPr>
            <a:xfrm>
              <a:off x="3684611" y="42256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5" name="object 1825">
              <a:extLst>
                <a:ext uri="{FF2B5EF4-FFF2-40B4-BE49-F238E27FC236}">
                  <a16:creationId xmlns:a16="http://schemas.microsoft.com/office/drawing/2014/main" id="{49F6225F-51FD-DFB1-42B9-54011EB29491}"/>
                </a:ext>
              </a:extLst>
            </p:cNvPr>
            <p:cNvSpPr/>
            <p:nvPr/>
          </p:nvSpPr>
          <p:spPr>
            <a:xfrm>
              <a:off x="3579546" y="42256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6" name="object 1826">
              <a:extLst>
                <a:ext uri="{FF2B5EF4-FFF2-40B4-BE49-F238E27FC236}">
                  <a16:creationId xmlns:a16="http://schemas.microsoft.com/office/drawing/2014/main" id="{0E776A8F-D4C8-EB49-8A59-6C4F78364FCF}"/>
                </a:ext>
              </a:extLst>
            </p:cNvPr>
            <p:cNvSpPr/>
            <p:nvPr/>
          </p:nvSpPr>
          <p:spPr>
            <a:xfrm>
              <a:off x="3474482" y="42256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7" name="object 1827">
              <a:extLst>
                <a:ext uri="{FF2B5EF4-FFF2-40B4-BE49-F238E27FC236}">
                  <a16:creationId xmlns:a16="http://schemas.microsoft.com/office/drawing/2014/main" id="{259308B7-7B67-0E50-8EBE-ACEF52ACD56C}"/>
                </a:ext>
              </a:extLst>
            </p:cNvPr>
            <p:cNvSpPr/>
            <p:nvPr/>
          </p:nvSpPr>
          <p:spPr>
            <a:xfrm>
              <a:off x="3509576" y="42256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8" name="object 1828">
              <a:extLst>
                <a:ext uri="{FF2B5EF4-FFF2-40B4-BE49-F238E27FC236}">
                  <a16:creationId xmlns:a16="http://schemas.microsoft.com/office/drawing/2014/main" id="{744FD93F-A813-FFB2-7626-B80538796104}"/>
                </a:ext>
              </a:extLst>
            </p:cNvPr>
            <p:cNvSpPr/>
            <p:nvPr/>
          </p:nvSpPr>
          <p:spPr>
            <a:xfrm>
              <a:off x="3404439" y="42256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9" name="object 1829">
              <a:extLst>
                <a:ext uri="{FF2B5EF4-FFF2-40B4-BE49-F238E27FC236}">
                  <a16:creationId xmlns:a16="http://schemas.microsoft.com/office/drawing/2014/main" id="{2CA8B0FD-0A8C-3EDA-4E1E-81F51820F6A6}"/>
                </a:ext>
              </a:extLst>
            </p:cNvPr>
            <p:cNvSpPr/>
            <p:nvPr/>
          </p:nvSpPr>
          <p:spPr>
            <a:xfrm>
              <a:off x="3614568" y="42256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0" name="object 1830">
              <a:extLst>
                <a:ext uri="{FF2B5EF4-FFF2-40B4-BE49-F238E27FC236}">
                  <a16:creationId xmlns:a16="http://schemas.microsoft.com/office/drawing/2014/main" id="{84770B1B-0CB8-8D32-CBF5-97A7CED18906}"/>
                </a:ext>
              </a:extLst>
            </p:cNvPr>
            <p:cNvSpPr/>
            <p:nvPr/>
          </p:nvSpPr>
          <p:spPr>
            <a:xfrm>
              <a:off x="3439460" y="422560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1" name="object 1831">
              <a:extLst>
                <a:ext uri="{FF2B5EF4-FFF2-40B4-BE49-F238E27FC236}">
                  <a16:creationId xmlns:a16="http://schemas.microsoft.com/office/drawing/2014/main" id="{EF52B6F8-B443-940B-30A6-84A4FB17605D}"/>
                </a:ext>
              </a:extLst>
            </p:cNvPr>
            <p:cNvSpPr/>
            <p:nvPr/>
          </p:nvSpPr>
          <p:spPr>
            <a:xfrm>
              <a:off x="3719632" y="42128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2" name="object 1832">
              <a:extLst>
                <a:ext uri="{FF2B5EF4-FFF2-40B4-BE49-F238E27FC236}">
                  <a16:creationId xmlns:a16="http://schemas.microsoft.com/office/drawing/2014/main" id="{EF3977ED-248E-D3AD-FAE3-C56EAAFE438E}"/>
                </a:ext>
              </a:extLst>
            </p:cNvPr>
            <p:cNvSpPr/>
            <p:nvPr/>
          </p:nvSpPr>
          <p:spPr>
            <a:xfrm>
              <a:off x="3544662" y="42128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3" name="object 1833">
              <a:extLst>
                <a:ext uri="{FF2B5EF4-FFF2-40B4-BE49-F238E27FC236}">
                  <a16:creationId xmlns:a16="http://schemas.microsoft.com/office/drawing/2014/main" id="{39B0390D-7544-07C4-D8CE-A27FE04CAD77}"/>
                </a:ext>
              </a:extLst>
            </p:cNvPr>
            <p:cNvSpPr/>
            <p:nvPr/>
          </p:nvSpPr>
          <p:spPr>
            <a:xfrm>
              <a:off x="3369692" y="42128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4" name="object 1834">
              <a:extLst>
                <a:ext uri="{FF2B5EF4-FFF2-40B4-BE49-F238E27FC236}">
                  <a16:creationId xmlns:a16="http://schemas.microsoft.com/office/drawing/2014/main" id="{6062978E-D390-BB5D-6BE5-4881B183B660}"/>
                </a:ext>
              </a:extLst>
            </p:cNvPr>
            <p:cNvSpPr/>
            <p:nvPr/>
          </p:nvSpPr>
          <p:spPr>
            <a:xfrm>
              <a:off x="3544662" y="421285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5" name="object 1835">
              <a:extLst>
                <a:ext uri="{FF2B5EF4-FFF2-40B4-BE49-F238E27FC236}">
                  <a16:creationId xmlns:a16="http://schemas.microsoft.com/office/drawing/2014/main" id="{BB7165EA-BE5E-407C-EE27-298715656E27}"/>
                </a:ext>
              </a:extLst>
            </p:cNvPr>
            <p:cNvSpPr/>
            <p:nvPr/>
          </p:nvSpPr>
          <p:spPr>
            <a:xfrm>
              <a:off x="3369692" y="423836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36" name="object 1836">
            <a:extLst>
              <a:ext uri="{FF2B5EF4-FFF2-40B4-BE49-F238E27FC236}">
                <a16:creationId xmlns:a16="http://schemas.microsoft.com/office/drawing/2014/main" id="{9E36FEDE-C5AF-2A31-37A8-BE17DD297CAD}"/>
              </a:ext>
            </a:extLst>
          </p:cNvPr>
          <p:cNvGrpSpPr/>
          <p:nvPr/>
        </p:nvGrpSpPr>
        <p:grpSpPr>
          <a:xfrm>
            <a:off x="3369692" y="4900845"/>
            <a:ext cx="350023" cy="124239"/>
            <a:chOff x="3369692" y="4900845"/>
            <a:chExt cx="350023" cy="124239"/>
          </a:xfrm>
        </p:grpSpPr>
        <p:sp>
          <p:nvSpPr>
            <p:cNvPr id="1837" name="object 1837">
              <a:extLst>
                <a:ext uri="{FF2B5EF4-FFF2-40B4-BE49-F238E27FC236}">
                  <a16:creationId xmlns:a16="http://schemas.microsoft.com/office/drawing/2014/main" id="{AACFB515-1DF8-3220-986E-A76434792CA4}"/>
                </a:ext>
              </a:extLst>
            </p:cNvPr>
            <p:cNvSpPr/>
            <p:nvPr/>
          </p:nvSpPr>
          <p:spPr>
            <a:xfrm>
              <a:off x="3370158" y="4973869"/>
              <a:ext cx="8510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0335"/>
                <a:gd name="f4" fmla="val 84454"/>
                <a:gd name="f5" fmla="val 139995"/>
                <a:gd name="f6" fmla="val 84123"/>
                <a:gd name="f7" fmla="*/ f0 1 140335"/>
                <a:gd name="f8" fmla="*/ f1 1 84454"/>
                <a:gd name="f9" fmla="+- f4 0 f2"/>
                <a:gd name="f10" fmla="+- f3 0 f2"/>
                <a:gd name="f11" fmla="*/ f10 1 1403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03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8" name="object 1838">
              <a:extLst>
                <a:ext uri="{FF2B5EF4-FFF2-40B4-BE49-F238E27FC236}">
                  <a16:creationId xmlns:a16="http://schemas.microsoft.com/office/drawing/2014/main" id="{8E99D17C-7226-DC51-8D33-2B663E1BC676}"/>
                </a:ext>
              </a:extLst>
            </p:cNvPr>
            <p:cNvSpPr/>
            <p:nvPr/>
          </p:nvSpPr>
          <p:spPr>
            <a:xfrm>
              <a:off x="3369692" y="4900845"/>
              <a:ext cx="18521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5435"/>
                <a:gd name="f4" fmla="val 84454"/>
                <a:gd name="f5" fmla="val 304817"/>
                <a:gd name="f6" fmla="val 84123"/>
                <a:gd name="f7" fmla="*/ f0 1 305435"/>
                <a:gd name="f8" fmla="*/ f1 1 84454"/>
                <a:gd name="f9" fmla="+- f4 0 f2"/>
                <a:gd name="f10" fmla="+- f3 0 f2"/>
                <a:gd name="f11" fmla="*/ f10 1 3054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54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9" name="object 1839">
              <a:extLst>
                <a:ext uri="{FF2B5EF4-FFF2-40B4-BE49-F238E27FC236}">
                  <a16:creationId xmlns:a16="http://schemas.microsoft.com/office/drawing/2014/main" id="{5790C86B-7EFB-47D5-76EE-0937196BEAE5}"/>
                </a:ext>
              </a:extLst>
            </p:cNvPr>
            <p:cNvSpPr/>
            <p:nvPr/>
          </p:nvSpPr>
          <p:spPr>
            <a:xfrm>
              <a:off x="3579546" y="49136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0" name="object 1840">
              <a:extLst>
                <a:ext uri="{FF2B5EF4-FFF2-40B4-BE49-F238E27FC236}">
                  <a16:creationId xmlns:a16="http://schemas.microsoft.com/office/drawing/2014/main" id="{40F6A5D0-CC58-9ED7-AD02-82E0F2A0B061}"/>
                </a:ext>
              </a:extLst>
            </p:cNvPr>
            <p:cNvSpPr/>
            <p:nvPr/>
          </p:nvSpPr>
          <p:spPr>
            <a:xfrm>
              <a:off x="3474482" y="49136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1" name="object 1841">
              <a:extLst>
                <a:ext uri="{FF2B5EF4-FFF2-40B4-BE49-F238E27FC236}">
                  <a16:creationId xmlns:a16="http://schemas.microsoft.com/office/drawing/2014/main" id="{FC9FCC36-5F40-23C9-6CED-20258BC9658F}"/>
                </a:ext>
              </a:extLst>
            </p:cNvPr>
            <p:cNvSpPr/>
            <p:nvPr/>
          </p:nvSpPr>
          <p:spPr>
            <a:xfrm>
              <a:off x="3509576" y="49136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2" name="object 1842">
              <a:extLst>
                <a:ext uri="{FF2B5EF4-FFF2-40B4-BE49-F238E27FC236}">
                  <a16:creationId xmlns:a16="http://schemas.microsoft.com/office/drawing/2014/main" id="{FD7D2645-0007-9F36-B538-0A3D86B58006}"/>
                </a:ext>
              </a:extLst>
            </p:cNvPr>
            <p:cNvSpPr/>
            <p:nvPr/>
          </p:nvSpPr>
          <p:spPr>
            <a:xfrm>
              <a:off x="3404439" y="49136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3" name="object 1843">
              <a:extLst>
                <a:ext uri="{FF2B5EF4-FFF2-40B4-BE49-F238E27FC236}">
                  <a16:creationId xmlns:a16="http://schemas.microsoft.com/office/drawing/2014/main" id="{E8226AC2-48B3-E653-C351-FFEE9FA0D8A8}"/>
                </a:ext>
              </a:extLst>
            </p:cNvPr>
            <p:cNvSpPr/>
            <p:nvPr/>
          </p:nvSpPr>
          <p:spPr>
            <a:xfrm>
              <a:off x="3439460" y="49136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4" name="object 1844">
              <a:extLst>
                <a:ext uri="{FF2B5EF4-FFF2-40B4-BE49-F238E27FC236}">
                  <a16:creationId xmlns:a16="http://schemas.microsoft.com/office/drawing/2014/main" id="{F587A99A-1F8C-6A4C-16A2-B63B24F254E0}"/>
                </a:ext>
              </a:extLst>
            </p:cNvPr>
            <p:cNvSpPr/>
            <p:nvPr/>
          </p:nvSpPr>
          <p:spPr>
            <a:xfrm>
              <a:off x="3544662" y="490084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5" name="object 1845">
              <a:extLst>
                <a:ext uri="{FF2B5EF4-FFF2-40B4-BE49-F238E27FC236}">
                  <a16:creationId xmlns:a16="http://schemas.microsoft.com/office/drawing/2014/main" id="{C29F69E2-8D5A-132E-488C-0D609868413C}"/>
                </a:ext>
              </a:extLst>
            </p:cNvPr>
            <p:cNvSpPr/>
            <p:nvPr/>
          </p:nvSpPr>
          <p:spPr>
            <a:xfrm>
              <a:off x="3369692" y="490084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6" name="object 1846">
              <a:extLst>
                <a:ext uri="{FF2B5EF4-FFF2-40B4-BE49-F238E27FC236}">
                  <a16:creationId xmlns:a16="http://schemas.microsoft.com/office/drawing/2014/main" id="{A1497DF0-F8E0-3D05-0F9C-25EF60EE8CB5}"/>
                </a:ext>
              </a:extLst>
            </p:cNvPr>
            <p:cNvSpPr/>
            <p:nvPr/>
          </p:nvSpPr>
          <p:spPr>
            <a:xfrm>
              <a:off x="3544662" y="490084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7" name="object 1847">
              <a:extLst>
                <a:ext uri="{FF2B5EF4-FFF2-40B4-BE49-F238E27FC236}">
                  <a16:creationId xmlns:a16="http://schemas.microsoft.com/office/drawing/2014/main" id="{14329661-3832-994A-1BC5-B0EA7C891D6B}"/>
                </a:ext>
              </a:extLst>
            </p:cNvPr>
            <p:cNvSpPr/>
            <p:nvPr/>
          </p:nvSpPr>
          <p:spPr>
            <a:xfrm>
              <a:off x="3649589" y="49136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8" name="object 1848">
              <a:extLst>
                <a:ext uri="{FF2B5EF4-FFF2-40B4-BE49-F238E27FC236}">
                  <a16:creationId xmlns:a16="http://schemas.microsoft.com/office/drawing/2014/main" id="{25640AA0-6D63-DFDF-3EFF-CCD46D84D39A}"/>
                </a:ext>
              </a:extLst>
            </p:cNvPr>
            <p:cNvSpPr/>
            <p:nvPr/>
          </p:nvSpPr>
          <p:spPr>
            <a:xfrm>
              <a:off x="3684611" y="49136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9" name="object 1849">
              <a:extLst>
                <a:ext uri="{FF2B5EF4-FFF2-40B4-BE49-F238E27FC236}">
                  <a16:creationId xmlns:a16="http://schemas.microsoft.com/office/drawing/2014/main" id="{B90DC4C0-0F96-0D51-5D6A-494B40FE0D0A}"/>
                </a:ext>
              </a:extLst>
            </p:cNvPr>
            <p:cNvSpPr/>
            <p:nvPr/>
          </p:nvSpPr>
          <p:spPr>
            <a:xfrm>
              <a:off x="3614568" y="491360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0" name="object 1850">
              <a:extLst>
                <a:ext uri="{FF2B5EF4-FFF2-40B4-BE49-F238E27FC236}">
                  <a16:creationId xmlns:a16="http://schemas.microsoft.com/office/drawing/2014/main" id="{888F0BB0-F297-40E4-84E7-542AAC49A63D}"/>
                </a:ext>
              </a:extLst>
            </p:cNvPr>
            <p:cNvSpPr/>
            <p:nvPr/>
          </p:nvSpPr>
          <p:spPr>
            <a:xfrm>
              <a:off x="3719632" y="490084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1" name="object 1851">
              <a:extLst>
                <a:ext uri="{FF2B5EF4-FFF2-40B4-BE49-F238E27FC236}">
                  <a16:creationId xmlns:a16="http://schemas.microsoft.com/office/drawing/2014/main" id="{F4B8352B-9724-9E28-DE9D-C74A8105BC2E}"/>
                </a:ext>
              </a:extLst>
            </p:cNvPr>
            <p:cNvSpPr/>
            <p:nvPr/>
          </p:nvSpPr>
          <p:spPr>
            <a:xfrm>
              <a:off x="3369692" y="492635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2" name="object 1852">
              <a:extLst>
                <a:ext uri="{FF2B5EF4-FFF2-40B4-BE49-F238E27FC236}">
                  <a16:creationId xmlns:a16="http://schemas.microsoft.com/office/drawing/2014/main" id="{6C80477D-CD5A-8E4B-DAFA-FA0B1AB27933}"/>
                </a:ext>
              </a:extLst>
            </p:cNvPr>
            <p:cNvSpPr/>
            <p:nvPr/>
          </p:nvSpPr>
          <p:spPr>
            <a:xfrm>
              <a:off x="3649589" y="49866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3" name="object 1853">
              <a:extLst>
                <a:ext uri="{FF2B5EF4-FFF2-40B4-BE49-F238E27FC236}">
                  <a16:creationId xmlns:a16="http://schemas.microsoft.com/office/drawing/2014/main" id="{BDEF6DEA-9B6C-C5EA-334A-2E38D3307468}"/>
                </a:ext>
              </a:extLst>
            </p:cNvPr>
            <p:cNvSpPr/>
            <p:nvPr/>
          </p:nvSpPr>
          <p:spPr>
            <a:xfrm>
              <a:off x="3684611" y="49866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4" name="object 1854">
              <a:extLst>
                <a:ext uri="{FF2B5EF4-FFF2-40B4-BE49-F238E27FC236}">
                  <a16:creationId xmlns:a16="http://schemas.microsoft.com/office/drawing/2014/main" id="{0BB80304-2F21-B0A3-D083-9FA4B696EDAE}"/>
                </a:ext>
              </a:extLst>
            </p:cNvPr>
            <p:cNvSpPr/>
            <p:nvPr/>
          </p:nvSpPr>
          <p:spPr>
            <a:xfrm>
              <a:off x="3579546" y="49866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5" name="object 1855">
              <a:extLst>
                <a:ext uri="{FF2B5EF4-FFF2-40B4-BE49-F238E27FC236}">
                  <a16:creationId xmlns:a16="http://schemas.microsoft.com/office/drawing/2014/main" id="{4FE7AED2-7866-1812-91B2-EC9E9CD95BEC}"/>
                </a:ext>
              </a:extLst>
            </p:cNvPr>
            <p:cNvSpPr/>
            <p:nvPr/>
          </p:nvSpPr>
          <p:spPr>
            <a:xfrm>
              <a:off x="3474482" y="49866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6" name="object 1856">
              <a:extLst>
                <a:ext uri="{FF2B5EF4-FFF2-40B4-BE49-F238E27FC236}">
                  <a16:creationId xmlns:a16="http://schemas.microsoft.com/office/drawing/2014/main" id="{9F00D6B4-BB72-1CC8-3D44-3CE16DD43FFB}"/>
                </a:ext>
              </a:extLst>
            </p:cNvPr>
            <p:cNvSpPr/>
            <p:nvPr/>
          </p:nvSpPr>
          <p:spPr>
            <a:xfrm>
              <a:off x="3509576" y="49866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7" name="object 1857">
              <a:extLst>
                <a:ext uri="{FF2B5EF4-FFF2-40B4-BE49-F238E27FC236}">
                  <a16:creationId xmlns:a16="http://schemas.microsoft.com/office/drawing/2014/main" id="{3333122B-788E-6CFC-409C-70599D781912}"/>
                </a:ext>
              </a:extLst>
            </p:cNvPr>
            <p:cNvSpPr/>
            <p:nvPr/>
          </p:nvSpPr>
          <p:spPr>
            <a:xfrm>
              <a:off x="3404439" y="49866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8" name="object 1858">
              <a:extLst>
                <a:ext uri="{FF2B5EF4-FFF2-40B4-BE49-F238E27FC236}">
                  <a16:creationId xmlns:a16="http://schemas.microsoft.com/office/drawing/2014/main" id="{034AB6FC-7294-8F6B-7D8F-60B29D13EBA6}"/>
                </a:ext>
              </a:extLst>
            </p:cNvPr>
            <p:cNvSpPr/>
            <p:nvPr/>
          </p:nvSpPr>
          <p:spPr>
            <a:xfrm>
              <a:off x="3614568" y="49866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9" name="object 1859">
              <a:extLst>
                <a:ext uri="{FF2B5EF4-FFF2-40B4-BE49-F238E27FC236}">
                  <a16:creationId xmlns:a16="http://schemas.microsoft.com/office/drawing/2014/main" id="{A1FDDB31-92D6-D21A-B4AF-49A8FC3DD6AE}"/>
                </a:ext>
              </a:extLst>
            </p:cNvPr>
            <p:cNvSpPr/>
            <p:nvPr/>
          </p:nvSpPr>
          <p:spPr>
            <a:xfrm>
              <a:off x="3439460" y="49866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0" name="object 1860">
              <a:extLst>
                <a:ext uri="{FF2B5EF4-FFF2-40B4-BE49-F238E27FC236}">
                  <a16:creationId xmlns:a16="http://schemas.microsoft.com/office/drawing/2014/main" id="{407E93E4-6AAC-7B36-FA21-E80ADDC855FD}"/>
                </a:ext>
              </a:extLst>
            </p:cNvPr>
            <p:cNvSpPr/>
            <p:nvPr/>
          </p:nvSpPr>
          <p:spPr>
            <a:xfrm>
              <a:off x="3719632" y="49738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1" name="object 1861">
              <a:extLst>
                <a:ext uri="{FF2B5EF4-FFF2-40B4-BE49-F238E27FC236}">
                  <a16:creationId xmlns:a16="http://schemas.microsoft.com/office/drawing/2014/main" id="{DB868816-6269-7CD2-5AE3-32F7F399C75F}"/>
                </a:ext>
              </a:extLst>
            </p:cNvPr>
            <p:cNvSpPr/>
            <p:nvPr/>
          </p:nvSpPr>
          <p:spPr>
            <a:xfrm>
              <a:off x="3544662" y="49738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2" name="object 1862">
              <a:extLst>
                <a:ext uri="{FF2B5EF4-FFF2-40B4-BE49-F238E27FC236}">
                  <a16:creationId xmlns:a16="http://schemas.microsoft.com/office/drawing/2014/main" id="{0557535D-1641-66E8-145D-895ADDAFF927}"/>
                </a:ext>
              </a:extLst>
            </p:cNvPr>
            <p:cNvSpPr/>
            <p:nvPr/>
          </p:nvSpPr>
          <p:spPr>
            <a:xfrm>
              <a:off x="3369692" y="49738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3" name="object 1863">
              <a:extLst>
                <a:ext uri="{FF2B5EF4-FFF2-40B4-BE49-F238E27FC236}">
                  <a16:creationId xmlns:a16="http://schemas.microsoft.com/office/drawing/2014/main" id="{9CD1C4A8-76B6-A2DA-7610-412ACB1369A1}"/>
                </a:ext>
              </a:extLst>
            </p:cNvPr>
            <p:cNvSpPr/>
            <p:nvPr/>
          </p:nvSpPr>
          <p:spPr>
            <a:xfrm>
              <a:off x="3544662" y="49738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4" name="object 1864">
              <a:extLst>
                <a:ext uri="{FF2B5EF4-FFF2-40B4-BE49-F238E27FC236}">
                  <a16:creationId xmlns:a16="http://schemas.microsoft.com/office/drawing/2014/main" id="{B41D7622-DFC3-AE88-D2E2-D6C82CA0E556}"/>
                </a:ext>
              </a:extLst>
            </p:cNvPr>
            <p:cNvSpPr/>
            <p:nvPr/>
          </p:nvSpPr>
          <p:spPr>
            <a:xfrm>
              <a:off x="3369692" y="49993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65" name="object 1865">
            <a:extLst>
              <a:ext uri="{FF2B5EF4-FFF2-40B4-BE49-F238E27FC236}">
                <a16:creationId xmlns:a16="http://schemas.microsoft.com/office/drawing/2014/main" id="{B7EA18C7-A993-32EF-A434-EB93F2690FB5}"/>
              </a:ext>
            </a:extLst>
          </p:cNvPr>
          <p:cNvGrpSpPr/>
          <p:nvPr/>
        </p:nvGrpSpPr>
        <p:grpSpPr>
          <a:xfrm>
            <a:off x="9121743" y="6428021"/>
            <a:ext cx="350370" cy="123517"/>
            <a:chOff x="9121743" y="6428021"/>
            <a:chExt cx="350370" cy="123517"/>
          </a:xfrm>
        </p:grpSpPr>
        <p:sp>
          <p:nvSpPr>
            <p:cNvPr id="1866" name="object 1866">
              <a:extLst>
                <a:ext uri="{FF2B5EF4-FFF2-40B4-BE49-F238E27FC236}">
                  <a16:creationId xmlns:a16="http://schemas.microsoft.com/office/drawing/2014/main" id="{5D6C36C2-2E76-148C-99F1-4DFD45FF6FD0}"/>
                </a:ext>
              </a:extLst>
            </p:cNvPr>
            <p:cNvSpPr/>
            <p:nvPr/>
          </p:nvSpPr>
          <p:spPr>
            <a:xfrm>
              <a:off x="9401988" y="64407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7" name="object 1867">
              <a:extLst>
                <a:ext uri="{FF2B5EF4-FFF2-40B4-BE49-F238E27FC236}">
                  <a16:creationId xmlns:a16="http://schemas.microsoft.com/office/drawing/2014/main" id="{30C8A179-7C8B-977C-6EFB-9EE082EAB9F9}"/>
                </a:ext>
              </a:extLst>
            </p:cNvPr>
            <p:cNvSpPr/>
            <p:nvPr/>
          </p:nvSpPr>
          <p:spPr>
            <a:xfrm>
              <a:off x="9437019" y="64407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8" name="object 1868">
              <a:extLst>
                <a:ext uri="{FF2B5EF4-FFF2-40B4-BE49-F238E27FC236}">
                  <a16:creationId xmlns:a16="http://schemas.microsoft.com/office/drawing/2014/main" id="{E85A7EF8-1090-50DD-1BBB-AF72A7122CC9}"/>
                </a:ext>
              </a:extLst>
            </p:cNvPr>
            <p:cNvSpPr/>
            <p:nvPr/>
          </p:nvSpPr>
          <p:spPr>
            <a:xfrm>
              <a:off x="9331945" y="64407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9" name="object 1869">
              <a:extLst>
                <a:ext uri="{FF2B5EF4-FFF2-40B4-BE49-F238E27FC236}">
                  <a16:creationId xmlns:a16="http://schemas.microsoft.com/office/drawing/2014/main" id="{CC19A841-5725-B486-CD89-BAFAAAD0778C}"/>
                </a:ext>
              </a:extLst>
            </p:cNvPr>
            <p:cNvSpPr/>
            <p:nvPr/>
          </p:nvSpPr>
          <p:spPr>
            <a:xfrm>
              <a:off x="9226881" y="64407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0" name="object 1870">
              <a:extLst>
                <a:ext uri="{FF2B5EF4-FFF2-40B4-BE49-F238E27FC236}">
                  <a16:creationId xmlns:a16="http://schemas.microsoft.com/office/drawing/2014/main" id="{34E97FCD-37F5-D424-A7EF-D669053C9E9E}"/>
                </a:ext>
              </a:extLst>
            </p:cNvPr>
            <p:cNvSpPr/>
            <p:nvPr/>
          </p:nvSpPr>
          <p:spPr>
            <a:xfrm>
              <a:off x="9261975" y="64407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1" name="object 1871">
              <a:extLst>
                <a:ext uri="{FF2B5EF4-FFF2-40B4-BE49-F238E27FC236}">
                  <a16:creationId xmlns:a16="http://schemas.microsoft.com/office/drawing/2014/main" id="{9A80DF7D-8AD3-DE85-636D-22A97577476B}"/>
                </a:ext>
              </a:extLst>
            </p:cNvPr>
            <p:cNvSpPr/>
            <p:nvPr/>
          </p:nvSpPr>
          <p:spPr>
            <a:xfrm>
              <a:off x="9156838" y="64407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2" name="object 1872">
              <a:extLst>
                <a:ext uri="{FF2B5EF4-FFF2-40B4-BE49-F238E27FC236}">
                  <a16:creationId xmlns:a16="http://schemas.microsoft.com/office/drawing/2014/main" id="{611C00B6-0358-C627-62DF-2E11195E1063}"/>
                </a:ext>
              </a:extLst>
            </p:cNvPr>
            <p:cNvSpPr/>
            <p:nvPr/>
          </p:nvSpPr>
          <p:spPr>
            <a:xfrm>
              <a:off x="9366976" y="64407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3" name="object 1873">
              <a:extLst>
                <a:ext uri="{FF2B5EF4-FFF2-40B4-BE49-F238E27FC236}">
                  <a16:creationId xmlns:a16="http://schemas.microsoft.com/office/drawing/2014/main" id="{F174CFF3-6789-A008-4C47-1930D100D8C5}"/>
                </a:ext>
              </a:extLst>
            </p:cNvPr>
            <p:cNvSpPr/>
            <p:nvPr/>
          </p:nvSpPr>
          <p:spPr>
            <a:xfrm>
              <a:off x="9191859" y="644076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4" name="object 1874">
              <a:extLst>
                <a:ext uri="{FF2B5EF4-FFF2-40B4-BE49-F238E27FC236}">
                  <a16:creationId xmlns:a16="http://schemas.microsoft.com/office/drawing/2014/main" id="{7CF3EF0D-8A7C-4E28-A0CB-59982BD15F90}"/>
                </a:ext>
              </a:extLst>
            </p:cNvPr>
            <p:cNvSpPr/>
            <p:nvPr/>
          </p:nvSpPr>
          <p:spPr>
            <a:xfrm>
              <a:off x="9472041" y="64280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5" name="object 1875">
              <a:extLst>
                <a:ext uri="{FF2B5EF4-FFF2-40B4-BE49-F238E27FC236}">
                  <a16:creationId xmlns:a16="http://schemas.microsoft.com/office/drawing/2014/main" id="{F6EF2BD3-D42A-C5D1-B0A3-ADFE928A8389}"/>
                </a:ext>
              </a:extLst>
            </p:cNvPr>
            <p:cNvSpPr/>
            <p:nvPr/>
          </p:nvSpPr>
          <p:spPr>
            <a:xfrm>
              <a:off x="9297070" y="64280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6" name="object 1876">
              <a:extLst>
                <a:ext uri="{FF2B5EF4-FFF2-40B4-BE49-F238E27FC236}">
                  <a16:creationId xmlns:a16="http://schemas.microsoft.com/office/drawing/2014/main" id="{9FB6D055-966F-C510-3FED-87C27C3D6E4E}"/>
                </a:ext>
              </a:extLst>
            </p:cNvPr>
            <p:cNvSpPr/>
            <p:nvPr/>
          </p:nvSpPr>
          <p:spPr>
            <a:xfrm>
              <a:off x="9122090" y="64280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7" name="object 1877">
              <a:extLst>
                <a:ext uri="{FF2B5EF4-FFF2-40B4-BE49-F238E27FC236}">
                  <a16:creationId xmlns:a16="http://schemas.microsoft.com/office/drawing/2014/main" id="{B0B1D35C-1EF3-D4E5-00D9-BFED22FF4F16}"/>
                </a:ext>
              </a:extLst>
            </p:cNvPr>
            <p:cNvSpPr/>
            <p:nvPr/>
          </p:nvSpPr>
          <p:spPr>
            <a:xfrm>
              <a:off x="9122090" y="645353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8" name="object 1878">
              <a:extLst>
                <a:ext uri="{FF2B5EF4-FFF2-40B4-BE49-F238E27FC236}">
                  <a16:creationId xmlns:a16="http://schemas.microsoft.com/office/drawing/2014/main" id="{CE46D9D8-959E-591A-CA27-90D6B3F6F7FE}"/>
                </a:ext>
              </a:extLst>
            </p:cNvPr>
            <p:cNvSpPr/>
            <p:nvPr/>
          </p:nvSpPr>
          <p:spPr>
            <a:xfrm>
              <a:off x="9122228" y="6428021"/>
              <a:ext cx="5544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91440"/>
                <a:gd name="f4" fmla="val 84454"/>
                <a:gd name="f5" fmla="val 90929"/>
                <a:gd name="f6" fmla="val 84123"/>
                <a:gd name="f7" fmla="*/ f0 1 91440"/>
                <a:gd name="f8" fmla="*/ f1 1 84454"/>
                <a:gd name="f9" fmla="+- f4 0 f2"/>
                <a:gd name="f10" fmla="+- f3 0 f2"/>
                <a:gd name="f11" fmla="*/ f10 1 9144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9144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9" name="object 1879">
              <a:extLst>
                <a:ext uri="{FF2B5EF4-FFF2-40B4-BE49-F238E27FC236}">
                  <a16:creationId xmlns:a16="http://schemas.microsoft.com/office/drawing/2014/main" id="{80F3A530-5394-44A1-BCE7-6DA8D635DB5F}"/>
                </a:ext>
              </a:extLst>
            </p:cNvPr>
            <p:cNvSpPr/>
            <p:nvPr/>
          </p:nvSpPr>
          <p:spPr>
            <a:xfrm>
              <a:off x="9122228" y="6500323"/>
              <a:ext cx="277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719"/>
                <a:gd name="f4" fmla="val 84454"/>
                <a:gd name="f5" fmla="val 45286"/>
                <a:gd name="f6" fmla="val 84123"/>
                <a:gd name="f7" fmla="*/ f0 1 45719"/>
                <a:gd name="f8" fmla="*/ f1 1 84454"/>
                <a:gd name="f9" fmla="+- f4 0 f2"/>
                <a:gd name="f10" fmla="+- f3 0 f2"/>
                <a:gd name="f11" fmla="*/ f10 1 457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7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0" name="object 1880">
              <a:extLst>
                <a:ext uri="{FF2B5EF4-FFF2-40B4-BE49-F238E27FC236}">
                  <a16:creationId xmlns:a16="http://schemas.microsoft.com/office/drawing/2014/main" id="{47C3AAC7-0D60-7021-022B-7498AC169C2B}"/>
                </a:ext>
              </a:extLst>
            </p:cNvPr>
            <p:cNvSpPr/>
            <p:nvPr/>
          </p:nvSpPr>
          <p:spPr>
            <a:xfrm>
              <a:off x="9401650" y="65130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1" name="object 1881">
              <a:extLst>
                <a:ext uri="{FF2B5EF4-FFF2-40B4-BE49-F238E27FC236}">
                  <a16:creationId xmlns:a16="http://schemas.microsoft.com/office/drawing/2014/main" id="{3A80AAE5-999C-97C6-6A28-699F1C211392}"/>
                </a:ext>
              </a:extLst>
            </p:cNvPr>
            <p:cNvSpPr/>
            <p:nvPr/>
          </p:nvSpPr>
          <p:spPr>
            <a:xfrm>
              <a:off x="9436672" y="65130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2" name="object 1882">
              <a:extLst>
                <a:ext uri="{FF2B5EF4-FFF2-40B4-BE49-F238E27FC236}">
                  <a16:creationId xmlns:a16="http://schemas.microsoft.com/office/drawing/2014/main" id="{D0D518AD-D35E-3033-62B1-68B230D122A1}"/>
                </a:ext>
              </a:extLst>
            </p:cNvPr>
            <p:cNvSpPr/>
            <p:nvPr/>
          </p:nvSpPr>
          <p:spPr>
            <a:xfrm>
              <a:off x="9331607" y="65130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3" name="object 1883">
              <a:extLst>
                <a:ext uri="{FF2B5EF4-FFF2-40B4-BE49-F238E27FC236}">
                  <a16:creationId xmlns:a16="http://schemas.microsoft.com/office/drawing/2014/main" id="{CE425E56-916C-BCB3-7E82-649010DBCF09}"/>
                </a:ext>
              </a:extLst>
            </p:cNvPr>
            <p:cNvSpPr/>
            <p:nvPr/>
          </p:nvSpPr>
          <p:spPr>
            <a:xfrm>
              <a:off x="9226533" y="65130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4" name="object 1884">
              <a:extLst>
                <a:ext uri="{FF2B5EF4-FFF2-40B4-BE49-F238E27FC236}">
                  <a16:creationId xmlns:a16="http://schemas.microsoft.com/office/drawing/2014/main" id="{8B88FD6C-1A47-B33A-D92C-F859B4CA2584}"/>
                </a:ext>
              </a:extLst>
            </p:cNvPr>
            <p:cNvSpPr/>
            <p:nvPr/>
          </p:nvSpPr>
          <p:spPr>
            <a:xfrm>
              <a:off x="9261628" y="65130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5" name="object 1885">
              <a:extLst>
                <a:ext uri="{FF2B5EF4-FFF2-40B4-BE49-F238E27FC236}">
                  <a16:creationId xmlns:a16="http://schemas.microsoft.com/office/drawing/2014/main" id="{7D7A8899-7CBE-5841-A281-CA3A11926298}"/>
                </a:ext>
              </a:extLst>
            </p:cNvPr>
            <p:cNvSpPr/>
            <p:nvPr/>
          </p:nvSpPr>
          <p:spPr>
            <a:xfrm>
              <a:off x="9156490" y="65130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6" name="object 1886">
              <a:extLst>
                <a:ext uri="{FF2B5EF4-FFF2-40B4-BE49-F238E27FC236}">
                  <a16:creationId xmlns:a16="http://schemas.microsoft.com/office/drawing/2014/main" id="{CC971F25-AA87-FEF0-C748-96F4B272A950}"/>
                </a:ext>
              </a:extLst>
            </p:cNvPr>
            <p:cNvSpPr/>
            <p:nvPr/>
          </p:nvSpPr>
          <p:spPr>
            <a:xfrm>
              <a:off x="9366628" y="65130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7" name="object 1887">
              <a:extLst>
                <a:ext uri="{FF2B5EF4-FFF2-40B4-BE49-F238E27FC236}">
                  <a16:creationId xmlns:a16="http://schemas.microsoft.com/office/drawing/2014/main" id="{DAEA8907-5419-9AB9-8785-D862578DDD51}"/>
                </a:ext>
              </a:extLst>
            </p:cNvPr>
            <p:cNvSpPr/>
            <p:nvPr/>
          </p:nvSpPr>
          <p:spPr>
            <a:xfrm>
              <a:off x="9191512" y="651307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8" name="object 1888">
              <a:extLst>
                <a:ext uri="{FF2B5EF4-FFF2-40B4-BE49-F238E27FC236}">
                  <a16:creationId xmlns:a16="http://schemas.microsoft.com/office/drawing/2014/main" id="{A8B59DA9-B66A-87AD-0A15-9606A3C65551}"/>
                </a:ext>
              </a:extLst>
            </p:cNvPr>
            <p:cNvSpPr/>
            <p:nvPr/>
          </p:nvSpPr>
          <p:spPr>
            <a:xfrm>
              <a:off x="9471693" y="65003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9" name="object 1889">
              <a:extLst>
                <a:ext uri="{FF2B5EF4-FFF2-40B4-BE49-F238E27FC236}">
                  <a16:creationId xmlns:a16="http://schemas.microsoft.com/office/drawing/2014/main" id="{D0FDC953-4B03-E60B-2CE2-61DE473638F9}"/>
                </a:ext>
              </a:extLst>
            </p:cNvPr>
            <p:cNvSpPr/>
            <p:nvPr/>
          </p:nvSpPr>
          <p:spPr>
            <a:xfrm>
              <a:off x="9296723" y="65003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0" name="object 1890">
              <a:extLst>
                <a:ext uri="{FF2B5EF4-FFF2-40B4-BE49-F238E27FC236}">
                  <a16:creationId xmlns:a16="http://schemas.microsoft.com/office/drawing/2014/main" id="{90CE5147-3DED-FC5A-FC9F-034E73840581}"/>
                </a:ext>
              </a:extLst>
            </p:cNvPr>
            <p:cNvSpPr/>
            <p:nvPr/>
          </p:nvSpPr>
          <p:spPr>
            <a:xfrm>
              <a:off x="9121743" y="65003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1" name="object 1891">
              <a:extLst>
                <a:ext uri="{FF2B5EF4-FFF2-40B4-BE49-F238E27FC236}">
                  <a16:creationId xmlns:a16="http://schemas.microsoft.com/office/drawing/2014/main" id="{4BC3FD8D-9339-EA43-11B9-8E7DC26DAD81}"/>
                </a:ext>
              </a:extLst>
            </p:cNvPr>
            <p:cNvSpPr/>
            <p:nvPr/>
          </p:nvSpPr>
          <p:spPr>
            <a:xfrm>
              <a:off x="9296723" y="650031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2" name="object 1892">
              <a:extLst>
                <a:ext uri="{FF2B5EF4-FFF2-40B4-BE49-F238E27FC236}">
                  <a16:creationId xmlns:a16="http://schemas.microsoft.com/office/drawing/2014/main" id="{340DAF22-F7CF-B7F6-D85D-44FC0E102531}"/>
                </a:ext>
              </a:extLst>
            </p:cNvPr>
            <p:cNvSpPr/>
            <p:nvPr/>
          </p:nvSpPr>
          <p:spPr>
            <a:xfrm>
              <a:off x="9121743" y="652582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93" name="object 1893">
            <a:extLst>
              <a:ext uri="{FF2B5EF4-FFF2-40B4-BE49-F238E27FC236}">
                <a16:creationId xmlns:a16="http://schemas.microsoft.com/office/drawing/2014/main" id="{E74B5217-39AF-5018-59F6-CB9DC2E20238}"/>
              </a:ext>
            </a:extLst>
          </p:cNvPr>
          <p:cNvGrpSpPr/>
          <p:nvPr/>
        </p:nvGrpSpPr>
        <p:grpSpPr>
          <a:xfrm>
            <a:off x="9943048" y="4140092"/>
            <a:ext cx="350370" cy="123516"/>
            <a:chOff x="9943048" y="4140092"/>
            <a:chExt cx="350370" cy="123516"/>
          </a:xfrm>
        </p:grpSpPr>
        <p:sp>
          <p:nvSpPr>
            <p:cNvPr id="1894" name="object 1894">
              <a:extLst>
                <a:ext uri="{FF2B5EF4-FFF2-40B4-BE49-F238E27FC236}">
                  <a16:creationId xmlns:a16="http://schemas.microsoft.com/office/drawing/2014/main" id="{BEB078CA-1E21-2ABA-7C91-71E3EB97BAFC}"/>
                </a:ext>
              </a:extLst>
            </p:cNvPr>
            <p:cNvSpPr/>
            <p:nvPr/>
          </p:nvSpPr>
          <p:spPr>
            <a:xfrm>
              <a:off x="10223293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5" name="object 1895">
              <a:extLst>
                <a:ext uri="{FF2B5EF4-FFF2-40B4-BE49-F238E27FC236}">
                  <a16:creationId xmlns:a16="http://schemas.microsoft.com/office/drawing/2014/main" id="{AC83D56A-75AC-A2F7-BE5E-799F376489C8}"/>
                </a:ext>
              </a:extLst>
            </p:cNvPr>
            <p:cNvSpPr/>
            <p:nvPr/>
          </p:nvSpPr>
          <p:spPr>
            <a:xfrm>
              <a:off x="10258315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6" name="object 1896">
              <a:extLst>
                <a:ext uri="{FF2B5EF4-FFF2-40B4-BE49-F238E27FC236}">
                  <a16:creationId xmlns:a16="http://schemas.microsoft.com/office/drawing/2014/main" id="{F9E510D7-CFFA-A60E-9FD5-2C5918188E43}"/>
                </a:ext>
              </a:extLst>
            </p:cNvPr>
            <p:cNvSpPr/>
            <p:nvPr/>
          </p:nvSpPr>
          <p:spPr>
            <a:xfrm>
              <a:off x="10153241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7" name="object 1897">
              <a:extLst>
                <a:ext uri="{FF2B5EF4-FFF2-40B4-BE49-F238E27FC236}">
                  <a16:creationId xmlns:a16="http://schemas.microsoft.com/office/drawing/2014/main" id="{2AAD8892-89FE-3B9A-D798-736A2C1C07F2}"/>
                </a:ext>
              </a:extLst>
            </p:cNvPr>
            <p:cNvSpPr/>
            <p:nvPr/>
          </p:nvSpPr>
          <p:spPr>
            <a:xfrm>
              <a:off x="10048177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8" name="object 1898">
              <a:extLst>
                <a:ext uri="{FF2B5EF4-FFF2-40B4-BE49-F238E27FC236}">
                  <a16:creationId xmlns:a16="http://schemas.microsoft.com/office/drawing/2014/main" id="{3DB93396-3D58-7946-D71E-462FB0290727}"/>
                </a:ext>
              </a:extLst>
            </p:cNvPr>
            <p:cNvSpPr/>
            <p:nvPr/>
          </p:nvSpPr>
          <p:spPr>
            <a:xfrm>
              <a:off x="10083271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9" name="object 1899">
              <a:extLst>
                <a:ext uri="{FF2B5EF4-FFF2-40B4-BE49-F238E27FC236}">
                  <a16:creationId xmlns:a16="http://schemas.microsoft.com/office/drawing/2014/main" id="{FF86595D-8473-4469-9868-7F19B2A8DF02}"/>
                </a:ext>
              </a:extLst>
            </p:cNvPr>
            <p:cNvSpPr/>
            <p:nvPr/>
          </p:nvSpPr>
          <p:spPr>
            <a:xfrm>
              <a:off x="9978133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0" name="object 1900">
              <a:extLst>
                <a:ext uri="{FF2B5EF4-FFF2-40B4-BE49-F238E27FC236}">
                  <a16:creationId xmlns:a16="http://schemas.microsoft.com/office/drawing/2014/main" id="{43269305-D008-DF02-10DF-C48163D78DA2}"/>
                </a:ext>
              </a:extLst>
            </p:cNvPr>
            <p:cNvSpPr/>
            <p:nvPr/>
          </p:nvSpPr>
          <p:spPr>
            <a:xfrm>
              <a:off x="10188263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1" name="object 1901">
              <a:extLst>
                <a:ext uri="{FF2B5EF4-FFF2-40B4-BE49-F238E27FC236}">
                  <a16:creationId xmlns:a16="http://schemas.microsoft.com/office/drawing/2014/main" id="{7DF7295D-56A8-70E4-5AC6-77E65AD417A8}"/>
                </a:ext>
              </a:extLst>
            </p:cNvPr>
            <p:cNvSpPr/>
            <p:nvPr/>
          </p:nvSpPr>
          <p:spPr>
            <a:xfrm>
              <a:off x="10013155" y="415284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2" name="object 1902">
              <a:extLst>
                <a:ext uri="{FF2B5EF4-FFF2-40B4-BE49-F238E27FC236}">
                  <a16:creationId xmlns:a16="http://schemas.microsoft.com/office/drawing/2014/main" id="{802D7EC9-6D99-D8BE-B47A-CEE62E534833}"/>
                </a:ext>
              </a:extLst>
            </p:cNvPr>
            <p:cNvSpPr/>
            <p:nvPr/>
          </p:nvSpPr>
          <p:spPr>
            <a:xfrm>
              <a:off x="10293336" y="41400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3" name="object 1903">
              <a:extLst>
                <a:ext uri="{FF2B5EF4-FFF2-40B4-BE49-F238E27FC236}">
                  <a16:creationId xmlns:a16="http://schemas.microsoft.com/office/drawing/2014/main" id="{BE350197-1FC6-DA61-F988-23DE5B1BF2EB}"/>
                </a:ext>
              </a:extLst>
            </p:cNvPr>
            <p:cNvSpPr/>
            <p:nvPr/>
          </p:nvSpPr>
          <p:spPr>
            <a:xfrm>
              <a:off x="10118366" y="41400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4" name="object 1904">
              <a:extLst>
                <a:ext uri="{FF2B5EF4-FFF2-40B4-BE49-F238E27FC236}">
                  <a16:creationId xmlns:a16="http://schemas.microsoft.com/office/drawing/2014/main" id="{DF634F7A-DB2A-6A54-7B12-2A6AFE940038}"/>
                </a:ext>
              </a:extLst>
            </p:cNvPr>
            <p:cNvSpPr/>
            <p:nvPr/>
          </p:nvSpPr>
          <p:spPr>
            <a:xfrm>
              <a:off x="9943386" y="41400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5" name="object 1905">
              <a:extLst>
                <a:ext uri="{FF2B5EF4-FFF2-40B4-BE49-F238E27FC236}">
                  <a16:creationId xmlns:a16="http://schemas.microsoft.com/office/drawing/2014/main" id="{1D545E23-D126-8EEC-2731-A662FEA85D9A}"/>
                </a:ext>
              </a:extLst>
            </p:cNvPr>
            <p:cNvSpPr/>
            <p:nvPr/>
          </p:nvSpPr>
          <p:spPr>
            <a:xfrm>
              <a:off x="9943395" y="416559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6" name="object 1906">
              <a:extLst>
                <a:ext uri="{FF2B5EF4-FFF2-40B4-BE49-F238E27FC236}">
                  <a16:creationId xmlns:a16="http://schemas.microsoft.com/office/drawing/2014/main" id="{49939D9C-3B59-756A-5DB8-80A57FFE953F}"/>
                </a:ext>
              </a:extLst>
            </p:cNvPr>
            <p:cNvSpPr/>
            <p:nvPr/>
          </p:nvSpPr>
          <p:spPr>
            <a:xfrm>
              <a:off x="9943514" y="4140092"/>
              <a:ext cx="19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75"/>
                <a:gd name="f4" fmla="val 84454"/>
                <a:gd name="f5" fmla="val 2973"/>
                <a:gd name="f6" fmla="val 84123"/>
                <a:gd name="f7" fmla="*/ f0 1 3175"/>
                <a:gd name="f8" fmla="*/ f1 1 84454"/>
                <a:gd name="f9" fmla="+- f4 0 f2"/>
                <a:gd name="f10" fmla="+- f3 0 f2"/>
                <a:gd name="f11" fmla="*/ f10 1 31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7" name="object 1907">
              <a:extLst>
                <a:ext uri="{FF2B5EF4-FFF2-40B4-BE49-F238E27FC236}">
                  <a16:creationId xmlns:a16="http://schemas.microsoft.com/office/drawing/2014/main" id="{FB20323D-3EB1-8F17-2948-028231E33E64}"/>
                </a:ext>
              </a:extLst>
            </p:cNvPr>
            <p:cNvSpPr/>
            <p:nvPr/>
          </p:nvSpPr>
          <p:spPr>
            <a:xfrm>
              <a:off x="10292989" y="42123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8" name="object 1908">
              <a:extLst>
                <a:ext uri="{FF2B5EF4-FFF2-40B4-BE49-F238E27FC236}">
                  <a16:creationId xmlns:a16="http://schemas.microsoft.com/office/drawing/2014/main" id="{ED3ACEF7-1CC2-780F-35DF-2B8D0D43D53F}"/>
                </a:ext>
              </a:extLst>
            </p:cNvPr>
            <p:cNvSpPr/>
            <p:nvPr/>
          </p:nvSpPr>
          <p:spPr>
            <a:xfrm>
              <a:off x="10118018" y="42123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9" name="object 1909">
              <a:extLst>
                <a:ext uri="{FF2B5EF4-FFF2-40B4-BE49-F238E27FC236}">
                  <a16:creationId xmlns:a16="http://schemas.microsoft.com/office/drawing/2014/main" id="{79303A19-ED05-0351-E165-530A9D280B76}"/>
                </a:ext>
              </a:extLst>
            </p:cNvPr>
            <p:cNvSpPr/>
            <p:nvPr/>
          </p:nvSpPr>
          <p:spPr>
            <a:xfrm>
              <a:off x="9943048" y="42123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0" name="object 1910">
              <a:extLst>
                <a:ext uri="{FF2B5EF4-FFF2-40B4-BE49-F238E27FC236}">
                  <a16:creationId xmlns:a16="http://schemas.microsoft.com/office/drawing/2014/main" id="{83525C2F-F82C-E581-57DE-C8178528F95E}"/>
                </a:ext>
              </a:extLst>
            </p:cNvPr>
            <p:cNvSpPr/>
            <p:nvPr/>
          </p:nvSpPr>
          <p:spPr>
            <a:xfrm>
              <a:off x="10118018" y="42123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1" name="object 1911">
              <a:extLst>
                <a:ext uri="{FF2B5EF4-FFF2-40B4-BE49-F238E27FC236}">
                  <a16:creationId xmlns:a16="http://schemas.microsoft.com/office/drawing/2014/main" id="{5C3EAACD-9CC3-AC37-62CA-803634EEE96A}"/>
                </a:ext>
              </a:extLst>
            </p:cNvPr>
            <p:cNvSpPr/>
            <p:nvPr/>
          </p:nvSpPr>
          <p:spPr>
            <a:xfrm>
              <a:off x="10222946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2" name="object 1912">
              <a:extLst>
                <a:ext uri="{FF2B5EF4-FFF2-40B4-BE49-F238E27FC236}">
                  <a16:creationId xmlns:a16="http://schemas.microsoft.com/office/drawing/2014/main" id="{834D3135-650E-B801-C696-20F0560DAC0F}"/>
                </a:ext>
              </a:extLst>
            </p:cNvPr>
            <p:cNvSpPr/>
            <p:nvPr/>
          </p:nvSpPr>
          <p:spPr>
            <a:xfrm>
              <a:off x="10257967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3" name="object 1913">
              <a:extLst>
                <a:ext uri="{FF2B5EF4-FFF2-40B4-BE49-F238E27FC236}">
                  <a16:creationId xmlns:a16="http://schemas.microsoft.com/office/drawing/2014/main" id="{D91EC833-0DC3-6630-15C7-DCE62ED4BE88}"/>
                </a:ext>
              </a:extLst>
            </p:cNvPr>
            <p:cNvSpPr/>
            <p:nvPr/>
          </p:nvSpPr>
          <p:spPr>
            <a:xfrm>
              <a:off x="10152903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4" name="object 1914">
              <a:extLst>
                <a:ext uri="{FF2B5EF4-FFF2-40B4-BE49-F238E27FC236}">
                  <a16:creationId xmlns:a16="http://schemas.microsoft.com/office/drawing/2014/main" id="{024B0F81-E261-DA18-3032-78A2CA783664}"/>
                </a:ext>
              </a:extLst>
            </p:cNvPr>
            <p:cNvSpPr/>
            <p:nvPr/>
          </p:nvSpPr>
          <p:spPr>
            <a:xfrm>
              <a:off x="10047829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5" name="object 1915">
              <a:extLst>
                <a:ext uri="{FF2B5EF4-FFF2-40B4-BE49-F238E27FC236}">
                  <a16:creationId xmlns:a16="http://schemas.microsoft.com/office/drawing/2014/main" id="{F888D4DA-D580-5595-E664-B6EF2C365B2A}"/>
                </a:ext>
              </a:extLst>
            </p:cNvPr>
            <p:cNvSpPr/>
            <p:nvPr/>
          </p:nvSpPr>
          <p:spPr>
            <a:xfrm>
              <a:off x="10082924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6" name="object 1916">
              <a:extLst>
                <a:ext uri="{FF2B5EF4-FFF2-40B4-BE49-F238E27FC236}">
                  <a16:creationId xmlns:a16="http://schemas.microsoft.com/office/drawing/2014/main" id="{80F3E984-0D9A-3910-B749-82CD04474289}"/>
                </a:ext>
              </a:extLst>
            </p:cNvPr>
            <p:cNvSpPr/>
            <p:nvPr/>
          </p:nvSpPr>
          <p:spPr>
            <a:xfrm>
              <a:off x="9977786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7" name="object 1917">
              <a:extLst>
                <a:ext uri="{FF2B5EF4-FFF2-40B4-BE49-F238E27FC236}">
                  <a16:creationId xmlns:a16="http://schemas.microsoft.com/office/drawing/2014/main" id="{6307B0F4-2034-A584-EF7D-26C8CE941E3D}"/>
                </a:ext>
              </a:extLst>
            </p:cNvPr>
            <p:cNvSpPr/>
            <p:nvPr/>
          </p:nvSpPr>
          <p:spPr>
            <a:xfrm>
              <a:off x="10187924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8" name="object 1918">
              <a:extLst>
                <a:ext uri="{FF2B5EF4-FFF2-40B4-BE49-F238E27FC236}">
                  <a16:creationId xmlns:a16="http://schemas.microsoft.com/office/drawing/2014/main" id="{5768E21D-E8AC-9C58-41BC-6A8B5F49A575}"/>
                </a:ext>
              </a:extLst>
            </p:cNvPr>
            <p:cNvSpPr/>
            <p:nvPr/>
          </p:nvSpPr>
          <p:spPr>
            <a:xfrm>
              <a:off x="10012808" y="42251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9" name="object 1919">
              <a:extLst>
                <a:ext uri="{FF2B5EF4-FFF2-40B4-BE49-F238E27FC236}">
                  <a16:creationId xmlns:a16="http://schemas.microsoft.com/office/drawing/2014/main" id="{D9823E31-2981-0660-B471-42D60EDAFEEA}"/>
                </a:ext>
              </a:extLst>
            </p:cNvPr>
            <p:cNvSpPr/>
            <p:nvPr/>
          </p:nvSpPr>
          <p:spPr>
            <a:xfrm>
              <a:off x="9943048" y="423789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0" name="object 1920">
              <a:extLst>
                <a:ext uri="{FF2B5EF4-FFF2-40B4-BE49-F238E27FC236}">
                  <a16:creationId xmlns:a16="http://schemas.microsoft.com/office/drawing/2014/main" id="{9D871D16-3BC7-415E-CC4F-254F0E525F7F}"/>
                </a:ext>
              </a:extLst>
            </p:cNvPr>
            <p:cNvSpPr/>
            <p:nvPr/>
          </p:nvSpPr>
          <p:spPr>
            <a:xfrm>
              <a:off x="9943514" y="4212393"/>
              <a:ext cx="2734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084"/>
                <a:gd name="f4" fmla="val 84454"/>
                <a:gd name="f5" fmla="val 45024"/>
                <a:gd name="f6" fmla="val 84123"/>
                <a:gd name="f7" fmla="*/ f0 1 45084"/>
                <a:gd name="f8" fmla="*/ f1 1 84454"/>
                <a:gd name="f9" fmla="+- f4 0 f2"/>
                <a:gd name="f10" fmla="+- f3 0 f2"/>
                <a:gd name="f11" fmla="*/ f10 1 4508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08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921" name="object 1921">
            <a:extLst>
              <a:ext uri="{FF2B5EF4-FFF2-40B4-BE49-F238E27FC236}">
                <a16:creationId xmlns:a16="http://schemas.microsoft.com/office/drawing/2014/main" id="{F847C4FF-341F-97C8-C128-6CF03CC91863}"/>
              </a:ext>
            </a:extLst>
          </p:cNvPr>
          <p:cNvGrpSpPr/>
          <p:nvPr/>
        </p:nvGrpSpPr>
        <p:grpSpPr>
          <a:xfrm>
            <a:off x="9943048" y="4901293"/>
            <a:ext cx="350370" cy="123517"/>
            <a:chOff x="9943048" y="4901293"/>
            <a:chExt cx="350370" cy="123517"/>
          </a:xfrm>
        </p:grpSpPr>
        <p:sp>
          <p:nvSpPr>
            <p:cNvPr id="1922" name="object 1922">
              <a:extLst>
                <a:ext uri="{FF2B5EF4-FFF2-40B4-BE49-F238E27FC236}">
                  <a16:creationId xmlns:a16="http://schemas.microsoft.com/office/drawing/2014/main" id="{808E9418-0217-6508-16CF-1318939C4D67}"/>
                </a:ext>
              </a:extLst>
            </p:cNvPr>
            <p:cNvSpPr/>
            <p:nvPr/>
          </p:nvSpPr>
          <p:spPr>
            <a:xfrm>
              <a:off x="10223293" y="49140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3" name="object 1923">
              <a:extLst>
                <a:ext uri="{FF2B5EF4-FFF2-40B4-BE49-F238E27FC236}">
                  <a16:creationId xmlns:a16="http://schemas.microsoft.com/office/drawing/2014/main" id="{4186F326-07BA-9D73-FCFA-17F0E6ACF740}"/>
                </a:ext>
              </a:extLst>
            </p:cNvPr>
            <p:cNvSpPr/>
            <p:nvPr/>
          </p:nvSpPr>
          <p:spPr>
            <a:xfrm>
              <a:off x="10258315" y="49140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4" name="object 1924">
              <a:extLst>
                <a:ext uri="{FF2B5EF4-FFF2-40B4-BE49-F238E27FC236}">
                  <a16:creationId xmlns:a16="http://schemas.microsoft.com/office/drawing/2014/main" id="{8BAF57F8-1743-209F-3C23-56299455504E}"/>
                </a:ext>
              </a:extLst>
            </p:cNvPr>
            <p:cNvSpPr/>
            <p:nvPr/>
          </p:nvSpPr>
          <p:spPr>
            <a:xfrm>
              <a:off x="10153241" y="49140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5" name="object 1925">
              <a:extLst>
                <a:ext uri="{FF2B5EF4-FFF2-40B4-BE49-F238E27FC236}">
                  <a16:creationId xmlns:a16="http://schemas.microsoft.com/office/drawing/2014/main" id="{31735516-FF8B-5E01-75E9-E733B7162FFA}"/>
                </a:ext>
              </a:extLst>
            </p:cNvPr>
            <p:cNvSpPr/>
            <p:nvPr/>
          </p:nvSpPr>
          <p:spPr>
            <a:xfrm>
              <a:off x="10048177" y="49140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6" name="object 1926">
              <a:extLst>
                <a:ext uri="{FF2B5EF4-FFF2-40B4-BE49-F238E27FC236}">
                  <a16:creationId xmlns:a16="http://schemas.microsoft.com/office/drawing/2014/main" id="{4C7A581A-91F2-69E1-5DFC-5E08123FDA2B}"/>
                </a:ext>
              </a:extLst>
            </p:cNvPr>
            <p:cNvSpPr/>
            <p:nvPr/>
          </p:nvSpPr>
          <p:spPr>
            <a:xfrm>
              <a:off x="10083271" y="49140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7" name="object 1927">
              <a:extLst>
                <a:ext uri="{FF2B5EF4-FFF2-40B4-BE49-F238E27FC236}">
                  <a16:creationId xmlns:a16="http://schemas.microsoft.com/office/drawing/2014/main" id="{1E979027-276E-F4F1-B234-8659C4B6138E}"/>
                </a:ext>
              </a:extLst>
            </p:cNvPr>
            <p:cNvSpPr/>
            <p:nvPr/>
          </p:nvSpPr>
          <p:spPr>
            <a:xfrm>
              <a:off x="9978133" y="49140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8" name="object 1928">
              <a:extLst>
                <a:ext uri="{FF2B5EF4-FFF2-40B4-BE49-F238E27FC236}">
                  <a16:creationId xmlns:a16="http://schemas.microsoft.com/office/drawing/2014/main" id="{CF55FC9C-88CE-94FB-BF4D-10C1B316A1C9}"/>
                </a:ext>
              </a:extLst>
            </p:cNvPr>
            <p:cNvSpPr/>
            <p:nvPr/>
          </p:nvSpPr>
          <p:spPr>
            <a:xfrm>
              <a:off x="10188263" y="49140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9" name="object 1929">
              <a:extLst>
                <a:ext uri="{FF2B5EF4-FFF2-40B4-BE49-F238E27FC236}">
                  <a16:creationId xmlns:a16="http://schemas.microsoft.com/office/drawing/2014/main" id="{A8E7CDF7-50B3-897F-A163-DD36FA7C5210}"/>
                </a:ext>
              </a:extLst>
            </p:cNvPr>
            <p:cNvSpPr/>
            <p:nvPr/>
          </p:nvSpPr>
          <p:spPr>
            <a:xfrm>
              <a:off x="10013155" y="49140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0" name="object 1930">
              <a:extLst>
                <a:ext uri="{FF2B5EF4-FFF2-40B4-BE49-F238E27FC236}">
                  <a16:creationId xmlns:a16="http://schemas.microsoft.com/office/drawing/2014/main" id="{49FFC28B-4409-076C-E668-C639B80EBFF4}"/>
                </a:ext>
              </a:extLst>
            </p:cNvPr>
            <p:cNvSpPr/>
            <p:nvPr/>
          </p:nvSpPr>
          <p:spPr>
            <a:xfrm>
              <a:off x="10293336" y="49012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1" name="object 1931">
              <a:extLst>
                <a:ext uri="{FF2B5EF4-FFF2-40B4-BE49-F238E27FC236}">
                  <a16:creationId xmlns:a16="http://schemas.microsoft.com/office/drawing/2014/main" id="{E11CD144-90B1-4811-5DC8-7A4308C6EF63}"/>
                </a:ext>
              </a:extLst>
            </p:cNvPr>
            <p:cNvSpPr/>
            <p:nvPr/>
          </p:nvSpPr>
          <p:spPr>
            <a:xfrm>
              <a:off x="10118366" y="49012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2" name="object 1932">
              <a:extLst>
                <a:ext uri="{FF2B5EF4-FFF2-40B4-BE49-F238E27FC236}">
                  <a16:creationId xmlns:a16="http://schemas.microsoft.com/office/drawing/2014/main" id="{8E232438-E7BA-A217-7586-E72A38AAAA13}"/>
                </a:ext>
              </a:extLst>
            </p:cNvPr>
            <p:cNvSpPr/>
            <p:nvPr/>
          </p:nvSpPr>
          <p:spPr>
            <a:xfrm>
              <a:off x="9943386" y="49012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3" name="object 1933">
              <a:extLst>
                <a:ext uri="{FF2B5EF4-FFF2-40B4-BE49-F238E27FC236}">
                  <a16:creationId xmlns:a16="http://schemas.microsoft.com/office/drawing/2014/main" id="{9F95BAF9-3B3A-F9F2-2820-1636677D798A}"/>
                </a:ext>
              </a:extLst>
            </p:cNvPr>
            <p:cNvSpPr/>
            <p:nvPr/>
          </p:nvSpPr>
          <p:spPr>
            <a:xfrm>
              <a:off x="9943395" y="492680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4" name="object 1934">
              <a:extLst>
                <a:ext uri="{FF2B5EF4-FFF2-40B4-BE49-F238E27FC236}">
                  <a16:creationId xmlns:a16="http://schemas.microsoft.com/office/drawing/2014/main" id="{13016773-C628-72FD-EF22-80FF992C7D9B}"/>
                </a:ext>
              </a:extLst>
            </p:cNvPr>
            <p:cNvSpPr/>
            <p:nvPr/>
          </p:nvSpPr>
          <p:spPr>
            <a:xfrm>
              <a:off x="9943514" y="4901293"/>
              <a:ext cx="3773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2230"/>
                <a:gd name="f4" fmla="val 84454"/>
                <a:gd name="f5" fmla="val 62197"/>
                <a:gd name="f6" fmla="val 84133"/>
                <a:gd name="f7" fmla="*/ f0 1 62230"/>
                <a:gd name="f8" fmla="*/ f1 1 84454"/>
                <a:gd name="f9" fmla="+- f4 0 f2"/>
                <a:gd name="f10" fmla="+- f3 0 f2"/>
                <a:gd name="f11" fmla="*/ f10 1 622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22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5" name="object 1935">
              <a:extLst>
                <a:ext uri="{FF2B5EF4-FFF2-40B4-BE49-F238E27FC236}">
                  <a16:creationId xmlns:a16="http://schemas.microsoft.com/office/drawing/2014/main" id="{9BBCB0A7-75CE-9E15-CA70-867ACDE3675F}"/>
                </a:ext>
              </a:extLst>
            </p:cNvPr>
            <p:cNvSpPr/>
            <p:nvPr/>
          </p:nvSpPr>
          <p:spPr>
            <a:xfrm>
              <a:off x="9943514" y="4973595"/>
              <a:ext cx="6199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2234"/>
                <a:gd name="f4" fmla="val 84454"/>
                <a:gd name="f5" fmla="val 101766"/>
                <a:gd name="f6" fmla="val 84123"/>
                <a:gd name="f7" fmla="*/ f0 1 102234"/>
                <a:gd name="f8" fmla="*/ f1 1 84454"/>
                <a:gd name="f9" fmla="+- f4 0 f2"/>
                <a:gd name="f10" fmla="+- f3 0 f2"/>
                <a:gd name="f11" fmla="*/ f10 1 1022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22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6" name="object 1936">
              <a:extLst>
                <a:ext uri="{FF2B5EF4-FFF2-40B4-BE49-F238E27FC236}">
                  <a16:creationId xmlns:a16="http://schemas.microsoft.com/office/drawing/2014/main" id="{3C4CD5F2-AC57-05D4-B508-5AAF996DBCB2}"/>
                </a:ext>
              </a:extLst>
            </p:cNvPr>
            <p:cNvSpPr/>
            <p:nvPr/>
          </p:nvSpPr>
          <p:spPr>
            <a:xfrm>
              <a:off x="10222946" y="49863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7" name="object 1937">
              <a:extLst>
                <a:ext uri="{FF2B5EF4-FFF2-40B4-BE49-F238E27FC236}">
                  <a16:creationId xmlns:a16="http://schemas.microsoft.com/office/drawing/2014/main" id="{C126C24E-3A83-7528-F29F-54880EDE7B82}"/>
                </a:ext>
              </a:extLst>
            </p:cNvPr>
            <p:cNvSpPr/>
            <p:nvPr/>
          </p:nvSpPr>
          <p:spPr>
            <a:xfrm>
              <a:off x="10257967" y="49863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8" name="object 1938">
              <a:extLst>
                <a:ext uri="{FF2B5EF4-FFF2-40B4-BE49-F238E27FC236}">
                  <a16:creationId xmlns:a16="http://schemas.microsoft.com/office/drawing/2014/main" id="{5B77AF6B-6987-BF81-931B-AB077F4CF948}"/>
                </a:ext>
              </a:extLst>
            </p:cNvPr>
            <p:cNvSpPr/>
            <p:nvPr/>
          </p:nvSpPr>
          <p:spPr>
            <a:xfrm>
              <a:off x="10152903" y="49863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9" name="object 1939">
              <a:extLst>
                <a:ext uri="{FF2B5EF4-FFF2-40B4-BE49-F238E27FC236}">
                  <a16:creationId xmlns:a16="http://schemas.microsoft.com/office/drawing/2014/main" id="{A6E95798-F079-9C67-03C7-9D36AA869C1B}"/>
                </a:ext>
              </a:extLst>
            </p:cNvPr>
            <p:cNvSpPr/>
            <p:nvPr/>
          </p:nvSpPr>
          <p:spPr>
            <a:xfrm>
              <a:off x="10047829" y="49863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0" name="object 1940">
              <a:extLst>
                <a:ext uri="{FF2B5EF4-FFF2-40B4-BE49-F238E27FC236}">
                  <a16:creationId xmlns:a16="http://schemas.microsoft.com/office/drawing/2014/main" id="{59576E5B-F1D6-E5C8-FBE9-4366FFE5B6C3}"/>
                </a:ext>
              </a:extLst>
            </p:cNvPr>
            <p:cNvSpPr/>
            <p:nvPr/>
          </p:nvSpPr>
          <p:spPr>
            <a:xfrm>
              <a:off x="10082924" y="49863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1" name="object 1941">
              <a:extLst>
                <a:ext uri="{FF2B5EF4-FFF2-40B4-BE49-F238E27FC236}">
                  <a16:creationId xmlns:a16="http://schemas.microsoft.com/office/drawing/2014/main" id="{43052CE7-AB11-EC39-6740-06F924568496}"/>
                </a:ext>
              </a:extLst>
            </p:cNvPr>
            <p:cNvSpPr/>
            <p:nvPr/>
          </p:nvSpPr>
          <p:spPr>
            <a:xfrm>
              <a:off x="9977786" y="49863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2" name="object 1942">
              <a:extLst>
                <a:ext uri="{FF2B5EF4-FFF2-40B4-BE49-F238E27FC236}">
                  <a16:creationId xmlns:a16="http://schemas.microsoft.com/office/drawing/2014/main" id="{828764D3-4611-008B-4983-A2E27B39B37F}"/>
                </a:ext>
              </a:extLst>
            </p:cNvPr>
            <p:cNvSpPr/>
            <p:nvPr/>
          </p:nvSpPr>
          <p:spPr>
            <a:xfrm>
              <a:off x="10187924" y="49863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3" name="object 1943">
              <a:extLst>
                <a:ext uri="{FF2B5EF4-FFF2-40B4-BE49-F238E27FC236}">
                  <a16:creationId xmlns:a16="http://schemas.microsoft.com/office/drawing/2014/main" id="{EB1E939D-80E0-B63C-12D0-521A8F1CAC60}"/>
                </a:ext>
              </a:extLst>
            </p:cNvPr>
            <p:cNvSpPr/>
            <p:nvPr/>
          </p:nvSpPr>
          <p:spPr>
            <a:xfrm>
              <a:off x="10012808" y="49863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4" name="object 1944">
              <a:extLst>
                <a:ext uri="{FF2B5EF4-FFF2-40B4-BE49-F238E27FC236}">
                  <a16:creationId xmlns:a16="http://schemas.microsoft.com/office/drawing/2014/main" id="{A90332A0-8E1E-0315-37A7-062CC1531216}"/>
                </a:ext>
              </a:extLst>
            </p:cNvPr>
            <p:cNvSpPr/>
            <p:nvPr/>
          </p:nvSpPr>
          <p:spPr>
            <a:xfrm>
              <a:off x="10292989" y="49735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5" name="object 1945">
              <a:extLst>
                <a:ext uri="{FF2B5EF4-FFF2-40B4-BE49-F238E27FC236}">
                  <a16:creationId xmlns:a16="http://schemas.microsoft.com/office/drawing/2014/main" id="{21CAC5EE-9D3B-0C5F-6E60-7A26FB1E4151}"/>
                </a:ext>
              </a:extLst>
            </p:cNvPr>
            <p:cNvSpPr/>
            <p:nvPr/>
          </p:nvSpPr>
          <p:spPr>
            <a:xfrm>
              <a:off x="10118018" y="49735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6" name="object 1946">
              <a:extLst>
                <a:ext uri="{FF2B5EF4-FFF2-40B4-BE49-F238E27FC236}">
                  <a16:creationId xmlns:a16="http://schemas.microsoft.com/office/drawing/2014/main" id="{963DAE6A-93BF-AED3-A884-95D1DEE08E4B}"/>
                </a:ext>
              </a:extLst>
            </p:cNvPr>
            <p:cNvSpPr/>
            <p:nvPr/>
          </p:nvSpPr>
          <p:spPr>
            <a:xfrm>
              <a:off x="9943048" y="49735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7" name="object 1947">
              <a:extLst>
                <a:ext uri="{FF2B5EF4-FFF2-40B4-BE49-F238E27FC236}">
                  <a16:creationId xmlns:a16="http://schemas.microsoft.com/office/drawing/2014/main" id="{4F8F5342-D30D-FA1B-11C2-14C1F7274335}"/>
                </a:ext>
              </a:extLst>
            </p:cNvPr>
            <p:cNvSpPr/>
            <p:nvPr/>
          </p:nvSpPr>
          <p:spPr>
            <a:xfrm>
              <a:off x="10118018" y="49735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8" name="object 1948">
              <a:extLst>
                <a:ext uri="{FF2B5EF4-FFF2-40B4-BE49-F238E27FC236}">
                  <a16:creationId xmlns:a16="http://schemas.microsoft.com/office/drawing/2014/main" id="{03CB76CF-CB41-D6E2-7ED5-1422A194141B}"/>
                </a:ext>
              </a:extLst>
            </p:cNvPr>
            <p:cNvSpPr/>
            <p:nvPr/>
          </p:nvSpPr>
          <p:spPr>
            <a:xfrm>
              <a:off x="9943048" y="499909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949" name="object 1949">
            <a:extLst>
              <a:ext uri="{FF2B5EF4-FFF2-40B4-BE49-F238E27FC236}">
                <a16:creationId xmlns:a16="http://schemas.microsoft.com/office/drawing/2014/main" id="{46CDBEDE-3314-DC43-D2EB-847CEEB75AAC}"/>
              </a:ext>
            </a:extLst>
          </p:cNvPr>
          <p:cNvGrpSpPr/>
          <p:nvPr/>
        </p:nvGrpSpPr>
        <p:grpSpPr>
          <a:xfrm>
            <a:off x="2545497" y="2861669"/>
            <a:ext cx="350023" cy="350023"/>
            <a:chOff x="2545497" y="2861669"/>
            <a:chExt cx="350023" cy="350023"/>
          </a:xfrm>
        </p:grpSpPr>
        <p:pic>
          <p:nvPicPr>
            <p:cNvPr id="1950" name="object 1950">
              <a:extLst>
                <a:ext uri="{FF2B5EF4-FFF2-40B4-BE49-F238E27FC236}">
                  <a16:creationId xmlns:a16="http://schemas.microsoft.com/office/drawing/2014/main" id="{90BBB315-43A0-D7CA-6290-0E220D483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63"/>
            <a:stretch>
              <a:fillRect/>
            </a:stretch>
          </p:blipFill>
          <p:spPr>
            <a:xfrm>
              <a:off x="2545497" y="2861669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951" name="object 1951">
              <a:extLst>
                <a:ext uri="{FF2B5EF4-FFF2-40B4-BE49-F238E27FC236}">
                  <a16:creationId xmlns:a16="http://schemas.microsoft.com/office/drawing/2014/main" id="{4342A69C-6FE9-D381-507C-C729D8C97306}"/>
                </a:ext>
              </a:extLst>
            </p:cNvPr>
            <p:cNvSpPr/>
            <p:nvPr/>
          </p:nvSpPr>
          <p:spPr>
            <a:xfrm>
              <a:off x="2545497" y="286166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1952" name="object 1952">
            <a:extLst>
              <a:ext uri="{FF2B5EF4-FFF2-40B4-BE49-F238E27FC236}">
                <a16:creationId xmlns:a16="http://schemas.microsoft.com/office/drawing/2014/main" id="{73B6D3F6-4759-0621-8745-889B3F4AD0FD}"/>
              </a:ext>
            </a:extLst>
          </p:cNvPr>
          <p:cNvSpPr txBox="1"/>
          <p:nvPr/>
        </p:nvSpPr>
        <p:spPr>
          <a:xfrm>
            <a:off x="2541986" y="943176"/>
            <a:ext cx="44629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rip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oundati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eca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nd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3" name="object 1953">
            <a:extLst>
              <a:ext uri="{FF2B5EF4-FFF2-40B4-BE49-F238E27FC236}">
                <a16:creationId xmlns:a16="http://schemas.microsoft.com/office/drawing/2014/main" id="{F8C4F8EF-36B0-3B06-BDF1-E50EDB089EBF}"/>
              </a:ext>
            </a:extLst>
          </p:cNvPr>
          <p:cNvSpPr txBox="1"/>
          <p:nvPr/>
        </p:nvSpPr>
        <p:spPr>
          <a:xfrm>
            <a:off x="2540120" y="1701350"/>
            <a:ext cx="4832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rip foundati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eca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utureCe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4" name="object 1954">
            <a:extLst>
              <a:ext uri="{FF2B5EF4-FFF2-40B4-BE49-F238E27FC236}">
                <a16:creationId xmlns:a16="http://schemas.microsoft.com/office/drawing/2014/main" id="{E23AEE88-9966-9F04-90D5-00A28B9892CC}"/>
              </a:ext>
            </a:extLst>
          </p:cNvPr>
          <p:cNvSpPr txBox="1"/>
          <p:nvPr/>
        </p:nvSpPr>
        <p:spPr>
          <a:xfrm>
            <a:off x="2540120" y="2464591"/>
            <a:ext cx="222180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crew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5" name="object 1955">
            <a:extLst>
              <a:ext uri="{FF2B5EF4-FFF2-40B4-BE49-F238E27FC236}">
                <a16:creationId xmlns:a16="http://schemas.microsoft.com/office/drawing/2014/main" id="{434FC806-66C5-447F-2B25-76AD1FC759F3}"/>
              </a:ext>
            </a:extLst>
          </p:cNvPr>
          <p:cNvSpPr txBox="1"/>
          <p:nvPr/>
        </p:nvSpPr>
        <p:spPr>
          <a:xfrm>
            <a:off x="3359898" y="943532"/>
            <a:ext cx="40277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,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ais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6" name="object 1956">
            <a:extLst>
              <a:ext uri="{FF2B5EF4-FFF2-40B4-BE49-F238E27FC236}">
                <a16:creationId xmlns:a16="http://schemas.microsoft.com/office/drawing/2014/main" id="{30B50F31-C8B5-0622-DF70-8E0DD027486C}"/>
              </a:ext>
            </a:extLst>
          </p:cNvPr>
          <p:cNvSpPr txBox="1"/>
          <p:nvPr/>
        </p:nvSpPr>
        <p:spPr>
          <a:xfrm>
            <a:off x="4186964" y="943267"/>
            <a:ext cx="33231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7" name="object 1957">
            <a:extLst>
              <a:ext uri="{FF2B5EF4-FFF2-40B4-BE49-F238E27FC236}">
                <a16:creationId xmlns:a16="http://schemas.microsoft.com/office/drawing/2014/main" id="{3565A60D-F91D-7332-8F3F-DF71AF9960C2}"/>
              </a:ext>
            </a:extLst>
          </p:cNvPr>
          <p:cNvSpPr txBox="1"/>
          <p:nvPr/>
        </p:nvSpPr>
        <p:spPr>
          <a:xfrm>
            <a:off x="3359761" y="1703481"/>
            <a:ext cx="33809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8" name="object 1958">
            <a:extLst>
              <a:ext uri="{FF2B5EF4-FFF2-40B4-BE49-F238E27FC236}">
                <a16:creationId xmlns:a16="http://schemas.microsoft.com/office/drawing/2014/main" id="{2C2332AA-553A-A42D-6848-43DE817AF0DE}"/>
              </a:ext>
            </a:extLst>
          </p:cNvPr>
          <p:cNvSpPr txBox="1"/>
          <p:nvPr/>
        </p:nvSpPr>
        <p:spPr>
          <a:xfrm>
            <a:off x="4186964" y="1703710"/>
            <a:ext cx="42395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9" name="object 1959">
            <a:extLst>
              <a:ext uri="{FF2B5EF4-FFF2-40B4-BE49-F238E27FC236}">
                <a16:creationId xmlns:a16="http://schemas.microsoft.com/office/drawing/2014/main" id="{4A7ABBA3-94F4-1A03-5965-A5196EBEF598}"/>
              </a:ext>
            </a:extLst>
          </p:cNvPr>
          <p:cNvSpPr txBox="1"/>
          <p:nvPr/>
        </p:nvSpPr>
        <p:spPr>
          <a:xfrm>
            <a:off x="3359761" y="2459708"/>
            <a:ext cx="419718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errain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t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0" name="object 1960">
            <a:extLst>
              <a:ext uri="{FF2B5EF4-FFF2-40B4-BE49-F238E27FC236}">
                <a16:creationId xmlns:a16="http://schemas.microsoft.com/office/drawing/2014/main" id="{0EF44B8A-32B9-56C0-5836-F969AD09879B}"/>
              </a:ext>
            </a:extLst>
          </p:cNvPr>
          <p:cNvSpPr txBox="1"/>
          <p:nvPr/>
        </p:nvSpPr>
        <p:spPr>
          <a:xfrm>
            <a:off x="3359761" y="3237744"/>
            <a:ext cx="399309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1" name="object 1961">
            <a:extLst>
              <a:ext uri="{FF2B5EF4-FFF2-40B4-BE49-F238E27FC236}">
                <a16:creationId xmlns:a16="http://schemas.microsoft.com/office/drawing/2014/main" id="{B0D531F8-B2E8-F07F-BBDE-6E26FF682D14}"/>
              </a:ext>
            </a:extLst>
          </p:cNvPr>
          <p:cNvSpPr txBox="1"/>
          <p:nvPr/>
        </p:nvSpPr>
        <p:spPr>
          <a:xfrm>
            <a:off x="4184248" y="2464774"/>
            <a:ext cx="54679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-beam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nd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4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2" name="object 1962">
            <a:extLst>
              <a:ext uri="{FF2B5EF4-FFF2-40B4-BE49-F238E27FC236}">
                <a16:creationId xmlns:a16="http://schemas.microsoft.com/office/drawing/2014/main" id="{7E6A3B3F-77F7-2263-94F9-183062713FF2}"/>
              </a:ext>
            </a:extLst>
          </p:cNvPr>
          <p:cNvSpPr txBox="1"/>
          <p:nvPr/>
        </p:nvSpPr>
        <p:spPr>
          <a:xfrm>
            <a:off x="5828211" y="942956"/>
            <a:ext cx="44205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3" name="object 1963">
            <a:extLst>
              <a:ext uri="{FF2B5EF4-FFF2-40B4-BE49-F238E27FC236}">
                <a16:creationId xmlns:a16="http://schemas.microsoft.com/office/drawing/2014/main" id="{14D15BF7-06C0-E9B1-03CF-FBE91C3BF3D7}"/>
              </a:ext>
            </a:extLst>
          </p:cNvPr>
          <p:cNvSpPr txBox="1"/>
          <p:nvPr/>
        </p:nvSpPr>
        <p:spPr>
          <a:xfrm>
            <a:off x="5828211" y="1702283"/>
            <a:ext cx="45014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 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4" name="object 1964">
            <a:extLst>
              <a:ext uri="{FF2B5EF4-FFF2-40B4-BE49-F238E27FC236}">
                <a16:creationId xmlns:a16="http://schemas.microsoft.com/office/drawing/2014/main" id="{DC38B6F6-F090-2404-9389-B48B89B441E4}"/>
              </a:ext>
            </a:extLst>
          </p:cNvPr>
          <p:cNvSpPr txBox="1"/>
          <p:nvPr/>
        </p:nvSpPr>
        <p:spPr>
          <a:xfrm>
            <a:off x="5822469" y="2466767"/>
            <a:ext cx="510207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SB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5" name="object 1965">
            <a:extLst>
              <a:ext uri="{FF2B5EF4-FFF2-40B4-BE49-F238E27FC236}">
                <a16:creationId xmlns:a16="http://schemas.microsoft.com/office/drawing/2014/main" id="{A4A44D54-8502-837D-567E-A60A26A53A54}"/>
              </a:ext>
            </a:extLst>
          </p:cNvPr>
          <p:cNvSpPr txBox="1"/>
          <p:nvPr/>
        </p:nvSpPr>
        <p:spPr>
          <a:xfrm>
            <a:off x="5832070" y="4003654"/>
            <a:ext cx="22564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3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,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60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m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6" name="object 1966">
            <a:extLst>
              <a:ext uri="{FF2B5EF4-FFF2-40B4-BE49-F238E27FC236}">
                <a16:creationId xmlns:a16="http://schemas.microsoft.com/office/drawing/2014/main" id="{35BCE1C2-831B-9C95-01BC-DFCA90D2CF1E}"/>
              </a:ext>
            </a:extLst>
          </p:cNvPr>
          <p:cNvSpPr txBox="1"/>
          <p:nvPr/>
        </p:nvSpPr>
        <p:spPr>
          <a:xfrm>
            <a:off x="5830964" y="3233126"/>
            <a:ext cx="45014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1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 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7" name="object 1967">
            <a:extLst>
              <a:ext uri="{FF2B5EF4-FFF2-40B4-BE49-F238E27FC236}">
                <a16:creationId xmlns:a16="http://schemas.microsoft.com/office/drawing/2014/main" id="{5CE35C25-990C-9A32-392B-A1DAFEF513AA}"/>
              </a:ext>
            </a:extLst>
          </p:cNvPr>
          <p:cNvSpPr txBox="1"/>
          <p:nvPr/>
        </p:nvSpPr>
        <p:spPr>
          <a:xfrm>
            <a:off x="6644204" y="942956"/>
            <a:ext cx="33770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isible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am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8" name="object 1968">
            <a:extLst>
              <a:ext uri="{FF2B5EF4-FFF2-40B4-BE49-F238E27FC236}">
                <a16:creationId xmlns:a16="http://schemas.microsoft.com/office/drawing/2014/main" id="{A5B164AF-7A5F-DE32-EEC7-AEDB726E56C0}"/>
              </a:ext>
            </a:extLst>
          </p:cNvPr>
          <p:cNvSpPr txBox="1"/>
          <p:nvPr/>
        </p:nvSpPr>
        <p:spPr>
          <a:xfrm>
            <a:off x="6644204" y="1702283"/>
            <a:ext cx="40470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isible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ula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am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9" name="object 1969">
            <a:extLst>
              <a:ext uri="{FF2B5EF4-FFF2-40B4-BE49-F238E27FC236}">
                <a16:creationId xmlns:a16="http://schemas.microsoft.com/office/drawing/2014/main" id="{AF971EBA-4505-1A73-1860-2E4AF1E05BA8}"/>
              </a:ext>
            </a:extLst>
          </p:cNvPr>
          <p:cNvSpPr txBox="1"/>
          <p:nvPr/>
        </p:nvSpPr>
        <p:spPr>
          <a:xfrm>
            <a:off x="6638470" y="2466767"/>
            <a:ext cx="33770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ili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0" name="object 1970">
            <a:extLst>
              <a:ext uri="{FF2B5EF4-FFF2-40B4-BE49-F238E27FC236}">
                <a16:creationId xmlns:a16="http://schemas.microsoft.com/office/drawing/2014/main" id="{CE24B813-9951-CE0E-B2DA-3C1B9700E395}"/>
              </a:ext>
            </a:extLst>
          </p:cNvPr>
          <p:cNvSpPr txBox="1"/>
          <p:nvPr/>
        </p:nvSpPr>
        <p:spPr>
          <a:xfrm>
            <a:off x="6646965" y="3233126"/>
            <a:ext cx="177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1" name="object 1971">
            <a:extLst>
              <a:ext uri="{FF2B5EF4-FFF2-40B4-BE49-F238E27FC236}">
                <a16:creationId xmlns:a16="http://schemas.microsoft.com/office/drawing/2014/main" id="{4BE8E8D1-06AA-2C78-CF97-8A5B959F3D69}"/>
              </a:ext>
            </a:extLst>
          </p:cNvPr>
          <p:cNvSpPr txBox="1"/>
          <p:nvPr/>
        </p:nvSpPr>
        <p:spPr>
          <a:xfrm>
            <a:off x="5823539" y="4766630"/>
            <a:ext cx="442057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 frame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2" name="object 1972">
            <a:extLst>
              <a:ext uri="{FF2B5EF4-FFF2-40B4-BE49-F238E27FC236}">
                <a16:creationId xmlns:a16="http://schemas.microsoft.com/office/drawing/2014/main" id="{73DE5414-7A2F-22C7-0E7C-511A15130504}"/>
              </a:ext>
            </a:extLst>
          </p:cNvPr>
          <p:cNvSpPr txBox="1"/>
          <p:nvPr/>
        </p:nvSpPr>
        <p:spPr>
          <a:xfrm>
            <a:off x="8291056" y="942956"/>
            <a:ext cx="30188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sphalt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</a:t>
            </a:r>
            <a:r>
              <a:rPr lang="en-US" sz="334" b="0" i="0" u="none" strike="noStrike" kern="1200" cap="none" spc="6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3" name="object 1973">
            <a:extLst>
              <a:ext uri="{FF2B5EF4-FFF2-40B4-BE49-F238E27FC236}">
                <a16:creationId xmlns:a16="http://schemas.microsoft.com/office/drawing/2014/main" id="{6CFD02BD-C4E6-BEC4-4025-F8330FE22333}"/>
              </a:ext>
            </a:extLst>
          </p:cNvPr>
          <p:cNvSpPr txBox="1"/>
          <p:nvPr/>
        </p:nvSpPr>
        <p:spPr>
          <a:xfrm>
            <a:off x="8291056" y="1702283"/>
            <a:ext cx="33115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plates,</a:t>
            </a:r>
            <a:r>
              <a:rPr lang="en-US" sz="334" b="0" i="0" u="none" strike="noStrike" kern="1200" cap="none" spc="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inu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4" name="object 1974">
            <a:extLst>
              <a:ext uri="{FF2B5EF4-FFF2-40B4-BE49-F238E27FC236}">
                <a16:creationId xmlns:a16="http://schemas.microsoft.com/office/drawing/2014/main" id="{EB9E86DD-8287-057E-AF34-8FC41C2D9DD0}"/>
              </a:ext>
            </a:extLst>
          </p:cNvPr>
          <p:cNvSpPr txBox="1"/>
          <p:nvPr/>
        </p:nvSpPr>
        <p:spPr>
          <a:xfrm>
            <a:off x="8285323" y="2466767"/>
            <a:ext cx="186373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f t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5" name="object 1975">
            <a:extLst>
              <a:ext uri="{FF2B5EF4-FFF2-40B4-BE49-F238E27FC236}">
                <a16:creationId xmlns:a16="http://schemas.microsoft.com/office/drawing/2014/main" id="{A5FD2DDC-6042-B4CD-8849-74B32A156CD9}"/>
              </a:ext>
            </a:extLst>
          </p:cNvPr>
          <p:cNvSpPr txBox="1"/>
          <p:nvPr/>
        </p:nvSpPr>
        <p:spPr>
          <a:xfrm>
            <a:off x="8294915" y="4003654"/>
            <a:ext cx="45668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sphalt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</a:t>
            </a:r>
            <a:r>
              <a:rPr lang="en-US" sz="334" b="0" i="0" u="none" strike="noStrike" kern="1200" cap="none" spc="5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6" name="object 1976">
            <a:extLst>
              <a:ext uri="{FF2B5EF4-FFF2-40B4-BE49-F238E27FC236}">
                <a16:creationId xmlns:a16="http://schemas.microsoft.com/office/drawing/2014/main" id="{8914252B-F313-41F2-8659-CFA62FAB473C}"/>
              </a:ext>
            </a:extLst>
          </p:cNvPr>
          <p:cNvSpPr txBox="1"/>
          <p:nvPr/>
        </p:nvSpPr>
        <p:spPr>
          <a:xfrm>
            <a:off x="8293809" y="3233126"/>
            <a:ext cx="105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7" name="object 1977">
            <a:extLst>
              <a:ext uri="{FF2B5EF4-FFF2-40B4-BE49-F238E27FC236}">
                <a16:creationId xmlns:a16="http://schemas.microsoft.com/office/drawing/2014/main" id="{7E9BD18A-742B-CD40-9DC3-4A7844F24BD9}"/>
              </a:ext>
            </a:extLst>
          </p:cNvPr>
          <p:cNvSpPr txBox="1"/>
          <p:nvPr/>
        </p:nvSpPr>
        <p:spPr>
          <a:xfrm>
            <a:off x="8286429" y="4766630"/>
            <a:ext cx="35233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8" name="object 1978">
            <a:extLst>
              <a:ext uri="{FF2B5EF4-FFF2-40B4-BE49-F238E27FC236}">
                <a16:creationId xmlns:a16="http://schemas.microsoft.com/office/drawing/2014/main" id="{D4736C10-C608-C3A4-89B9-A726A3F607E5}"/>
              </a:ext>
            </a:extLst>
          </p:cNvPr>
          <p:cNvSpPr txBox="1"/>
          <p:nvPr/>
        </p:nvSpPr>
        <p:spPr>
          <a:xfrm>
            <a:off x="5827315" y="5538365"/>
            <a:ext cx="33307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erated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9" name="object 1979">
            <a:extLst>
              <a:ext uri="{FF2B5EF4-FFF2-40B4-BE49-F238E27FC236}">
                <a16:creationId xmlns:a16="http://schemas.microsoft.com/office/drawing/2014/main" id="{2FC5750D-849B-4982-0808-6DEB9BF96FE3}"/>
              </a:ext>
            </a:extLst>
          </p:cNvPr>
          <p:cNvSpPr txBox="1"/>
          <p:nvPr/>
        </p:nvSpPr>
        <p:spPr>
          <a:xfrm>
            <a:off x="7474653" y="945270"/>
            <a:ext cx="562575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0" name="object 1980">
            <a:extLst>
              <a:ext uri="{FF2B5EF4-FFF2-40B4-BE49-F238E27FC236}">
                <a16:creationId xmlns:a16="http://schemas.microsoft.com/office/drawing/2014/main" id="{0FE3DFD0-BD73-8415-E0F8-0DC7D4B14508}"/>
              </a:ext>
            </a:extLst>
          </p:cNvPr>
          <p:cNvSpPr txBox="1"/>
          <p:nvPr/>
        </p:nvSpPr>
        <p:spPr>
          <a:xfrm>
            <a:off x="9115854" y="945928"/>
            <a:ext cx="527535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/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1" name="object 1981">
            <a:extLst>
              <a:ext uri="{FF2B5EF4-FFF2-40B4-BE49-F238E27FC236}">
                <a16:creationId xmlns:a16="http://schemas.microsoft.com/office/drawing/2014/main" id="{51AA1612-D7B5-F655-915A-D698E8DEF2AE}"/>
              </a:ext>
            </a:extLst>
          </p:cNvPr>
          <p:cNvSpPr txBox="1"/>
          <p:nvPr/>
        </p:nvSpPr>
        <p:spPr>
          <a:xfrm>
            <a:off x="9116165" y="4006900"/>
            <a:ext cx="53716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GL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5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2" name="object 1982">
            <a:extLst>
              <a:ext uri="{FF2B5EF4-FFF2-40B4-BE49-F238E27FC236}">
                <a16:creationId xmlns:a16="http://schemas.microsoft.com/office/drawing/2014/main" id="{E72C2E90-2CED-C885-5841-350FAB771D00}"/>
              </a:ext>
            </a:extLst>
          </p:cNvPr>
          <p:cNvSpPr txBox="1"/>
          <p:nvPr/>
        </p:nvSpPr>
        <p:spPr>
          <a:xfrm>
            <a:off x="9934078" y="945974"/>
            <a:ext cx="17751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hin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il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3" name="object 1983">
            <a:extLst>
              <a:ext uri="{FF2B5EF4-FFF2-40B4-BE49-F238E27FC236}">
                <a16:creationId xmlns:a16="http://schemas.microsoft.com/office/drawing/2014/main" id="{E3A31334-194E-3C1C-AA00-457EAD82064B}"/>
              </a:ext>
            </a:extLst>
          </p:cNvPr>
          <p:cNvSpPr txBox="1"/>
          <p:nvPr/>
        </p:nvSpPr>
        <p:spPr>
          <a:xfrm>
            <a:off x="9937232" y="4017745"/>
            <a:ext cx="359651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atural</a:t>
            </a:r>
            <a:r>
              <a:rPr lang="en-US" sz="334" b="0" i="0" u="none" strike="noStrike" kern="1200" cap="none" spc="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4" name="object 1984">
            <a:extLst>
              <a:ext uri="{FF2B5EF4-FFF2-40B4-BE49-F238E27FC236}">
                <a16:creationId xmlns:a16="http://schemas.microsoft.com/office/drawing/2014/main" id="{56233676-3AF7-1C43-6A44-63DFA53FF89E}"/>
              </a:ext>
            </a:extLst>
          </p:cNvPr>
          <p:cNvSpPr txBox="1"/>
          <p:nvPr/>
        </p:nvSpPr>
        <p:spPr>
          <a:xfrm>
            <a:off x="7478786" y="1704862"/>
            <a:ext cx="3438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5" name="object 1985">
            <a:extLst>
              <a:ext uri="{FF2B5EF4-FFF2-40B4-BE49-F238E27FC236}">
                <a16:creationId xmlns:a16="http://schemas.microsoft.com/office/drawing/2014/main" id="{9C3E34A3-6ED0-0D11-3FB7-698214BF2ABC}"/>
              </a:ext>
            </a:extLst>
          </p:cNvPr>
          <p:cNvSpPr txBox="1"/>
          <p:nvPr/>
        </p:nvSpPr>
        <p:spPr>
          <a:xfrm>
            <a:off x="7480834" y="2465707"/>
            <a:ext cx="38429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rred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structio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ed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ttic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6" name="object 1986">
            <a:extLst>
              <a:ext uri="{FF2B5EF4-FFF2-40B4-BE49-F238E27FC236}">
                <a16:creationId xmlns:a16="http://schemas.microsoft.com/office/drawing/2014/main" id="{F97BBBB8-A147-D3EA-F6C6-56FE42BBB90E}"/>
              </a:ext>
            </a:extLst>
          </p:cNvPr>
          <p:cNvSpPr txBox="1"/>
          <p:nvPr/>
        </p:nvSpPr>
        <p:spPr>
          <a:xfrm>
            <a:off x="9115854" y="1702813"/>
            <a:ext cx="44205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/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7" name="object 1987">
            <a:extLst>
              <a:ext uri="{FF2B5EF4-FFF2-40B4-BE49-F238E27FC236}">
                <a16:creationId xmlns:a16="http://schemas.microsoft.com/office/drawing/2014/main" id="{972331FF-EFF7-5B41-6902-253451721D37}"/>
              </a:ext>
            </a:extLst>
          </p:cNvPr>
          <p:cNvSpPr txBox="1"/>
          <p:nvPr/>
        </p:nvSpPr>
        <p:spPr>
          <a:xfrm>
            <a:off x="9116211" y="4763923"/>
            <a:ext cx="46438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GU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,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U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8" name="object 1988">
            <a:extLst>
              <a:ext uri="{FF2B5EF4-FFF2-40B4-BE49-F238E27FC236}">
                <a16:creationId xmlns:a16="http://schemas.microsoft.com/office/drawing/2014/main" id="{4025061E-EC4D-BF13-DA5C-643263776597}"/>
              </a:ext>
            </a:extLst>
          </p:cNvPr>
          <p:cNvSpPr txBox="1"/>
          <p:nvPr/>
        </p:nvSpPr>
        <p:spPr>
          <a:xfrm>
            <a:off x="9117006" y="2466420"/>
            <a:ext cx="3877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9" name="object 1989">
            <a:extLst>
              <a:ext uri="{FF2B5EF4-FFF2-40B4-BE49-F238E27FC236}">
                <a16:creationId xmlns:a16="http://schemas.microsoft.com/office/drawing/2014/main" id="{9EF4BE9C-5400-EAE6-873C-C2E3AABBF895}"/>
              </a:ext>
            </a:extLst>
          </p:cNvPr>
          <p:cNvSpPr txBox="1"/>
          <p:nvPr/>
        </p:nvSpPr>
        <p:spPr>
          <a:xfrm>
            <a:off x="9116211" y="5527648"/>
            <a:ext cx="33539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odular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kylight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0" name="object 1990">
            <a:extLst>
              <a:ext uri="{FF2B5EF4-FFF2-40B4-BE49-F238E27FC236}">
                <a16:creationId xmlns:a16="http://schemas.microsoft.com/office/drawing/2014/main" id="{65509C21-F473-0A4E-7F8F-CE2FECFA12E7}"/>
              </a:ext>
            </a:extLst>
          </p:cNvPr>
          <p:cNvSpPr txBox="1"/>
          <p:nvPr/>
        </p:nvSpPr>
        <p:spPr>
          <a:xfrm>
            <a:off x="9934123" y="1703618"/>
            <a:ext cx="35310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fficien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solar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o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First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ola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1" name="object 1991">
            <a:extLst>
              <a:ext uri="{FF2B5EF4-FFF2-40B4-BE49-F238E27FC236}">
                <a16:creationId xmlns:a16="http://schemas.microsoft.com/office/drawing/2014/main" id="{7E28A1DC-736F-8F25-BA79-C0833BCE7210}"/>
              </a:ext>
            </a:extLst>
          </p:cNvPr>
          <p:cNvSpPr txBox="1"/>
          <p:nvPr/>
        </p:nvSpPr>
        <p:spPr>
          <a:xfrm>
            <a:off x="9937278" y="4777566"/>
            <a:ext cx="43474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echanical</a:t>
            </a:r>
            <a:r>
              <a:rPr lang="en-US" sz="334" b="0" i="0" u="none" strike="noStrike" kern="1200" cap="none" spc="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2" name="object 1992">
            <a:extLst>
              <a:ext uri="{FF2B5EF4-FFF2-40B4-BE49-F238E27FC236}">
                <a16:creationId xmlns:a16="http://schemas.microsoft.com/office/drawing/2014/main" id="{F4952D9E-7098-5639-EC32-BA2A0AFB6278}"/>
              </a:ext>
            </a:extLst>
          </p:cNvPr>
          <p:cNvSpPr txBox="1"/>
          <p:nvPr/>
        </p:nvSpPr>
        <p:spPr>
          <a:xfrm>
            <a:off x="9934123" y="2465524"/>
            <a:ext cx="393923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ighly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fficient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olar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s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om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unpow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3" name="object 1993">
            <a:extLst>
              <a:ext uri="{FF2B5EF4-FFF2-40B4-BE49-F238E27FC236}">
                <a16:creationId xmlns:a16="http://schemas.microsoft.com/office/drawing/2014/main" id="{FD96DAC2-88E2-4E6D-DC3A-485E9CE63476}"/>
              </a:ext>
            </a:extLst>
          </p:cNvPr>
          <p:cNvSpPr txBox="1"/>
          <p:nvPr/>
        </p:nvSpPr>
        <p:spPr>
          <a:xfrm>
            <a:off x="9117811" y="3237972"/>
            <a:ext cx="351175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VC</a:t>
            </a:r>
            <a:r>
              <a:rPr lang="en-US" sz="334" b="0" i="0" u="none" strike="noStrike" kern="1200" cap="none" spc="-3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4" name="object 1994">
            <a:extLst>
              <a:ext uri="{FF2B5EF4-FFF2-40B4-BE49-F238E27FC236}">
                <a16:creationId xmlns:a16="http://schemas.microsoft.com/office/drawing/2014/main" id="{AB291D84-B070-B919-39A7-F4490A94700B}"/>
              </a:ext>
            </a:extLst>
          </p:cNvPr>
          <p:cNvSpPr txBox="1"/>
          <p:nvPr/>
        </p:nvSpPr>
        <p:spPr>
          <a:xfrm>
            <a:off x="3359807" y="3997921"/>
            <a:ext cx="50597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utureCem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5" name="object 1995">
            <a:extLst>
              <a:ext uri="{FF2B5EF4-FFF2-40B4-BE49-F238E27FC236}">
                <a16:creationId xmlns:a16="http://schemas.microsoft.com/office/drawing/2014/main" id="{70AAA2F9-9038-9182-C807-ABAC7D07B123}"/>
              </a:ext>
            </a:extLst>
          </p:cNvPr>
          <p:cNvSpPr txBox="1"/>
          <p:nvPr/>
        </p:nvSpPr>
        <p:spPr>
          <a:xfrm>
            <a:off x="3359807" y="4764673"/>
            <a:ext cx="601089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deck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Future-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errai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bat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6" name="object 1996">
            <a:extLst>
              <a:ext uri="{FF2B5EF4-FFF2-40B4-BE49-F238E27FC236}">
                <a16:creationId xmlns:a16="http://schemas.microsoft.com/office/drawing/2014/main" id="{DCF7FD3C-01B6-15D1-69DF-D14EE50A31B6}"/>
              </a:ext>
            </a:extLst>
          </p:cNvPr>
          <p:cNvSpPr txBox="1"/>
          <p:nvPr/>
        </p:nvSpPr>
        <p:spPr>
          <a:xfrm>
            <a:off x="4181139" y="3238365"/>
            <a:ext cx="33231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mpcre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7" name="object 1997">
            <a:extLst>
              <a:ext uri="{FF2B5EF4-FFF2-40B4-BE49-F238E27FC236}">
                <a16:creationId xmlns:a16="http://schemas.microsoft.com/office/drawing/2014/main" id="{7B4B401E-6359-965A-339E-C835F04A85E9}"/>
              </a:ext>
            </a:extLst>
          </p:cNvPr>
          <p:cNvSpPr txBox="1"/>
          <p:nvPr/>
        </p:nvSpPr>
        <p:spPr>
          <a:xfrm>
            <a:off x="4181139" y="3998497"/>
            <a:ext cx="3438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8" name="object 1998">
            <a:extLst>
              <a:ext uri="{FF2B5EF4-FFF2-40B4-BE49-F238E27FC236}">
                <a16:creationId xmlns:a16="http://schemas.microsoft.com/office/drawing/2014/main" id="{FDAE3E03-C3B5-0C71-B53E-73E77621B363}"/>
              </a:ext>
            </a:extLst>
          </p:cNvPr>
          <p:cNvSpPr txBox="1"/>
          <p:nvPr/>
        </p:nvSpPr>
        <p:spPr>
          <a:xfrm>
            <a:off x="4181139" y="4765249"/>
            <a:ext cx="483260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ck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all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9" name="object 1999">
            <a:extLst>
              <a:ext uri="{FF2B5EF4-FFF2-40B4-BE49-F238E27FC236}">
                <a16:creationId xmlns:a16="http://schemas.microsoft.com/office/drawing/2014/main" id="{19F60702-86CF-BF37-BA1F-68C2A5729CBF}"/>
              </a:ext>
            </a:extLst>
          </p:cNvPr>
          <p:cNvSpPr txBox="1"/>
          <p:nvPr/>
        </p:nvSpPr>
        <p:spPr>
          <a:xfrm>
            <a:off x="4181139" y="5532979"/>
            <a:ext cx="294958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lock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ri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0" name="object 2000">
            <a:extLst>
              <a:ext uri="{FF2B5EF4-FFF2-40B4-BE49-F238E27FC236}">
                <a16:creationId xmlns:a16="http://schemas.microsoft.com/office/drawing/2014/main" id="{05A098AC-11CE-981E-CEA8-636F5EC45758}"/>
              </a:ext>
            </a:extLst>
          </p:cNvPr>
          <p:cNvSpPr txBox="1"/>
          <p:nvPr/>
        </p:nvSpPr>
        <p:spPr>
          <a:xfrm>
            <a:off x="5005315" y="943359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1" name="object 2001">
            <a:extLst>
              <a:ext uri="{FF2B5EF4-FFF2-40B4-BE49-F238E27FC236}">
                <a16:creationId xmlns:a16="http://schemas.microsoft.com/office/drawing/2014/main" id="{773A9C77-9419-84AF-D29F-17A6242EAEE3}"/>
              </a:ext>
            </a:extLst>
          </p:cNvPr>
          <p:cNvSpPr txBox="1"/>
          <p:nvPr/>
        </p:nvSpPr>
        <p:spPr>
          <a:xfrm>
            <a:off x="5005315" y="1703792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2" name="object 2002">
            <a:extLst>
              <a:ext uri="{FF2B5EF4-FFF2-40B4-BE49-F238E27FC236}">
                <a16:creationId xmlns:a16="http://schemas.microsoft.com/office/drawing/2014/main" id="{EDFB2BD2-D1A0-9B64-371E-6F5350E3B26B}"/>
              </a:ext>
            </a:extLst>
          </p:cNvPr>
          <p:cNvSpPr txBox="1"/>
          <p:nvPr/>
        </p:nvSpPr>
        <p:spPr>
          <a:xfrm>
            <a:off x="5002654" y="2464856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ain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3" name="object 2003">
            <a:extLst>
              <a:ext uri="{FF2B5EF4-FFF2-40B4-BE49-F238E27FC236}">
                <a16:creationId xmlns:a16="http://schemas.microsoft.com/office/drawing/2014/main" id="{684C46F9-0565-729F-C722-30593939B60C}"/>
              </a:ext>
            </a:extLst>
          </p:cNvPr>
          <p:cNvSpPr txBox="1"/>
          <p:nvPr/>
        </p:nvSpPr>
        <p:spPr>
          <a:xfrm>
            <a:off x="4999454" y="3238365"/>
            <a:ext cx="354640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l-NL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inus</a:t>
            </a:r>
            <a:r>
              <a:rPr lang="nl-NL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te,</a:t>
            </a:r>
            <a:r>
              <a:rPr lang="nl-NL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</a:t>
            </a:r>
            <a:endParaRPr lang="nl-NL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l-NL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nl-NL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zinc</a:t>
            </a:r>
            <a:r>
              <a:rPr lang="nl-NL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agnesium</a:t>
            </a:r>
            <a:endParaRPr lang="nl-NL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4" name="object 2004">
            <a:extLst>
              <a:ext uri="{FF2B5EF4-FFF2-40B4-BE49-F238E27FC236}">
                <a16:creationId xmlns:a16="http://schemas.microsoft.com/office/drawing/2014/main" id="{8DB5AB40-0CD4-41D0-E3EA-A8317F18A692}"/>
              </a:ext>
            </a:extLst>
          </p:cNvPr>
          <p:cNvSpPr txBox="1"/>
          <p:nvPr/>
        </p:nvSpPr>
        <p:spPr>
          <a:xfrm>
            <a:off x="4999454" y="3998497"/>
            <a:ext cx="230273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acad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5" name="object 2005">
            <a:extLst>
              <a:ext uri="{FF2B5EF4-FFF2-40B4-BE49-F238E27FC236}">
                <a16:creationId xmlns:a16="http://schemas.microsoft.com/office/drawing/2014/main" id="{9DB5A584-514E-ADDC-13A9-30D1F2C32D6D}"/>
              </a:ext>
            </a:extLst>
          </p:cNvPr>
          <p:cNvSpPr txBox="1"/>
          <p:nvPr/>
        </p:nvSpPr>
        <p:spPr>
          <a:xfrm>
            <a:off x="4999454" y="4765249"/>
            <a:ext cx="105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6" name="object 2006">
            <a:extLst>
              <a:ext uri="{FF2B5EF4-FFF2-40B4-BE49-F238E27FC236}">
                <a16:creationId xmlns:a16="http://schemas.microsoft.com/office/drawing/2014/main" id="{B91B262A-9E26-1773-8D71-D9EE3691ACF5}"/>
              </a:ext>
            </a:extLst>
          </p:cNvPr>
          <p:cNvSpPr txBox="1"/>
          <p:nvPr/>
        </p:nvSpPr>
        <p:spPr>
          <a:xfrm>
            <a:off x="4999454" y="5532979"/>
            <a:ext cx="25838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iber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cement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7" name="object 2007">
            <a:extLst>
              <a:ext uri="{FF2B5EF4-FFF2-40B4-BE49-F238E27FC236}">
                <a16:creationId xmlns:a16="http://schemas.microsoft.com/office/drawing/2014/main" id="{E551F0A3-0579-FEBE-CE30-56B78523BBF7}"/>
              </a:ext>
            </a:extLst>
          </p:cNvPr>
          <p:cNvSpPr txBox="1"/>
          <p:nvPr/>
        </p:nvSpPr>
        <p:spPr>
          <a:xfrm>
            <a:off x="8285369" y="5532979"/>
            <a:ext cx="35233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grpSp>
        <p:nvGrpSpPr>
          <p:cNvPr id="2008" name="object 2008">
            <a:extLst>
              <a:ext uri="{FF2B5EF4-FFF2-40B4-BE49-F238E27FC236}">
                <a16:creationId xmlns:a16="http://schemas.microsoft.com/office/drawing/2014/main" id="{A71BFD09-15B9-2399-184F-D3681BF10817}"/>
              </a:ext>
            </a:extLst>
          </p:cNvPr>
          <p:cNvGrpSpPr/>
          <p:nvPr/>
        </p:nvGrpSpPr>
        <p:grpSpPr>
          <a:xfrm>
            <a:off x="2547280" y="552498"/>
            <a:ext cx="7746129" cy="5716500"/>
            <a:chOff x="2547280" y="552498"/>
            <a:chExt cx="7746129" cy="5716500"/>
          </a:xfrm>
        </p:grpSpPr>
        <p:sp>
          <p:nvSpPr>
            <p:cNvPr id="2009" name="object 2009">
              <a:extLst>
                <a:ext uri="{FF2B5EF4-FFF2-40B4-BE49-F238E27FC236}">
                  <a16:creationId xmlns:a16="http://schemas.microsoft.com/office/drawing/2014/main" id="{71392DFF-A57C-F791-4F90-19FD32EB6B76}"/>
                </a:ext>
              </a:extLst>
            </p:cNvPr>
            <p:cNvSpPr/>
            <p:nvPr/>
          </p:nvSpPr>
          <p:spPr>
            <a:xfrm>
              <a:off x="3729261" y="735762"/>
              <a:ext cx="442441" cy="76858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29615"/>
                <a:gd name="f4" fmla="val 1267460"/>
                <a:gd name="f5" fmla="val 192559"/>
                <a:gd name="f6" fmla="val 1507"/>
                <a:gd name="f7" fmla="val 237608"/>
                <a:gd name="f8" fmla="val 6696"/>
                <a:gd name="f9" fmla="val 278962"/>
                <a:gd name="f10" fmla="val 21475"/>
                <a:gd name="f11" fmla="val 315440"/>
                <a:gd name="f12" fmla="val 44667"/>
                <a:gd name="f13" fmla="val 345865"/>
                <a:gd name="f14" fmla="val 75091"/>
                <a:gd name="f15" fmla="val 369056"/>
                <a:gd name="f16" fmla="val 111570"/>
                <a:gd name="f17" fmla="val 383836"/>
                <a:gd name="f18" fmla="val 152923"/>
                <a:gd name="f19" fmla="val 389024"/>
                <a:gd name="f20" fmla="val 197973"/>
                <a:gd name="f21" fmla="val 996472"/>
                <a:gd name="f22" fmla="val 1070836"/>
                <a:gd name="f23" fmla="val 394213"/>
                <a:gd name="f24" fmla="val 1115882"/>
                <a:gd name="f25" fmla="val 408992"/>
                <a:gd name="f26" fmla="val 1157234"/>
                <a:gd name="f27" fmla="val 432183"/>
                <a:gd name="f28" fmla="val 1193713"/>
                <a:gd name="f29" fmla="val 462606"/>
                <a:gd name="f30" fmla="val 1224138"/>
                <a:gd name="f31" fmla="val 499083"/>
                <a:gd name="f32" fmla="val 1247331"/>
                <a:gd name="f33" fmla="val 540434"/>
                <a:gd name="f34" fmla="val 1262112"/>
                <a:gd name="f35" fmla="val 585479"/>
                <a:gd name="f36" fmla="val 1267301"/>
                <a:gd name="f37" fmla="val 729244"/>
                <a:gd name="f38" fmla="*/ f0 1 729615"/>
                <a:gd name="f39" fmla="*/ f1 1 1267460"/>
                <a:gd name="f40" fmla="+- f4 0 f2"/>
                <a:gd name="f41" fmla="+- f3 0 f2"/>
                <a:gd name="f42" fmla="*/ f41 1 729615"/>
                <a:gd name="f43" fmla="*/ f40 1 126746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29615" h="1267460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0" name="object 2010">
              <a:extLst>
                <a:ext uri="{FF2B5EF4-FFF2-40B4-BE49-F238E27FC236}">
                  <a16:creationId xmlns:a16="http://schemas.microsoft.com/office/drawing/2014/main" id="{9F003405-EBA5-6013-A6BC-0BB34D529AB5}"/>
                </a:ext>
              </a:extLst>
            </p:cNvPr>
            <p:cNvSpPr/>
            <p:nvPr/>
          </p:nvSpPr>
          <p:spPr>
            <a:xfrm>
              <a:off x="5362955" y="735762"/>
              <a:ext cx="465155" cy="230191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3796029"/>
                <a:gd name="f5" fmla="val 209124"/>
                <a:gd name="f6" fmla="val 1507"/>
                <a:gd name="f7" fmla="val 254173"/>
                <a:gd name="f8" fmla="val 6696"/>
                <a:gd name="f9" fmla="val 295527"/>
                <a:gd name="f10" fmla="val 21475"/>
                <a:gd name="f11" fmla="val 332005"/>
                <a:gd name="f12" fmla="val 44667"/>
                <a:gd name="f13" fmla="val 362430"/>
                <a:gd name="f14" fmla="val 75091"/>
                <a:gd name="f15" fmla="val 385621"/>
                <a:gd name="f16" fmla="val 111570"/>
                <a:gd name="f17" fmla="val 400401"/>
                <a:gd name="f18" fmla="val 152923"/>
                <a:gd name="f19" fmla="val 405589"/>
                <a:gd name="f20" fmla="val 197973"/>
                <a:gd name="f21" fmla="val 3524866"/>
                <a:gd name="f22" fmla="val 3599241"/>
                <a:gd name="f23" fmla="val 410778"/>
                <a:gd name="f24" fmla="val 3644286"/>
                <a:gd name="f25" fmla="val 425557"/>
                <a:gd name="f26" fmla="val 3685637"/>
                <a:gd name="f27" fmla="val 448749"/>
                <a:gd name="f28" fmla="val 3722113"/>
                <a:gd name="f29" fmla="val 479173"/>
                <a:gd name="f30" fmla="val 3752537"/>
                <a:gd name="f31" fmla="val 515652"/>
                <a:gd name="f32" fmla="val 3775728"/>
                <a:gd name="f33" fmla="val 557005"/>
                <a:gd name="f34" fmla="val 3790507"/>
                <a:gd name="f35" fmla="val 602054"/>
                <a:gd name="f36" fmla="val 3795695"/>
                <a:gd name="f37" fmla="val 766657"/>
                <a:gd name="f38" fmla="*/ f0 1 767079"/>
                <a:gd name="f39" fmla="*/ f1 1 3796029"/>
                <a:gd name="f40" fmla="+- f4 0 f2"/>
                <a:gd name="f41" fmla="+- f3 0 f2"/>
                <a:gd name="f42" fmla="*/ f41 1 767079"/>
                <a:gd name="f43" fmla="*/ f40 1 3796029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3796029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1" name="object 2011">
              <a:extLst>
                <a:ext uri="{FF2B5EF4-FFF2-40B4-BE49-F238E27FC236}">
                  <a16:creationId xmlns:a16="http://schemas.microsoft.com/office/drawing/2014/main" id="{A2CECDB4-7DE6-CAFB-73FE-C19CBE186F13}"/>
                </a:ext>
              </a:extLst>
            </p:cNvPr>
            <p:cNvSpPr/>
            <p:nvPr/>
          </p:nvSpPr>
          <p:spPr>
            <a:xfrm>
              <a:off x="4544129" y="735762"/>
              <a:ext cx="465155" cy="76858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1267460"/>
                <a:gd name="f5" fmla="val 766667"/>
                <a:gd name="f6" fmla="val 557532"/>
                <a:gd name="f7" fmla="val 1507"/>
                <a:gd name="f8" fmla="val 512487"/>
                <a:gd name="f9" fmla="val 6696"/>
                <a:gd name="f10" fmla="val 471136"/>
                <a:gd name="f11" fmla="val 21475"/>
                <a:gd name="f12" fmla="val 434660"/>
                <a:gd name="f13" fmla="val 44667"/>
                <a:gd name="f14" fmla="val 404236"/>
                <a:gd name="f15" fmla="val 75091"/>
                <a:gd name="f16" fmla="val 381045"/>
                <a:gd name="f17" fmla="val 111570"/>
                <a:gd name="f18" fmla="val 366266"/>
                <a:gd name="f19" fmla="val 152923"/>
                <a:gd name="f20" fmla="val 361078"/>
                <a:gd name="f21" fmla="val 197973"/>
                <a:gd name="f22" fmla="val 996472"/>
                <a:gd name="f23" fmla="val 1070836"/>
                <a:gd name="f24" fmla="val 355888"/>
                <a:gd name="f25" fmla="val 1115882"/>
                <a:gd name="f26" fmla="val 341108"/>
                <a:gd name="f27" fmla="val 1157234"/>
                <a:gd name="f28" fmla="val 317915"/>
                <a:gd name="f29" fmla="val 1193713"/>
                <a:gd name="f30" fmla="val 287489"/>
                <a:gd name="f31" fmla="val 1224138"/>
                <a:gd name="f32" fmla="val 251010"/>
                <a:gd name="f33" fmla="val 1247331"/>
                <a:gd name="f34" fmla="val 209658"/>
                <a:gd name="f35" fmla="val 1262112"/>
                <a:gd name="f36" fmla="val 164612"/>
                <a:gd name="f37" fmla="val 1267301"/>
                <a:gd name="f38" fmla="*/ f0 1 767079"/>
                <a:gd name="f39" fmla="*/ f1 1 1267460"/>
                <a:gd name="f40" fmla="+- f4 0 f2"/>
                <a:gd name="f41" fmla="+- f3 0 f2"/>
                <a:gd name="f42" fmla="*/ f41 1 767079"/>
                <a:gd name="f43" fmla="*/ f40 1 126746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1267460">
                  <a:moveTo>
                    <a:pt x="f5" y="f2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2" y="f37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2" name="object 2012">
              <a:extLst>
                <a:ext uri="{FF2B5EF4-FFF2-40B4-BE49-F238E27FC236}">
                  <a16:creationId xmlns:a16="http://schemas.microsoft.com/office/drawing/2014/main" id="{532CE0FC-6836-EFCE-FAA5-E54E315581FF}"/>
                </a:ext>
              </a:extLst>
            </p:cNvPr>
            <p:cNvSpPr/>
            <p:nvPr/>
          </p:nvSpPr>
          <p:spPr>
            <a:xfrm>
              <a:off x="8889367" y="3821094"/>
              <a:ext cx="216401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16406"/>
                <a:gd name="f5" fmla="val 216272"/>
                <a:gd name="f6" fmla="abs f0"/>
                <a:gd name="f7" fmla="abs f1"/>
                <a:gd name="f8" fmla="abs f2"/>
                <a:gd name="f9" fmla="*/ f0 1 216406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216406"/>
                <a:gd name="f16" fmla="*/ f10 1 0"/>
                <a:gd name="f17" fmla="*/ f12 1 216406"/>
                <a:gd name="f18" fmla="*/ f13 1 21600"/>
                <a:gd name="f19" fmla="*/ 21600 f13 1"/>
                <a:gd name="f20" fmla="*/ 0 1 f15"/>
                <a:gd name="f21" fmla="*/ 216406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216406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3" name="object 2013">
              <a:extLst>
                <a:ext uri="{FF2B5EF4-FFF2-40B4-BE49-F238E27FC236}">
                  <a16:creationId xmlns:a16="http://schemas.microsoft.com/office/drawing/2014/main" id="{B23FEA9C-E9C4-503C-FAAA-110E4D288132}"/>
                </a:ext>
              </a:extLst>
            </p:cNvPr>
            <p:cNvSpPr/>
            <p:nvPr/>
          </p:nvSpPr>
          <p:spPr>
            <a:xfrm>
              <a:off x="8874535" y="1504252"/>
              <a:ext cx="246055" cy="460421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05765"/>
                <a:gd name="f4" fmla="val 7592695"/>
                <a:gd name="f5" fmla="val 405589"/>
                <a:gd name="f6" fmla="val 7592386"/>
                <a:gd name="f7" fmla="val 196454"/>
                <a:gd name="f8" fmla="val 7590889"/>
                <a:gd name="f9" fmla="val 151409"/>
                <a:gd name="f10" fmla="val 7585700"/>
                <a:gd name="f11" fmla="val 110058"/>
                <a:gd name="f12" fmla="val 7570919"/>
                <a:gd name="f13" fmla="val 73582"/>
                <a:gd name="f14" fmla="val 7547726"/>
                <a:gd name="f15" fmla="val 43158"/>
                <a:gd name="f16" fmla="val 7517300"/>
                <a:gd name="f17" fmla="val 19967"/>
                <a:gd name="f18" fmla="val 7480822"/>
                <a:gd name="f19" fmla="val 5188"/>
                <a:gd name="f20" fmla="val 7439470"/>
                <a:gd name="f21" fmla="val 7394424"/>
                <a:gd name="f22" fmla="*/ f0 1 405765"/>
                <a:gd name="f23" fmla="*/ f1 1 7592695"/>
                <a:gd name="f24" fmla="+- f4 0 f2"/>
                <a:gd name="f25" fmla="+- f3 0 f2"/>
                <a:gd name="f26" fmla="*/ f25 1 405765"/>
                <a:gd name="f27" fmla="*/ f24 1 7592695"/>
                <a:gd name="f28" fmla="*/ f2 1 f26"/>
                <a:gd name="f29" fmla="*/ f3 1 f26"/>
                <a:gd name="f30" fmla="*/ f2 1 f27"/>
                <a:gd name="f31" fmla="*/ f4 1 f27"/>
                <a:gd name="f32" fmla="*/ f28 f22 1"/>
                <a:gd name="f33" fmla="*/ f29 f22 1"/>
                <a:gd name="f34" fmla="*/ f31 f23 1"/>
                <a:gd name="f35" fmla="*/ f30 f2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2" t="f35" r="f33" b="f34"/>
              <a:pathLst>
                <a:path w="405765" h="759269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" y="f21"/>
                  </a:lnTo>
                  <a:lnTo>
                    <a:pt x="f2" y="f2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4" name="object 2014">
              <a:extLst>
                <a:ext uri="{FF2B5EF4-FFF2-40B4-BE49-F238E27FC236}">
                  <a16:creationId xmlns:a16="http://schemas.microsoft.com/office/drawing/2014/main" id="{DEACB32E-0B1F-FAD6-9A42-179A4BA0787A}"/>
                </a:ext>
              </a:extLst>
            </p:cNvPr>
            <p:cNvSpPr/>
            <p:nvPr/>
          </p:nvSpPr>
          <p:spPr>
            <a:xfrm>
              <a:off x="8662166" y="1503794"/>
              <a:ext cx="44513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445135"/>
                <a:gd name="f5" fmla="val 445111"/>
                <a:gd name="f6" fmla="abs f0"/>
                <a:gd name="f7" fmla="abs f1"/>
                <a:gd name="f8" fmla="abs f2"/>
                <a:gd name="f9" fmla="*/ f0 1 445135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445135"/>
                <a:gd name="f16" fmla="*/ f10 1 0"/>
                <a:gd name="f17" fmla="*/ f12 1 445135"/>
                <a:gd name="f18" fmla="*/ f13 1 21600"/>
                <a:gd name="f19" fmla="*/ 21600 f13 1"/>
                <a:gd name="f20" fmla="*/ 0 1 f15"/>
                <a:gd name="f21" fmla="*/ 445135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445135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5" name="object 2015">
              <a:extLst>
                <a:ext uri="{FF2B5EF4-FFF2-40B4-BE49-F238E27FC236}">
                  <a16:creationId xmlns:a16="http://schemas.microsoft.com/office/drawing/2014/main" id="{53FDF490-DDD4-B6BF-61C6-A43ED03E6F69}"/>
                </a:ext>
              </a:extLst>
            </p:cNvPr>
            <p:cNvSpPr/>
            <p:nvPr/>
          </p:nvSpPr>
          <p:spPr>
            <a:xfrm>
              <a:off x="9472370" y="1502377"/>
              <a:ext cx="465155" cy="231886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80"/>
                <a:gd name="f4" fmla="val 3823970"/>
                <a:gd name="f5" fmla="val 209124"/>
                <a:gd name="f6" fmla="val 1507"/>
                <a:gd name="f7" fmla="val 254173"/>
                <a:gd name="f8" fmla="val 6696"/>
                <a:gd name="f9" fmla="val 295527"/>
                <a:gd name="f10" fmla="val 21475"/>
                <a:gd name="f11" fmla="val 332005"/>
                <a:gd name="f12" fmla="val 44667"/>
                <a:gd name="f13" fmla="val 362430"/>
                <a:gd name="f14" fmla="val 75091"/>
                <a:gd name="f15" fmla="val 385621"/>
                <a:gd name="f16" fmla="val 111570"/>
                <a:gd name="f17" fmla="val 400401"/>
                <a:gd name="f18" fmla="val 152923"/>
                <a:gd name="f19" fmla="val 405589"/>
                <a:gd name="f20" fmla="val 197973"/>
                <a:gd name="f21" fmla="val 3552917"/>
                <a:gd name="f22" fmla="val 3627271"/>
                <a:gd name="f23" fmla="val 410778"/>
                <a:gd name="f24" fmla="val 3672321"/>
                <a:gd name="f25" fmla="val 425557"/>
                <a:gd name="f26" fmla="val 3713674"/>
                <a:gd name="f27" fmla="val 448749"/>
                <a:gd name="f28" fmla="val 3750152"/>
                <a:gd name="f29" fmla="val 479173"/>
                <a:gd name="f30" fmla="val 3780577"/>
                <a:gd name="f31" fmla="val 515652"/>
                <a:gd name="f32" fmla="val 3803768"/>
                <a:gd name="f33" fmla="val 557005"/>
                <a:gd name="f34" fmla="val 3818548"/>
                <a:gd name="f35" fmla="val 602054"/>
                <a:gd name="f36" fmla="val 3823736"/>
                <a:gd name="f37" fmla="val 766657"/>
                <a:gd name="f38" fmla="*/ f0 1 767080"/>
                <a:gd name="f39" fmla="*/ f1 1 3823970"/>
                <a:gd name="f40" fmla="+- f4 0 f2"/>
                <a:gd name="f41" fmla="+- f3 0 f2"/>
                <a:gd name="f42" fmla="*/ f41 1 767080"/>
                <a:gd name="f43" fmla="*/ f40 1 382397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80" h="3823970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6" name="object 2016">
              <a:extLst>
                <a:ext uri="{FF2B5EF4-FFF2-40B4-BE49-F238E27FC236}">
                  <a16:creationId xmlns:a16="http://schemas.microsoft.com/office/drawing/2014/main" id="{EBA9D935-69B9-1D34-9221-77178E9C6E3E}"/>
                </a:ext>
              </a:extLst>
            </p:cNvPr>
            <p:cNvSpPr/>
            <p:nvPr/>
          </p:nvSpPr>
          <p:spPr>
            <a:xfrm>
              <a:off x="7029459" y="734107"/>
              <a:ext cx="44513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445135"/>
                <a:gd name="f5" fmla="val 445111"/>
                <a:gd name="f6" fmla="abs f0"/>
                <a:gd name="f7" fmla="abs f1"/>
                <a:gd name="f8" fmla="abs f2"/>
                <a:gd name="f9" fmla="*/ f0 1 445135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445135"/>
                <a:gd name="f16" fmla="*/ f10 1 0"/>
                <a:gd name="f17" fmla="*/ f12 1 445135"/>
                <a:gd name="f18" fmla="*/ f13 1 21600"/>
                <a:gd name="f19" fmla="*/ 21600 f13 1"/>
                <a:gd name="f20" fmla="*/ 0 1 f15"/>
                <a:gd name="f21" fmla="*/ 445135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445135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7" name="object 2017">
              <a:extLst>
                <a:ext uri="{FF2B5EF4-FFF2-40B4-BE49-F238E27FC236}">
                  <a16:creationId xmlns:a16="http://schemas.microsoft.com/office/drawing/2014/main" id="{056CE08D-DE75-1589-A5B3-DBCD2B1DDA4A}"/>
                </a:ext>
              </a:extLst>
            </p:cNvPr>
            <p:cNvSpPr/>
            <p:nvPr/>
          </p:nvSpPr>
          <p:spPr>
            <a:xfrm>
              <a:off x="7829769" y="735762"/>
              <a:ext cx="465155" cy="76858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80"/>
                <a:gd name="f4" fmla="val 1267460"/>
                <a:gd name="f5" fmla="val 209124"/>
                <a:gd name="f6" fmla="val 1507"/>
                <a:gd name="f7" fmla="val 254173"/>
                <a:gd name="f8" fmla="val 6696"/>
                <a:gd name="f9" fmla="val 295527"/>
                <a:gd name="f10" fmla="val 21475"/>
                <a:gd name="f11" fmla="val 332005"/>
                <a:gd name="f12" fmla="val 44667"/>
                <a:gd name="f13" fmla="val 362430"/>
                <a:gd name="f14" fmla="val 75091"/>
                <a:gd name="f15" fmla="val 385621"/>
                <a:gd name="f16" fmla="val 111570"/>
                <a:gd name="f17" fmla="val 400401"/>
                <a:gd name="f18" fmla="val 152923"/>
                <a:gd name="f19" fmla="val 405589"/>
                <a:gd name="f20" fmla="val 197973"/>
                <a:gd name="f21" fmla="val 996472"/>
                <a:gd name="f22" fmla="val 1070836"/>
                <a:gd name="f23" fmla="val 410778"/>
                <a:gd name="f24" fmla="val 1115882"/>
                <a:gd name="f25" fmla="val 425557"/>
                <a:gd name="f26" fmla="val 1157234"/>
                <a:gd name="f27" fmla="val 448749"/>
                <a:gd name="f28" fmla="val 1193713"/>
                <a:gd name="f29" fmla="val 479173"/>
                <a:gd name="f30" fmla="val 1224138"/>
                <a:gd name="f31" fmla="val 515652"/>
                <a:gd name="f32" fmla="val 1247331"/>
                <a:gd name="f33" fmla="val 557005"/>
                <a:gd name="f34" fmla="val 1262112"/>
                <a:gd name="f35" fmla="val 602054"/>
                <a:gd name="f36" fmla="val 1267301"/>
                <a:gd name="f37" fmla="val 766667"/>
                <a:gd name="f38" fmla="*/ f0 1 767080"/>
                <a:gd name="f39" fmla="*/ f1 1 1267460"/>
                <a:gd name="f40" fmla="+- f4 0 f2"/>
                <a:gd name="f41" fmla="+- f3 0 f2"/>
                <a:gd name="f42" fmla="*/ f41 1 767080"/>
                <a:gd name="f43" fmla="*/ f40 1 126746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80" h="1267460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8" name="object 2018">
              <a:extLst>
                <a:ext uri="{FF2B5EF4-FFF2-40B4-BE49-F238E27FC236}">
                  <a16:creationId xmlns:a16="http://schemas.microsoft.com/office/drawing/2014/main" id="{31949E62-0630-8686-CA75-FF055208B270}"/>
                </a:ext>
              </a:extLst>
            </p:cNvPr>
            <p:cNvSpPr/>
            <p:nvPr/>
          </p:nvSpPr>
          <p:spPr>
            <a:xfrm>
              <a:off x="6186418" y="734107"/>
              <a:ext cx="470550" cy="230692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75970"/>
                <a:gd name="f4" fmla="val 3804285"/>
                <a:gd name="f5" fmla="val 775578"/>
                <a:gd name="f6" fmla="val 557532"/>
                <a:gd name="f7" fmla="val 1507"/>
                <a:gd name="f8" fmla="val 512483"/>
                <a:gd name="f9" fmla="val 6696"/>
                <a:gd name="f10" fmla="val 471130"/>
                <a:gd name="f11" fmla="val 21475"/>
                <a:gd name="f12" fmla="val 434651"/>
                <a:gd name="f13" fmla="val 44667"/>
                <a:gd name="f14" fmla="val 404227"/>
                <a:gd name="f15" fmla="val 75091"/>
                <a:gd name="f16" fmla="val 381035"/>
                <a:gd name="f17" fmla="val 111570"/>
                <a:gd name="f18" fmla="val 366256"/>
                <a:gd name="f19" fmla="val 152923"/>
                <a:gd name="f20" fmla="val 361067"/>
                <a:gd name="f21" fmla="val 197973"/>
                <a:gd name="f22" fmla="val 3533065"/>
                <a:gd name="f23" fmla="val 3607439"/>
                <a:gd name="f24" fmla="val 355879"/>
                <a:gd name="f25" fmla="val 3652485"/>
                <a:gd name="f26" fmla="val 341099"/>
                <a:gd name="f27" fmla="val 3693835"/>
                <a:gd name="f28" fmla="val 317907"/>
                <a:gd name="f29" fmla="val 3730312"/>
                <a:gd name="f30" fmla="val 287483"/>
                <a:gd name="f31" fmla="val 3760735"/>
                <a:gd name="f32" fmla="val 251004"/>
                <a:gd name="f33" fmla="val 3783926"/>
                <a:gd name="f34" fmla="val 209651"/>
                <a:gd name="f35" fmla="val 3798706"/>
                <a:gd name="f36" fmla="val 164602"/>
                <a:gd name="f37" fmla="val 3803894"/>
                <a:gd name="f38" fmla="*/ f0 1 775970"/>
                <a:gd name="f39" fmla="*/ f1 1 3804285"/>
                <a:gd name="f40" fmla="+- f4 0 f2"/>
                <a:gd name="f41" fmla="+- f3 0 f2"/>
                <a:gd name="f42" fmla="*/ f41 1 775970"/>
                <a:gd name="f43" fmla="*/ f40 1 3804285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75970" h="3804285">
                  <a:moveTo>
                    <a:pt x="f5" y="f2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2" y="f37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9" name="object 2019">
              <a:extLst>
                <a:ext uri="{FF2B5EF4-FFF2-40B4-BE49-F238E27FC236}">
                  <a16:creationId xmlns:a16="http://schemas.microsoft.com/office/drawing/2014/main" id="{2F25A7EE-18F1-00EA-32B1-9C9B2093C4D0}"/>
                </a:ext>
              </a:extLst>
            </p:cNvPr>
            <p:cNvSpPr/>
            <p:nvPr/>
          </p:nvSpPr>
          <p:spPr>
            <a:xfrm>
              <a:off x="2904929" y="735762"/>
              <a:ext cx="465155" cy="153641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2533650"/>
                <a:gd name="f5" fmla="val 766667"/>
                <a:gd name="f6" fmla="val 557532"/>
                <a:gd name="f7" fmla="val 1507"/>
                <a:gd name="f8" fmla="val 512486"/>
                <a:gd name="f9" fmla="val 6696"/>
                <a:gd name="f10" fmla="val 471134"/>
                <a:gd name="f11" fmla="val 21475"/>
                <a:gd name="f12" fmla="val 434656"/>
                <a:gd name="f13" fmla="val 44667"/>
                <a:gd name="f14" fmla="val 404230"/>
                <a:gd name="f15" fmla="val 75091"/>
                <a:gd name="f16" fmla="val 381037"/>
                <a:gd name="f17" fmla="val 111570"/>
                <a:gd name="f18" fmla="val 366256"/>
                <a:gd name="f19" fmla="val 152923"/>
                <a:gd name="f20" fmla="val 361067"/>
                <a:gd name="f21" fmla="val 197973"/>
                <a:gd name="f22" fmla="val 2262266"/>
                <a:gd name="f23" fmla="val 2336630"/>
                <a:gd name="f24" fmla="val 355879"/>
                <a:gd name="f25" fmla="val 2381676"/>
                <a:gd name="f26" fmla="val 341099"/>
                <a:gd name="f27" fmla="val 2423028"/>
                <a:gd name="f28" fmla="val 317908"/>
                <a:gd name="f29" fmla="val 2459507"/>
                <a:gd name="f30" fmla="val 287485"/>
                <a:gd name="f31" fmla="val 2489932"/>
                <a:gd name="f32" fmla="val 251008"/>
                <a:gd name="f33" fmla="val 2513125"/>
                <a:gd name="f34" fmla="val 209658"/>
                <a:gd name="f35" fmla="val 2527906"/>
                <a:gd name="f36" fmla="val 164612"/>
                <a:gd name="f37" fmla="val 2533095"/>
                <a:gd name="f38" fmla="*/ f0 1 767079"/>
                <a:gd name="f39" fmla="*/ f1 1 2533650"/>
                <a:gd name="f40" fmla="+- f4 0 f2"/>
                <a:gd name="f41" fmla="+- f3 0 f2"/>
                <a:gd name="f42" fmla="*/ f41 1 767079"/>
                <a:gd name="f43" fmla="*/ f40 1 253365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2533650">
                  <a:moveTo>
                    <a:pt x="f5" y="f2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2" y="f37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0" name="object 2020">
              <a:extLst>
                <a:ext uri="{FF2B5EF4-FFF2-40B4-BE49-F238E27FC236}">
                  <a16:creationId xmlns:a16="http://schemas.microsoft.com/office/drawing/2014/main" id="{9B0C4EFF-9168-EE9D-9EE1-03BA38C3D14D}"/>
                </a:ext>
              </a:extLst>
            </p:cNvPr>
            <p:cNvSpPr/>
            <p:nvPr/>
          </p:nvSpPr>
          <p:spPr>
            <a:xfrm>
              <a:off x="9723793" y="2271835"/>
              <a:ext cx="210247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10245"/>
                <a:gd name="f5" fmla="val 209961"/>
                <a:gd name="f6" fmla="abs f0"/>
                <a:gd name="f7" fmla="abs f1"/>
                <a:gd name="f8" fmla="abs f2"/>
                <a:gd name="f9" fmla="*/ f0 1 210245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210245"/>
                <a:gd name="f16" fmla="*/ f10 1 0"/>
                <a:gd name="f17" fmla="*/ f12 1 210245"/>
                <a:gd name="f18" fmla="*/ f13 1 21600"/>
                <a:gd name="f19" fmla="*/ 21600 f13 1"/>
                <a:gd name="f20" fmla="*/ 0 1 f15"/>
                <a:gd name="f21" fmla="*/ 210245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210245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1" name="object 2021">
              <a:extLst>
                <a:ext uri="{FF2B5EF4-FFF2-40B4-BE49-F238E27FC236}">
                  <a16:creationId xmlns:a16="http://schemas.microsoft.com/office/drawing/2014/main" id="{333E929D-03B1-EE28-F65B-48368FB20C1C}"/>
                </a:ext>
              </a:extLst>
            </p:cNvPr>
            <p:cNvSpPr/>
            <p:nvPr/>
          </p:nvSpPr>
          <p:spPr>
            <a:xfrm>
              <a:off x="5012402" y="56030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2" name="object 2022">
              <a:extLst>
                <a:ext uri="{FF2B5EF4-FFF2-40B4-BE49-F238E27FC236}">
                  <a16:creationId xmlns:a16="http://schemas.microsoft.com/office/drawing/2014/main" id="{C1901AB4-1686-626C-CF12-CD70E409F566}"/>
                </a:ext>
              </a:extLst>
            </p:cNvPr>
            <p:cNvSpPr/>
            <p:nvPr/>
          </p:nvSpPr>
          <p:spPr>
            <a:xfrm>
              <a:off x="9119466" y="362543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0"/>
                <a:gd name="f26" fmla="val 197340"/>
                <a:gd name="f27" fmla="val 155939"/>
                <a:gd name="f28" fmla="val 118131"/>
                <a:gd name="f29" fmla="val 84510"/>
                <a:gd name="f30" fmla="val 55670"/>
                <a:gd name="f31" fmla="val 335338"/>
                <a:gd name="f32" fmla="val 379737"/>
                <a:gd name="f33" fmla="val 421137"/>
                <a:gd name="f34" fmla="val 458945"/>
                <a:gd name="f35" fmla="val 492567"/>
                <a:gd name="f36" fmla="val 521408"/>
                <a:gd name="f37" fmla="val 544874"/>
                <a:gd name="f38" fmla="val 562371"/>
                <a:gd name="f39" fmla="*/ f0 1 577215"/>
                <a:gd name="f40" fmla="*/ f1 1 577215"/>
                <a:gd name="f41" fmla="+- f3 0 f2"/>
                <a:gd name="f42" fmla="*/ f41 1 577215"/>
                <a:gd name="f43" fmla="*/ f2 1 f42"/>
                <a:gd name="f44" fmla="*/ f3 1 f42"/>
                <a:gd name="f45" fmla="*/ f43 f39 1"/>
                <a:gd name="f46" fmla="*/ f44 f39 1"/>
                <a:gd name="f47" fmla="*/ f44 f40 1"/>
                <a:gd name="f48" fmla="*/ f43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5" t="f48" r="f46" b="f47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1"/>
                  </a:lnTo>
                  <a:lnTo>
                    <a:pt x="f21" y="f32"/>
                  </a:lnTo>
                  <a:lnTo>
                    <a:pt x="f19" y="f33"/>
                  </a:lnTo>
                  <a:lnTo>
                    <a:pt x="f30" y="f34"/>
                  </a:lnTo>
                  <a:lnTo>
                    <a:pt x="f29" y="f35"/>
                  </a:lnTo>
                  <a:lnTo>
                    <a:pt x="f28" y="f36"/>
                  </a:lnTo>
                  <a:lnTo>
                    <a:pt x="f27" y="f37"/>
                  </a:lnTo>
                  <a:lnTo>
                    <a:pt x="f26" y="f38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38"/>
                  </a:lnTo>
                  <a:lnTo>
                    <a:pt x="f18" y="f37"/>
                  </a:lnTo>
                  <a:lnTo>
                    <a:pt x="f16" y="f36"/>
                  </a:lnTo>
                  <a:lnTo>
                    <a:pt x="f14" y="f35"/>
                  </a:lnTo>
                  <a:lnTo>
                    <a:pt x="f12" y="f34"/>
                  </a:lnTo>
                  <a:lnTo>
                    <a:pt x="f10" y="f33"/>
                  </a:lnTo>
                  <a:lnTo>
                    <a:pt x="f8" y="f32"/>
                  </a:lnTo>
                  <a:lnTo>
                    <a:pt x="f6" y="f31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3" name="object 2023">
              <a:extLst>
                <a:ext uri="{FF2B5EF4-FFF2-40B4-BE49-F238E27FC236}">
                  <a16:creationId xmlns:a16="http://schemas.microsoft.com/office/drawing/2014/main" id="{DE850668-30A0-CF1C-32E6-0A956CD546AF}"/>
                </a:ext>
              </a:extLst>
            </p:cNvPr>
            <p:cNvSpPr/>
            <p:nvPr/>
          </p:nvSpPr>
          <p:spPr>
            <a:xfrm>
              <a:off x="2547280" y="209846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4" name="object 2024">
              <a:extLst>
                <a:ext uri="{FF2B5EF4-FFF2-40B4-BE49-F238E27FC236}">
                  <a16:creationId xmlns:a16="http://schemas.microsoft.com/office/drawing/2014/main" id="{4D21DDE5-CC2E-D2D6-7C1A-290E7B865DCA}"/>
                </a:ext>
              </a:extLst>
            </p:cNvPr>
            <p:cNvSpPr/>
            <p:nvPr/>
          </p:nvSpPr>
          <p:spPr>
            <a:xfrm>
              <a:off x="7474570" y="56401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5" name="object 2025">
              <a:extLst>
                <a:ext uri="{FF2B5EF4-FFF2-40B4-BE49-F238E27FC236}">
                  <a16:creationId xmlns:a16="http://schemas.microsoft.com/office/drawing/2014/main" id="{A2395B85-FE7D-8B94-2BC0-B13F09EA4474}"/>
                </a:ext>
              </a:extLst>
            </p:cNvPr>
            <p:cNvSpPr/>
            <p:nvPr/>
          </p:nvSpPr>
          <p:spPr>
            <a:xfrm>
              <a:off x="9119466" y="131816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0"/>
                <a:gd name="f27" fmla="val 197340"/>
                <a:gd name="f28" fmla="val 155939"/>
                <a:gd name="f29" fmla="val 118131"/>
                <a:gd name="f30" fmla="val 84510"/>
                <a:gd name="f31" fmla="val 55670"/>
                <a:gd name="f32" fmla="val 335338"/>
                <a:gd name="f33" fmla="val 379737"/>
                <a:gd name="f34" fmla="val 421137"/>
                <a:gd name="f35" fmla="val 458945"/>
                <a:gd name="f36" fmla="val 492567"/>
                <a:gd name="f37" fmla="val 521408"/>
                <a:gd name="f38" fmla="val 544874"/>
                <a:gd name="f39" fmla="val 562371"/>
                <a:gd name="f40" fmla="*/ f0 1 577215"/>
                <a:gd name="f41" fmla="*/ f1 1 577214"/>
                <a:gd name="f42" fmla="+- f4 0 f2"/>
                <a:gd name="f43" fmla="+- f3 0 f2"/>
                <a:gd name="f44" fmla="*/ f43 1 577215"/>
                <a:gd name="f45" fmla="*/ f42 1 577214"/>
                <a:gd name="f46" fmla="*/ f2 1 f44"/>
                <a:gd name="f47" fmla="*/ f3 1 f44"/>
                <a:gd name="f48" fmla="*/ f2 1 f45"/>
                <a:gd name="f49" fmla="*/ f4 1 f45"/>
                <a:gd name="f50" fmla="*/ f46 f40 1"/>
                <a:gd name="f51" fmla="*/ f47 f40 1"/>
                <a:gd name="f52" fmla="*/ f49 f41 1"/>
                <a:gd name="f53" fmla="*/ f48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2"/>
                  </a:lnTo>
                  <a:lnTo>
                    <a:pt x="f22" y="f33"/>
                  </a:lnTo>
                  <a:lnTo>
                    <a:pt x="f20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39"/>
                  </a:lnTo>
                  <a:lnTo>
                    <a:pt x="f19" y="f38"/>
                  </a:lnTo>
                  <a:lnTo>
                    <a:pt x="f17" y="f37"/>
                  </a:lnTo>
                  <a:lnTo>
                    <a:pt x="f15" y="f36"/>
                  </a:lnTo>
                  <a:lnTo>
                    <a:pt x="f13" y="f35"/>
                  </a:lnTo>
                  <a:lnTo>
                    <a:pt x="f11" y="f34"/>
                  </a:lnTo>
                  <a:lnTo>
                    <a:pt x="f9" y="f33"/>
                  </a:lnTo>
                  <a:lnTo>
                    <a:pt x="f7" y="f3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6" name="object 2026">
              <a:extLst>
                <a:ext uri="{FF2B5EF4-FFF2-40B4-BE49-F238E27FC236}">
                  <a16:creationId xmlns:a16="http://schemas.microsoft.com/office/drawing/2014/main" id="{47DD2715-6FA5-D89F-3188-0D037D54B3BB}"/>
                </a:ext>
              </a:extLst>
            </p:cNvPr>
            <p:cNvSpPr/>
            <p:nvPr/>
          </p:nvSpPr>
          <p:spPr>
            <a:xfrm>
              <a:off x="4179054" y="132437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7" name="object 2027">
              <a:extLst>
                <a:ext uri="{FF2B5EF4-FFF2-40B4-BE49-F238E27FC236}">
                  <a16:creationId xmlns:a16="http://schemas.microsoft.com/office/drawing/2014/main" id="{3C0F708C-6ECD-99AA-278A-32B626B381D5}"/>
                </a:ext>
              </a:extLst>
            </p:cNvPr>
            <p:cNvSpPr/>
            <p:nvPr/>
          </p:nvSpPr>
          <p:spPr>
            <a:xfrm>
              <a:off x="3370560" y="55249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8" name="object 2028">
              <a:extLst>
                <a:ext uri="{FF2B5EF4-FFF2-40B4-BE49-F238E27FC236}">
                  <a16:creationId xmlns:a16="http://schemas.microsoft.com/office/drawing/2014/main" id="{7F7A9268-7E3C-6891-6D92-8B9FD3CAA7D0}"/>
                </a:ext>
              </a:extLst>
            </p:cNvPr>
            <p:cNvSpPr/>
            <p:nvPr/>
          </p:nvSpPr>
          <p:spPr>
            <a:xfrm>
              <a:off x="5833725" y="286481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9" name="object 2029">
              <a:extLst>
                <a:ext uri="{FF2B5EF4-FFF2-40B4-BE49-F238E27FC236}">
                  <a16:creationId xmlns:a16="http://schemas.microsoft.com/office/drawing/2014/main" id="{654EFC50-0EBF-BE12-A627-30559DEFD5B6}"/>
                </a:ext>
              </a:extLst>
            </p:cNvPr>
            <p:cNvSpPr/>
            <p:nvPr/>
          </p:nvSpPr>
          <p:spPr>
            <a:xfrm>
              <a:off x="9117409" y="591897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0" name="object 2030">
              <a:extLst>
                <a:ext uri="{FF2B5EF4-FFF2-40B4-BE49-F238E27FC236}">
                  <a16:creationId xmlns:a16="http://schemas.microsoft.com/office/drawing/2014/main" id="{D44FC65A-1DE5-85AE-B61A-64B97B0C5E65}"/>
                </a:ext>
              </a:extLst>
            </p:cNvPr>
            <p:cNvSpPr/>
            <p:nvPr/>
          </p:nvSpPr>
          <p:spPr>
            <a:xfrm>
              <a:off x="9943386" y="209178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1" name="object 2031">
              <a:extLst>
                <a:ext uri="{FF2B5EF4-FFF2-40B4-BE49-F238E27FC236}">
                  <a16:creationId xmlns:a16="http://schemas.microsoft.com/office/drawing/2014/main" id="{CCA6A1C2-282E-CF98-E7EE-0247A8CA77CC}"/>
                </a:ext>
              </a:extLst>
            </p:cNvPr>
            <p:cNvSpPr/>
            <p:nvPr/>
          </p:nvSpPr>
          <p:spPr>
            <a:xfrm>
              <a:off x="9943386" y="362353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2" name="object 2032">
              <a:extLst>
                <a:ext uri="{FF2B5EF4-FFF2-40B4-BE49-F238E27FC236}">
                  <a16:creationId xmlns:a16="http://schemas.microsoft.com/office/drawing/2014/main" id="{2AFB727C-B1D8-6DC0-2262-B08E46F15046}"/>
                </a:ext>
              </a:extLst>
            </p:cNvPr>
            <p:cNvSpPr/>
            <p:nvPr/>
          </p:nvSpPr>
          <p:spPr>
            <a:xfrm>
              <a:off x="8300027" y="131181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3" name="object 2033">
              <a:extLst>
                <a:ext uri="{FF2B5EF4-FFF2-40B4-BE49-F238E27FC236}">
                  <a16:creationId xmlns:a16="http://schemas.microsoft.com/office/drawing/2014/main" id="{7AF094AF-1186-C296-5F89-06FE197FC5EC}"/>
                </a:ext>
              </a:extLst>
            </p:cNvPr>
            <p:cNvSpPr/>
            <p:nvPr/>
          </p:nvSpPr>
          <p:spPr>
            <a:xfrm>
              <a:off x="6656063" y="55958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20A3E5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aphicFrame>
        <p:nvGraphicFramePr>
          <p:cNvPr id="2034" name="object 2034">
            <a:extLst>
              <a:ext uri="{FF2B5EF4-FFF2-40B4-BE49-F238E27FC236}">
                <a16:creationId xmlns:a16="http://schemas.microsoft.com/office/drawing/2014/main" id="{A5C74D02-FFF7-33EF-546B-D57F1763C8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745058"/>
              </p:ext>
            </p:extLst>
          </p:nvPr>
        </p:nvGraphicFramePr>
        <p:xfrm>
          <a:off x="2450454" y="212735"/>
          <a:ext cx="8173524" cy="289097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678868">
                  <a:extLst>
                    <a:ext uri="{9D8B030D-6E8A-4147-A177-3AD203B41FA5}">
                      <a16:colId xmlns:a16="http://schemas.microsoft.com/office/drawing/2014/main" val="2319682921"/>
                    </a:ext>
                  </a:extLst>
                </a:gridCol>
                <a:gridCol w="830586">
                  <a:extLst>
                    <a:ext uri="{9D8B030D-6E8A-4147-A177-3AD203B41FA5}">
                      <a16:colId xmlns:a16="http://schemas.microsoft.com/office/drawing/2014/main" val="772184890"/>
                    </a:ext>
                  </a:extLst>
                </a:gridCol>
                <a:gridCol w="823270">
                  <a:extLst>
                    <a:ext uri="{9D8B030D-6E8A-4147-A177-3AD203B41FA5}">
                      <a16:colId xmlns:a16="http://schemas.microsoft.com/office/drawing/2014/main" val="102044619"/>
                    </a:ext>
                  </a:extLst>
                </a:gridCol>
                <a:gridCol w="883337">
                  <a:extLst>
                    <a:ext uri="{9D8B030D-6E8A-4147-A177-3AD203B41FA5}">
                      <a16:colId xmlns:a16="http://schemas.microsoft.com/office/drawing/2014/main" val="1143009302"/>
                    </a:ext>
                  </a:extLst>
                </a:gridCol>
                <a:gridCol w="722769">
                  <a:extLst>
                    <a:ext uri="{9D8B030D-6E8A-4147-A177-3AD203B41FA5}">
                      <a16:colId xmlns:a16="http://schemas.microsoft.com/office/drawing/2014/main" val="2078432562"/>
                    </a:ext>
                  </a:extLst>
                </a:gridCol>
                <a:gridCol w="850611">
                  <a:extLst>
                    <a:ext uri="{9D8B030D-6E8A-4147-A177-3AD203B41FA5}">
                      <a16:colId xmlns:a16="http://schemas.microsoft.com/office/drawing/2014/main" val="1502097772"/>
                    </a:ext>
                  </a:extLst>
                </a:gridCol>
                <a:gridCol w="878336">
                  <a:extLst>
                    <a:ext uri="{9D8B030D-6E8A-4147-A177-3AD203B41FA5}">
                      <a16:colId xmlns:a16="http://schemas.microsoft.com/office/drawing/2014/main" val="2528064884"/>
                    </a:ext>
                  </a:extLst>
                </a:gridCol>
                <a:gridCol w="772823">
                  <a:extLst>
                    <a:ext uri="{9D8B030D-6E8A-4147-A177-3AD203B41FA5}">
                      <a16:colId xmlns:a16="http://schemas.microsoft.com/office/drawing/2014/main" val="279437788"/>
                    </a:ext>
                  </a:extLst>
                </a:gridCol>
                <a:gridCol w="805458">
                  <a:extLst>
                    <a:ext uri="{9D8B030D-6E8A-4147-A177-3AD203B41FA5}">
                      <a16:colId xmlns:a16="http://schemas.microsoft.com/office/drawing/2014/main" val="1680729283"/>
                    </a:ext>
                  </a:extLst>
                </a:gridCol>
                <a:gridCol w="927466">
                  <a:extLst>
                    <a:ext uri="{9D8B030D-6E8A-4147-A177-3AD203B41FA5}">
                      <a16:colId xmlns:a16="http://schemas.microsoft.com/office/drawing/2014/main" val="40627041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31747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Founda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17800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40">
                          <a:latin typeface="Verdana"/>
                          <a:cs typeface="Verdana"/>
                        </a:rPr>
                        <a:t>Terrain</a:t>
                      </a:r>
                      <a:r>
                        <a:rPr lang="en-US" sz="700" b="1" spc="-4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deck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30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Exterior</a:t>
                      </a:r>
                      <a:r>
                        <a:rPr lang="en-US" sz="700" b="1" spc="-5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wall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82552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Exterior</a:t>
                      </a:r>
                      <a:r>
                        <a:rPr lang="en-US" sz="700" b="1" spc="-5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wall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9046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Interior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07338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Floor</a:t>
                      </a:r>
                      <a:r>
                        <a:rPr lang="en-US" sz="700" b="1" spc="-6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deck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1593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20">
                          <a:latin typeface="Verdana"/>
                          <a:cs typeface="Verdana"/>
                        </a:rPr>
                        <a:t>Roof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4766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20">
                          <a:latin typeface="Verdana"/>
                          <a:cs typeface="Verdana"/>
                        </a:rPr>
                        <a:t>Roof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6072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Window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99081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Solar</a:t>
                      </a:r>
                      <a:r>
                        <a:rPr lang="en-US" sz="700" b="1" spc="-7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10">
                          <a:latin typeface="Verdana"/>
                          <a:cs typeface="Verdana"/>
                        </a:rPr>
                        <a:t>cell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34587724"/>
                  </a:ext>
                </a:extLst>
              </a:tr>
              <a:tr h="110898"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271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onstruc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82552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ladding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9687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wall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2234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onstruc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4766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ladding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4260947"/>
                  </a:ext>
                </a:extLst>
              </a:tr>
            </a:tbl>
          </a:graphicData>
        </a:graphic>
      </p:graphicFrame>
      <p:sp>
        <p:nvSpPr>
          <p:cNvPr id="2035" name="object 2035">
            <a:extLst>
              <a:ext uri="{FF2B5EF4-FFF2-40B4-BE49-F238E27FC236}">
                <a16:creationId xmlns:a16="http://schemas.microsoft.com/office/drawing/2014/main" id="{72149FD7-55CC-2D3E-12A1-71A2E7DDB80E}"/>
              </a:ext>
            </a:extLst>
          </p:cNvPr>
          <p:cNvSpPr txBox="1"/>
          <p:nvPr/>
        </p:nvSpPr>
        <p:spPr>
          <a:xfrm>
            <a:off x="9863715" y="3174997"/>
            <a:ext cx="525231" cy="11543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08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697" b="1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69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</p:txBody>
      </p:sp>
      <p:pic>
        <p:nvPicPr>
          <p:cNvPr id="2036" name="object 2036">
            <a:extLst>
              <a:ext uri="{FF2B5EF4-FFF2-40B4-BE49-F238E27FC236}">
                <a16:creationId xmlns:a16="http://schemas.microsoft.com/office/drawing/2014/main" id="{166E10E7-E374-1C71-48E0-DE4BF9456BDE}"/>
              </a:ext>
            </a:extLst>
          </p:cNvPr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10851815" y="1688988"/>
            <a:ext cx="1083426" cy="112323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037" name="object 2037">
            <a:extLst>
              <a:ext uri="{FF2B5EF4-FFF2-40B4-BE49-F238E27FC236}">
                <a16:creationId xmlns:a16="http://schemas.microsoft.com/office/drawing/2014/main" id="{F4E1425C-3590-1459-0800-43ED6D0A3797}"/>
              </a:ext>
            </a:extLst>
          </p:cNvPr>
          <p:cNvSpPr txBox="1"/>
          <p:nvPr/>
        </p:nvSpPr>
        <p:spPr>
          <a:xfrm>
            <a:off x="10459922" y="3006510"/>
            <a:ext cx="1500210" cy="3060030"/>
          </a:xfrm>
          <a:prstGeom prst="rect">
            <a:avLst/>
          </a:prstGeom>
          <a:noFill/>
          <a:ln w="10469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68543" rIns="0" bIns="0" anchor="t" anchorCtr="0" compatLnSpc="1">
            <a:spAutoFit/>
          </a:bodyPr>
          <a:lstStyle/>
          <a:p>
            <a:pPr marL="81637" marR="356954" lvl="0" indent="0" algn="l" defTabSz="914400" rtl="0" fontAlgn="auto" hangingPunct="1">
              <a:lnSpc>
                <a:spcPts val="850"/>
              </a:lnSpc>
              <a:spcBef>
                <a:spcPts val="5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TIMBER</a:t>
            </a:r>
            <a:r>
              <a:rPr lang="en-US" sz="728" b="0" i="0" u="none" strike="noStrike" kern="1200" cap="none" spc="7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728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RAME </a:t>
            </a:r>
            <a:r>
              <a:rPr lang="en-US" sz="728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TRUCTURAL</a:t>
            </a:r>
            <a:r>
              <a:rPr lang="en-US" sz="728" b="0" i="0" u="none" strike="noStrike" kern="1200" cap="none" spc="1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728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YSTEM</a:t>
            </a:r>
            <a:endParaRPr lang="en-US" sz="728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None/>
              <a:tabLst>
                <a:tab pos="468245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697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CA:</a:t>
            </a:r>
            <a:r>
              <a:rPr lang="en-US" sz="697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	</a:t>
            </a:r>
            <a:r>
              <a:rPr lang="en-US" sz="697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3,8</a:t>
            </a:r>
            <a:r>
              <a:rPr lang="en-US" sz="697" b="0" i="0" u="none" strike="noStrike" kern="1200" cap="none" spc="-3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697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kg</a:t>
            </a:r>
            <a:r>
              <a:rPr lang="en-US" sz="697" b="0" i="0" u="none" strike="noStrike" kern="1200" cap="none" spc="-3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697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O₂eq/m²/y</a:t>
            </a:r>
            <a:endParaRPr lang="en-US" sz="69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63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OUND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crew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pile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TERRAIN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DECK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ightweight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en</a:t>
            </a:r>
            <a:r>
              <a:rPr lang="en-US" sz="455" b="0" i="0" u="none" strike="noStrike" kern="1200" cap="none" spc="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assette,</a:t>
            </a:r>
            <a:r>
              <a:rPr lang="en-US" sz="455" b="0" i="0" u="none" strike="noStrike" kern="1200" cap="none" spc="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raised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EXTERIOR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ALL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CONSTRUC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en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assette</a:t>
            </a:r>
            <a:r>
              <a:rPr lang="en-US" sz="455" b="0" i="0" u="none" strike="noStrike" kern="1200" cap="none" spc="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th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ulose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insu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ladding,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untreated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INTERIOR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ALL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242590" lvl="0" indent="0" algn="l" defTabSz="914400" rtl="0" fontAlgn="auto" hangingPunct="1">
              <a:lnSpc>
                <a:spcPct val="1099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>
                <a:tab pos="127841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en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rame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th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iber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+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4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1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x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iber </a:t>
            </a: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gypsum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or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plywood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per.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side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LOOR</a:t>
            </a:r>
            <a:r>
              <a:rPr lang="en-US" sz="455" b="0" i="0" u="none" strike="noStrike" kern="1200" cap="none" spc="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DECK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Ribbed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deck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th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isible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beam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ROOF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219099" lvl="0" indent="0" algn="l" defTabSz="914400" rtl="0" fontAlgn="auto" hangingPunct="1">
              <a:lnSpc>
                <a:spcPct val="1099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>
                <a:tab pos="127841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ightweight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en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assette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th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ulose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insu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teelplates,</a:t>
            </a:r>
            <a:r>
              <a:rPr lang="en-US" sz="455" b="0" i="0" u="none" strike="noStrike" kern="1200" cap="none" spc="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inu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NDOW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/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ndows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(incl.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3-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ayer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glass)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254523" lvl="0" indent="0" algn="l" defTabSz="914400" rtl="0" fontAlgn="auto" hangingPunct="1">
              <a:lnSpc>
                <a:spcPct val="1099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>
                <a:tab pos="127841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GGL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th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aluminum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&amp;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(incl.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3-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ayer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glass)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Modular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kylight,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3-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ayer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pane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OLAR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Highly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efficient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olar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s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rom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unpower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Natural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</p:txBody>
      </p:sp>
      <p:sp>
        <p:nvSpPr>
          <p:cNvPr id="2038" name="object 2040">
            <a:extLst>
              <a:ext uri="{FF2B5EF4-FFF2-40B4-BE49-F238E27FC236}">
                <a16:creationId xmlns:a16="http://schemas.microsoft.com/office/drawing/2014/main" id="{6453EC31-9DF7-FC55-3695-808F6C43BA53}"/>
              </a:ext>
            </a:extLst>
          </p:cNvPr>
          <p:cNvSpPr txBox="1"/>
          <p:nvPr/>
        </p:nvSpPr>
        <p:spPr>
          <a:xfrm>
            <a:off x="4181139" y="6303297"/>
            <a:ext cx="329997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edAi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9" name="object 2041">
            <a:extLst>
              <a:ext uri="{FF2B5EF4-FFF2-40B4-BE49-F238E27FC236}">
                <a16:creationId xmlns:a16="http://schemas.microsoft.com/office/drawing/2014/main" id="{4EC8683C-70EA-FC92-6932-02BD0D596DA5}"/>
              </a:ext>
            </a:extLst>
          </p:cNvPr>
          <p:cNvSpPr txBox="1"/>
          <p:nvPr/>
        </p:nvSpPr>
        <p:spPr>
          <a:xfrm>
            <a:off x="4999454" y="6303297"/>
            <a:ext cx="139775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0" name="object 2042">
            <a:extLst>
              <a:ext uri="{FF2B5EF4-FFF2-40B4-BE49-F238E27FC236}">
                <a16:creationId xmlns:a16="http://schemas.microsoft.com/office/drawing/2014/main" id="{CF711F99-2408-4208-A2FB-BFC89DD561B4}"/>
              </a:ext>
            </a:extLst>
          </p:cNvPr>
          <p:cNvSpPr txBox="1"/>
          <p:nvPr/>
        </p:nvSpPr>
        <p:spPr>
          <a:xfrm>
            <a:off x="8285369" y="6303297"/>
            <a:ext cx="352336" cy="1093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500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ain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1" name="object 2043">
            <a:extLst>
              <a:ext uri="{FF2B5EF4-FFF2-40B4-BE49-F238E27FC236}">
                <a16:creationId xmlns:a16="http://schemas.microsoft.com/office/drawing/2014/main" id="{AE521FF8-AB1E-8247-844D-048E5CF19FA1}"/>
              </a:ext>
            </a:extLst>
          </p:cNvPr>
          <p:cNvSpPr txBox="1"/>
          <p:nvPr/>
        </p:nvSpPr>
        <p:spPr>
          <a:xfrm>
            <a:off x="9116211" y="6306324"/>
            <a:ext cx="335392" cy="1093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500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odular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kylight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2" name="object 2044">
            <a:extLst>
              <a:ext uri="{FF2B5EF4-FFF2-40B4-BE49-F238E27FC236}">
                <a16:creationId xmlns:a16="http://schemas.microsoft.com/office/drawing/2014/main" id="{ABE9DBEE-CEE6-E591-47FA-10E306C26568}"/>
              </a:ext>
            </a:extLst>
          </p:cNvPr>
          <p:cNvSpPr txBox="1"/>
          <p:nvPr/>
        </p:nvSpPr>
        <p:spPr>
          <a:xfrm>
            <a:off x="5827315" y="6310228"/>
            <a:ext cx="294958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lock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ri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3" name="object 2045">
            <a:extLst>
              <a:ext uri="{FF2B5EF4-FFF2-40B4-BE49-F238E27FC236}">
                <a16:creationId xmlns:a16="http://schemas.microsoft.com/office/drawing/2014/main" id="{4273B2DF-F282-7D50-8282-9675904F25F2}"/>
              </a:ext>
            </a:extLst>
          </p:cNvPr>
          <p:cNvSpPr txBox="1"/>
          <p:nvPr/>
        </p:nvSpPr>
        <p:spPr>
          <a:xfrm>
            <a:off x="4096201" y="6418191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4" name="object 2046">
            <a:extLst>
              <a:ext uri="{FF2B5EF4-FFF2-40B4-BE49-F238E27FC236}">
                <a16:creationId xmlns:a16="http://schemas.microsoft.com/office/drawing/2014/main" id="{626F6886-35A3-F172-B0BC-743C9BD56C9C}"/>
              </a:ext>
            </a:extLst>
          </p:cNvPr>
          <p:cNvSpPr txBox="1"/>
          <p:nvPr/>
        </p:nvSpPr>
        <p:spPr>
          <a:xfrm>
            <a:off x="4898248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5" name="object 2047">
            <a:extLst>
              <a:ext uri="{FF2B5EF4-FFF2-40B4-BE49-F238E27FC236}">
                <a16:creationId xmlns:a16="http://schemas.microsoft.com/office/drawing/2014/main" id="{06AF4592-F053-291A-B1F2-0890B0E260C4}"/>
              </a:ext>
            </a:extLst>
          </p:cNvPr>
          <p:cNvSpPr txBox="1"/>
          <p:nvPr/>
        </p:nvSpPr>
        <p:spPr>
          <a:xfrm>
            <a:off x="5721547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6" name="object 2048">
            <a:extLst>
              <a:ext uri="{FF2B5EF4-FFF2-40B4-BE49-F238E27FC236}">
                <a16:creationId xmlns:a16="http://schemas.microsoft.com/office/drawing/2014/main" id="{22C7E2D4-B1F4-8616-03BE-12063C3A23EB}"/>
              </a:ext>
            </a:extLst>
          </p:cNvPr>
          <p:cNvSpPr txBox="1"/>
          <p:nvPr/>
        </p:nvSpPr>
        <p:spPr>
          <a:xfrm>
            <a:off x="8196827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7" name="object 2049">
            <a:extLst>
              <a:ext uri="{FF2B5EF4-FFF2-40B4-BE49-F238E27FC236}">
                <a16:creationId xmlns:a16="http://schemas.microsoft.com/office/drawing/2014/main" id="{FF45AD48-36B1-B448-7F39-36566A5F1A3B}"/>
              </a:ext>
            </a:extLst>
          </p:cNvPr>
          <p:cNvSpPr txBox="1"/>
          <p:nvPr/>
        </p:nvSpPr>
        <p:spPr>
          <a:xfrm>
            <a:off x="9026133" y="6424821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9" name="object 2038">
            <a:extLst>
              <a:ext uri="{FF2B5EF4-FFF2-40B4-BE49-F238E27FC236}">
                <a16:creationId xmlns:a16="http://schemas.microsoft.com/office/drawing/2014/main" id="{10DB7B32-DE47-D7A1-925B-4D3CB7DEA91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7886" y="796542"/>
            <a:ext cx="1668524" cy="1240801"/>
          </a:xfrm>
        </p:spPr>
        <p:txBody>
          <a:bodyPr wrap="square" tIns="7315">
            <a:spAutoFit/>
          </a:bodyPr>
          <a:lstStyle/>
          <a:p>
            <a:pPr marL="7699" marR="3081" lvl="0">
              <a:lnSpc>
                <a:spcPct val="100800"/>
              </a:lnSpc>
              <a:spcBef>
                <a:spcPts val="60"/>
              </a:spcBef>
            </a:pPr>
            <a:r>
              <a:rPr lang="en-US" sz="2000" b="1" spc="-185" dirty="0">
                <a:solidFill>
                  <a:srgbClr val="000000"/>
                </a:solidFill>
                <a:latin typeface="VeluxForOffice"/>
              </a:rPr>
              <a:t>Simple</a:t>
            </a:r>
            <a:r>
              <a:rPr lang="en-US" sz="2000" b="1" spc="-49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273" dirty="0">
                <a:solidFill>
                  <a:srgbClr val="000000"/>
                </a:solidFill>
                <a:latin typeface="VeluxForOffice"/>
              </a:rPr>
              <a:t>LCA </a:t>
            </a:r>
            <a:r>
              <a:rPr lang="en-US" sz="2000" b="1" spc="-191" dirty="0">
                <a:solidFill>
                  <a:srgbClr val="000000"/>
                </a:solidFill>
                <a:latin typeface="VeluxForOffice"/>
              </a:rPr>
              <a:t>comparison</a:t>
            </a:r>
            <a:r>
              <a:rPr lang="en-US" sz="2000" b="1" spc="-55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173" dirty="0">
                <a:solidFill>
                  <a:srgbClr val="000000"/>
                </a:solidFill>
                <a:latin typeface="VeluxForOffice"/>
              </a:rPr>
              <a:t>tool</a:t>
            </a:r>
            <a:r>
              <a:rPr lang="en-US" sz="2000" b="1" spc="-55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30" dirty="0">
                <a:solidFill>
                  <a:srgbClr val="000000"/>
                </a:solidFill>
                <a:latin typeface="VeluxForOffice"/>
              </a:rPr>
              <a:t>- </a:t>
            </a:r>
            <a:r>
              <a:rPr lang="en-US" sz="2000" b="1" spc="-173" dirty="0">
                <a:solidFill>
                  <a:srgbClr val="000000"/>
                </a:solidFill>
                <a:latin typeface="VeluxForOffice"/>
              </a:rPr>
              <a:t>Living</a:t>
            </a:r>
            <a:r>
              <a:rPr lang="en-US" sz="2000" b="1" spc="-61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188" dirty="0">
                <a:solidFill>
                  <a:srgbClr val="000000"/>
                </a:solidFill>
                <a:latin typeface="VeluxForOffice"/>
              </a:rPr>
              <a:t>places </a:t>
            </a:r>
            <a:r>
              <a:rPr lang="en-US" sz="2000" b="1" spc="-182" dirty="0">
                <a:solidFill>
                  <a:srgbClr val="000000"/>
                </a:solidFill>
                <a:latin typeface="VeluxForOffice"/>
              </a:rPr>
              <a:t>Timber</a:t>
            </a:r>
            <a:r>
              <a:rPr lang="en-US" sz="2000" b="1" spc="-49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188" dirty="0">
                <a:solidFill>
                  <a:srgbClr val="000000"/>
                </a:solidFill>
                <a:latin typeface="VeluxForOffice"/>
              </a:rPr>
              <a:t>frame</a:t>
            </a:r>
            <a:endParaRPr lang="en-US" sz="2000" b="1" dirty="0">
              <a:latin typeface="VeluxForOffice"/>
            </a:endParaRPr>
          </a:p>
        </p:txBody>
      </p:sp>
      <p:sp>
        <p:nvSpPr>
          <p:cNvPr id="2050" name="object 2039">
            <a:extLst>
              <a:ext uri="{FF2B5EF4-FFF2-40B4-BE49-F238E27FC236}">
                <a16:creationId xmlns:a16="http://schemas.microsoft.com/office/drawing/2014/main" id="{31BD944F-7A16-28D6-BD06-3D018B7461A4}"/>
              </a:ext>
            </a:extLst>
          </p:cNvPr>
          <p:cNvSpPr txBox="1"/>
          <p:nvPr/>
        </p:nvSpPr>
        <p:spPr>
          <a:xfrm>
            <a:off x="598074" y="2167072"/>
            <a:ext cx="1480962" cy="10465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76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diagram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shows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choices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e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ave mad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for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imber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frame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building system and 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hat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 </a:t>
            </a:r>
            <a:r>
              <a:rPr lang="en-US" sz="1050" b="0" i="0" u="none" strike="noStrike" kern="1200" cap="none" spc="-27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environmental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impact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of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is</a:t>
            </a:r>
            <a:r>
              <a:rPr lang="en-US" sz="1050" b="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home </a:t>
            </a:r>
            <a:r>
              <a:rPr lang="en-US" sz="1050" b="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would</a:t>
            </a:r>
            <a:r>
              <a:rPr lang="en-US" sz="1050" b="0" i="0" u="none" strike="noStrike" kern="1200" cap="none" spc="-33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Verdana"/>
              </a:rPr>
              <a:t>be.</a:t>
            </a:r>
            <a:endParaRPr lang="en-US" sz="105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2051" name="object 2036">
            <a:extLst>
              <a:ext uri="{FF2B5EF4-FFF2-40B4-BE49-F238E27FC236}">
                <a16:creationId xmlns:a16="http://schemas.microsoft.com/office/drawing/2014/main" id="{F569276E-7B1A-B0FF-5E9D-4CD7E2E0FB27}"/>
              </a:ext>
            </a:extLst>
          </p:cNvPr>
          <p:cNvSpPr txBox="1"/>
          <p:nvPr/>
        </p:nvSpPr>
        <p:spPr>
          <a:xfrm>
            <a:off x="11755745" y="6504593"/>
            <a:ext cx="50635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EB47A1F-B231-454C-9ADB-BF7D6CCBDA07}" type="slidenum">
              <a:rPr sz="1400">
                <a:solidFill>
                  <a:schemeClr val="bg1">
                    <a:lumMod val="65000"/>
                  </a:schemeClr>
                </a:solidFill>
              </a:rPr>
              <a:t>20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4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>
            <a:extLst>
              <a:ext uri="{FF2B5EF4-FFF2-40B4-BE49-F238E27FC236}">
                <a16:creationId xmlns:a16="http://schemas.microsoft.com/office/drawing/2014/main" id="{7367E923-9801-704E-520A-FC7BA4135CB0}"/>
              </a:ext>
            </a:extLst>
          </p:cNvPr>
          <p:cNvGrpSpPr/>
          <p:nvPr/>
        </p:nvGrpSpPr>
        <p:grpSpPr>
          <a:xfrm>
            <a:off x="10316260" y="2196891"/>
            <a:ext cx="454721" cy="158648"/>
            <a:chOff x="10316260" y="2196891"/>
            <a:chExt cx="454721" cy="158648"/>
          </a:xfrm>
        </p:grpSpPr>
        <p:sp>
          <p:nvSpPr>
            <p:cNvPr id="3" name="object 3">
              <a:extLst>
                <a:ext uri="{FF2B5EF4-FFF2-40B4-BE49-F238E27FC236}">
                  <a16:creationId xmlns:a16="http://schemas.microsoft.com/office/drawing/2014/main" id="{9ABF9D43-934A-5E58-DFE0-B8672D49AFE5}"/>
                </a:ext>
              </a:extLst>
            </p:cNvPr>
            <p:cNvSpPr/>
            <p:nvPr/>
          </p:nvSpPr>
          <p:spPr>
            <a:xfrm>
              <a:off x="10316260" y="2276042"/>
              <a:ext cx="341162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41167"/>
                <a:gd name="f5" fmla="val 340800"/>
                <a:gd name="f6" fmla="abs f0"/>
                <a:gd name="f7" fmla="abs f1"/>
                <a:gd name="f8" fmla="abs f2"/>
                <a:gd name="f9" fmla="*/ f0 1 341167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341167"/>
                <a:gd name="f16" fmla="*/ f10 1 0"/>
                <a:gd name="f17" fmla="*/ f12 1 341167"/>
                <a:gd name="f18" fmla="*/ f13 1 21600"/>
                <a:gd name="f19" fmla="*/ 21600 f13 1"/>
                <a:gd name="f20" fmla="*/ 0 1 f15"/>
                <a:gd name="f21" fmla="*/ 341167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341167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B58A5CA9-7E11-1EB6-D12D-510373CA5295}"/>
                </a:ext>
              </a:extLst>
            </p:cNvPr>
            <p:cNvSpPr/>
            <p:nvPr/>
          </p:nvSpPr>
          <p:spPr>
            <a:xfrm>
              <a:off x="10633895" y="2196891"/>
              <a:ext cx="137086" cy="158648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6059"/>
                <a:gd name="f4" fmla="val 261620"/>
                <a:gd name="f5" fmla="val 261028"/>
                <a:gd name="f6" fmla="val 226035"/>
                <a:gd name="f7" fmla="val 130530"/>
                <a:gd name="f8" fmla="*/ f0 1 226059"/>
                <a:gd name="f9" fmla="*/ f1 1 261620"/>
                <a:gd name="f10" fmla="+- f4 0 f2"/>
                <a:gd name="f11" fmla="+- f3 0 f2"/>
                <a:gd name="f12" fmla="*/ f11 1 226059"/>
                <a:gd name="f13" fmla="*/ f10 1 261620"/>
                <a:gd name="f14" fmla="*/ f2 1 f12"/>
                <a:gd name="f15" fmla="*/ f3 1 f12"/>
                <a:gd name="f16" fmla="*/ f2 1 f13"/>
                <a:gd name="f17" fmla="*/ f4 1 f13"/>
                <a:gd name="f18" fmla="*/ f14 f8 1"/>
                <a:gd name="f19" fmla="*/ f15 f8 1"/>
                <a:gd name="f20" fmla="*/ f17 f9 1"/>
                <a:gd name="f21" fmla="*/ f16 f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8" t="f21" r="f19" b="f20"/>
              <a:pathLst>
                <a:path w="226059" h="261620">
                  <a:moveTo>
                    <a:pt x="f2" y="f2"/>
                  </a:moveTo>
                  <a:lnTo>
                    <a:pt x="f2" y="f5"/>
                  </a:lnTo>
                  <a:lnTo>
                    <a:pt x="f6" y="f7"/>
                  </a:lnTo>
                  <a:lnTo>
                    <a:pt x="f2" y="f2"/>
                  </a:lnTo>
                  <a:close/>
                </a:path>
              </a:pathLst>
            </a:custGeom>
            <a:solidFill>
              <a:srgbClr val="E29023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5" name="object 5">
            <a:extLst>
              <a:ext uri="{FF2B5EF4-FFF2-40B4-BE49-F238E27FC236}">
                <a16:creationId xmlns:a16="http://schemas.microsoft.com/office/drawing/2014/main" id="{F3C4579F-5F54-F89F-98BC-5C9DDB884BDA}"/>
              </a:ext>
            </a:extLst>
          </p:cNvPr>
          <p:cNvSpPr/>
          <p:nvPr/>
        </p:nvSpPr>
        <p:spPr>
          <a:xfrm>
            <a:off x="2722571" y="55773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ECD4C197-AF88-CEE4-E8DF-6C7B82FEA426}"/>
              </a:ext>
            </a:extLst>
          </p:cNvPr>
          <p:cNvSpPr/>
          <p:nvPr/>
        </p:nvSpPr>
        <p:spPr>
          <a:xfrm>
            <a:off x="3544717" y="55773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608A0575-08ED-EBE5-748F-D3978127E602}"/>
              </a:ext>
            </a:extLst>
          </p:cNvPr>
          <p:cNvSpPr/>
          <p:nvPr/>
        </p:nvSpPr>
        <p:spPr>
          <a:xfrm>
            <a:off x="5187254" y="573456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5EF98586-1DDF-3E96-34A0-CF622AD2F496}"/>
              </a:ext>
            </a:extLst>
          </p:cNvPr>
          <p:cNvSpPr/>
          <p:nvPr/>
        </p:nvSpPr>
        <p:spPr>
          <a:xfrm>
            <a:off x="6008696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9132EF64-BCC4-C60F-FAE9-D54630A01187}"/>
              </a:ext>
            </a:extLst>
          </p:cNvPr>
          <p:cNvSpPr/>
          <p:nvPr/>
        </p:nvSpPr>
        <p:spPr>
          <a:xfrm>
            <a:off x="6831198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69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B28E008D-AE4D-42A8-BC7B-0DB27AF04D0C}"/>
              </a:ext>
            </a:extLst>
          </p:cNvPr>
          <p:cNvSpPr/>
          <p:nvPr/>
        </p:nvSpPr>
        <p:spPr>
          <a:xfrm>
            <a:off x="7653098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69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6B3302BC-A729-2000-69CB-D6F61BE480BA}"/>
              </a:ext>
            </a:extLst>
          </p:cNvPr>
          <p:cNvSpPr/>
          <p:nvPr/>
        </p:nvSpPr>
        <p:spPr>
          <a:xfrm>
            <a:off x="10118073" y="3773692"/>
            <a:ext cx="0" cy="249868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2498684"/>
              <a:gd name="f5" fmla="val 2498314"/>
              <a:gd name="f6" fmla="abs f0"/>
              <a:gd name="f7" fmla="abs f1"/>
              <a:gd name="f8" fmla="abs f2"/>
              <a:gd name="f9" fmla="*/ f1 1 2498684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2498684"/>
              <a:gd name="f17" fmla="*/ f12 1 21600"/>
              <a:gd name="f18" fmla="*/ f13 1 2498684"/>
              <a:gd name="f19" fmla="*/ 21600 f12 1"/>
              <a:gd name="f20" fmla="*/ 0 1 f15"/>
              <a:gd name="f21" fmla="*/ 1 1 f15"/>
              <a:gd name="f22" fmla="*/ 0 1 f16"/>
              <a:gd name="f23" fmla="*/ 2498684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2498684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6DA43A22-FA85-CA6D-0492-F08716E5E072}"/>
              </a:ext>
            </a:extLst>
          </p:cNvPr>
          <p:cNvSpPr/>
          <p:nvPr/>
        </p:nvSpPr>
        <p:spPr>
          <a:xfrm>
            <a:off x="10118018" y="574828"/>
            <a:ext cx="0" cy="1755894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1755894"/>
              <a:gd name="f5" fmla="val 1755841"/>
              <a:gd name="f6" fmla="abs f0"/>
              <a:gd name="f7" fmla="abs f1"/>
              <a:gd name="f8" fmla="abs f2"/>
              <a:gd name="f9" fmla="*/ f1 1 1755894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1755894"/>
              <a:gd name="f17" fmla="*/ f12 1 21600"/>
              <a:gd name="f18" fmla="*/ f13 1 1755894"/>
              <a:gd name="f19" fmla="*/ 21600 f12 1"/>
              <a:gd name="f20" fmla="*/ 0 1 f15"/>
              <a:gd name="f21" fmla="*/ 1 1 f15"/>
              <a:gd name="f22" fmla="*/ 0 1 f16"/>
              <a:gd name="f23" fmla="*/ 1755894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1755894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C91FA857-6DA5-7010-E82C-0B20F4EC1E17}"/>
              </a:ext>
            </a:extLst>
          </p:cNvPr>
          <p:cNvSpPr/>
          <p:nvPr/>
        </p:nvSpPr>
        <p:spPr>
          <a:xfrm>
            <a:off x="8474275" y="57482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5E6C03E8-DC00-D145-A2C1-F54EE70F0E8D}"/>
              </a:ext>
            </a:extLst>
          </p:cNvPr>
          <p:cNvSpPr/>
          <p:nvPr/>
        </p:nvSpPr>
        <p:spPr>
          <a:xfrm>
            <a:off x="9296887" y="573465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EA2B5C04-2699-683A-187D-D2E8D3E544EC}"/>
              </a:ext>
            </a:extLst>
          </p:cNvPr>
          <p:cNvSpPr/>
          <p:nvPr/>
        </p:nvSpPr>
        <p:spPr>
          <a:xfrm>
            <a:off x="4365135" y="557738"/>
            <a:ext cx="0" cy="569741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5697415"/>
              <a:gd name="f5" fmla="val 5697175"/>
              <a:gd name="f6" fmla="abs f0"/>
              <a:gd name="f7" fmla="abs f1"/>
              <a:gd name="f8" fmla="abs f2"/>
              <a:gd name="f9" fmla="*/ f1 1 5697415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5697415"/>
              <a:gd name="f17" fmla="*/ f12 1 21600"/>
              <a:gd name="f18" fmla="*/ f13 1 5697415"/>
              <a:gd name="f19" fmla="*/ 21600 f12 1"/>
              <a:gd name="f20" fmla="*/ 0 1 f15"/>
              <a:gd name="f21" fmla="*/ 1 1 f15"/>
              <a:gd name="f22" fmla="*/ 0 1 f16"/>
              <a:gd name="f23" fmla="*/ 5697415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5697415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3172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102B3234-C51A-A9BB-184C-244A1D774D1B}"/>
              </a:ext>
            </a:extLst>
          </p:cNvPr>
          <p:cNvSpPr txBox="1"/>
          <p:nvPr/>
        </p:nvSpPr>
        <p:spPr>
          <a:xfrm>
            <a:off x="2450454" y="106778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id="{6285B73F-5C56-4934-DCEA-DB239CE788A3}"/>
              </a:ext>
            </a:extLst>
          </p:cNvPr>
          <p:cNvSpPr txBox="1"/>
          <p:nvPr/>
        </p:nvSpPr>
        <p:spPr>
          <a:xfrm>
            <a:off x="2450454" y="182971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id="{BED5F784-6289-8514-F09A-068D57A148DD}"/>
              </a:ext>
            </a:extLst>
          </p:cNvPr>
          <p:cNvSpPr txBox="1"/>
          <p:nvPr/>
        </p:nvSpPr>
        <p:spPr>
          <a:xfrm>
            <a:off x="2450454" y="259586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E4C78321-04F3-6CBD-432B-BF77ADB30C07}"/>
              </a:ext>
            </a:extLst>
          </p:cNvPr>
          <p:cNvSpPr txBox="1"/>
          <p:nvPr/>
        </p:nvSpPr>
        <p:spPr>
          <a:xfrm>
            <a:off x="2450454" y="336064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3D624C26-11C0-B2A3-B0FD-8BADD7E60C9F}"/>
              </a:ext>
            </a:extLst>
          </p:cNvPr>
          <p:cNvSpPr txBox="1"/>
          <p:nvPr/>
        </p:nvSpPr>
        <p:spPr>
          <a:xfrm>
            <a:off x="3272957" y="106721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69C36EB6-C86F-A858-CD3D-D9DDAA135D13}"/>
              </a:ext>
            </a:extLst>
          </p:cNvPr>
          <p:cNvSpPr txBox="1"/>
          <p:nvPr/>
        </p:nvSpPr>
        <p:spPr>
          <a:xfrm>
            <a:off x="3272957" y="18291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69FC3A90-8707-BEBE-59AF-DFFE49603AF0}"/>
              </a:ext>
            </a:extLst>
          </p:cNvPr>
          <p:cNvSpPr txBox="1"/>
          <p:nvPr/>
        </p:nvSpPr>
        <p:spPr>
          <a:xfrm>
            <a:off x="3272957" y="25952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4197DDD7-EBF3-437B-D652-F49D2E9BDFF8}"/>
              </a:ext>
            </a:extLst>
          </p:cNvPr>
          <p:cNvSpPr txBox="1"/>
          <p:nvPr/>
        </p:nvSpPr>
        <p:spPr>
          <a:xfrm>
            <a:off x="3272957" y="336008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DE3F5A9E-3B79-2DFC-4B85-39ED535C9F71}"/>
              </a:ext>
            </a:extLst>
          </p:cNvPr>
          <p:cNvSpPr txBox="1"/>
          <p:nvPr/>
        </p:nvSpPr>
        <p:spPr>
          <a:xfrm>
            <a:off x="3272957" y="412812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" name="object 25">
            <a:extLst>
              <a:ext uri="{FF2B5EF4-FFF2-40B4-BE49-F238E27FC236}">
                <a16:creationId xmlns:a16="http://schemas.microsoft.com/office/drawing/2014/main" id="{BF324FC3-4490-7001-24F3-7DC229AE9AE5}"/>
              </a:ext>
            </a:extLst>
          </p:cNvPr>
          <p:cNvSpPr txBox="1"/>
          <p:nvPr/>
        </p:nvSpPr>
        <p:spPr>
          <a:xfrm>
            <a:off x="3272957" y="488867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962BD46F-DC6A-C0CC-62CC-A910F6F8997A}"/>
              </a:ext>
            </a:extLst>
          </p:cNvPr>
          <p:cNvSpPr txBox="1"/>
          <p:nvPr/>
        </p:nvSpPr>
        <p:spPr>
          <a:xfrm>
            <a:off x="4096201" y="10677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889C3AA9-9D2E-5811-8E74-7CD114FCB5F9}"/>
              </a:ext>
            </a:extLst>
          </p:cNvPr>
          <p:cNvSpPr txBox="1"/>
          <p:nvPr/>
        </p:nvSpPr>
        <p:spPr>
          <a:xfrm>
            <a:off x="4096201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987C3F88-AEE9-5708-6A0A-D4D60B963306}"/>
              </a:ext>
            </a:extLst>
          </p:cNvPr>
          <p:cNvSpPr txBox="1"/>
          <p:nvPr/>
        </p:nvSpPr>
        <p:spPr>
          <a:xfrm>
            <a:off x="4096201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9" name="object 29">
            <a:extLst>
              <a:ext uri="{FF2B5EF4-FFF2-40B4-BE49-F238E27FC236}">
                <a16:creationId xmlns:a16="http://schemas.microsoft.com/office/drawing/2014/main" id="{8FD00659-CD2A-8195-ABF0-043C3CA5484E}"/>
              </a:ext>
            </a:extLst>
          </p:cNvPr>
          <p:cNvSpPr txBox="1"/>
          <p:nvPr/>
        </p:nvSpPr>
        <p:spPr>
          <a:xfrm>
            <a:off x="4096201" y="336059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0" name="object 30">
            <a:extLst>
              <a:ext uri="{FF2B5EF4-FFF2-40B4-BE49-F238E27FC236}">
                <a16:creationId xmlns:a16="http://schemas.microsoft.com/office/drawing/2014/main" id="{97CBD6F2-2F52-FE19-01C2-1D04FFF91527}"/>
              </a:ext>
            </a:extLst>
          </p:cNvPr>
          <p:cNvSpPr txBox="1"/>
          <p:nvPr/>
        </p:nvSpPr>
        <p:spPr>
          <a:xfrm>
            <a:off x="4096201" y="412863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1" name="object 31">
            <a:extLst>
              <a:ext uri="{FF2B5EF4-FFF2-40B4-BE49-F238E27FC236}">
                <a16:creationId xmlns:a16="http://schemas.microsoft.com/office/drawing/2014/main" id="{8B2336D8-CFD7-F27C-4D1C-F9F053BA2E99}"/>
              </a:ext>
            </a:extLst>
          </p:cNvPr>
          <p:cNvSpPr txBox="1"/>
          <p:nvPr/>
        </p:nvSpPr>
        <p:spPr>
          <a:xfrm>
            <a:off x="4080317" y="4889196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4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2" name="object 32">
            <a:extLst>
              <a:ext uri="{FF2B5EF4-FFF2-40B4-BE49-F238E27FC236}">
                <a16:creationId xmlns:a16="http://schemas.microsoft.com/office/drawing/2014/main" id="{9E75D274-2E7B-5C5A-DBAF-66359F69FD9C}"/>
              </a:ext>
            </a:extLst>
          </p:cNvPr>
          <p:cNvSpPr txBox="1"/>
          <p:nvPr/>
        </p:nvSpPr>
        <p:spPr>
          <a:xfrm>
            <a:off x="4064087" y="5651403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2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3" name="object 33">
            <a:extLst>
              <a:ext uri="{FF2B5EF4-FFF2-40B4-BE49-F238E27FC236}">
                <a16:creationId xmlns:a16="http://schemas.microsoft.com/office/drawing/2014/main" id="{B4942615-4786-8570-998C-A6E9F6691E18}"/>
              </a:ext>
            </a:extLst>
          </p:cNvPr>
          <p:cNvSpPr txBox="1"/>
          <p:nvPr/>
        </p:nvSpPr>
        <p:spPr>
          <a:xfrm>
            <a:off x="4914479" y="1067726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4" name="object 34">
            <a:extLst>
              <a:ext uri="{FF2B5EF4-FFF2-40B4-BE49-F238E27FC236}">
                <a16:creationId xmlns:a16="http://schemas.microsoft.com/office/drawing/2014/main" id="{BD710397-D9A2-E098-105B-97AEDF0FCFA2}"/>
              </a:ext>
            </a:extLst>
          </p:cNvPr>
          <p:cNvSpPr txBox="1"/>
          <p:nvPr/>
        </p:nvSpPr>
        <p:spPr>
          <a:xfrm>
            <a:off x="4914479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5" name="object 35">
            <a:extLst>
              <a:ext uri="{FF2B5EF4-FFF2-40B4-BE49-F238E27FC236}">
                <a16:creationId xmlns:a16="http://schemas.microsoft.com/office/drawing/2014/main" id="{3B2C6DF4-1CA4-2CC1-C08C-6F2C2A1F9209}"/>
              </a:ext>
            </a:extLst>
          </p:cNvPr>
          <p:cNvSpPr txBox="1"/>
          <p:nvPr/>
        </p:nvSpPr>
        <p:spPr>
          <a:xfrm>
            <a:off x="4914479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6" name="object 36">
            <a:extLst>
              <a:ext uri="{FF2B5EF4-FFF2-40B4-BE49-F238E27FC236}">
                <a16:creationId xmlns:a16="http://schemas.microsoft.com/office/drawing/2014/main" id="{47B29E95-92D4-757D-5590-AB800C471706}"/>
              </a:ext>
            </a:extLst>
          </p:cNvPr>
          <p:cNvSpPr txBox="1"/>
          <p:nvPr/>
        </p:nvSpPr>
        <p:spPr>
          <a:xfrm>
            <a:off x="4914479" y="336059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7" name="object 37">
            <a:extLst>
              <a:ext uri="{FF2B5EF4-FFF2-40B4-BE49-F238E27FC236}">
                <a16:creationId xmlns:a16="http://schemas.microsoft.com/office/drawing/2014/main" id="{EF95B40E-D849-A4E1-780F-724431621856}"/>
              </a:ext>
            </a:extLst>
          </p:cNvPr>
          <p:cNvSpPr txBox="1"/>
          <p:nvPr/>
        </p:nvSpPr>
        <p:spPr>
          <a:xfrm>
            <a:off x="4914479" y="412863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8" name="object 38">
            <a:extLst>
              <a:ext uri="{FF2B5EF4-FFF2-40B4-BE49-F238E27FC236}">
                <a16:creationId xmlns:a16="http://schemas.microsoft.com/office/drawing/2014/main" id="{806F20DA-2097-53A5-5609-E511BE92545A}"/>
              </a:ext>
            </a:extLst>
          </p:cNvPr>
          <p:cNvSpPr txBox="1"/>
          <p:nvPr/>
        </p:nvSpPr>
        <p:spPr>
          <a:xfrm>
            <a:off x="4917679" y="488919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9" name="object 39">
            <a:extLst>
              <a:ext uri="{FF2B5EF4-FFF2-40B4-BE49-F238E27FC236}">
                <a16:creationId xmlns:a16="http://schemas.microsoft.com/office/drawing/2014/main" id="{201F5B96-A754-39DC-802F-9087F026BC73}"/>
              </a:ext>
            </a:extLst>
          </p:cNvPr>
          <p:cNvSpPr txBox="1"/>
          <p:nvPr/>
        </p:nvSpPr>
        <p:spPr>
          <a:xfrm>
            <a:off x="4898303" y="565140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0" name="object 40">
            <a:extLst>
              <a:ext uri="{FF2B5EF4-FFF2-40B4-BE49-F238E27FC236}">
                <a16:creationId xmlns:a16="http://schemas.microsoft.com/office/drawing/2014/main" id="{F31E2E97-62CA-EB16-DDE0-15FF3744747A}"/>
              </a:ext>
            </a:extLst>
          </p:cNvPr>
          <p:cNvSpPr txBox="1"/>
          <p:nvPr/>
        </p:nvSpPr>
        <p:spPr>
          <a:xfrm>
            <a:off x="5737832" y="10677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1" name="object 41">
            <a:extLst>
              <a:ext uri="{FF2B5EF4-FFF2-40B4-BE49-F238E27FC236}">
                <a16:creationId xmlns:a16="http://schemas.microsoft.com/office/drawing/2014/main" id="{E50E8B09-E139-5707-62E7-0FDDC8CD15E9}"/>
              </a:ext>
            </a:extLst>
          </p:cNvPr>
          <p:cNvSpPr txBox="1"/>
          <p:nvPr/>
        </p:nvSpPr>
        <p:spPr>
          <a:xfrm>
            <a:off x="5737832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2" name="object 42">
            <a:extLst>
              <a:ext uri="{FF2B5EF4-FFF2-40B4-BE49-F238E27FC236}">
                <a16:creationId xmlns:a16="http://schemas.microsoft.com/office/drawing/2014/main" id="{25491BAA-2006-D5B6-F240-67B6E70EC6DE}"/>
              </a:ext>
            </a:extLst>
          </p:cNvPr>
          <p:cNvSpPr txBox="1"/>
          <p:nvPr/>
        </p:nvSpPr>
        <p:spPr>
          <a:xfrm>
            <a:off x="5737832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3" name="object 43">
            <a:extLst>
              <a:ext uri="{FF2B5EF4-FFF2-40B4-BE49-F238E27FC236}">
                <a16:creationId xmlns:a16="http://schemas.microsoft.com/office/drawing/2014/main" id="{F538580A-BD6C-E1BD-BA19-3F06DF2CA144}"/>
              </a:ext>
            </a:extLst>
          </p:cNvPr>
          <p:cNvSpPr txBox="1"/>
          <p:nvPr/>
        </p:nvSpPr>
        <p:spPr>
          <a:xfrm>
            <a:off x="5737832" y="3360593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4" name="object 44">
            <a:extLst>
              <a:ext uri="{FF2B5EF4-FFF2-40B4-BE49-F238E27FC236}">
                <a16:creationId xmlns:a16="http://schemas.microsoft.com/office/drawing/2014/main" id="{884B0058-9FF7-EDA9-7CD3-DF589D68BC56}"/>
              </a:ext>
            </a:extLst>
          </p:cNvPr>
          <p:cNvSpPr txBox="1"/>
          <p:nvPr/>
        </p:nvSpPr>
        <p:spPr>
          <a:xfrm>
            <a:off x="6553879" y="106772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5" name="object 45">
            <a:extLst>
              <a:ext uri="{FF2B5EF4-FFF2-40B4-BE49-F238E27FC236}">
                <a16:creationId xmlns:a16="http://schemas.microsoft.com/office/drawing/2014/main" id="{EEB23B71-F64C-3384-A4E1-662965B614CD}"/>
              </a:ext>
            </a:extLst>
          </p:cNvPr>
          <p:cNvSpPr txBox="1"/>
          <p:nvPr/>
        </p:nvSpPr>
        <p:spPr>
          <a:xfrm>
            <a:off x="6553879" y="182965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5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6" name="object 46">
            <a:extLst>
              <a:ext uri="{FF2B5EF4-FFF2-40B4-BE49-F238E27FC236}">
                <a16:creationId xmlns:a16="http://schemas.microsoft.com/office/drawing/2014/main" id="{D9E935C2-8C24-950E-4C79-E40EB1A1B300}"/>
              </a:ext>
            </a:extLst>
          </p:cNvPr>
          <p:cNvSpPr txBox="1"/>
          <p:nvPr/>
        </p:nvSpPr>
        <p:spPr>
          <a:xfrm>
            <a:off x="6557080" y="2595807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7" name="object 47">
            <a:extLst>
              <a:ext uri="{FF2B5EF4-FFF2-40B4-BE49-F238E27FC236}">
                <a16:creationId xmlns:a16="http://schemas.microsoft.com/office/drawing/2014/main" id="{969B8B1A-C289-E469-8AC6-F095565A0A11}"/>
              </a:ext>
            </a:extLst>
          </p:cNvPr>
          <p:cNvSpPr txBox="1"/>
          <p:nvPr/>
        </p:nvSpPr>
        <p:spPr>
          <a:xfrm>
            <a:off x="7382957" y="106767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8" name="object 48">
            <a:extLst>
              <a:ext uri="{FF2B5EF4-FFF2-40B4-BE49-F238E27FC236}">
                <a16:creationId xmlns:a16="http://schemas.microsoft.com/office/drawing/2014/main" id="{15ECBF64-A03C-7B63-10C8-6B52C98A2D4D}"/>
              </a:ext>
            </a:extLst>
          </p:cNvPr>
          <p:cNvSpPr txBox="1"/>
          <p:nvPr/>
        </p:nvSpPr>
        <p:spPr>
          <a:xfrm>
            <a:off x="7382957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9" name="object 49">
            <a:extLst>
              <a:ext uri="{FF2B5EF4-FFF2-40B4-BE49-F238E27FC236}">
                <a16:creationId xmlns:a16="http://schemas.microsoft.com/office/drawing/2014/main" id="{DB32E2B8-AE93-2B53-366F-A6B93DA74275}"/>
              </a:ext>
            </a:extLst>
          </p:cNvPr>
          <p:cNvSpPr txBox="1"/>
          <p:nvPr/>
        </p:nvSpPr>
        <p:spPr>
          <a:xfrm>
            <a:off x="7386157" y="259575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0" name="object 50">
            <a:extLst>
              <a:ext uri="{FF2B5EF4-FFF2-40B4-BE49-F238E27FC236}">
                <a16:creationId xmlns:a16="http://schemas.microsoft.com/office/drawing/2014/main" id="{C0166877-BD78-4109-D973-68AB9042543C}"/>
              </a:ext>
            </a:extLst>
          </p:cNvPr>
          <p:cNvSpPr txBox="1"/>
          <p:nvPr/>
        </p:nvSpPr>
        <p:spPr>
          <a:xfrm>
            <a:off x="6553879" y="33605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1" name="object 51">
            <a:extLst>
              <a:ext uri="{FF2B5EF4-FFF2-40B4-BE49-F238E27FC236}">
                <a16:creationId xmlns:a16="http://schemas.microsoft.com/office/drawing/2014/main" id="{E1AFF31B-BA66-186D-65CC-F681C05D143B}"/>
              </a:ext>
            </a:extLst>
          </p:cNvPr>
          <p:cNvSpPr txBox="1"/>
          <p:nvPr/>
        </p:nvSpPr>
        <p:spPr>
          <a:xfrm>
            <a:off x="5734696" y="4128580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2" name="object 52">
            <a:extLst>
              <a:ext uri="{FF2B5EF4-FFF2-40B4-BE49-F238E27FC236}">
                <a16:creationId xmlns:a16="http://schemas.microsoft.com/office/drawing/2014/main" id="{3C185A59-4E38-E4D2-C9AE-D7649C0AE2CE}"/>
              </a:ext>
            </a:extLst>
          </p:cNvPr>
          <p:cNvSpPr txBox="1"/>
          <p:nvPr/>
        </p:nvSpPr>
        <p:spPr>
          <a:xfrm>
            <a:off x="5731495" y="488913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3" name="object 53">
            <a:extLst>
              <a:ext uri="{FF2B5EF4-FFF2-40B4-BE49-F238E27FC236}">
                <a16:creationId xmlns:a16="http://schemas.microsoft.com/office/drawing/2014/main" id="{A61598A3-27DD-6503-523B-FEB5EE9AC7B6}"/>
              </a:ext>
            </a:extLst>
          </p:cNvPr>
          <p:cNvSpPr txBox="1"/>
          <p:nvPr/>
        </p:nvSpPr>
        <p:spPr>
          <a:xfrm>
            <a:off x="8200714" y="1067671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4" name="object 54">
            <a:extLst>
              <a:ext uri="{FF2B5EF4-FFF2-40B4-BE49-F238E27FC236}">
                <a16:creationId xmlns:a16="http://schemas.microsoft.com/office/drawing/2014/main" id="{14A81AB6-95F3-B61A-6135-03508D569234}"/>
              </a:ext>
            </a:extLst>
          </p:cNvPr>
          <p:cNvSpPr txBox="1"/>
          <p:nvPr/>
        </p:nvSpPr>
        <p:spPr>
          <a:xfrm>
            <a:off x="8200714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5" name="object 55">
            <a:extLst>
              <a:ext uri="{FF2B5EF4-FFF2-40B4-BE49-F238E27FC236}">
                <a16:creationId xmlns:a16="http://schemas.microsoft.com/office/drawing/2014/main" id="{07B3FB7A-D3D1-6976-8782-464936660157}"/>
              </a:ext>
            </a:extLst>
          </p:cNvPr>
          <p:cNvSpPr txBox="1"/>
          <p:nvPr/>
        </p:nvSpPr>
        <p:spPr>
          <a:xfrm>
            <a:off x="8200714" y="259575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6" name="object 56">
            <a:extLst>
              <a:ext uri="{FF2B5EF4-FFF2-40B4-BE49-F238E27FC236}">
                <a16:creationId xmlns:a16="http://schemas.microsoft.com/office/drawing/2014/main" id="{0B2FBB88-C56B-4CDC-FEB4-BF91E53C5DEC}"/>
              </a:ext>
            </a:extLst>
          </p:cNvPr>
          <p:cNvSpPr txBox="1"/>
          <p:nvPr/>
        </p:nvSpPr>
        <p:spPr>
          <a:xfrm>
            <a:off x="8200714" y="33605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7" name="object 57">
            <a:extLst>
              <a:ext uri="{FF2B5EF4-FFF2-40B4-BE49-F238E27FC236}">
                <a16:creationId xmlns:a16="http://schemas.microsoft.com/office/drawing/2014/main" id="{00E86379-308C-FEEF-CF7F-42C5BDA277B0}"/>
              </a:ext>
            </a:extLst>
          </p:cNvPr>
          <p:cNvSpPr txBox="1"/>
          <p:nvPr/>
        </p:nvSpPr>
        <p:spPr>
          <a:xfrm>
            <a:off x="9026133" y="106767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77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8" name="object 58">
            <a:extLst>
              <a:ext uri="{FF2B5EF4-FFF2-40B4-BE49-F238E27FC236}">
                <a16:creationId xmlns:a16="http://schemas.microsoft.com/office/drawing/2014/main" id="{DECB7433-B712-583B-7BEB-BDCDAB2AC762}"/>
              </a:ext>
            </a:extLst>
          </p:cNvPr>
          <p:cNvSpPr txBox="1"/>
          <p:nvPr/>
        </p:nvSpPr>
        <p:spPr>
          <a:xfrm>
            <a:off x="9026133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9" name="object 59">
            <a:extLst>
              <a:ext uri="{FF2B5EF4-FFF2-40B4-BE49-F238E27FC236}">
                <a16:creationId xmlns:a16="http://schemas.microsoft.com/office/drawing/2014/main" id="{3D02A42E-5612-D447-D192-2C037C35AA56}"/>
              </a:ext>
            </a:extLst>
          </p:cNvPr>
          <p:cNvSpPr txBox="1"/>
          <p:nvPr/>
        </p:nvSpPr>
        <p:spPr>
          <a:xfrm>
            <a:off x="9017785" y="2595752"/>
            <a:ext cx="98188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0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0" name="object 60">
            <a:extLst>
              <a:ext uri="{FF2B5EF4-FFF2-40B4-BE49-F238E27FC236}">
                <a16:creationId xmlns:a16="http://schemas.microsoft.com/office/drawing/2014/main" id="{DE293FC6-EC75-9565-54D8-CCA93E0AEF14}"/>
              </a:ext>
            </a:extLst>
          </p:cNvPr>
          <p:cNvSpPr txBox="1"/>
          <p:nvPr/>
        </p:nvSpPr>
        <p:spPr>
          <a:xfrm>
            <a:off x="9026133" y="336053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6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id="{616539BC-8956-E7D8-AA07-8A6E960B9105}"/>
              </a:ext>
            </a:extLst>
          </p:cNvPr>
          <p:cNvSpPr txBox="1"/>
          <p:nvPr/>
        </p:nvSpPr>
        <p:spPr>
          <a:xfrm>
            <a:off x="9026133" y="412921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2" name="object 62">
            <a:extLst>
              <a:ext uri="{FF2B5EF4-FFF2-40B4-BE49-F238E27FC236}">
                <a16:creationId xmlns:a16="http://schemas.microsoft.com/office/drawing/2014/main" id="{4FB1DAF1-7843-38D2-F466-D964B371A784}"/>
              </a:ext>
            </a:extLst>
          </p:cNvPr>
          <p:cNvSpPr txBox="1"/>
          <p:nvPr/>
        </p:nvSpPr>
        <p:spPr>
          <a:xfrm>
            <a:off x="9026133" y="4891134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3" name="object 63">
            <a:extLst>
              <a:ext uri="{FF2B5EF4-FFF2-40B4-BE49-F238E27FC236}">
                <a16:creationId xmlns:a16="http://schemas.microsoft.com/office/drawing/2014/main" id="{A5C3DD42-10F0-1FB1-9E0A-FCDFE1E1F21C}"/>
              </a:ext>
            </a:extLst>
          </p:cNvPr>
          <p:cNvSpPr txBox="1"/>
          <p:nvPr/>
        </p:nvSpPr>
        <p:spPr>
          <a:xfrm>
            <a:off x="9026133" y="5656716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4" name="object 64">
            <a:extLst>
              <a:ext uri="{FF2B5EF4-FFF2-40B4-BE49-F238E27FC236}">
                <a16:creationId xmlns:a16="http://schemas.microsoft.com/office/drawing/2014/main" id="{CCF317CD-34E3-BFD9-2D7C-DCC0F10BC4CA}"/>
              </a:ext>
            </a:extLst>
          </p:cNvPr>
          <p:cNvSpPr txBox="1"/>
          <p:nvPr/>
        </p:nvSpPr>
        <p:spPr>
          <a:xfrm>
            <a:off x="9844979" y="106767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5" name="object 65">
            <a:extLst>
              <a:ext uri="{FF2B5EF4-FFF2-40B4-BE49-F238E27FC236}">
                <a16:creationId xmlns:a16="http://schemas.microsoft.com/office/drawing/2014/main" id="{5308F194-EF41-EDF4-0204-342068B9A929}"/>
              </a:ext>
            </a:extLst>
          </p:cNvPr>
          <p:cNvSpPr txBox="1"/>
          <p:nvPr/>
        </p:nvSpPr>
        <p:spPr>
          <a:xfrm>
            <a:off x="9844979" y="1829595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6" name="object 66">
            <a:extLst>
              <a:ext uri="{FF2B5EF4-FFF2-40B4-BE49-F238E27FC236}">
                <a16:creationId xmlns:a16="http://schemas.microsoft.com/office/drawing/2014/main" id="{2F22C699-163D-06A2-FF1A-3C1242A8AC6F}"/>
              </a:ext>
            </a:extLst>
          </p:cNvPr>
          <p:cNvSpPr txBox="1"/>
          <p:nvPr/>
        </p:nvSpPr>
        <p:spPr>
          <a:xfrm>
            <a:off x="9849944" y="4140467"/>
            <a:ext cx="45052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0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0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7" name="object 67">
            <a:extLst>
              <a:ext uri="{FF2B5EF4-FFF2-40B4-BE49-F238E27FC236}">
                <a16:creationId xmlns:a16="http://schemas.microsoft.com/office/drawing/2014/main" id="{1989E41A-A032-CEFF-2FE8-288B0A8BF84B}"/>
              </a:ext>
            </a:extLst>
          </p:cNvPr>
          <p:cNvSpPr txBox="1"/>
          <p:nvPr/>
        </p:nvSpPr>
        <p:spPr>
          <a:xfrm>
            <a:off x="9849944" y="4902391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1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8" name="object 68">
            <a:extLst>
              <a:ext uri="{FF2B5EF4-FFF2-40B4-BE49-F238E27FC236}">
                <a16:creationId xmlns:a16="http://schemas.microsoft.com/office/drawing/2014/main" id="{0F414B1A-17F2-30B6-5223-83F2D712983D}"/>
              </a:ext>
            </a:extLst>
          </p:cNvPr>
          <p:cNvSpPr txBox="1"/>
          <p:nvPr/>
        </p:nvSpPr>
        <p:spPr>
          <a:xfrm>
            <a:off x="9844979" y="2595176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3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9" name="object 69">
            <a:extLst>
              <a:ext uri="{FF2B5EF4-FFF2-40B4-BE49-F238E27FC236}">
                <a16:creationId xmlns:a16="http://schemas.microsoft.com/office/drawing/2014/main" id="{63B07F0F-4237-5001-3825-80556A1FB3EF}"/>
              </a:ext>
            </a:extLst>
          </p:cNvPr>
          <p:cNvSpPr txBox="1"/>
          <p:nvPr/>
        </p:nvSpPr>
        <p:spPr>
          <a:xfrm>
            <a:off x="8203859" y="4128580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4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0" name="object 70">
            <a:extLst>
              <a:ext uri="{FF2B5EF4-FFF2-40B4-BE49-F238E27FC236}">
                <a16:creationId xmlns:a16="http://schemas.microsoft.com/office/drawing/2014/main" id="{01FFB19D-5EE5-FC80-B541-89C49EF422A1}"/>
              </a:ext>
            </a:extLst>
          </p:cNvPr>
          <p:cNvSpPr txBox="1"/>
          <p:nvPr/>
        </p:nvSpPr>
        <p:spPr>
          <a:xfrm>
            <a:off x="8200659" y="4889132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3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1" name="object 71">
            <a:extLst>
              <a:ext uri="{FF2B5EF4-FFF2-40B4-BE49-F238E27FC236}">
                <a16:creationId xmlns:a16="http://schemas.microsoft.com/office/drawing/2014/main" id="{2A4AAFFE-15F3-7995-9ED2-2FB6C9F6CC01}"/>
              </a:ext>
            </a:extLst>
          </p:cNvPr>
          <p:cNvSpPr txBox="1"/>
          <p:nvPr/>
        </p:nvSpPr>
        <p:spPr>
          <a:xfrm>
            <a:off x="5721547" y="565134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2" name="object 72">
            <a:extLst>
              <a:ext uri="{FF2B5EF4-FFF2-40B4-BE49-F238E27FC236}">
                <a16:creationId xmlns:a16="http://schemas.microsoft.com/office/drawing/2014/main" id="{6C768D4D-E4AB-95B4-9AE6-8BC380F7FD7A}"/>
              </a:ext>
            </a:extLst>
          </p:cNvPr>
          <p:cNvSpPr txBox="1"/>
          <p:nvPr/>
        </p:nvSpPr>
        <p:spPr>
          <a:xfrm>
            <a:off x="8196827" y="5651348"/>
            <a:ext cx="70847" cy="770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grpSp>
        <p:nvGrpSpPr>
          <p:cNvPr id="73" name="object 73">
            <a:extLst>
              <a:ext uri="{FF2B5EF4-FFF2-40B4-BE49-F238E27FC236}">
                <a16:creationId xmlns:a16="http://schemas.microsoft.com/office/drawing/2014/main" id="{0AACFAE6-F976-A706-152E-B7F590CC2570}"/>
              </a:ext>
            </a:extLst>
          </p:cNvPr>
          <p:cNvGrpSpPr/>
          <p:nvPr/>
        </p:nvGrpSpPr>
        <p:grpSpPr>
          <a:xfrm>
            <a:off x="6656402" y="1324846"/>
            <a:ext cx="350032" cy="350023"/>
            <a:chOff x="6656402" y="1324846"/>
            <a:chExt cx="350032" cy="350023"/>
          </a:xfrm>
        </p:grpSpPr>
        <p:pic>
          <p:nvPicPr>
            <p:cNvPr id="74" name="object 74">
              <a:extLst>
                <a:ext uri="{FF2B5EF4-FFF2-40B4-BE49-F238E27FC236}">
                  <a16:creationId xmlns:a16="http://schemas.microsoft.com/office/drawing/2014/main" id="{77EA0314-0B67-D7D9-28F7-C71335B9F8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56402" y="1329885"/>
              <a:ext cx="349940" cy="34490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5" name="object 75">
              <a:extLst>
                <a:ext uri="{FF2B5EF4-FFF2-40B4-BE49-F238E27FC236}">
                  <a16:creationId xmlns:a16="http://schemas.microsoft.com/office/drawing/2014/main" id="{4DA6F63A-14C4-4933-443B-472A3AD3C56E}"/>
                </a:ext>
              </a:extLst>
            </p:cNvPr>
            <p:cNvSpPr/>
            <p:nvPr/>
          </p:nvSpPr>
          <p:spPr>
            <a:xfrm>
              <a:off x="6656411" y="132484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6" name="object 76">
            <a:extLst>
              <a:ext uri="{FF2B5EF4-FFF2-40B4-BE49-F238E27FC236}">
                <a16:creationId xmlns:a16="http://schemas.microsoft.com/office/drawing/2014/main" id="{3F41BC88-EE99-73B3-4F6A-12803245C86C}"/>
              </a:ext>
            </a:extLst>
          </p:cNvPr>
          <p:cNvGrpSpPr/>
          <p:nvPr/>
        </p:nvGrpSpPr>
        <p:grpSpPr>
          <a:xfrm>
            <a:off x="8300027" y="2862657"/>
            <a:ext cx="350023" cy="350023"/>
            <a:chOff x="8300027" y="2862657"/>
            <a:chExt cx="350023" cy="350023"/>
          </a:xfrm>
        </p:grpSpPr>
        <p:pic>
          <p:nvPicPr>
            <p:cNvPr id="77" name="object 77">
              <a:extLst>
                <a:ext uri="{FF2B5EF4-FFF2-40B4-BE49-F238E27FC236}">
                  <a16:creationId xmlns:a16="http://schemas.microsoft.com/office/drawing/2014/main" id="{813482E9-BD63-8DDC-4EAF-924260C90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00027" y="2862657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8" name="object 78">
              <a:extLst>
                <a:ext uri="{FF2B5EF4-FFF2-40B4-BE49-F238E27FC236}">
                  <a16:creationId xmlns:a16="http://schemas.microsoft.com/office/drawing/2014/main" id="{893DB179-B535-CB75-FB62-34251CBD0ACD}"/>
                </a:ext>
              </a:extLst>
            </p:cNvPr>
            <p:cNvSpPr/>
            <p:nvPr/>
          </p:nvSpPr>
          <p:spPr>
            <a:xfrm>
              <a:off x="8300027" y="286265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9" name="object 79">
            <a:extLst>
              <a:ext uri="{FF2B5EF4-FFF2-40B4-BE49-F238E27FC236}">
                <a16:creationId xmlns:a16="http://schemas.microsoft.com/office/drawing/2014/main" id="{9DD2D5BB-1A48-04F0-0226-F06A96E0B48C}"/>
              </a:ext>
            </a:extLst>
          </p:cNvPr>
          <p:cNvGrpSpPr/>
          <p:nvPr/>
        </p:nvGrpSpPr>
        <p:grpSpPr>
          <a:xfrm>
            <a:off x="8298024" y="3630680"/>
            <a:ext cx="350023" cy="350023"/>
            <a:chOff x="8298024" y="3630680"/>
            <a:chExt cx="350023" cy="350023"/>
          </a:xfrm>
        </p:grpSpPr>
        <p:pic>
          <p:nvPicPr>
            <p:cNvPr id="80" name="object 80">
              <a:extLst>
                <a:ext uri="{FF2B5EF4-FFF2-40B4-BE49-F238E27FC236}">
                  <a16:creationId xmlns:a16="http://schemas.microsoft.com/office/drawing/2014/main" id="{62AE25DE-4FFF-B58A-56F8-94474CD1B02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98024" y="3630680"/>
              <a:ext cx="34993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1" name="object 81">
              <a:extLst>
                <a:ext uri="{FF2B5EF4-FFF2-40B4-BE49-F238E27FC236}">
                  <a16:creationId xmlns:a16="http://schemas.microsoft.com/office/drawing/2014/main" id="{771E38CE-66BC-5427-0F8A-EE54A3A04280}"/>
                </a:ext>
              </a:extLst>
            </p:cNvPr>
            <p:cNvSpPr/>
            <p:nvPr/>
          </p:nvSpPr>
          <p:spPr>
            <a:xfrm>
              <a:off x="8298024" y="363068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2" name="object 82">
            <a:extLst>
              <a:ext uri="{FF2B5EF4-FFF2-40B4-BE49-F238E27FC236}">
                <a16:creationId xmlns:a16="http://schemas.microsoft.com/office/drawing/2014/main" id="{F249E7EC-225E-9B07-D786-870BB1B9F523}"/>
              </a:ext>
            </a:extLst>
          </p:cNvPr>
          <p:cNvGrpSpPr/>
          <p:nvPr/>
        </p:nvGrpSpPr>
        <p:grpSpPr>
          <a:xfrm>
            <a:off x="8298024" y="4382115"/>
            <a:ext cx="350023" cy="350023"/>
            <a:chOff x="8298024" y="4382115"/>
            <a:chExt cx="350023" cy="350023"/>
          </a:xfrm>
        </p:grpSpPr>
        <p:pic>
          <p:nvPicPr>
            <p:cNvPr id="83" name="object 83">
              <a:extLst>
                <a:ext uri="{FF2B5EF4-FFF2-40B4-BE49-F238E27FC236}">
                  <a16:creationId xmlns:a16="http://schemas.microsoft.com/office/drawing/2014/main" id="{9BA3BED5-4F54-A37A-99C8-1962E6E37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98024" y="4382115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4" name="object 84">
              <a:extLst>
                <a:ext uri="{FF2B5EF4-FFF2-40B4-BE49-F238E27FC236}">
                  <a16:creationId xmlns:a16="http://schemas.microsoft.com/office/drawing/2014/main" id="{90456A79-0AD7-BC09-D9EA-310AB591707C}"/>
                </a:ext>
              </a:extLst>
            </p:cNvPr>
            <p:cNvSpPr/>
            <p:nvPr/>
          </p:nvSpPr>
          <p:spPr>
            <a:xfrm>
              <a:off x="8298024" y="438211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5" name="object 85">
            <a:extLst>
              <a:ext uri="{FF2B5EF4-FFF2-40B4-BE49-F238E27FC236}">
                <a16:creationId xmlns:a16="http://schemas.microsoft.com/office/drawing/2014/main" id="{907A2ADA-460C-0729-CA19-7358A9F1E0F7}"/>
              </a:ext>
            </a:extLst>
          </p:cNvPr>
          <p:cNvGrpSpPr/>
          <p:nvPr/>
        </p:nvGrpSpPr>
        <p:grpSpPr>
          <a:xfrm>
            <a:off x="8298024" y="5155935"/>
            <a:ext cx="350023" cy="350023"/>
            <a:chOff x="8298024" y="5155935"/>
            <a:chExt cx="350023" cy="350023"/>
          </a:xfrm>
        </p:grpSpPr>
        <p:pic>
          <p:nvPicPr>
            <p:cNvPr id="86" name="object 86">
              <a:extLst>
                <a:ext uri="{FF2B5EF4-FFF2-40B4-BE49-F238E27FC236}">
                  <a16:creationId xmlns:a16="http://schemas.microsoft.com/office/drawing/2014/main" id="{4F4EBE68-B1FB-BA74-3C23-1160753AF3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98024" y="5155935"/>
              <a:ext cx="349931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7" name="object 87">
              <a:extLst>
                <a:ext uri="{FF2B5EF4-FFF2-40B4-BE49-F238E27FC236}">
                  <a16:creationId xmlns:a16="http://schemas.microsoft.com/office/drawing/2014/main" id="{C7878D35-4143-CF9E-4075-9ADE549F055D}"/>
                </a:ext>
              </a:extLst>
            </p:cNvPr>
            <p:cNvSpPr/>
            <p:nvPr/>
          </p:nvSpPr>
          <p:spPr>
            <a:xfrm>
              <a:off x="8298024" y="515593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46"/>
                <a:gd name="f6" fmla="val 573305"/>
                <a:gd name="f7" fmla="val 241743"/>
                <a:gd name="f8" fmla="val 562372"/>
                <a:gd name="f9" fmla="val 197344"/>
                <a:gd name="f10" fmla="val 544876"/>
                <a:gd name="f11" fmla="val 155944"/>
                <a:gd name="f12" fmla="val 521411"/>
                <a:gd name="f13" fmla="val 118135"/>
                <a:gd name="f14" fmla="val 492572"/>
                <a:gd name="f15" fmla="val 84514"/>
                <a:gd name="f16" fmla="val 458952"/>
                <a:gd name="f17" fmla="val 55673"/>
                <a:gd name="f18" fmla="val 421146"/>
                <a:gd name="f19" fmla="val 32207"/>
                <a:gd name="f20" fmla="val 379746"/>
                <a:gd name="f21" fmla="val 14710"/>
                <a:gd name="f22" fmla="val 335348"/>
                <a:gd name="f23" fmla="val 3776"/>
                <a:gd name="f24" fmla="val 335349"/>
                <a:gd name="f25" fmla="val 379747"/>
                <a:gd name="f26" fmla="val 421148"/>
                <a:gd name="f27" fmla="val 458956"/>
                <a:gd name="f28" fmla="val 492577"/>
                <a:gd name="f29" fmla="val 521418"/>
                <a:gd name="f30" fmla="val 544884"/>
                <a:gd name="f31" fmla="val 562381"/>
                <a:gd name="f32" fmla="val 573315"/>
                <a:gd name="f33" fmla="val 577092"/>
                <a:gd name="f34" fmla="*/ f0 1 577215"/>
                <a:gd name="f35" fmla="*/ f1 1 577215"/>
                <a:gd name="f36" fmla="+- f3 0 f2"/>
                <a:gd name="f37" fmla="*/ f36 1 577215"/>
                <a:gd name="f38" fmla="*/ f2 1 f37"/>
                <a:gd name="f39" fmla="*/ f3 1 f37"/>
                <a:gd name="f40" fmla="*/ f38 f34 1"/>
                <a:gd name="f41" fmla="*/ f39 f34 1"/>
                <a:gd name="f42" fmla="*/ f39 f35 1"/>
                <a:gd name="f43" fmla="*/ f38 f3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0" t="f43" r="f41" b="f4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4"/>
                  </a:lnTo>
                  <a:lnTo>
                    <a:pt x="f21" y="f25"/>
                  </a:lnTo>
                  <a:lnTo>
                    <a:pt x="f19" y="f26"/>
                  </a:lnTo>
                  <a:lnTo>
                    <a:pt x="f17" y="f27"/>
                  </a:lnTo>
                  <a:lnTo>
                    <a:pt x="f15" y="f28"/>
                  </a:lnTo>
                  <a:lnTo>
                    <a:pt x="f13" y="f29"/>
                  </a:lnTo>
                  <a:lnTo>
                    <a:pt x="f11" y="f30"/>
                  </a:lnTo>
                  <a:lnTo>
                    <a:pt x="f9" y="f31"/>
                  </a:lnTo>
                  <a:lnTo>
                    <a:pt x="f7" y="f32"/>
                  </a:lnTo>
                  <a:lnTo>
                    <a:pt x="f5" y="f33"/>
                  </a:lnTo>
                  <a:lnTo>
                    <a:pt x="f22" y="f32"/>
                  </a:lnTo>
                  <a:lnTo>
                    <a:pt x="f20" y="f31"/>
                  </a:lnTo>
                  <a:lnTo>
                    <a:pt x="f18" y="f30"/>
                  </a:lnTo>
                  <a:lnTo>
                    <a:pt x="f16" y="f29"/>
                  </a:lnTo>
                  <a:lnTo>
                    <a:pt x="f14" y="f28"/>
                  </a:lnTo>
                  <a:lnTo>
                    <a:pt x="f12" y="f27"/>
                  </a:lnTo>
                  <a:lnTo>
                    <a:pt x="f10" y="f26"/>
                  </a:lnTo>
                  <a:lnTo>
                    <a:pt x="f8" y="f25"/>
                  </a:lnTo>
                  <a:lnTo>
                    <a:pt x="f6" y="f24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8" name="object 88">
            <a:extLst>
              <a:ext uri="{FF2B5EF4-FFF2-40B4-BE49-F238E27FC236}">
                <a16:creationId xmlns:a16="http://schemas.microsoft.com/office/drawing/2014/main" id="{83E4D822-271B-6558-77F5-7122BCC43E7A}"/>
              </a:ext>
            </a:extLst>
          </p:cNvPr>
          <p:cNvGrpSpPr/>
          <p:nvPr/>
        </p:nvGrpSpPr>
        <p:grpSpPr>
          <a:xfrm>
            <a:off x="5009549" y="5154929"/>
            <a:ext cx="350023" cy="350023"/>
            <a:chOff x="5009549" y="5154929"/>
            <a:chExt cx="350023" cy="350023"/>
          </a:xfrm>
        </p:grpSpPr>
        <p:pic>
          <p:nvPicPr>
            <p:cNvPr id="89" name="object 89">
              <a:extLst>
                <a:ext uri="{FF2B5EF4-FFF2-40B4-BE49-F238E27FC236}">
                  <a16:creationId xmlns:a16="http://schemas.microsoft.com/office/drawing/2014/main" id="{C97D141D-9D4A-186C-A892-A0699406E1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09549" y="5154929"/>
              <a:ext cx="349940" cy="34688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0" name="object 90">
              <a:extLst>
                <a:ext uri="{FF2B5EF4-FFF2-40B4-BE49-F238E27FC236}">
                  <a16:creationId xmlns:a16="http://schemas.microsoft.com/office/drawing/2014/main" id="{82863771-196B-B3FA-1FD5-CC07C622DD5D}"/>
                </a:ext>
              </a:extLst>
            </p:cNvPr>
            <p:cNvSpPr/>
            <p:nvPr/>
          </p:nvSpPr>
          <p:spPr>
            <a:xfrm>
              <a:off x="5009549" y="515492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1" name="object 91">
            <a:extLst>
              <a:ext uri="{FF2B5EF4-FFF2-40B4-BE49-F238E27FC236}">
                <a16:creationId xmlns:a16="http://schemas.microsoft.com/office/drawing/2014/main" id="{34052B05-033A-D80E-1C8E-25295F23E6CB}"/>
              </a:ext>
            </a:extLst>
          </p:cNvPr>
          <p:cNvGrpSpPr/>
          <p:nvPr/>
        </p:nvGrpSpPr>
        <p:grpSpPr>
          <a:xfrm>
            <a:off x="5010719" y="5911852"/>
            <a:ext cx="350023" cy="350023"/>
            <a:chOff x="5010719" y="5911852"/>
            <a:chExt cx="350023" cy="350023"/>
          </a:xfrm>
        </p:grpSpPr>
        <p:pic>
          <p:nvPicPr>
            <p:cNvPr id="92" name="object 92">
              <a:extLst>
                <a:ext uri="{FF2B5EF4-FFF2-40B4-BE49-F238E27FC236}">
                  <a16:creationId xmlns:a16="http://schemas.microsoft.com/office/drawing/2014/main" id="{7F547C33-5D85-09AA-103A-E0430394AD5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010719" y="5911852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3" name="object 93">
              <a:extLst>
                <a:ext uri="{FF2B5EF4-FFF2-40B4-BE49-F238E27FC236}">
                  <a16:creationId xmlns:a16="http://schemas.microsoft.com/office/drawing/2014/main" id="{A164D5A0-B679-564F-CDDA-D17FF6DC5C05}"/>
                </a:ext>
              </a:extLst>
            </p:cNvPr>
            <p:cNvSpPr/>
            <p:nvPr/>
          </p:nvSpPr>
          <p:spPr>
            <a:xfrm>
              <a:off x="5010719" y="591185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4" name="object 94">
            <a:extLst>
              <a:ext uri="{FF2B5EF4-FFF2-40B4-BE49-F238E27FC236}">
                <a16:creationId xmlns:a16="http://schemas.microsoft.com/office/drawing/2014/main" id="{91DA6428-A627-9B13-BE9C-C14D7D95C512}"/>
              </a:ext>
            </a:extLst>
          </p:cNvPr>
          <p:cNvGrpSpPr/>
          <p:nvPr/>
        </p:nvGrpSpPr>
        <p:grpSpPr>
          <a:xfrm>
            <a:off x="5011680" y="4382115"/>
            <a:ext cx="350023" cy="350023"/>
            <a:chOff x="5011680" y="4382115"/>
            <a:chExt cx="350023" cy="350023"/>
          </a:xfrm>
        </p:grpSpPr>
        <p:pic>
          <p:nvPicPr>
            <p:cNvPr id="95" name="object 95">
              <a:extLst>
                <a:ext uri="{FF2B5EF4-FFF2-40B4-BE49-F238E27FC236}">
                  <a16:creationId xmlns:a16="http://schemas.microsoft.com/office/drawing/2014/main" id="{E921275E-FEAE-C471-3490-FE88C9EBAAC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11680" y="4382115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6" name="object 96">
              <a:extLst>
                <a:ext uri="{FF2B5EF4-FFF2-40B4-BE49-F238E27FC236}">
                  <a16:creationId xmlns:a16="http://schemas.microsoft.com/office/drawing/2014/main" id="{ADE8FEDF-3D07-58B3-E722-86DD5A28D644}"/>
                </a:ext>
              </a:extLst>
            </p:cNvPr>
            <p:cNvSpPr/>
            <p:nvPr/>
          </p:nvSpPr>
          <p:spPr>
            <a:xfrm>
              <a:off x="5011680" y="438211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97" name="object 97">
            <a:extLst>
              <a:ext uri="{FF2B5EF4-FFF2-40B4-BE49-F238E27FC236}">
                <a16:creationId xmlns:a16="http://schemas.microsoft.com/office/drawing/2014/main" id="{FABF0539-4C91-E479-6A06-8F722D4A47BB}"/>
              </a:ext>
            </a:extLst>
          </p:cNvPr>
          <p:cNvGrpSpPr/>
          <p:nvPr/>
        </p:nvGrpSpPr>
        <p:grpSpPr>
          <a:xfrm>
            <a:off x="3370560" y="3636971"/>
            <a:ext cx="350023" cy="350023"/>
            <a:chOff x="3370560" y="3636971"/>
            <a:chExt cx="350023" cy="350023"/>
          </a:xfrm>
        </p:grpSpPr>
        <p:pic>
          <p:nvPicPr>
            <p:cNvPr id="98" name="object 98">
              <a:extLst>
                <a:ext uri="{FF2B5EF4-FFF2-40B4-BE49-F238E27FC236}">
                  <a16:creationId xmlns:a16="http://schemas.microsoft.com/office/drawing/2014/main" id="{F85061AD-5FC3-49C3-72FC-EF3F8D4B578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370560" y="3636971"/>
              <a:ext cx="349931" cy="34413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9" name="object 99">
              <a:extLst>
                <a:ext uri="{FF2B5EF4-FFF2-40B4-BE49-F238E27FC236}">
                  <a16:creationId xmlns:a16="http://schemas.microsoft.com/office/drawing/2014/main" id="{EE6D8721-14E5-4F61-2812-6E4262872566}"/>
                </a:ext>
              </a:extLst>
            </p:cNvPr>
            <p:cNvSpPr/>
            <p:nvPr/>
          </p:nvSpPr>
          <p:spPr>
            <a:xfrm>
              <a:off x="3370560" y="363697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00" name="object 100">
            <a:extLst>
              <a:ext uri="{FF2B5EF4-FFF2-40B4-BE49-F238E27FC236}">
                <a16:creationId xmlns:a16="http://schemas.microsoft.com/office/drawing/2014/main" id="{89D902A6-CD65-3530-2A12-91ED427BB4D5}"/>
              </a:ext>
            </a:extLst>
          </p:cNvPr>
          <p:cNvGrpSpPr/>
          <p:nvPr/>
        </p:nvGrpSpPr>
        <p:grpSpPr>
          <a:xfrm>
            <a:off x="6654820" y="569250"/>
            <a:ext cx="350023" cy="350023"/>
            <a:chOff x="6654820" y="569250"/>
            <a:chExt cx="350023" cy="350023"/>
          </a:xfrm>
        </p:grpSpPr>
        <p:pic>
          <p:nvPicPr>
            <p:cNvPr id="101" name="object 101">
              <a:extLst>
                <a:ext uri="{FF2B5EF4-FFF2-40B4-BE49-F238E27FC236}">
                  <a16:creationId xmlns:a16="http://schemas.microsoft.com/office/drawing/2014/main" id="{22C9AE8C-DDE9-5590-19D1-920C1566B8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654820" y="569250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2" name="object 102">
              <a:extLst>
                <a:ext uri="{FF2B5EF4-FFF2-40B4-BE49-F238E27FC236}">
                  <a16:creationId xmlns:a16="http://schemas.microsoft.com/office/drawing/2014/main" id="{2614507B-658A-E054-E0D2-72D43333E94B}"/>
                </a:ext>
              </a:extLst>
            </p:cNvPr>
            <p:cNvSpPr/>
            <p:nvPr/>
          </p:nvSpPr>
          <p:spPr>
            <a:xfrm>
              <a:off x="6654820" y="688918"/>
              <a:ext cx="33887" cy="158648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5879"/>
                <a:gd name="f4" fmla="val 261619"/>
                <a:gd name="f5" fmla="val 14710"/>
                <a:gd name="f6" fmla="val 3776"/>
                <a:gd name="f7" fmla="val 44395"/>
                <a:gd name="f8" fmla="val 91198"/>
                <a:gd name="f9" fmla="val 138001"/>
                <a:gd name="f10" fmla="val 182399"/>
                <a:gd name="f11" fmla="val 32207"/>
                <a:gd name="f12" fmla="val 223800"/>
                <a:gd name="f13" fmla="val 55673"/>
                <a:gd name="f14" fmla="val 261608"/>
                <a:gd name="f15" fmla="*/ f0 1 55879"/>
                <a:gd name="f16" fmla="*/ f1 1 261619"/>
                <a:gd name="f17" fmla="+- f4 0 f2"/>
                <a:gd name="f18" fmla="+- f3 0 f2"/>
                <a:gd name="f19" fmla="*/ f18 1 55879"/>
                <a:gd name="f20" fmla="*/ f17 1 261619"/>
                <a:gd name="f21" fmla="*/ f2 1 f19"/>
                <a:gd name="f22" fmla="*/ f3 1 f19"/>
                <a:gd name="f23" fmla="*/ f2 1 f20"/>
                <a:gd name="f24" fmla="*/ f4 1 f20"/>
                <a:gd name="f25" fmla="*/ f21 f15 1"/>
                <a:gd name="f26" fmla="*/ f22 f15 1"/>
                <a:gd name="f27" fmla="*/ f24 f16 1"/>
                <a:gd name="f28" fmla="*/ f23 f1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5" t="f28" r="f26" b="f27"/>
              <a:pathLst>
                <a:path w="55879" h="261619">
                  <a:moveTo>
                    <a:pt x="f5" y="f2"/>
                  </a:moveTo>
                  <a:lnTo>
                    <a:pt x="f6" y="f7"/>
                  </a:lnTo>
                  <a:lnTo>
                    <a:pt x="f2" y="f8"/>
                  </a:lnTo>
                  <a:lnTo>
                    <a:pt x="f6" y="f9"/>
                  </a:lnTo>
                  <a:lnTo>
                    <a:pt x="f5" y="f10"/>
                  </a:lnTo>
                  <a:lnTo>
                    <a:pt x="f11" y="f12"/>
                  </a:lnTo>
                  <a:lnTo>
                    <a:pt x="f13" y="f1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" name="object 103">
              <a:extLst>
                <a:ext uri="{FF2B5EF4-FFF2-40B4-BE49-F238E27FC236}">
                  <a16:creationId xmlns:a16="http://schemas.microsoft.com/office/drawing/2014/main" id="{95DE8374-F507-20A1-9235-1BD3E57F855E}"/>
                </a:ext>
              </a:extLst>
            </p:cNvPr>
            <p:cNvSpPr/>
            <p:nvPr/>
          </p:nvSpPr>
          <p:spPr>
            <a:xfrm>
              <a:off x="6654820" y="5692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04" name="object 104">
            <a:extLst>
              <a:ext uri="{FF2B5EF4-FFF2-40B4-BE49-F238E27FC236}">
                <a16:creationId xmlns:a16="http://schemas.microsoft.com/office/drawing/2014/main" id="{D96A0921-46EA-BBD3-2F11-989DBA43E3C4}"/>
              </a:ext>
            </a:extLst>
          </p:cNvPr>
          <p:cNvGrpSpPr/>
          <p:nvPr/>
        </p:nvGrpSpPr>
        <p:grpSpPr>
          <a:xfrm>
            <a:off x="4190000" y="6432163"/>
            <a:ext cx="350023" cy="124239"/>
            <a:chOff x="4190000" y="6432163"/>
            <a:chExt cx="350023" cy="124239"/>
          </a:xfrm>
        </p:grpSpPr>
        <p:sp>
          <p:nvSpPr>
            <p:cNvPr id="105" name="object 105">
              <a:extLst>
                <a:ext uri="{FF2B5EF4-FFF2-40B4-BE49-F238E27FC236}">
                  <a16:creationId xmlns:a16="http://schemas.microsoft.com/office/drawing/2014/main" id="{77536873-436C-FF25-1E44-B3C858A04F16}"/>
                </a:ext>
              </a:extLst>
            </p:cNvPr>
            <p:cNvSpPr/>
            <p:nvPr/>
          </p:nvSpPr>
          <p:spPr>
            <a:xfrm>
              <a:off x="4190000" y="6432173"/>
              <a:ext cx="1890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1784"/>
                <a:gd name="f4" fmla="val 84454"/>
                <a:gd name="f5" fmla="val 311215"/>
                <a:gd name="f6" fmla="val 84112"/>
                <a:gd name="f7" fmla="*/ f0 1 311784"/>
                <a:gd name="f8" fmla="*/ f1 1 84454"/>
                <a:gd name="f9" fmla="+- f4 0 f2"/>
                <a:gd name="f10" fmla="+- f3 0 f2"/>
                <a:gd name="f11" fmla="*/ f10 1 31178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178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" name="object 106">
              <a:extLst>
                <a:ext uri="{FF2B5EF4-FFF2-40B4-BE49-F238E27FC236}">
                  <a16:creationId xmlns:a16="http://schemas.microsoft.com/office/drawing/2014/main" id="{E0D3B1D7-06D8-5BED-1CEE-AFF07CEEE6BD}"/>
                </a:ext>
              </a:extLst>
            </p:cNvPr>
            <p:cNvSpPr/>
            <p:nvPr/>
          </p:nvSpPr>
          <p:spPr>
            <a:xfrm>
              <a:off x="4399864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" name="object 107">
              <a:extLst>
                <a:ext uri="{FF2B5EF4-FFF2-40B4-BE49-F238E27FC236}">
                  <a16:creationId xmlns:a16="http://schemas.microsoft.com/office/drawing/2014/main" id="{102FB7A5-8B25-2287-CDB1-DCB010DEA7D2}"/>
                </a:ext>
              </a:extLst>
            </p:cNvPr>
            <p:cNvSpPr/>
            <p:nvPr/>
          </p:nvSpPr>
          <p:spPr>
            <a:xfrm>
              <a:off x="4294790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" name="object 108">
              <a:extLst>
                <a:ext uri="{FF2B5EF4-FFF2-40B4-BE49-F238E27FC236}">
                  <a16:creationId xmlns:a16="http://schemas.microsoft.com/office/drawing/2014/main" id="{D2CD6C37-C0D2-34E7-F332-31F3AC23B9A3}"/>
                </a:ext>
              </a:extLst>
            </p:cNvPr>
            <p:cNvSpPr/>
            <p:nvPr/>
          </p:nvSpPr>
          <p:spPr>
            <a:xfrm>
              <a:off x="4329885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" name="object 109">
              <a:extLst>
                <a:ext uri="{FF2B5EF4-FFF2-40B4-BE49-F238E27FC236}">
                  <a16:creationId xmlns:a16="http://schemas.microsoft.com/office/drawing/2014/main" id="{9E415A2B-18AB-FC1F-FE74-F388A655142B}"/>
                </a:ext>
              </a:extLst>
            </p:cNvPr>
            <p:cNvSpPr/>
            <p:nvPr/>
          </p:nvSpPr>
          <p:spPr>
            <a:xfrm>
              <a:off x="4224747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" name="object 110">
              <a:extLst>
                <a:ext uri="{FF2B5EF4-FFF2-40B4-BE49-F238E27FC236}">
                  <a16:creationId xmlns:a16="http://schemas.microsoft.com/office/drawing/2014/main" id="{D8BDC2A0-1954-1B53-3627-10408B5937DE}"/>
                </a:ext>
              </a:extLst>
            </p:cNvPr>
            <p:cNvSpPr/>
            <p:nvPr/>
          </p:nvSpPr>
          <p:spPr>
            <a:xfrm>
              <a:off x="4259768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" name="object 111">
              <a:extLst>
                <a:ext uri="{FF2B5EF4-FFF2-40B4-BE49-F238E27FC236}">
                  <a16:creationId xmlns:a16="http://schemas.microsoft.com/office/drawing/2014/main" id="{A2A350C4-C1F9-B94E-EE1C-1DF2FD3487F0}"/>
                </a:ext>
              </a:extLst>
            </p:cNvPr>
            <p:cNvSpPr/>
            <p:nvPr/>
          </p:nvSpPr>
          <p:spPr>
            <a:xfrm>
              <a:off x="4364979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" name="object 112">
              <a:extLst>
                <a:ext uri="{FF2B5EF4-FFF2-40B4-BE49-F238E27FC236}">
                  <a16:creationId xmlns:a16="http://schemas.microsoft.com/office/drawing/2014/main" id="{07172280-2B33-E0DC-725F-8A130A1B56A3}"/>
                </a:ext>
              </a:extLst>
            </p:cNvPr>
            <p:cNvSpPr/>
            <p:nvPr/>
          </p:nvSpPr>
          <p:spPr>
            <a:xfrm>
              <a:off x="4190000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" name="object 113">
              <a:extLst>
                <a:ext uri="{FF2B5EF4-FFF2-40B4-BE49-F238E27FC236}">
                  <a16:creationId xmlns:a16="http://schemas.microsoft.com/office/drawing/2014/main" id="{9F391DAF-E986-F4FE-6C0A-7356906FA435}"/>
                </a:ext>
              </a:extLst>
            </p:cNvPr>
            <p:cNvSpPr/>
            <p:nvPr/>
          </p:nvSpPr>
          <p:spPr>
            <a:xfrm>
              <a:off x="4364979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" name="object 114">
              <a:extLst>
                <a:ext uri="{FF2B5EF4-FFF2-40B4-BE49-F238E27FC236}">
                  <a16:creationId xmlns:a16="http://schemas.microsoft.com/office/drawing/2014/main" id="{9A57E143-C8D3-2F5A-3DF4-B6367D6F4DD7}"/>
                </a:ext>
              </a:extLst>
            </p:cNvPr>
            <p:cNvSpPr/>
            <p:nvPr/>
          </p:nvSpPr>
          <p:spPr>
            <a:xfrm>
              <a:off x="4469907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" name="object 115">
              <a:extLst>
                <a:ext uri="{FF2B5EF4-FFF2-40B4-BE49-F238E27FC236}">
                  <a16:creationId xmlns:a16="http://schemas.microsoft.com/office/drawing/2014/main" id="{1BF35368-6B62-C75F-8B84-8F5DFD54397A}"/>
                </a:ext>
              </a:extLst>
            </p:cNvPr>
            <p:cNvSpPr/>
            <p:nvPr/>
          </p:nvSpPr>
          <p:spPr>
            <a:xfrm>
              <a:off x="4504928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" name="object 116">
              <a:extLst>
                <a:ext uri="{FF2B5EF4-FFF2-40B4-BE49-F238E27FC236}">
                  <a16:creationId xmlns:a16="http://schemas.microsoft.com/office/drawing/2014/main" id="{C8E636F3-FCE9-FC05-1C63-4F8BF84D3201}"/>
                </a:ext>
              </a:extLst>
            </p:cNvPr>
            <p:cNvSpPr/>
            <p:nvPr/>
          </p:nvSpPr>
          <p:spPr>
            <a:xfrm>
              <a:off x="4434885" y="644491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" name="object 117">
              <a:extLst>
                <a:ext uri="{FF2B5EF4-FFF2-40B4-BE49-F238E27FC236}">
                  <a16:creationId xmlns:a16="http://schemas.microsoft.com/office/drawing/2014/main" id="{669BA690-C161-EEA8-0CD9-C2872C17B8FD}"/>
                </a:ext>
              </a:extLst>
            </p:cNvPr>
            <p:cNvSpPr/>
            <p:nvPr/>
          </p:nvSpPr>
          <p:spPr>
            <a:xfrm>
              <a:off x="4539950" y="643216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" name="object 118">
              <a:extLst>
                <a:ext uri="{FF2B5EF4-FFF2-40B4-BE49-F238E27FC236}">
                  <a16:creationId xmlns:a16="http://schemas.microsoft.com/office/drawing/2014/main" id="{B4520113-8E31-2C06-2314-FC8CB37E99F9}"/>
                </a:ext>
              </a:extLst>
            </p:cNvPr>
            <p:cNvSpPr/>
            <p:nvPr/>
          </p:nvSpPr>
          <p:spPr>
            <a:xfrm>
              <a:off x="4190000" y="645767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" name="object 119">
              <a:extLst>
                <a:ext uri="{FF2B5EF4-FFF2-40B4-BE49-F238E27FC236}">
                  <a16:creationId xmlns:a16="http://schemas.microsoft.com/office/drawing/2014/main" id="{DEEBFCD6-11D8-2564-8AAF-CD6D388BE6EC}"/>
                </a:ext>
              </a:extLst>
            </p:cNvPr>
            <p:cNvSpPr/>
            <p:nvPr/>
          </p:nvSpPr>
          <p:spPr>
            <a:xfrm>
              <a:off x="4539950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" name="object 120">
              <a:extLst>
                <a:ext uri="{FF2B5EF4-FFF2-40B4-BE49-F238E27FC236}">
                  <a16:creationId xmlns:a16="http://schemas.microsoft.com/office/drawing/2014/main" id="{5BFD0509-C2E6-A81B-04EC-4C5DDFF77D24}"/>
                </a:ext>
              </a:extLst>
            </p:cNvPr>
            <p:cNvSpPr/>
            <p:nvPr/>
          </p:nvSpPr>
          <p:spPr>
            <a:xfrm>
              <a:off x="4364979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" name="object 121">
              <a:extLst>
                <a:ext uri="{FF2B5EF4-FFF2-40B4-BE49-F238E27FC236}">
                  <a16:creationId xmlns:a16="http://schemas.microsoft.com/office/drawing/2014/main" id="{938F7BDA-68C9-9F8A-567A-48FE5028BBC9}"/>
                </a:ext>
              </a:extLst>
            </p:cNvPr>
            <p:cNvSpPr/>
            <p:nvPr/>
          </p:nvSpPr>
          <p:spPr>
            <a:xfrm>
              <a:off x="4190000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" name="object 122">
              <a:extLst>
                <a:ext uri="{FF2B5EF4-FFF2-40B4-BE49-F238E27FC236}">
                  <a16:creationId xmlns:a16="http://schemas.microsoft.com/office/drawing/2014/main" id="{10CED1ED-AA0C-4A18-B33D-56246D84CA0E}"/>
                </a:ext>
              </a:extLst>
            </p:cNvPr>
            <p:cNvSpPr/>
            <p:nvPr/>
          </p:nvSpPr>
          <p:spPr>
            <a:xfrm>
              <a:off x="4364979" y="650518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" name="object 123">
              <a:extLst>
                <a:ext uri="{FF2B5EF4-FFF2-40B4-BE49-F238E27FC236}">
                  <a16:creationId xmlns:a16="http://schemas.microsoft.com/office/drawing/2014/main" id="{593022D2-75AC-0F26-2CE4-B1D3BD3996A0}"/>
                </a:ext>
              </a:extLst>
            </p:cNvPr>
            <p:cNvSpPr/>
            <p:nvPr/>
          </p:nvSpPr>
          <p:spPr>
            <a:xfrm>
              <a:off x="4469907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" name="object 124">
              <a:extLst>
                <a:ext uri="{FF2B5EF4-FFF2-40B4-BE49-F238E27FC236}">
                  <a16:creationId xmlns:a16="http://schemas.microsoft.com/office/drawing/2014/main" id="{FD23A9F7-D0A9-55E6-4E3D-48F59C77A934}"/>
                </a:ext>
              </a:extLst>
            </p:cNvPr>
            <p:cNvSpPr/>
            <p:nvPr/>
          </p:nvSpPr>
          <p:spPr>
            <a:xfrm>
              <a:off x="4504928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" name="object 125">
              <a:extLst>
                <a:ext uri="{FF2B5EF4-FFF2-40B4-BE49-F238E27FC236}">
                  <a16:creationId xmlns:a16="http://schemas.microsoft.com/office/drawing/2014/main" id="{5F2413C4-A1BE-3F51-35CF-63D59BA5B1CB}"/>
                </a:ext>
              </a:extLst>
            </p:cNvPr>
            <p:cNvSpPr/>
            <p:nvPr/>
          </p:nvSpPr>
          <p:spPr>
            <a:xfrm>
              <a:off x="4399864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" name="object 126">
              <a:extLst>
                <a:ext uri="{FF2B5EF4-FFF2-40B4-BE49-F238E27FC236}">
                  <a16:creationId xmlns:a16="http://schemas.microsoft.com/office/drawing/2014/main" id="{190B26CA-4F01-5C3E-849A-0D42138DC739}"/>
                </a:ext>
              </a:extLst>
            </p:cNvPr>
            <p:cNvSpPr/>
            <p:nvPr/>
          </p:nvSpPr>
          <p:spPr>
            <a:xfrm>
              <a:off x="4294790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" name="object 127">
              <a:extLst>
                <a:ext uri="{FF2B5EF4-FFF2-40B4-BE49-F238E27FC236}">
                  <a16:creationId xmlns:a16="http://schemas.microsoft.com/office/drawing/2014/main" id="{234804D8-4324-BE29-75F9-EE764C32CD1B}"/>
                </a:ext>
              </a:extLst>
            </p:cNvPr>
            <p:cNvSpPr/>
            <p:nvPr/>
          </p:nvSpPr>
          <p:spPr>
            <a:xfrm>
              <a:off x="4329885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" name="object 128">
              <a:extLst>
                <a:ext uri="{FF2B5EF4-FFF2-40B4-BE49-F238E27FC236}">
                  <a16:creationId xmlns:a16="http://schemas.microsoft.com/office/drawing/2014/main" id="{7054228B-4A76-C594-CD92-C83EA1D0393E}"/>
                </a:ext>
              </a:extLst>
            </p:cNvPr>
            <p:cNvSpPr/>
            <p:nvPr/>
          </p:nvSpPr>
          <p:spPr>
            <a:xfrm>
              <a:off x="4224747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" name="object 129">
              <a:extLst>
                <a:ext uri="{FF2B5EF4-FFF2-40B4-BE49-F238E27FC236}">
                  <a16:creationId xmlns:a16="http://schemas.microsoft.com/office/drawing/2014/main" id="{2EE3D4EC-BC0E-B346-4569-AA4C540099D7}"/>
                </a:ext>
              </a:extLst>
            </p:cNvPr>
            <p:cNvSpPr/>
            <p:nvPr/>
          </p:nvSpPr>
          <p:spPr>
            <a:xfrm>
              <a:off x="4434885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" name="object 130">
              <a:extLst>
                <a:ext uri="{FF2B5EF4-FFF2-40B4-BE49-F238E27FC236}">
                  <a16:creationId xmlns:a16="http://schemas.microsoft.com/office/drawing/2014/main" id="{B0F76A11-99EF-7106-5BF3-FB0E960A3189}"/>
                </a:ext>
              </a:extLst>
            </p:cNvPr>
            <p:cNvSpPr/>
            <p:nvPr/>
          </p:nvSpPr>
          <p:spPr>
            <a:xfrm>
              <a:off x="4259768" y="651794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" name="object 131">
              <a:extLst>
                <a:ext uri="{FF2B5EF4-FFF2-40B4-BE49-F238E27FC236}">
                  <a16:creationId xmlns:a16="http://schemas.microsoft.com/office/drawing/2014/main" id="{352C2AFA-47F3-3E38-A6AC-675369A0DD46}"/>
                </a:ext>
              </a:extLst>
            </p:cNvPr>
            <p:cNvSpPr/>
            <p:nvPr/>
          </p:nvSpPr>
          <p:spPr>
            <a:xfrm>
              <a:off x="4190000" y="653069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32" name="object 132">
            <a:extLst>
              <a:ext uri="{FF2B5EF4-FFF2-40B4-BE49-F238E27FC236}">
                <a16:creationId xmlns:a16="http://schemas.microsoft.com/office/drawing/2014/main" id="{1888C662-787A-305B-A7D5-0984C94C5611}"/>
              </a:ext>
            </a:extLst>
          </p:cNvPr>
          <p:cNvGrpSpPr/>
          <p:nvPr/>
        </p:nvGrpSpPr>
        <p:grpSpPr>
          <a:xfrm>
            <a:off x="6656054" y="1085502"/>
            <a:ext cx="350371" cy="123517"/>
            <a:chOff x="6656054" y="1085502"/>
            <a:chExt cx="350371" cy="123517"/>
          </a:xfrm>
        </p:grpSpPr>
        <p:sp>
          <p:nvSpPr>
            <p:cNvPr id="133" name="object 133">
              <a:extLst>
                <a:ext uri="{FF2B5EF4-FFF2-40B4-BE49-F238E27FC236}">
                  <a16:creationId xmlns:a16="http://schemas.microsoft.com/office/drawing/2014/main" id="{3F670390-C643-1D51-5B92-C7AE1CC9D916}"/>
                </a:ext>
              </a:extLst>
            </p:cNvPr>
            <p:cNvSpPr/>
            <p:nvPr/>
          </p:nvSpPr>
          <p:spPr>
            <a:xfrm>
              <a:off x="693630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" name="object 134">
              <a:extLst>
                <a:ext uri="{FF2B5EF4-FFF2-40B4-BE49-F238E27FC236}">
                  <a16:creationId xmlns:a16="http://schemas.microsoft.com/office/drawing/2014/main" id="{00FBE58D-E343-5A90-3314-803B804BB239}"/>
                </a:ext>
              </a:extLst>
            </p:cNvPr>
            <p:cNvSpPr/>
            <p:nvPr/>
          </p:nvSpPr>
          <p:spPr>
            <a:xfrm>
              <a:off x="697133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" name="object 135">
              <a:extLst>
                <a:ext uri="{FF2B5EF4-FFF2-40B4-BE49-F238E27FC236}">
                  <a16:creationId xmlns:a16="http://schemas.microsoft.com/office/drawing/2014/main" id="{E8EB64D2-D979-5FFC-7048-5051024C0968}"/>
                </a:ext>
              </a:extLst>
            </p:cNvPr>
            <p:cNvSpPr/>
            <p:nvPr/>
          </p:nvSpPr>
          <p:spPr>
            <a:xfrm>
              <a:off x="686625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" name="object 136">
              <a:extLst>
                <a:ext uri="{FF2B5EF4-FFF2-40B4-BE49-F238E27FC236}">
                  <a16:creationId xmlns:a16="http://schemas.microsoft.com/office/drawing/2014/main" id="{2DDD041B-A28D-57BF-6E4C-02CFA20CD154}"/>
                </a:ext>
              </a:extLst>
            </p:cNvPr>
            <p:cNvSpPr/>
            <p:nvPr/>
          </p:nvSpPr>
          <p:spPr>
            <a:xfrm>
              <a:off x="6761192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" name="object 137">
              <a:extLst>
                <a:ext uri="{FF2B5EF4-FFF2-40B4-BE49-F238E27FC236}">
                  <a16:creationId xmlns:a16="http://schemas.microsoft.com/office/drawing/2014/main" id="{3D05EF05-C9F5-68CD-E822-AB7BA8515EFC}"/>
                </a:ext>
              </a:extLst>
            </p:cNvPr>
            <p:cNvSpPr/>
            <p:nvPr/>
          </p:nvSpPr>
          <p:spPr>
            <a:xfrm>
              <a:off x="679628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" name="object 138">
              <a:extLst>
                <a:ext uri="{FF2B5EF4-FFF2-40B4-BE49-F238E27FC236}">
                  <a16:creationId xmlns:a16="http://schemas.microsoft.com/office/drawing/2014/main" id="{AEAB45DC-780A-0D8C-CCCA-36D9E468315D}"/>
                </a:ext>
              </a:extLst>
            </p:cNvPr>
            <p:cNvSpPr/>
            <p:nvPr/>
          </p:nvSpPr>
          <p:spPr>
            <a:xfrm>
              <a:off x="669114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" name="object 139">
              <a:extLst>
                <a:ext uri="{FF2B5EF4-FFF2-40B4-BE49-F238E27FC236}">
                  <a16:creationId xmlns:a16="http://schemas.microsoft.com/office/drawing/2014/main" id="{03B73F4E-1BAF-39AA-86DA-E59E436F9E00}"/>
                </a:ext>
              </a:extLst>
            </p:cNvPr>
            <p:cNvSpPr/>
            <p:nvPr/>
          </p:nvSpPr>
          <p:spPr>
            <a:xfrm>
              <a:off x="690127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" name="object 140">
              <a:extLst>
                <a:ext uri="{FF2B5EF4-FFF2-40B4-BE49-F238E27FC236}">
                  <a16:creationId xmlns:a16="http://schemas.microsoft.com/office/drawing/2014/main" id="{EE9975B1-319F-25B0-2C72-019B74F641CA}"/>
                </a:ext>
              </a:extLst>
            </p:cNvPr>
            <p:cNvSpPr/>
            <p:nvPr/>
          </p:nvSpPr>
          <p:spPr>
            <a:xfrm>
              <a:off x="672617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" name="object 141">
              <a:extLst>
                <a:ext uri="{FF2B5EF4-FFF2-40B4-BE49-F238E27FC236}">
                  <a16:creationId xmlns:a16="http://schemas.microsoft.com/office/drawing/2014/main" id="{6DD2D14F-C2B8-17E9-E73D-485480D2541B}"/>
                </a:ext>
              </a:extLst>
            </p:cNvPr>
            <p:cNvSpPr/>
            <p:nvPr/>
          </p:nvSpPr>
          <p:spPr>
            <a:xfrm>
              <a:off x="700635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" name="object 142">
              <a:extLst>
                <a:ext uri="{FF2B5EF4-FFF2-40B4-BE49-F238E27FC236}">
                  <a16:creationId xmlns:a16="http://schemas.microsoft.com/office/drawing/2014/main" id="{A24A2618-9724-F52B-F6E5-67893979D13A}"/>
                </a:ext>
              </a:extLst>
            </p:cNvPr>
            <p:cNvSpPr/>
            <p:nvPr/>
          </p:nvSpPr>
          <p:spPr>
            <a:xfrm>
              <a:off x="683137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" name="object 143">
              <a:extLst>
                <a:ext uri="{FF2B5EF4-FFF2-40B4-BE49-F238E27FC236}">
                  <a16:creationId xmlns:a16="http://schemas.microsoft.com/office/drawing/2014/main" id="{4028411C-66D9-4DF3-8FCB-1E28BBF3E6CC}"/>
                </a:ext>
              </a:extLst>
            </p:cNvPr>
            <p:cNvSpPr/>
            <p:nvPr/>
          </p:nvSpPr>
          <p:spPr>
            <a:xfrm>
              <a:off x="665640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" name="object 144">
              <a:extLst>
                <a:ext uri="{FF2B5EF4-FFF2-40B4-BE49-F238E27FC236}">
                  <a16:creationId xmlns:a16="http://schemas.microsoft.com/office/drawing/2014/main" id="{AAA1E6DB-DD75-93D7-313D-FAD607DC4AD1}"/>
                </a:ext>
              </a:extLst>
            </p:cNvPr>
            <p:cNvSpPr/>
            <p:nvPr/>
          </p:nvSpPr>
          <p:spPr>
            <a:xfrm>
              <a:off x="6656402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" name="object 145">
              <a:extLst>
                <a:ext uri="{FF2B5EF4-FFF2-40B4-BE49-F238E27FC236}">
                  <a16:creationId xmlns:a16="http://schemas.microsoft.com/office/drawing/2014/main" id="{1E5E09CF-9BDF-B837-4A52-C39F78EC743C}"/>
                </a:ext>
              </a:extLst>
            </p:cNvPr>
            <p:cNvSpPr/>
            <p:nvPr/>
          </p:nvSpPr>
          <p:spPr>
            <a:xfrm>
              <a:off x="6656539" y="1085502"/>
              <a:ext cx="5891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97154"/>
                <a:gd name="f4" fmla="val 84455"/>
                <a:gd name="f5" fmla="val 96625"/>
                <a:gd name="f6" fmla="val 84123"/>
                <a:gd name="f7" fmla="*/ f0 1 97154"/>
                <a:gd name="f8" fmla="*/ f1 1 84455"/>
                <a:gd name="f9" fmla="+- f4 0 f2"/>
                <a:gd name="f10" fmla="+- f3 0 f2"/>
                <a:gd name="f11" fmla="*/ f10 1 9715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9715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" name="object 146">
              <a:extLst>
                <a:ext uri="{FF2B5EF4-FFF2-40B4-BE49-F238E27FC236}">
                  <a16:creationId xmlns:a16="http://schemas.microsoft.com/office/drawing/2014/main" id="{7FE720B9-D765-F322-E1CA-5169CE0AE7B9}"/>
                </a:ext>
              </a:extLst>
            </p:cNvPr>
            <p:cNvSpPr/>
            <p:nvPr/>
          </p:nvSpPr>
          <p:spPr>
            <a:xfrm>
              <a:off x="6656539" y="1157804"/>
              <a:ext cx="2884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75615"/>
                <a:gd name="f4" fmla="val 84455"/>
                <a:gd name="f5" fmla="val 475482"/>
                <a:gd name="f6" fmla="val 84112"/>
                <a:gd name="f7" fmla="*/ f0 1 475615"/>
                <a:gd name="f8" fmla="*/ f1 1 84455"/>
                <a:gd name="f9" fmla="+- f4 0 f2"/>
                <a:gd name="f10" fmla="+- f3 0 f2"/>
                <a:gd name="f11" fmla="*/ f10 1 47561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7561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" name="object 147">
              <a:extLst>
                <a:ext uri="{FF2B5EF4-FFF2-40B4-BE49-F238E27FC236}">
                  <a16:creationId xmlns:a16="http://schemas.microsoft.com/office/drawing/2014/main" id="{3A8082D8-7601-6B9D-BB34-11EBD718ED03}"/>
                </a:ext>
              </a:extLst>
            </p:cNvPr>
            <p:cNvSpPr/>
            <p:nvPr/>
          </p:nvSpPr>
          <p:spPr>
            <a:xfrm>
              <a:off x="693596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" name="object 148">
              <a:extLst>
                <a:ext uri="{FF2B5EF4-FFF2-40B4-BE49-F238E27FC236}">
                  <a16:creationId xmlns:a16="http://schemas.microsoft.com/office/drawing/2014/main" id="{83EEEFA0-9062-5988-5E88-22E00EEDB1CD}"/>
                </a:ext>
              </a:extLst>
            </p:cNvPr>
            <p:cNvSpPr/>
            <p:nvPr/>
          </p:nvSpPr>
          <p:spPr>
            <a:xfrm>
              <a:off x="697098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" name="object 149">
              <a:extLst>
                <a:ext uri="{FF2B5EF4-FFF2-40B4-BE49-F238E27FC236}">
                  <a16:creationId xmlns:a16="http://schemas.microsoft.com/office/drawing/2014/main" id="{197D6907-E490-C270-AE11-08B251268B6D}"/>
                </a:ext>
              </a:extLst>
            </p:cNvPr>
            <p:cNvSpPr/>
            <p:nvPr/>
          </p:nvSpPr>
          <p:spPr>
            <a:xfrm>
              <a:off x="686591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" name="object 150">
              <a:extLst>
                <a:ext uri="{FF2B5EF4-FFF2-40B4-BE49-F238E27FC236}">
                  <a16:creationId xmlns:a16="http://schemas.microsoft.com/office/drawing/2014/main" id="{016164A6-E81B-BC89-1677-4E4C69B84194}"/>
                </a:ext>
              </a:extLst>
            </p:cNvPr>
            <p:cNvSpPr/>
            <p:nvPr/>
          </p:nvSpPr>
          <p:spPr>
            <a:xfrm>
              <a:off x="676084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" name="object 151">
              <a:extLst>
                <a:ext uri="{FF2B5EF4-FFF2-40B4-BE49-F238E27FC236}">
                  <a16:creationId xmlns:a16="http://schemas.microsoft.com/office/drawing/2014/main" id="{5D3B2089-8DBA-6A82-711D-780962DB1699}"/>
                </a:ext>
              </a:extLst>
            </p:cNvPr>
            <p:cNvSpPr/>
            <p:nvPr/>
          </p:nvSpPr>
          <p:spPr>
            <a:xfrm>
              <a:off x="679593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" name="object 152">
              <a:extLst>
                <a:ext uri="{FF2B5EF4-FFF2-40B4-BE49-F238E27FC236}">
                  <a16:creationId xmlns:a16="http://schemas.microsoft.com/office/drawing/2014/main" id="{7F205221-A16A-03BE-74C8-DBF322345404}"/>
                </a:ext>
              </a:extLst>
            </p:cNvPr>
            <p:cNvSpPr/>
            <p:nvPr/>
          </p:nvSpPr>
          <p:spPr>
            <a:xfrm>
              <a:off x="669080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" name="object 153">
              <a:extLst>
                <a:ext uri="{FF2B5EF4-FFF2-40B4-BE49-F238E27FC236}">
                  <a16:creationId xmlns:a16="http://schemas.microsoft.com/office/drawing/2014/main" id="{26A58F28-F33F-C393-36DF-EBD72BDEA2A4}"/>
                </a:ext>
              </a:extLst>
            </p:cNvPr>
            <p:cNvSpPr/>
            <p:nvPr/>
          </p:nvSpPr>
          <p:spPr>
            <a:xfrm>
              <a:off x="690094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" name="object 154">
              <a:extLst>
                <a:ext uri="{FF2B5EF4-FFF2-40B4-BE49-F238E27FC236}">
                  <a16:creationId xmlns:a16="http://schemas.microsoft.com/office/drawing/2014/main" id="{279FC27F-B127-6CA6-3059-C518DCE690B0}"/>
                </a:ext>
              </a:extLst>
            </p:cNvPr>
            <p:cNvSpPr/>
            <p:nvPr/>
          </p:nvSpPr>
          <p:spPr>
            <a:xfrm>
              <a:off x="672582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" name="object 155">
              <a:extLst>
                <a:ext uri="{FF2B5EF4-FFF2-40B4-BE49-F238E27FC236}">
                  <a16:creationId xmlns:a16="http://schemas.microsoft.com/office/drawing/2014/main" id="{ED4FE57E-A464-7C86-CEA0-527B2C180BCE}"/>
                </a:ext>
              </a:extLst>
            </p:cNvPr>
            <p:cNvSpPr/>
            <p:nvPr/>
          </p:nvSpPr>
          <p:spPr>
            <a:xfrm>
              <a:off x="700600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" name="object 156">
              <a:extLst>
                <a:ext uri="{FF2B5EF4-FFF2-40B4-BE49-F238E27FC236}">
                  <a16:creationId xmlns:a16="http://schemas.microsoft.com/office/drawing/2014/main" id="{E692C388-DCC9-41C9-A355-A83B7ADF6C4A}"/>
                </a:ext>
              </a:extLst>
            </p:cNvPr>
            <p:cNvSpPr/>
            <p:nvPr/>
          </p:nvSpPr>
          <p:spPr>
            <a:xfrm>
              <a:off x="683103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" name="object 157">
              <a:extLst>
                <a:ext uri="{FF2B5EF4-FFF2-40B4-BE49-F238E27FC236}">
                  <a16:creationId xmlns:a16="http://schemas.microsoft.com/office/drawing/2014/main" id="{3BBA1F47-657D-71D9-9508-B020503B0E95}"/>
                </a:ext>
              </a:extLst>
            </p:cNvPr>
            <p:cNvSpPr/>
            <p:nvPr/>
          </p:nvSpPr>
          <p:spPr>
            <a:xfrm>
              <a:off x="665605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" name="object 158">
              <a:extLst>
                <a:ext uri="{FF2B5EF4-FFF2-40B4-BE49-F238E27FC236}">
                  <a16:creationId xmlns:a16="http://schemas.microsoft.com/office/drawing/2014/main" id="{31498A3B-322F-7833-7B21-23DE23581C29}"/>
                </a:ext>
              </a:extLst>
            </p:cNvPr>
            <p:cNvSpPr/>
            <p:nvPr/>
          </p:nvSpPr>
          <p:spPr>
            <a:xfrm>
              <a:off x="683103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" name="object 159">
              <a:extLst>
                <a:ext uri="{FF2B5EF4-FFF2-40B4-BE49-F238E27FC236}">
                  <a16:creationId xmlns:a16="http://schemas.microsoft.com/office/drawing/2014/main" id="{17A6A356-C67F-E859-3575-8A5BF11AEBC0}"/>
                </a:ext>
              </a:extLst>
            </p:cNvPr>
            <p:cNvSpPr/>
            <p:nvPr/>
          </p:nvSpPr>
          <p:spPr>
            <a:xfrm>
              <a:off x="6656054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60" name="object 160">
            <a:extLst>
              <a:ext uri="{FF2B5EF4-FFF2-40B4-BE49-F238E27FC236}">
                <a16:creationId xmlns:a16="http://schemas.microsoft.com/office/drawing/2014/main" id="{5D2A2C90-30E7-0D11-DA20-CF1BCB728014}"/>
              </a:ext>
            </a:extLst>
          </p:cNvPr>
          <p:cNvGrpSpPr/>
          <p:nvPr/>
        </p:nvGrpSpPr>
        <p:grpSpPr>
          <a:xfrm>
            <a:off x="7477954" y="1085502"/>
            <a:ext cx="350370" cy="123517"/>
            <a:chOff x="7477954" y="1085502"/>
            <a:chExt cx="350370" cy="123517"/>
          </a:xfrm>
        </p:grpSpPr>
        <p:sp>
          <p:nvSpPr>
            <p:cNvPr id="161" name="object 161">
              <a:extLst>
                <a:ext uri="{FF2B5EF4-FFF2-40B4-BE49-F238E27FC236}">
                  <a16:creationId xmlns:a16="http://schemas.microsoft.com/office/drawing/2014/main" id="{DDFDE0A1-6FDC-2C28-E455-F0BA03FCE3E1}"/>
                </a:ext>
              </a:extLst>
            </p:cNvPr>
            <p:cNvSpPr/>
            <p:nvPr/>
          </p:nvSpPr>
          <p:spPr>
            <a:xfrm>
              <a:off x="775819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" name="object 162">
              <a:extLst>
                <a:ext uri="{FF2B5EF4-FFF2-40B4-BE49-F238E27FC236}">
                  <a16:creationId xmlns:a16="http://schemas.microsoft.com/office/drawing/2014/main" id="{FFA4A475-D8C6-715B-9A4E-0B7D4116CE97}"/>
                </a:ext>
              </a:extLst>
            </p:cNvPr>
            <p:cNvSpPr/>
            <p:nvPr/>
          </p:nvSpPr>
          <p:spPr>
            <a:xfrm>
              <a:off x="779322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" name="object 163">
              <a:extLst>
                <a:ext uri="{FF2B5EF4-FFF2-40B4-BE49-F238E27FC236}">
                  <a16:creationId xmlns:a16="http://schemas.microsoft.com/office/drawing/2014/main" id="{AB11CD80-AF2E-4AB6-7BF6-90B4D1214617}"/>
                </a:ext>
              </a:extLst>
            </p:cNvPr>
            <p:cNvSpPr/>
            <p:nvPr/>
          </p:nvSpPr>
          <p:spPr>
            <a:xfrm>
              <a:off x="768815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" name="object 164">
              <a:extLst>
                <a:ext uri="{FF2B5EF4-FFF2-40B4-BE49-F238E27FC236}">
                  <a16:creationId xmlns:a16="http://schemas.microsoft.com/office/drawing/2014/main" id="{B3B6BCCA-D799-AC1D-DA0B-91BBE3699410}"/>
                </a:ext>
              </a:extLst>
            </p:cNvPr>
            <p:cNvSpPr/>
            <p:nvPr/>
          </p:nvSpPr>
          <p:spPr>
            <a:xfrm>
              <a:off x="758309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" name="object 165">
              <a:extLst>
                <a:ext uri="{FF2B5EF4-FFF2-40B4-BE49-F238E27FC236}">
                  <a16:creationId xmlns:a16="http://schemas.microsoft.com/office/drawing/2014/main" id="{BD92F255-AF2F-0295-1A6A-5F2A0A9BF626}"/>
                </a:ext>
              </a:extLst>
            </p:cNvPr>
            <p:cNvSpPr/>
            <p:nvPr/>
          </p:nvSpPr>
          <p:spPr>
            <a:xfrm>
              <a:off x="761818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" name="object 166">
              <a:extLst>
                <a:ext uri="{FF2B5EF4-FFF2-40B4-BE49-F238E27FC236}">
                  <a16:creationId xmlns:a16="http://schemas.microsoft.com/office/drawing/2014/main" id="{AA3953C4-64B3-7F76-A887-3E371E3F6668}"/>
                </a:ext>
              </a:extLst>
            </p:cNvPr>
            <p:cNvSpPr/>
            <p:nvPr/>
          </p:nvSpPr>
          <p:spPr>
            <a:xfrm>
              <a:off x="751304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" name="object 167">
              <a:extLst>
                <a:ext uri="{FF2B5EF4-FFF2-40B4-BE49-F238E27FC236}">
                  <a16:creationId xmlns:a16="http://schemas.microsoft.com/office/drawing/2014/main" id="{DA51BD06-888B-EDC8-E2C6-2A431E1BEFC5}"/>
                </a:ext>
              </a:extLst>
            </p:cNvPr>
            <p:cNvSpPr/>
            <p:nvPr/>
          </p:nvSpPr>
          <p:spPr>
            <a:xfrm>
              <a:off x="772317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" name="object 168">
              <a:extLst>
                <a:ext uri="{FF2B5EF4-FFF2-40B4-BE49-F238E27FC236}">
                  <a16:creationId xmlns:a16="http://schemas.microsoft.com/office/drawing/2014/main" id="{370C5438-D401-60B6-87FA-8B3B3C4E494E}"/>
                </a:ext>
              </a:extLst>
            </p:cNvPr>
            <p:cNvSpPr/>
            <p:nvPr/>
          </p:nvSpPr>
          <p:spPr>
            <a:xfrm>
              <a:off x="754807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" name="object 169">
              <a:extLst>
                <a:ext uri="{FF2B5EF4-FFF2-40B4-BE49-F238E27FC236}">
                  <a16:creationId xmlns:a16="http://schemas.microsoft.com/office/drawing/2014/main" id="{1BA36766-E0BE-5C28-CA20-91C2D9330B0D}"/>
                </a:ext>
              </a:extLst>
            </p:cNvPr>
            <p:cNvSpPr/>
            <p:nvPr/>
          </p:nvSpPr>
          <p:spPr>
            <a:xfrm>
              <a:off x="7828242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" name="object 170">
              <a:extLst>
                <a:ext uri="{FF2B5EF4-FFF2-40B4-BE49-F238E27FC236}">
                  <a16:creationId xmlns:a16="http://schemas.microsoft.com/office/drawing/2014/main" id="{84056946-1CD4-89C4-B63C-796138F0963D}"/>
                </a:ext>
              </a:extLst>
            </p:cNvPr>
            <p:cNvSpPr/>
            <p:nvPr/>
          </p:nvSpPr>
          <p:spPr>
            <a:xfrm>
              <a:off x="7653271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" name="object 171">
              <a:extLst>
                <a:ext uri="{FF2B5EF4-FFF2-40B4-BE49-F238E27FC236}">
                  <a16:creationId xmlns:a16="http://schemas.microsoft.com/office/drawing/2014/main" id="{7837AF08-C37A-82DC-6BDE-CA583795923E}"/>
                </a:ext>
              </a:extLst>
            </p:cNvPr>
            <p:cNvSpPr/>
            <p:nvPr/>
          </p:nvSpPr>
          <p:spPr>
            <a:xfrm>
              <a:off x="7478301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" name="object 172">
              <a:extLst>
                <a:ext uri="{FF2B5EF4-FFF2-40B4-BE49-F238E27FC236}">
                  <a16:creationId xmlns:a16="http://schemas.microsoft.com/office/drawing/2014/main" id="{834D5D7F-1A44-5721-BC9B-34A2DE0AEC35}"/>
                </a:ext>
              </a:extLst>
            </p:cNvPr>
            <p:cNvSpPr/>
            <p:nvPr/>
          </p:nvSpPr>
          <p:spPr>
            <a:xfrm>
              <a:off x="7478301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" name="object 173">
              <a:extLst>
                <a:ext uri="{FF2B5EF4-FFF2-40B4-BE49-F238E27FC236}">
                  <a16:creationId xmlns:a16="http://schemas.microsoft.com/office/drawing/2014/main" id="{AD0C3A58-9CC1-3EEE-AB50-3F11390C2C15}"/>
                </a:ext>
              </a:extLst>
            </p:cNvPr>
            <p:cNvSpPr/>
            <p:nvPr/>
          </p:nvSpPr>
          <p:spPr>
            <a:xfrm>
              <a:off x="7478429" y="1085502"/>
              <a:ext cx="25568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1640"/>
                <a:gd name="f4" fmla="val 84455"/>
                <a:gd name="f5" fmla="val 421034"/>
                <a:gd name="f6" fmla="val 84123"/>
                <a:gd name="f7" fmla="*/ f0 1 421640"/>
                <a:gd name="f8" fmla="*/ f1 1 84455"/>
                <a:gd name="f9" fmla="+- f4 0 f2"/>
                <a:gd name="f10" fmla="+- f3 0 f2"/>
                <a:gd name="f11" fmla="*/ f10 1 42164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164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" name="object 174">
              <a:extLst>
                <a:ext uri="{FF2B5EF4-FFF2-40B4-BE49-F238E27FC236}">
                  <a16:creationId xmlns:a16="http://schemas.microsoft.com/office/drawing/2014/main" id="{2507FA5D-DA2A-836C-BDEB-23E82E9830AB}"/>
                </a:ext>
              </a:extLst>
            </p:cNvPr>
            <p:cNvSpPr/>
            <p:nvPr/>
          </p:nvSpPr>
          <p:spPr>
            <a:xfrm>
              <a:off x="7478429" y="1157804"/>
              <a:ext cx="33692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55625"/>
                <a:gd name="f4" fmla="val 84455"/>
                <a:gd name="f5" fmla="val 555250"/>
                <a:gd name="f6" fmla="val 84112"/>
                <a:gd name="f7" fmla="*/ f0 1 555625"/>
                <a:gd name="f8" fmla="*/ f1 1 84455"/>
                <a:gd name="f9" fmla="+- f4 0 f2"/>
                <a:gd name="f10" fmla="+- f3 0 f2"/>
                <a:gd name="f11" fmla="*/ f10 1 55562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5562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" name="object 175">
              <a:extLst>
                <a:ext uri="{FF2B5EF4-FFF2-40B4-BE49-F238E27FC236}">
                  <a16:creationId xmlns:a16="http://schemas.microsoft.com/office/drawing/2014/main" id="{1C61A942-DBC0-F4FA-1458-5038F4CA61C3}"/>
                </a:ext>
              </a:extLst>
            </p:cNvPr>
            <p:cNvSpPr/>
            <p:nvPr/>
          </p:nvSpPr>
          <p:spPr>
            <a:xfrm>
              <a:off x="775785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" name="object 176">
              <a:extLst>
                <a:ext uri="{FF2B5EF4-FFF2-40B4-BE49-F238E27FC236}">
                  <a16:creationId xmlns:a16="http://schemas.microsoft.com/office/drawing/2014/main" id="{C38607A8-DC83-BA8D-D122-D14C2FF4921C}"/>
                </a:ext>
              </a:extLst>
            </p:cNvPr>
            <p:cNvSpPr/>
            <p:nvPr/>
          </p:nvSpPr>
          <p:spPr>
            <a:xfrm>
              <a:off x="779287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" name="object 177">
              <a:extLst>
                <a:ext uri="{FF2B5EF4-FFF2-40B4-BE49-F238E27FC236}">
                  <a16:creationId xmlns:a16="http://schemas.microsoft.com/office/drawing/2014/main" id="{646C53C4-DA2B-116F-3AD6-FC249E1B225E}"/>
                </a:ext>
              </a:extLst>
            </p:cNvPr>
            <p:cNvSpPr/>
            <p:nvPr/>
          </p:nvSpPr>
          <p:spPr>
            <a:xfrm>
              <a:off x="768780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" name="object 178">
              <a:extLst>
                <a:ext uri="{FF2B5EF4-FFF2-40B4-BE49-F238E27FC236}">
                  <a16:creationId xmlns:a16="http://schemas.microsoft.com/office/drawing/2014/main" id="{83B30534-4580-5C51-C6C5-6AB8060C92FA}"/>
                </a:ext>
              </a:extLst>
            </p:cNvPr>
            <p:cNvSpPr/>
            <p:nvPr/>
          </p:nvSpPr>
          <p:spPr>
            <a:xfrm>
              <a:off x="758274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" name="object 179">
              <a:extLst>
                <a:ext uri="{FF2B5EF4-FFF2-40B4-BE49-F238E27FC236}">
                  <a16:creationId xmlns:a16="http://schemas.microsoft.com/office/drawing/2014/main" id="{7F31AE5A-ACEB-00DB-5DCB-653C25C36F77}"/>
                </a:ext>
              </a:extLst>
            </p:cNvPr>
            <p:cNvSpPr/>
            <p:nvPr/>
          </p:nvSpPr>
          <p:spPr>
            <a:xfrm>
              <a:off x="761783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" name="object 180">
              <a:extLst>
                <a:ext uri="{FF2B5EF4-FFF2-40B4-BE49-F238E27FC236}">
                  <a16:creationId xmlns:a16="http://schemas.microsoft.com/office/drawing/2014/main" id="{9DAEF2DD-D3F8-75E9-4144-D2A4A3C4596B}"/>
                </a:ext>
              </a:extLst>
            </p:cNvPr>
            <p:cNvSpPr/>
            <p:nvPr/>
          </p:nvSpPr>
          <p:spPr>
            <a:xfrm>
              <a:off x="751270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" name="object 181">
              <a:extLst>
                <a:ext uri="{FF2B5EF4-FFF2-40B4-BE49-F238E27FC236}">
                  <a16:creationId xmlns:a16="http://schemas.microsoft.com/office/drawing/2014/main" id="{BC524CBE-CD30-4210-3781-4CCECDB55857}"/>
                </a:ext>
              </a:extLst>
            </p:cNvPr>
            <p:cNvSpPr/>
            <p:nvPr/>
          </p:nvSpPr>
          <p:spPr>
            <a:xfrm>
              <a:off x="772283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" name="object 182">
              <a:extLst>
                <a:ext uri="{FF2B5EF4-FFF2-40B4-BE49-F238E27FC236}">
                  <a16:creationId xmlns:a16="http://schemas.microsoft.com/office/drawing/2014/main" id="{E9838662-F560-C9F1-364F-70E7A84AD08A}"/>
                </a:ext>
              </a:extLst>
            </p:cNvPr>
            <p:cNvSpPr/>
            <p:nvPr/>
          </p:nvSpPr>
          <p:spPr>
            <a:xfrm>
              <a:off x="754772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" name="object 183">
              <a:extLst>
                <a:ext uri="{FF2B5EF4-FFF2-40B4-BE49-F238E27FC236}">
                  <a16:creationId xmlns:a16="http://schemas.microsoft.com/office/drawing/2014/main" id="{2C0B52DA-E122-58EB-E910-779932C72968}"/>
                </a:ext>
              </a:extLst>
            </p:cNvPr>
            <p:cNvSpPr/>
            <p:nvPr/>
          </p:nvSpPr>
          <p:spPr>
            <a:xfrm>
              <a:off x="782789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" name="object 184">
              <a:extLst>
                <a:ext uri="{FF2B5EF4-FFF2-40B4-BE49-F238E27FC236}">
                  <a16:creationId xmlns:a16="http://schemas.microsoft.com/office/drawing/2014/main" id="{A9072021-B0A5-7182-A846-15C8EC7B3A38}"/>
                </a:ext>
              </a:extLst>
            </p:cNvPr>
            <p:cNvSpPr/>
            <p:nvPr/>
          </p:nvSpPr>
          <p:spPr>
            <a:xfrm>
              <a:off x="765292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" name="object 185">
              <a:extLst>
                <a:ext uri="{FF2B5EF4-FFF2-40B4-BE49-F238E27FC236}">
                  <a16:creationId xmlns:a16="http://schemas.microsoft.com/office/drawing/2014/main" id="{0F88DBE2-1CC4-B737-A60F-D4C9B2BD89D2}"/>
                </a:ext>
              </a:extLst>
            </p:cNvPr>
            <p:cNvSpPr/>
            <p:nvPr/>
          </p:nvSpPr>
          <p:spPr>
            <a:xfrm>
              <a:off x="747795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" name="object 186">
              <a:extLst>
                <a:ext uri="{FF2B5EF4-FFF2-40B4-BE49-F238E27FC236}">
                  <a16:creationId xmlns:a16="http://schemas.microsoft.com/office/drawing/2014/main" id="{096C9B56-5C93-30DE-8D4A-0D93DF47EA90}"/>
                </a:ext>
              </a:extLst>
            </p:cNvPr>
            <p:cNvSpPr/>
            <p:nvPr/>
          </p:nvSpPr>
          <p:spPr>
            <a:xfrm>
              <a:off x="7652924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" name="object 187">
              <a:extLst>
                <a:ext uri="{FF2B5EF4-FFF2-40B4-BE49-F238E27FC236}">
                  <a16:creationId xmlns:a16="http://schemas.microsoft.com/office/drawing/2014/main" id="{3AB10632-6A22-2842-2DB9-32CA1B03AC56}"/>
                </a:ext>
              </a:extLst>
            </p:cNvPr>
            <p:cNvSpPr/>
            <p:nvPr/>
          </p:nvSpPr>
          <p:spPr>
            <a:xfrm>
              <a:off x="7477954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8" name="object 188">
            <a:extLst>
              <a:ext uri="{FF2B5EF4-FFF2-40B4-BE49-F238E27FC236}">
                <a16:creationId xmlns:a16="http://schemas.microsoft.com/office/drawing/2014/main" id="{48909C67-C168-7981-1AB7-4C4B13C8FC7C}"/>
              </a:ext>
            </a:extLst>
          </p:cNvPr>
          <p:cNvGrpSpPr/>
          <p:nvPr/>
        </p:nvGrpSpPr>
        <p:grpSpPr>
          <a:xfrm>
            <a:off x="8299130" y="1085502"/>
            <a:ext cx="350371" cy="123517"/>
            <a:chOff x="8299130" y="1085502"/>
            <a:chExt cx="350371" cy="123517"/>
          </a:xfrm>
        </p:grpSpPr>
        <p:sp>
          <p:nvSpPr>
            <p:cNvPr id="189" name="object 189">
              <a:extLst>
                <a:ext uri="{FF2B5EF4-FFF2-40B4-BE49-F238E27FC236}">
                  <a16:creationId xmlns:a16="http://schemas.microsoft.com/office/drawing/2014/main" id="{15C66E92-97A3-953E-FE44-28A57188CC8C}"/>
                </a:ext>
              </a:extLst>
            </p:cNvPr>
            <p:cNvSpPr/>
            <p:nvPr/>
          </p:nvSpPr>
          <p:spPr>
            <a:xfrm>
              <a:off x="857937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" name="object 190">
              <a:extLst>
                <a:ext uri="{FF2B5EF4-FFF2-40B4-BE49-F238E27FC236}">
                  <a16:creationId xmlns:a16="http://schemas.microsoft.com/office/drawing/2014/main" id="{B057F44F-0314-152F-011D-E201D901F16A}"/>
                </a:ext>
              </a:extLst>
            </p:cNvPr>
            <p:cNvSpPr/>
            <p:nvPr/>
          </p:nvSpPr>
          <p:spPr>
            <a:xfrm>
              <a:off x="861439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" name="object 191">
              <a:extLst>
                <a:ext uri="{FF2B5EF4-FFF2-40B4-BE49-F238E27FC236}">
                  <a16:creationId xmlns:a16="http://schemas.microsoft.com/office/drawing/2014/main" id="{55C52D1A-2540-BB2B-A413-A54E21A0820E}"/>
                </a:ext>
              </a:extLst>
            </p:cNvPr>
            <p:cNvSpPr/>
            <p:nvPr/>
          </p:nvSpPr>
          <p:spPr>
            <a:xfrm>
              <a:off x="850933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" name="object 192">
              <a:extLst>
                <a:ext uri="{FF2B5EF4-FFF2-40B4-BE49-F238E27FC236}">
                  <a16:creationId xmlns:a16="http://schemas.microsoft.com/office/drawing/2014/main" id="{43D76980-0F79-E53C-BFC1-959312E4201A}"/>
                </a:ext>
              </a:extLst>
            </p:cNvPr>
            <p:cNvSpPr/>
            <p:nvPr/>
          </p:nvSpPr>
          <p:spPr>
            <a:xfrm>
              <a:off x="840426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" name="object 193">
              <a:extLst>
                <a:ext uri="{FF2B5EF4-FFF2-40B4-BE49-F238E27FC236}">
                  <a16:creationId xmlns:a16="http://schemas.microsoft.com/office/drawing/2014/main" id="{44DCAD8F-E606-8F58-6C2D-0D97B327BF5F}"/>
                </a:ext>
              </a:extLst>
            </p:cNvPr>
            <p:cNvSpPr/>
            <p:nvPr/>
          </p:nvSpPr>
          <p:spPr>
            <a:xfrm>
              <a:off x="8439354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" name="object 194">
              <a:extLst>
                <a:ext uri="{FF2B5EF4-FFF2-40B4-BE49-F238E27FC236}">
                  <a16:creationId xmlns:a16="http://schemas.microsoft.com/office/drawing/2014/main" id="{FFC84B86-5A80-0C0A-5A0B-A67C4CEF1AE4}"/>
                </a:ext>
              </a:extLst>
            </p:cNvPr>
            <p:cNvSpPr/>
            <p:nvPr/>
          </p:nvSpPr>
          <p:spPr>
            <a:xfrm>
              <a:off x="833422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5" name="object 195">
              <a:extLst>
                <a:ext uri="{FF2B5EF4-FFF2-40B4-BE49-F238E27FC236}">
                  <a16:creationId xmlns:a16="http://schemas.microsoft.com/office/drawing/2014/main" id="{8E332F00-DE58-DD1F-7749-35AB13C8FB7E}"/>
                </a:ext>
              </a:extLst>
            </p:cNvPr>
            <p:cNvSpPr/>
            <p:nvPr/>
          </p:nvSpPr>
          <p:spPr>
            <a:xfrm>
              <a:off x="8544354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6" name="object 196">
              <a:extLst>
                <a:ext uri="{FF2B5EF4-FFF2-40B4-BE49-F238E27FC236}">
                  <a16:creationId xmlns:a16="http://schemas.microsoft.com/office/drawing/2014/main" id="{67556C6C-3F05-BF24-D9C0-A0B5DCA86E4D}"/>
                </a:ext>
              </a:extLst>
            </p:cNvPr>
            <p:cNvSpPr/>
            <p:nvPr/>
          </p:nvSpPr>
          <p:spPr>
            <a:xfrm>
              <a:off x="836924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7" name="object 197">
              <a:extLst>
                <a:ext uri="{FF2B5EF4-FFF2-40B4-BE49-F238E27FC236}">
                  <a16:creationId xmlns:a16="http://schemas.microsoft.com/office/drawing/2014/main" id="{50AD16E0-AE94-14D6-EB37-3FCFEA115C10}"/>
                </a:ext>
              </a:extLst>
            </p:cNvPr>
            <p:cNvSpPr/>
            <p:nvPr/>
          </p:nvSpPr>
          <p:spPr>
            <a:xfrm>
              <a:off x="864941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8" name="object 198">
              <a:extLst>
                <a:ext uri="{FF2B5EF4-FFF2-40B4-BE49-F238E27FC236}">
                  <a16:creationId xmlns:a16="http://schemas.microsoft.com/office/drawing/2014/main" id="{CDBA2AC2-0FE5-04C8-4324-1ADE14014396}"/>
                </a:ext>
              </a:extLst>
            </p:cNvPr>
            <p:cNvSpPr/>
            <p:nvPr/>
          </p:nvSpPr>
          <p:spPr>
            <a:xfrm>
              <a:off x="8474448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9" name="object 199">
              <a:extLst>
                <a:ext uri="{FF2B5EF4-FFF2-40B4-BE49-F238E27FC236}">
                  <a16:creationId xmlns:a16="http://schemas.microsoft.com/office/drawing/2014/main" id="{301974DB-07DE-C107-A958-EAF197819428}"/>
                </a:ext>
              </a:extLst>
            </p:cNvPr>
            <p:cNvSpPr/>
            <p:nvPr/>
          </p:nvSpPr>
          <p:spPr>
            <a:xfrm>
              <a:off x="8299478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" name="object 200">
              <a:extLst>
                <a:ext uri="{FF2B5EF4-FFF2-40B4-BE49-F238E27FC236}">
                  <a16:creationId xmlns:a16="http://schemas.microsoft.com/office/drawing/2014/main" id="{F60C51B8-C10F-F055-B8B6-4C0E54BA9075}"/>
                </a:ext>
              </a:extLst>
            </p:cNvPr>
            <p:cNvSpPr/>
            <p:nvPr/>
          </p:nvSpPr>
          <p:spPr>
            <a:xfrm>
              <a:off x="8299478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" name="object 201">
              <a:extLst>
                <a:ext uri="{FF2B5EF4-FFF2-40B4-BE49-F238E27FC236}">
                  <a16:creationId xmlns:a16="http://schemas.microsoft.com/office/drawing/2014/main" id="{07B2B1D2-CE4D-A21C-5342-83A2C1038B26}"/>
                </a:ext>
              </a:extLst>
            </p:cNvPr>
            <p:cNvSpPr/>
            <p:nvPr/>
          </p:nvSpPr>
          <p:spPr>
            <a:xfrm>
              <a:off x="8299588" y="1085502"/>
              <a:ext cx="1386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859"/>
                <a:gd name="f4" fmla="val 84455"/>
                <a:gd name="f5" fmla="val 22334"/>
                <a:gd name="f6" fmla="val 84123"/>
                <a:gd name="f7" fmla="*/ f0 1 22859"/>
                <a:gd name="f8" fmla="*/ f1 1 84455"/>
                <a:gd name="f9" fmla="+- f4 0 f2"/>
                <a:gd name="f10" fmla="+- f3 0 f2"/>
                <a:gd name="f11" fmla="*/ f10 1 2285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285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" name="object 202">
              <a:extLst>
                <a:ext uri="{FF2B5EF4-FFF2-40B4-BE49-F238E27FC236}">
                  <a16:creationId xmlns:a16="http://schemas.microsoft.com/office/drawing/2014/main" id="{A2F5896A-C8E7-8798-73C9-CC3B6FF37EB4}"/>
                </a:ext>
              </a:extLst>
            </p:cNvPr>
            <p:cNvSpPr/>
            <p:nvPr/>
          </p:nvSpPr>
          <p:spPr>
            <a:xfrm>
              <a:off x="8299588" y="1157804"/>
              <a:ext cx="119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684"/>
                <a:gd name="f4" fmla="val 84455"/>
                <a:gd name="f5" fmla="val 19392"/>
                <a:gd name="f6" fmla="val 84112"/>
                <a:gd name="f7" fmla="*/ f0 1 19684"/>
                <a:gd name="f8" fmla="*/ f1 1 84455"/>
                <a:gd name="f9" fmla="+- f4 0 f2"/>
                <a:gd name="f10" fmla="+- f3 0 f2"/>
                <a:gd name="f11" fmla="*/ f10 1 1968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68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" name="object 203">
              <a:extLst>
                <a:ext uri="{FF2B5EF4-FFF2-40B4-BE49-F238E27FC236}">
                  <a16:creationId xmlns:a16="http://schemas.microsoft.com/office/drawing/2014/main" id="{3A150D49-B10F-C5F5-AA56-4398B708412C}"/>
                </a:ext>
              </a:extLst>
            </p:cNvPr>
            <p:cNvSpPr/>
            <p:nvPr/>
          </p:nvSpPr>
          <p:spPr>
            <a:xfrm>
              <a:off x="85790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4" name="object 204">
              <a:extLst>
                <a:ext uri="{FF2B5EF4-FFF2-40B4-BE49-F238E27FC236}">
                  <a16:creationId xmlns:a16="http://schemas.microsoft.com/office/drawing/2014/main" id="{E049AF71-032B-724B-6395-DD8DCCD69E5C}"/>
                </a:ext>
              </a:extLst>
            </p:cNvPr>
            <p:cNvSpPr/>
            <p:nvPr/>
          </p:nvSpPr>
          <p:spPr>
            <a:xfrm>
              <a:off x="861405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5" name="object 205">
              <a:extLst>
                <a:ext uri="{FF2B5EF4-FFF2-40B4-BE49-F238E27FC236}">
                  <a16:creationId xmlns:a16="http://schemas.microsoft.com/office/drawing/2014/main" id="{A4DE6AB1-310B-EA87-7973-776B8037BEDB}"/>
                </a:ext>
              </a:extLst>
            </p:cNvPr>
            <p:cNvSpPr/>
            <p:nvPr/>
          </p:nvSpPr>
          <p:spPr>
            <a:xfrm>
              <a:off x="850898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6" name="object 206">
              <a:extLst>
                <a:ext uri="{FF2B5EF4-FFF2-40B4-BE49-F238E27FC236}">
                  <a16:creationId xmlns:a16="http://schemas.microsoft.com/office/drawing/2014/main" id="{DA98143E-42D4-E8BF-3CD7-205F2157A297}"/>
                </a:ext>
              </a:extLst>
            </p:cNvPr>
            <p:cNvSpPr/>
            <p:nvPr/>
          </p:nvSpPr>
          <p:spPr>
            <a:xfrm>
              <a:off x="840392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7" name="object 207">
              <a:extLst>
                <a:ext uri="{FF2B5EF4-FFF2-40B4-BE49-F238E27FC236}">
                  <a16:creationId xmlns:a16="http://schemas.microsoft.com/office/drawing/2014/main" id="{5CD48994-45C3-4F24-5DF8-5FA53A682014}"/>
                </a:ext>
              </a:extLst>
            </p:cNvPr>
            <p:cNvSpPr/>
            <p:nvPr/>
          </p:nvSpPr>
          <p:spPr>
            <a:xfrm>
              <a:off x="843901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8" name="object 208">
              <a:extLst>
                <a:ext uri="{FF2B5EF4-FFF2-40B4-BE49-F238E27FC236}">
                  <a16:creationId xmlns:a16="http://schemas.microsoft.com/office/drawing/2014/main" id="{0BB03C92-2D95-E5CD-F984-02574AB884C2}"/>
                </a:ext>
              </a:extLst>
            </p:cNvPr>
            <p:cNvSpPr/>
            <p:nvPr/>
          </p:nvSpPr>
          <p:spPr>
            <a:xfrm>
              <a:off x="833387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9" name="object 209">
              <a:extLst>
                <a:ext uri="{FF2B5EF4-FFF2-40B4-BE49-F238E27FC236}">
                  <a16:creationId xmlns:a16="http://schemas.microsoft.com/office/drawing/2014/main" id="{35171885-6AB5-AE0B-CD0B-38BD46348462}"/>
                </a:ext>
              </a:extLst>
            </p:cNvPr>
            <p:cNvSpPr/>
            <p:nvPr/>
          </p:nvSpPr>
          <p:spPr>
            <a:xfrm>
              <a:off x="854400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0" name="object 210">
              <a:extLst>
                <a:ext uri="{FF2B5EF4-FFF2-40B4-BE49-F238E27FC236}">
                  <a16:creationId xmlns:a16="http://schemas.microsoft.com/office/drawing/2014/main" id="{CBE269B3-861E-3CF1-0EDD-366BF597F4FB}"/>
                </a:ext>
              </a:extLst>
            </p:cNvPr>
            <p:cNvSpPr/>
            <p:nvPr/>
          </p:nvSpPr>
          <p:spPr>
            <a:xfrm>
              <a:off x="836889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1" name="object 211">
              <a:extLst>
                <a:ext uri="{FF2B5EF4-FFF2-40B4-BE49-F238E27FC236}">
                  <a16:creationId xmlns:a16="http://schemas.microsoft.com/office/drawing/2014/main" id="{9A717621-DCBF-5C0B-0B19-507D784C9453}"/>
                </a:ext>
              </a:extLst>
            </p:cNvPr>
            <p:cNvSpPr/>
            <p:nvPr/>
          </p:nvSpPr>
          <p:spPr>
            <a:xfrm>
              <a:off x="864907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2" name="object 212">
              <a:extLst>
                <a:ext uri="{FF2B5EF4-FFF2-40B4-BE49-F238E27FC236}">
                  <a16:creationId xmlns:a16="http://schemas.microsoft.com/office/drawing/2014/main" id="{82F459DB-CB1D-7DDD-9404-105918D252D8}"/>
                </a:ext>
              </a:extLst>
            </p:cNvPr>
            <p:cNvSpPr/>
            <p:nvPr/>
          </p:nvSpPr>
          <p:spPr>
            <a:xfrm>
              <a:off x="847410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3" name="object 213">
              <a:extLst>
                <a:ext uri="{FF2B5EF4-FFF2-40B4-BE49-F238E27FC236}">
                  <a16:creationId xmlns:a16="http://schemas.microsoft.com/office/drawing/2014/main" id="{1DA6A485-5CDD-98F0-22AB-4D467954B6BB}"/>
                </a:ext>
              </a:extLst>
            </p:cNvPr>
            <p:cNvSpPr/>
            <p:nvPr/>
          </p:nvSpPr>
          <p:spPr>
            <a:xfrm>
              <a:off x="8299130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4" name="object 214">
              <a:extLst>
                <a:ext uri="{FF2B5EF4-FFF2-40B4-BE49-F238E27FC236}">
                  <a16:creationId xmlns:a16="http://schemas.microsoft.com/office/drawing/2014/main" id="{94D6A5B8-FA77-64FA-1BC1-34814884AC31}"/>
                </a:ext>
              </a:extLst>
            </p:cNvPr>
            <p:cNvSpPr/>
            <p:nvPr/>
          </p:nvSpPr>
          <p:spPr>
            <a:xfrm>
              <a:off x="847410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5" name="object 215">
              <a:extLst>
                <a:ext uri="{FF2B5EF4-FFF2-40B4-BE49-F238E27FC236}">
                  <a16:creationId xmlns:a16="http://schemas.microsoft.com/office/drawing/2014/main" id="{96100E29-10D3-D21D-5304-5FB048C51B9B}"/>
                </a:ext>
              </a:extLst>
            </p:cNvPr>
            <p:cNvSpPr/>
            <p:nvPr/>
          </p:nvSpPr>
          <p:spPr>
            <a:xfrm>
              <a:off x="8299130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16" name="object 216">
            <a:extLst>
              <a:ext uri="{FF2B5EF4-FFF2-40B4-BE49-F238E27FC236}">
                <a16:creationId xmlns:a16="http://schemas.microsoft.com/office/drawing/2014/main" id="{2F067E36-5A43-BD83-C4B2-98220B11DBA3}"/>
              </a:ext>
            </a:extLst>
          </p:cNvPr>
          <p:cNvGrpSpPr/>
          <p:nvPr/>
        </p:nvGrpSpPr>
        <p:grpSpPr>
          <a:xfrm>
            <a:off x="8299130" y="2612705"/>
            <a:ext cx="350371" cy="123526"/>
            <a:chOff x="8299130" y="2612705"/>
            <a:chExt cx="350371" cy="123526"/>
          </a:xfrm>
        </p:grpSpPr>
        <p:sp>
          <p:nvSpPr>
            <p:cNvPr id="217" name="object 217">
              <a:extLst>
                <a:ext uri="{FF2B5EF4-FFF2-40B4-BE49-F238E27FC236}">
                  <a16:creationId xmlns:a16="http://schemas.microsoft.com/office/drawing/2014/main" id="{648BAAC7-FEDF-0914-23D5-7028CEBCFF22}"/>
                </a:ext>
              </a:extLst>
            </p:cNvPr>
            <p:cNvSpPr/>
            <p:nvPr/>
          </p:nvSpPr>
          <p:spPr>
            <a:xfrm>
              <a:off x="8579376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8" name="object 218">
              <a:extLst>
                <a:ext uri="{FF2B5EF4-FFF2-40B4-BE49-F238E27FC236}">
                  <a16:creationId xmlns:a16="http://schemas.microsoft.com/office/drawing/2014/main" id="{3E43ABE1-DC7D-B694-CCC9-47298E23F7C6}"/>
                </a:ext>
              </a:extLst>
            </p:cNvPr>
            <p:cNvSpPr/>
            <p:nvPr/>
          </p:nvSpPr>
          <p:spPr>
            <a:xfrm>
              <a:off x="8614397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19" name="object 219">
              <a:extLst>
                <a:ext uri="{FF2B5EF4-FFF2-40B4-BE49-F238E27FC236}">
                  <a16:creationId xmlns:a16="http://schemas.microsoft.com/office/drawing/2014/main" id="{93B9D7C6-D05A-2F51-1C6F-30CCDC7D831B}"/>
                </a:ext>
              </a:extLst>
            </p:cNvPr>
            <p:cNvSpPr/>
            <p:nvPr/>
          </p:nvSpPr>
          <p:spPr>
            <a:xfrm>
              <a:off x="8509333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0" name="object 220">
              <a:extLst>
                <a:ext uri="{FF2B5EF4-FFF2-40B4-BE49-F238E27FC236}">
                  <a16:creationId xmlns:a16="http://schemas.microsoft.com/office/drawing/2014/main" id="{CA8D65EF-36FC-8957-042D-5884E9DDE33F}"/>
                </a:ext>
              </a:extLst>
            </p:cNvPr>
            <p:cNvSpPr/>
            <p:nvPr/>
          </p:nvSpPr>
          <p:spPr>
            <a:xfrm>
              <a:off x="8404268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1" name="object 221">
              <a:extLst>
                <a:ext uri="{FF2B5EF4-FFF2-40B4-BE49-F238E27FC236}">
                  <a16:creationId xmlns:a16="http://schemas.microsoft.com/office/drawing/2014/main" id="{F36565C4-DEDD-446C-DE2A-41F17DB354B9}"/>
                </a:ext>
              </a:extLst>
            </p:cNvPr>
            <p:cNvSpPr/>
            <p:nvPr/>
          </p:nvSpPr>
          <p:spPr>
            <a:xfrm>
              <a:off x="8439354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2" name="object 222">
              <a:extLst>
                <a:ext uri="{FF2B5EF4-FFF2-40B4-BE49-F238E27FC236}">
                  <a16:creationId xmlns:a16="http://schemas.microsoft.com/office/drawing/2014/main" id="{7422C4A2-D86D-07DA-01C5-0288AF1BE580}"/>
                </a:ext>
              </a:extLst>
            </p:cNvPr>
            <p:cNvSpPr/>
            <p:nvPr/>
          </p:nvSpPr>
          <p:spPr>
            <a:xfrm>
              <a:off x="8334225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3" name="object 223">
              <a:extLst>
                <a:ext uri="{FF2B5EF4-FFF2-40B4-BE49-F238E27FC236}">
                  <a16:creationId xmlns:a16="http://schemas.microsoft.com/office/drawing/2014/main" id="{86C81273-CB8A-092A-133E-475A94886C49}"/>
                </a:ext>
              </a:extLst>
            </p:cNvPr>
            <p:cNvSpPr/>
            <p:nvPr/>
          </p:nvSpPr>
          <p:spPr>
            <a:xfrm>
              <a:off x="8544354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4" name="object 224">
              <a:extLst>
                <a:ext uri="{FF2B5EF4-FFF2-40B4-BE49-F238E27FC236}">
                  <a16:creationId xmlns:a16="http://schemas.microsoft.com/office/drawing/2014/main" id="{8E901AD6-48D8-06BD-FE37-65BDE13FC3E3}"/>
                </a:ext>
              </a:extLst>
            </p:cNvPr>
            <p:cNvSpPr/>
            <p:nvPr/>
          </p:nvSpPr>
          <p:spPr>
            <a:xfrm>
              <a:off x="8369247" y="262546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5" name="object 225">
              <a:extLst>
                <a:ext uri="{FF2B5EF4-FFF2-40B4-BE49-F238E27FC236}">
                  <a16:creationId xmlns:a16="http://schemas.microsoft.com/office/drawing/2014/main" id="{525318B2-0343-6325-501E-F6247AFDA723}"/>
                </a:ext>
              </a:extLst>
            </p:cNvPr>
            <p:cNvSpPr/>
            <p:nvPr/>
          </p:nvSpPr>
          <p:spPr>
            <a:xfrm>
              <a:off x="8649419" y="261270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6" name="object 226">
              <a:extLst>
                <a:ext uri="{FF2B5EF4-FFF2-40B4-BE49-F238E27FC236}">
                  <a16:creationId xmlns:a16="http://schemas.microsoft.com/office/drawing/2014/main" id="{9BE15276-4583-E7FA-B154-062EEC29F88F}"/>
                </a:ext>
              </a:extLst>
            </p:cNvPr>
            <p:cNvSpPr/>
            <p:nvPr/>
          </p:nvSpPr>
          <p:spPr>
            <a:xfrm>
              <a:off x="8474448" y="261270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7" name="object 227">
              <a:extLst>
                <a:ext uri="{FF2B5EF4-FFF2-40B4-BE49-F238E27FC236}">
                  <a16:creationId xmlns:a16="http://schemas.microsoft.com/office/drawing/2014/main" id="{03D84974-8E5D-58F9-257A-67A4EAADCA15}"/>
                </a:ext>
              </a:extLst>
            </p:cNvPr>
            <p:cNvSpPr/>
            <p:nvPr/>
          </p:nvSpPr>
          <p:spPr>
            <a:xfrm>
              <a:off x="8299478" y="261270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8" name="object 228">
              <a:extLst>
                <a:ext uri="{FF2B5EF4-FFF2-40B4-BE49-F238E27FC236}">
                  <a16:creationId xmlns:a16="http://schemas.microsoft.com/office/drawing/2014/main" id="{C7B7464A-A155-B981-620E-4C37FD022365}"/>
                </a:ext>
              </a:extLst>
            </p:cNvPr>
            <p:cNvSpPr/>
            <p:nvPr/>
          </p:nvSpPr>
          <p:spPr>
            <a:xfrm>
              <a:off x="8299478" y="263821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29" name="object 229">
              <a:extLst>
                <a:ext uri="{FF2B5EF4-FFF2-40B4-BE49-F238E27FC236}">
                  <a16:creationId xmlns:a16="http://schemas.microsoft.com/office/drawing/2014/main" id="{199E370B-6E61-CB49-88DE-1B770492D4F1}"/>
                </a:ext>
              </a:extLst>
            </p:cNvPr>
            <p:cNvSpPr/>
            <p:nvPr/>
          </p:nvSpPr>
          <p:spPr>
            <a:xfrm>
              <a:off x="8299588" y="2612715"/>
              <a:ext cx="978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1290"/>
                <a:gd name="f4" fmla="val 84454"/>
                <a:gd name="f5" fmla="val 161125"/>
                <a:gd name="f6" fmla="val 84102"/>
                <a:gd name="f7" fmla="*/ f0 1 161290"/>
                <a:gd name="f8" fmla="*/ f1 1 84454"/>
                <a:gd name="f9" fmla="+- f4 0 f2"/>
                <a:gd name="f10" fmla="+- f3 0 f2"/>
                <a:gd name="f11" fmla="*/ f10 1 161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1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0" name="object 230">
              <a:extLst>
                <a:ext uri="{FF2B5EF4-FFF2-40B4-BE49-F238E27FC236}">
                  <a16:creationId xmlns:a16="http://schemas.microsoft.com/office/drawing/2014/main" id="{80313D34-A622-1020-B33B-76F91DEB8D67}"/>
                </a:ext>
              </a:extLst>
            </p:cNvPr>
            <p:cNvSpPr/>
            <p:nvPr/>
          </p:nvSpPr>
          <p:spPr>
            <a:xfrm>
              <a:off x="8299588" y="2685016"/>
              <a:ext cx="2391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94334"/>
                <a:gd name="f4" fmla="val 84454"/>
                <a:gd name="f5" fmla="val 393736"/>
                <a:gd name="f6" fmla="val 84102"/>
                <a:gd name="f7" fmla="*/ f0 1 394334"/>
                <a:gd name="f8" fmla="*/ f1 1 84454"/>
                <a:gd name="f9" fmla="+- f4 0 f2"/>
                <a:gd name="f10" fmla="+- f3 0 f2"/>
                <a:gd name="f11" fmla="*/ f10 1 3943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943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1" name="object 231">
              <a:extLst>
                <a:ext uri="{FF2B5EF4-FFF2-40B4-BE49-F238E27FC236}">
                  <a16:creationId xmlns:a16="http://schemas.microsoft.com/office/drawing/2014/main" id="{CFCC0470-7B15-556E-4AB8-C600C045BF65}"/>
                </a:ext>
              </a:extLst>
            </p:cNvPr>
            <p:cNvSpPr/>
            <p:nvPr/>
          </p:nvSpPr>
          <p:spPr>
            <a:xfrm>
              <a:off x="8579028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2" name="object 232">
              <a:extLst>
                <a:ext uri="{FF2B5EF4-FFF2-40B4-BE49-F238E27FC236}">
                  <a16:creationId xmlns:a16="http://schemas.microsoft.com/office/drawing/2014/main" id="{BA6C4331-4E5C-409B-9B5E-B5F46480084D}"/>
                </a:ext>
              </a:extLst>
            </p:cNvPr>
            <p:cNvSpPr/>
            <p:nvPr/>
          </p:nvSpPr>
          <p:spPr>
            <a:xfrm>
              <a:off x="8614050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3" name="object 233">
              <a:extLst>
                <a:ext uri="{FF2B5EF4-FFF2-40B4-BE49-F238E27FC236}">
                  <a16:creationId xmlns:a16="http://schemas.microsoft.com/office/drawing/2014/main" id="{805F9E4E-9450-612D-7465-8B2327382FB8}"/>
                </a:ext>
              </a:extLst>
            </p:cNvPr>
            <p:cNvSpPr/>
            <p:nvPr/>
          </p:nvSpPr>
          <p:spPr>
            <a:xfrm>
              <a:off x="8508985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4" name="object 234">
              <a:extLst>
                <a:ext uri="{FF2B5EF4-FFF2-40B4-BE49-F238E27FC236}">
                  <a16:creationId xmlns:a16="http://schemas.microsoft.com/office/drawing/2014/main" id="{CC257802-C968-4B21-4342-EAD46124A93E}"/>
                </a:ext>
              </a:extLst>
            </p:cNvPr>
            <p:cNvSpPr/>
            <p:nvPr/>
          </p:nvSpPr>
          <p:spPr>
            <a:xfrm>
              <a:off x="8403921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5" name="object 235">
              <a:extLst>
                <a:ext uri="{FF2B5EF4-FFF2-40B4-BE49-F238E27FC236}">
                  <a16:creationId xmlns:a16="http://schemas.microsoft.com/office/drawing/2014/main" id="{00E0D4CF-5D48-AD7B-E6CB-11F6B4DA60B6}"/>
                </a:ext>
              </a:extLst>
            </p:cNvPr>
            <p:cNvSpPr/>
            <p:nvPr/>
          </p:nvSpPr>
          <p:spPr>
            <a:xfrm>
              <a:off x="8439015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6" name="object 236">
              <a:extLst>
                <a:ext uri="{FF2B5EF4-FFF2-40B4-BE49-F238E27FC236}">
                  <a16:creationId xmlns:a16="http://schemas.microsoft.com/office/drawing/2014/main" id="{8BEC40A9-47EB-5156-FFBE-C174C6457FBC}"/>
                </a:ext>
              </a:extLst>
            </p:cNvPr>
            <p:cNvSpPr/>
            <p:nvPr/>
          </p:nvSpPr>
          <p:spPr>
            <a:xfrm>
              <a:off x="8333878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7" name="object 237">
              <a:extLst>
                <a:ext uri="{FF2B5EF4-FFF2-40B4-BE49-F238E27FC236}">
                  <a16:creationId xmlns:a16="http://schemas.microsoft.com/office/drawing/2014/main" id="{578EBCA9-F6C1-8CBD-2064-F3319DD1252F}"/>
                </a:ext>
              </a:extLst>
            </p:cNvPr>
            <p:cNvSpPr/>
            <p:nvPr/>
          </p:nvSpPr>
          <p:spPr>
            <a:xfrm>
              <a:off x="8544007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8" name="object 238">
              <a:extLst>
                <a:ext uri="{FF2B5EF4-FFF2-40B4-BE49-F238E27FC236}">
                  <a16:creationId xmlns:a16="http://schemas.microsoft.com/office/drawing/2014/main" id="{9CFC33C3-4727-A382-DCC0-8D6F09A37F25}"/>
                </a:ext>
              </a:extLst>
            </p:cNvPr>
            <p:cNvSpPr/>
            <p:nvPr/>
          </p:nvSpPr>
          <p:spPr>
            <a:xfrm>
              <a:off x="8368899" y="269776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39" name="object 239">
              <a:extLst>
                <a:ext uri="{FF2B5EF4-FFF2-40B4-BE49-F238E27FC236}">
                  <a16:creationId xmlns:a16="http://schemas.microsoft.com/office/drawing/2014/main" id="{38FC26DA-C8C1-69CD-0994-8B1BB70F6829}"/>
                </a:ext>
              </a:extLst>
            </p:cNvPr>
            <p:cNvSpPr/>
            <p:nvPr/>
          </p:nvSpPr>
          <p:spPr>
            <a:xfrm>
              <a:off x="8649071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0" name="object 240">
              <a:extLst>
                <a:ext uri="{FF2B5EF4-FFF2-40B4-BE49-F238E27FC236}">
                  <a16:creationId xmlns:a16="http://schemas.microsoft.com/office/drawing/2014/main" id="{46D54CA0-683B-C193-BE8F-D5F2EF96B6C2}"/>
                </a:ext>
              </a:extLst>
            </p:cNvPr>
            <p:cNvSpPr/>
            <p:nvPr/>
          </p:nvSpPr>
          <p:spPr>
            <a:xfrm>
              <a:off x="8474101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1" name="object 241">
              <a:extLst>
                <a:ext uri="{FF2B5EF4-FFF2-40B4-BE49-F238E27FC236}">
                  <a16:creationId xmlns:a16="http://schemas.microsoft.com/office/drawing/2014/main" id="{17549C47-4BEF-47A6-8138-9D50A9D0AE92}"/>
                </a:ext>
              </a:extLst>
            </p:cNvPr>
            <p:cNvSpPr/>
            <p:nvPr/>
          </p:nvSpPr>
          <p:spPr>
            <a:xfrm>
              <a:off x="8299130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2" name="object 242">
              <a:extLst>
                <a:ext uri="{FF2B5EF4-FFF2-40B4-BE49-F238E27FC236}">
                  <a16:creationId xmlns:a16="http://schemas.microsoft.com/office/drawing/2014/main" id="{B8E46481-F2BD-ABB1-EAFB-32CF50C99DC3}"/>
                </a:ext>
              </a:extLst>
            </p:cNvPr>
            <p:cNvSpPr/>
            <p:nvPr/>
          </p:nvSpPr>
          <p:spPr>
            <a:xfrm>
              <a:off x="8474101" y="268500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3" name="object 243">
              <a:extLst>
                <a:ext uri="{FF2B5EF4-FFF2-40B4-BE49-F238E27FC236}">
                  <a16:creationId xmlns:a16="http://schemas.microsoft.com/office/drawing/2014/main" id="{2C4825A0-3901-7A49-1793-38C01408424E}"/>
                </a:ext>
              </a:extLst>
            </p:cNvPr>
            <p:cNvSpPr/>
            <p:nvPr/>
          </p:nvSpPr>
          <p:spPr>
            <a:xfrm>
              <a:off x="8299130" y="271051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44" name="object 244">
            <a:extLst>
              <a:ext uri="{FF2B5EF4-FFF2-40B4-BE49-F238E27FC236}">
                <a16:creationId xmlns:a16="http://schemas.microsoft.com/office/drawing/2014/main" id="{CED3F99A-7928-DD29-A365-FBE72D48180B}"/>
              </a:ext>
            </a:extLst>
          </p:cNvPr>
          <p:cNvGrpSpPr/>
          <p:nvPr/>
        </p:nvGrpSpPr>
        <p:grpSpPr>
          <a:xfrm>
            <a:off x="8299130" y="4145203"/>
            <a:ext cx="350371" cy="123508"/>
            <a:chOff x="8299130" y="4145203"/>
            <a:chExt cx="350371" cy="123508"/>
          </a:xfrm>
        </p:grpSpPr>
        <p:sp>
          <p:nvSpPr>
            <p:cNvPr id="245" name="object 245">
              <a:extLst>
                <a:ext uri="{FF2B5EF4-FFF2-40B4-BE49-F238E27FC236}">
                  <a16:creationId xmlns:a16="http://schemas.microsoft.com/office/drawing/2014/main" id="{823E8FCB-27B4-972B-6197-11301C948FE6}"/>
                </a:ext>
              </a:extLst>
            </p:cNvPr>
            <p:cNvSpPr/>
            <p:nvPr/>
          </p:nvSpPr>
          <p:spPr>
            <a:xfrm>
              <a:off x="8579376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6" name="object 246">
              <a:extLst>
                <a:ext uri="{FF2B5EF4-FFF2-40B4-BE49-F238E27FC236}">
                  <a16:creationId xmlns:a16="http://schemas.microsoft.com/office/drawing/2014/main" id="{5D01315B-951B-0855-1D1D-FE6FC63F47E2}"/>
                </a:ext>
              </a:extLst>
            </p:cNvPr>
            <p:cNvSpPr/>
            <p:nvPr/>
          </p:nvSpPr>
          <p:spPr>
            <a:xfrm>
              <a:off x="8614397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7" name="object 247">
              <a:extLst>
                <a:ext uri="{FF2B5EF4-FFF2-40B4-BE49-F238E27FC236}">
                  <a16:creationId xmlns:a16="http://schemas.microsoft.com/office/drawing/2014/main" id="{25F82971-B26E-9675-34F1-560D3EA0E5DD}"/>
                </a:ext>
              </a:extLst>
            </p:cNvPr>
            <p:cNvSpPr/>
            <p:nvPr/>
          </p:nvSpPr>
          <p:spPr>
            <a:xfrm>
              <a:off x="8509333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8" name="object 248">
              <a:extLst>
                <a:ext uri="{FF2B5EF4-FFF2-40B4-BE49-F238E27FC236}">
                  <a16:creationId xmlns:a16="http://schemas.microsoft.com/office/drawing/2014/main" id="{9FDFA8AA-9378-BCBD-CEF1-D01BCDA9A64C}"/>
                </a:ext>
              </a:extLst>
            </p:cNvPr>
            <p:cNvSpPr/>
            <p:nvPr/>
          </p:nvSpPr>
          <p:spPr>
            <a:xfrm>
              <a:off x="8404268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49" name="object 249">
              <a:extLst>
                <a:ext uri="{FF2B5EF4-FFF2-40B4-BE49-F238E27FC236}">
                  <a16:creationId xmlns:a16="http://schemas.microsoft.com/office/drawing/2014/main" id="{4AC27EE2-AD6A-BCFD-9DAD-593CCB86F60F}"/>
                </a:ext>
              </a:extLst>
            </p:cNvPr>
            <p:cNvSpPr/>
            <p:nvPr/>
          </p:nvSpPr>
          <p:spPr>
            <a:xfrm>
              <a:off x="8439354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0" name="object 250">
              <a:extLst>
                <a:ext uri="{FF2B5EF4-FFF2-40B4-BE49-F238E27FC236}">
                  <a16:creationId xmlns:a16="http://schemas.microsoft.com/office/drawing/2014/main" id="{B5B9A8B9-E8BA-2D44-3B4C-9CB2D2CFF833}"/>
                </a:ext>
              </a:extLst>
            </p:cNvPr>
            <p:cNvSpPr/>
            <p:nvPr/>
          </p:nvSpPr>
          <p:spPr>
            <a:xfrm>
              <a:off x="8334225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1" name="object 251">
              <a:extLst>
                <a:ext uri="{FF2B5EF4-FFF2-40B4-BE49-F238E27FC236}">
                  <a16:creationId xmlns:a16="http://schemas.microsoft.com/office/drawing/2014/main" id="{22BFDA29-760A-341C-6C88-68D4580D8BDB}"/>
                </a:ext>
              </a:extLst>
            </p:cNvPr>
            <p:cNvSpPr/>
            <p:nvPr/>
          </p:nvSpPr>
          <p:spPr>
            <a:xfrm>
              <a:off x="8544354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2" name="object 252">
              <a:extLst>
                <a:ext uri="{FF2B5EF4-FFF2-40B4-BE49-F238E27FC236}">
                  <a16:creationId xmlns:a16="http://schemas.microsoft.com/office/drawing/2014/main" id="{3AE4245C-6627-DFB6-E444-1D3C7367D980}"/>
                </a:ext>
              </a:extLst>
            </p:cNvPr>
            <p:cNvSpPr/>
            <p:nvPr/>
          </p:nvSpPr>
          <p:spPr>
            <a:xfrm>
              <a:off x="8369247" y="415795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3" name="object 253">
              <a:extLst>
                <a:ext uri="{FF2B5EF4-FFF2-40B4-BE49-F238E27FC236}">
                  <a16:creationId xmlns:a16="http://schemas.microsoft.com/office/drawing/2014/main" id="{27050EF2-77CC-53FE-1113-8D5A09E18E3E}"/>
                </a:ext>
              </a:extLst>
            </p:cNvPr>
            <p:cNvSpPr/>
            <p:nvPr/>
          </p:nvSpPr>
          <p:spPr>
            <a:xfrm>
              <a:off x="8649419" y="414520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4" name="object 254">
              <a:extLst>
                <a:ext uri="{FF2B5EF4-FFF2-40B4-BE49-F238E27FC236}">
                  <a16:creationId xmlns:a16="http://schemas.microsoft.com/office/drawing/2014/main" id="{7B093034-6FB8-F64D-B8A8-F07DF660CAEB}"/>
                </a:ext>
              </a:extLst>
            </p:cNvPr>
            <p:cNvSpPr/>
            <p:nvPr/>
          </p:nvSpPr>
          <p:spPr>
            <a:xfrm>
              <a:off x="8474448" y="414520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5" name="object 255">
              <a:extLst>
                <a:ext uri="{FF2B5EF4-FFF2-40B4-BE49-F238E27FC236}">
                  <a16:creationId xmlns:a16="http://schemas.microsoft.com/office/drawing/2014/main" id="{64B3B709-AE6C-1BC8-4999-85D69A199B90}"/>
                </a:ext>
              </a:extLst>
            </p:cNvPr>
            <p:cNvSpPr/>
            <p:nvPr/>
          </p:nvSpPr>
          <p:spPr>
            <a:xfrm>
              <a:off x="8299478" y="414520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6" name="object 256">
              <a:extLst>
                <a:ext uri="{FF2B5EF4-FFF2-40B4-BE49-F238E27FC236}">
                  <a16:creationId xmlns:a16="http://schemas.microsoft.com/office/drawing/2014/main" id="{AC620583-5CB8-1ED9-2FE9-3266C6D331FE}"/>
                </a:ext>
              </a:extLst>
            </p:cNvPr>
            <p:cNvSpPr/>
            <p:nvPr/>
          </p:nvSpPr>
          <p:spPr>
            <a:xfrm>
              <a:off x="8299478" y="41707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7" name="object 257">
              <a:extLst>
                <a:ext uri="{FF2B5EF4-FFF2-40B4-BE49-F238E27FC236}">
                  <a16:creationId xmlns:a16="http://schemas.microsoft.com/office/drawing/2014/main" id="{90420D9A-B348-43CE-A01F-95C70B913363}"/>
                </a:ext>
              </a:extLst>
            </p:cNvPr>
            <p:cNvSpPr/>
            <p:nvPr/>
          </p:nvSpPr>
          <p:spPr>
            <a:xfrm>
              <a:off x="8299588" y="4145203"/>
              <a:ext cx="15017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7650"/>
                <a:gd name="f4" fmla="val 84454"/>
                <a:gd name="f5" fmla="val 247458"/>
                <a:gd name="f6" fmla="val 84123"/>
                <a:gd name="f7" fmla="*/ f0 1 247650"/>
                <a:gd name="f8" fmla="*/ f1 1 84454"/>
                <a:gd name="f9" fmla="+- f4 0 f2"/>
                <a:gd name="f10" fmla="+- f3 0 f2"/>
                <a:gd name="f11" fmla="*/ f10 1 2476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76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8" name="object 258">
              <a:extLst>
                <a:ext uri="{FF2B5EF4-FFF2-40B4-BE49-F238E27FC236}">
                  <a16:creationId xmlns:a16="http://schemas.microsoft.com/office/drawing/2014/main" id="{7E1DB3B3-02F3-D664-5E90-751C77A51700}"/>
                </a:ext>
              </a:extLst>
            </p:cNvPr>
            <p:cNvSpPr/>
            <p:nvPr/>
          </p:nvSpPr>
          <p:spPr>
            <a:xfrm>
              <a:off x="8299588" y="4217496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80"/>
                <a:gd name="f4" fmla="val 84454"/>
                <a:gd name="f5" fmla="val 576296"/>
                <a:gd name="f6" fmla="val 84133"/>
                <a:gd name="f7" fmla="*/ f0 1 576580"/>
                <a:gd name="f8" fmla="*/ f1 1 84454"/>
                <a:gd name="f9" fmla="+- f4 0 f2"/>
                <a:gd name="f10" fmla="+- f3 0 f2"/>
                <a:gd name="f11" fmla="*/ f10 1 57658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8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59" name="object 259">
              <a:extLst>
                <a:ext uri="{FF2B5EF4-FFF2-40B4-BE49-F238E27FC236}">
                  <a16:creationId xmlns:a16="http://schemas.microsoft.com/office/drawing/2014/main" id="{D2AC02DF-C9D3-6D8A-C2A5-46DD9E1DC07D}"/>
                </a:ext>
              </a:extLst>
            </p:cNvPr>
            <p:cNvSpPr/>
            <p:nvPr/>
          </p:nvSpPr>
          <p:spPr>
            <a:xfrm>
              <a:off x="8579028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0" name="object 260">
              <a:extLst>
                <a:ext uri="{FF2B5EF4-FFF2-40B4-BE49-F238E27FC236}">
                  <a16:creationId xmlns:a16="http://schemas.microsoft.com/office/drawing/2014/main" id="{1B1C7422-2EAB-4CAA-E2D9-4603B7A18DC9}"/>
                </a:ext>
              </a:extLst>
            </p:cNvPr>
            <p:cNvSpPr/>
            <p:nvPr/>
          </p:nvSpPr>
          <p:spPr>
            <a:xfrm>
              <a:off x="8614050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1" name="object 261">
              <a:extLst>
                <a:ext uri="{FF2B5EF4-FFF2-40B4-BE49-F238E27FC236}">
                  <a16:creationId xmlns:a16="http://schemas.microsoft.com/office/drawing/2014/main" id="{1393650C-598D-27C7-79DA-934EF243214F}"/>
                </a:ext>
              </a:extLst>
            </p:cNvPr>
            <p:cNvSpPr/>
            <p:nvPr/>
          </p:nvSpPr>
          <p:spPr>
            <a:xfrm>
              <a:off x="8508985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2" name="object 262">
              <a:extLst>
                <a:ext uri="{FF2B5EF4-FFF2-40B4-BE49-F238E27FC236}">
                  <a16:creationId xmlns:a16="http://schemas.microsoft.com/office/drawing/2014/main" id="{0B33433F-E912-8327-DE7E-EC2D73BDA575}"/>
                </a:ext>
              </a:extLst>
            </p:cNvPr>
            <p:cNvSpPr/>
            <p:nvPr/>
          </p:nvSpPr>
          <p:spPr>
            <a:xfrm>
              <a:off x="8403921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3" name="object 263">
              <a:extLst>
                <a:ext uri="{FF2B5EF4-FFF2-40B4-BE49-F238E27FC236}">
                  <a16:creationId xmlns:a16="http://schemas.microsoft.com/office/drawing/2014/main" id="{D5FFEC85-1E95-7361-6A28-DD310D71C91A}"/>
                </a:ext>
              </a:extLst>
            </p:cNvPr>
            <p:cNvSpPr/>
            <p:nvPr/>
          </p:nvSpPr>
          <p:spPr>
            <a:xfrm>
              <a:off x="8439015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4" name="object 264">
              <a:extLst>
                <a:ext uri="{FF2B5EF4-FFF2-40B4-BE49-F238E27FC236}">
                  <a16:creationId xmlns:a16="http://schemas.microsoft.com/office/drawing/2014/main" id="{A99C4E3B-87BE-6B84-ECB6-8E233CE9E67E}"/>
                </a:ext>
              </a:extLst>
            </p:cNvPr>
            <p:cNvSpPr/>
            <p:nvPr/>
          </p:nvSpPr>
          <p:spPr>
            <a:xfrm>
              <a:off x="8333878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5" name="object 265">
              <a:extLst>
                <a:ext uri="{FF2B5EF4-FFF2-40B4-BE49-F238E27FC236}">
                  <a16:creationId xmlns:a16="http://schemas.microsoft.com/office/drawing/2014/main" id="{BC14C288-3B38-1B05-6102-DFCB66EDC665}"/>
                </a:ext>
              </a:extLst>
            </p:cNvPr>
            <p:cNvSpPr/>
            <p:nvPr/>
          </p:nvSpPr>
          <p:spPr>
            <a:xfrm>
              <a:off x="8544007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6" name="object 266">
              <a:extLst>
                <a:ext uri="{FF2B5EF4-FFF2-40B4-BE49-F238E27FC236}">
                  <a16:creationId xmlns:a16="http://schemas.microsoft.com/office/drawing/2014/main" id="{D1A3530C-D205-490A-A17C-D9427FFB5289}"/>
                </a:ext>
              </a:extLst>
            </p:cNvPr>
            <p:cNvSpPr/>
            <p:nvPr/>
          </p:nvSpPr>
          <p:spPr>
            <a:xfrm>
              <a:off x="8368899" y="4230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7" name="object 267">
              <a:extLst>
                <a:ext uri="{FF2B5EF4-FFF2-40B4-BE49-F238E27FC236}">
                  <a16:creationId xmlns:a16="http://schemas.microsoft.com/office/drawing/2014/main" id="{A11ADE7F-7132-4585-DA9C-857F1D265A40}"/>
                </a:ext>
              </a:extLst>
            </p:cNvPr>
            <p:cNvSpPr/>
            <p:nvPr/>
          </p:nvSpPr>
          <p:spPr>
            <a:xfrm>
              <a:off x="8649071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8" name="object 268">
              <a:extLst>
                <a:ext uri="{FF2B5EF4-FFF2-40B4-BE49-F238E27FC236}">
                  <a16:creationId xmlns:a16="http://schemas.microsoft.com/office/drawing/2014/main" id="{4B8C47B8-8104-5DEA-BE3A-B82F37AC20A1}"/>
                </a:ext>
              </a:extLst>
            </p:cNvPr>
            <p:cNvSpPr/>
            <p:nvPr/>
          </p:nvSpPr>
          <p:spPr>
            <a:xfrm>
              <a:off x="8474101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69" name="object 269">
              <a:extLst>
                <a:ext uri="{FF2B5EF4-FFF2-40B4-BE49-F238E27FC236}">
                  <a16:creationId xmlns:a16="http://schemas.microsoft.com/office/drawing/2014/main" id="{64071A1F-7170-6359-0DF6-500DECE2FB8C}"/>
                </a:ext>
              </a:extLst>
            </p:cNvPr>
            <p:cNvSpPr/>
            <p:nvPr/>
          </p:nvSpPr>
          <p:spPr>
            <a:xfrm>
              <a:off x="8299130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0" name="object 270">
              <a:extLst>
                <a:ext uri="{FF2B5EF4-FFF2-40B4-BE49-F238E27FC236}">
                  <a16:creationId xmlns:a16="http://schemas.microsoft.com/office/drawing/2014/main" id="{44F50374-C136-F6C4-E27F-7FD1B537B7A5}"/>
                </a:ext>
              </a:extLst>
            </p:cNvPr>
            <p:cNvSpPr/>
            <p:nvPr/>
          </p:nvSpPr>
          <p:spPr>
            <a:xfrm>
              <a:off x="8474101" y="4217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1" name="object 271">
              <a:extLst>
                <a:ext uri="{FF2B5EF4-FFF2-40B4-BE49-F238E27FC236}">
                  <a16:creationId xmlns:a16="http://schemas.microsoft.com/office/drawing/2014/main" id="{342DEDA4-4698-4887-6F7E-9D5D7274FFE1}"/>
                </a:ext>
              </a:extLst>
            </p:cNvPr>
            <p:cNvSpPr/>
            <p:nvPr/>
          </p:nvSpPr>
          <p:spPr>
            <a:xfrm>
              <a:off x="8299130" y="424300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272" name="object 272">
            <a:extLst>
              <a:ext uri="{FF2B5EF4-FFF2-40B4-BE49-F238E27FC236}">
                <a16:creationId xmlns:a16="http://schemas.microsoft.com/office/drawing/2014/main" id="{D50E12DA-3805-2CA7-BA01-B675FA826797}"/>
              </a:ext>
            </a:extLst>
          </p:cNvPr>
          <p:cNvGrpSpPr/>
          <p:nvPr/>
        </p:nvGrpSpPr>
        <p:grpSpPr>
          <a:xfrm>
            <a:off x="8299130" y="4906670"/>
            <a:ext cx="350371" cy="123507"/>
            <a:chOff x="8299130" y="4906670"/>
            <a:chExt cx="350371" cy="123507"/>
          </a:xfrm>
        </p:grpSpPr>
        <p:sp>
          <p:nvSpPr>
            <p:cNvPr id="273" name="object 273">
              <a:extLst>
                <a:ext uri="{FF2B5EF4-FFF2-40B4-BE49-F238E27FC236}">
                  <a16:creationId xmlns:a16="http://schemas.microsoft.com/office/drawing/2014/main" id="{743512AF-FFF6-47FB-3AB3-AB07437A728C}"/>
                </a:ext>
              </a:extLst>
            </p:cNvPr>
            <p:cNvSpPr/>
            <p:nvPr/>
          </p:nvSpPr>
          <p:spPr>
            <a:xfrm>
              <a:off x="8579376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4" name="object 274">
              <a:extLst>
                <a:ext uri="{FF2B5EF4-FFF2-40B4-BE49-F238E27FC236}">
                  <a16:creationId xmlns:a16="http://schemas.microsoft.com/office/drawing/2014/main" id="{7AD44B74-DAAA-A9C3-2326-4D96C7E18C58}"/>
                </a:ext>
              </a:extLst>
            </p:cNvPr>
            <p:cNvSpPr/>
            <p:nvPr/>
          </p:nvSpPr>
          <p:spPr>
            <a:xfrm>
              <a:off x="861439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5" name="object 275">
              <a:extLst>
                <a:ext uri="{FF2B5EF4-FFF2-40B4-BE49-F238E27FC236}">
                  <a16:creationId xmlns:a16="http://schemas.microsoft.com/office/drawing/2014/main" id="{61B768CE-B54F-4EBF-918F-608F615AFD23}"/>
                </a:ext>
              </a:extLst>
            </p:cNvPr>
            <p:cNvSpPr/>
            <p:nvPr/>
          </p:nvSpPr>
          <p:spPr>
            <a:xfrm>
              <a:off x="8509333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6" name="object 276">
              <a:extLst>
                <a:ext uri="{FF2B5EF4-FFF2-40B4-BE49-F238E27FC236}">
                  <a16:creationId xmlns:a16="http://schemas.microsoft.com/office/drawing/2014/main" id="{DE7BB546-ADFC-0B74-94A9-D1C42E19873B}"/>
                </a:ext>
              </a:extLst>
            </p:cNvPr>
            <p:cNvSpPr/>
            <p:nvPr/>
          </p:nvSpPr>
          <p:spPr>
            <a:xfrm>
              <a:off x="8404268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7" name="object 277">
              <a:extLst>
                <a:ext uri="{FF2B5EF4-FFF2-40B4-BE49-F238E27FC236}">
                  <a16:creationId xmlns:a16="http://schemas.microsoft.com/office/drawing/2014/main" id="{F27F9048-9A43-BDD7-1FA2-07150F0BB2CA}"/>
                </a:ext>
              </a:extLst>
            </p:cNvPr>
            <p:cNvSpPr/>
            <p:nvPr/>
          </p:nvSpPr>
          <p:spPr>
            <a:xfrm>
              <a:off x="8439354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8" name="object 278">
              <a:extLst>
                <a:ext uri="{FF2B5EF4-FFF2-40B4-BE49-F238E27FC236}">
                  <a16:creationId xmlns:a16="http://schemas.microsoft.com/office/drawing/2014/main" id="{62FAD19C-1E59-81F4-6F85-1972A0736D8C}"/>
                </a:ext>
              </a:extLst>
            </p:cNvPr>
            <p:cNvSpPr/>
            <p:nvPr/>
          </p:nvSpPr>
          <p:spPr>
            <a:xfrm>
              <a:off x="8334225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79" name="object 279">
              <a:extLst>
                <a:ext uri="{FF2B5EF4-FFF2-40B4-BE49-F238E27FC236}">
                  <a16:creationId xmlns:a16="http://schemas.microsoft.com/office/drawing/2014/main" id="{72E41449-939A-8449-6439-EEAA07942476}"/>
                </a:ext>
              </a:extLst>
            </p:cNvPr>
            <p:cNvSpPr/>
            <p:nvPr/>
          </p:nvSpPr>
          <p:spPr>
            <a:xfrm>
              <a:off x="8544354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0" name="object 280">
              <a:extLst>
                <a:ext uri="{FF2B5EF4-FFF2-40B4-BE49-F238E27FC236}">
                  <a16:creationId xmlns:a16="http://schemas.microsoft.com/office/drawing/2014/main" id="{BBA95E4C-31B6-09FE-0F86-16DDC0BAF366}"/>
                </a:ext>
              </a:extLst>
            </p:cNvPr>
            <p:cNvSpPr/>
            <p:nvPr/>
          </p:nvSpPr>
          <p:spPr>
            <a:xfrm>
              <a:off x="836924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1" name="object 281">
              <a:extLst>
                <a:ext uri="{FF2B5EF4-FFF2-40B4-BE49-F238E27FC236}">
                  <a16:creationId xmlns:a16="http://schemas.microsoft.com/office/drawing/2014/main" id="{6A6964CF-8226-2FAC-0729-F4D6F20A130B}"/>
                </a:ext>
              </a:extLst>
            </p:cNvPr>
            <p:cNvSpPr/>
            <p:nvPr/>
          </p:nvSpPr>
          <p:spPr>
            <a:xfrm>
              <a:off x="864941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2" name="object 282">
              <a:extLst>
                <a:ext uri="{FF2B5EF4-FFF2-40B4-BE49-F238E27FC236}">
                  <a16:creationId xmlns:a16="http://schemas.microsoft.com/office/drawing/2014/main" id="{B8BAE8BD-0E10-CC52-E1E0-3E0EF6352D55}"/>
                </a:ext>
              </a:extLst>
            </p:cNvPr>
            <p:cNvSpPr/>
            <p:nvPr/>
          </p:nvSpPr>
          <p:spPr>
            <a:xfrm>
              <a:off x="8474448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3" name="object 283">
              <a:extLst>
                <a:ext uri="{FF2B5EF4-FFF2-40B4-BE49-F238E27FC236}">
                  <a16:creationId xmlns:a16="http://schemas.microsoft.com/office/drawing/2014/main" id="{04F2E656-721F-83E9-AD45-424323CD3229}"/>
                </a:ext>
              </a:extLst>
            </p:cNvPr>
            <p:cNvSpPr/>
            <p:nvPr/>
          </p:nvSpPr>
          <p:spPr>
            <a:xfrm>
              <a:off x="8299478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4" name="object 284">
              <a:extLst>
                <a:ext uri="{FF2B5EF4-FFF2-40B4-BE49-F238E27FC236}">
                  <a16:creationId xmlns:a16="http://schemas.microsoft.com/office/drawing/2014/main" id="{A393D76B-3703-6736-B07C-BBDDB2746704}"/>
                </a:ext>
              </a:extLst>
            </p:cNvPr>
            <p:cNvSpPr/>
            <p:nvPr/>
          </p:nvSpPr>
          <p:spPr>
            <a:xfrm>
              <a:off x="8299478" y="49321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5" name="object 285">
              <a:extLst>
                <a:ext uri="{FF2B5EF4-FFF2-40B4-BE49-F238E27FC236}">
                  <a16:creationId xmlns:a16="http://schemas.microsoft.com/office/drawing/2014/main" id="{D46AA6B9-2C5F-57AC-DD2D-BD0DF3698B01}"/>
                </a:ext>
              </a:extLst>
            </p:cNvPr>
            <p:cNvSpPr/>
            <p:nvPr/>
          </p:nvSpPr>
          <p:spPr>
            <a:xfrm>
              <a:off x="8299588" y="4906670"/>
              <a:ext cx="4505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4294"/>
                <a:gd name="f4" fmla="val 84454"/>
                <a:gd name="f5" fmla="val 74060"/>
                <a:gd name="f6" fmla="val 84133"/>
                <a:gd name="f7" fmla="*/ f0 1 74294"/>
                <a:gd name="f8" fmla="*/ f1 1 84454"/>
                <a:gd name="f9" fmla="+- f4 0 f2"/>
                <a:gd name="f10" fmla="+- f3 0 f2"/>
                <a:gd name="f11" fmla="*/ f10 1 7429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7429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6" name="object 286">
              <a:extLst>
                <a:ext uri="{FF2B5EF4-FFF2-40B4-BE49-F238E27FC236}">
                  <a16:creationId xmlns:a16="http://schemas.microsoft.com/office/drawing/2014/main" id="{9428C61B-81E9-8500-57EC-6CDC7A645629}"/>
                </a:ext>
              </a:extLst>
            </p:cNvPr>
            <p:cNvSpPr/>
            <p:nvPr/>
          </p:nvSpPr>
          <p:spPr>
            <a:xfrm>
              <a:off x="8299588" y="4978962"/>
              <a:ext cx="8702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3509"/>
                <a:gd name="f4" fmla="val 84454"/>
                <a:gd name="f5" fmla="val 143116"/>
                <a:gd name="f6" fmla="val 84133"/>
                <a:gd name="f7" fmla="*/ f0 1 143509"/>
                <a:gd name="f8" fmla="*/ f1 1 84454"/>
                <a:gd name="f9" fmla="+- f4 0 f2"/>
                <a:gd name="f10" fmla="+- f3 0 f2"/>
                <a:gd name="f11" fmla="*/ f10 1 1435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35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7" name="object 287">
              <a:extLst>
                <a:ext uri="{FF2B5EF4-FFF2-40B4-BE49-F238E27FC236}">
                  <a16:creationId xmlns:a16="http://schemas.microsoft.com/office/drawing/2014/main" id="{283885EC-62DA-ABDF-59EB-8C399C8727D4}"/>
                </a:ext>
              </a:extLst>
            </p:cNvPr>
            <p:cNvSpPr/>
            <p:nvPr/>
          </p:nvSpPr>
          <p:spPr>
            <a:xfrm>
              <a:off x="8579028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8" name="object 288">
              <a:extLst>
                <a:ext uri="{FF2B5EF4-FFF2-40B4-BE49-F238E27FC236}">
                  <a16:creationId xmlns:a16="http://schemas.microsoft.com/office/drawing/2014/main" id="{9F0E7060-D2C2-D6E4-2EE2-36E0DFC61271}"/>
                </a:ext>
              </a:extLst>
            </p:cNvPr>
            <p:cNvSpPr/>
            <p:nvPr/>
          </p:nvSpPr>
          <p:spPr>
            <a:xfrm>
              <a:off x="861405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89" name="object 289">
              <a:extLst>
                <a:ext uri="{FF2B5EF4-FFF2-40B4-BE49-F238E27FC236}">
                  <a16:creationId xmlns:a16="http://schemas.microsoft.com/office/drawing/2014/main" id="{065E74B3-4BD4-84B8-5137-9A7C88F450F1}"/>
                </a:ext>
              </a:extLst>
            </p:cNvPr>
            <p:cNvSpPr/>
            <p:nvPr/>
          </p:nvSpPr>
          <p:spPr>
            <a:xfrm>
              <a:off x="850898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0" name="object 290">
              <a:extLst>
                <a:ext uri="{FF2B5EF4-FFF2-40B4-BE49-F238E27FC236}">
                  <a16:creationId xmlns:a16="http://schemas.microsoft.com/office/drawing/2014/main" id="{761DA4ED-DADD-255D-7088-3DB956C4F5BD}"/>
                </a:ext>
              </a:extLst>
            </p:cNvPr>
            <p:cNvSpPr/>
            <p:nvPr/>
          </p:nvSpPr>
          <p:spPr>
            <a:xfrm>
              <a:off x="8403921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1" name="object 291">
              <a:extLst>
                <a:ext uri="{FF2B5EF4-FFF2-40B4-BE49-F238E27FC236}">
                  <a16:creationId xmlns:a16="http://schemas.microsoft.com/office/drawing/2014/main" id="{6A513519-C882-74F6-1271-50FAC0F3B8E5}"/>
                </a:ext>
              </a:extLst>
            </p:cNvPr>
            <p:cNvSpPr/>
            <p:nvPr/>
          </p:nvSpPr>
          <p:spPr>
            <a:xfrm>
              <a:off x="843901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2" name="object 292">
              <a:extLst>
                <a:ext uri="{FF2B5EF4-FFF2-40B4-BE49-F238E27FC236}">
                  <a16:creationId xmlns:a16="http://schemas.microsoft.com/office/drawing/2014/main" id="{29DF0035-DEF9-7CB0-2A93-FADC41EF6719}"/>
                </a:ext>
              </a:extLst>
            </p:cNvPr>
            <p:cNvSpPr/>
            <p:nvPr/>
          </p:nvSpPr>
          <p:spPr>
            <a:xfrm>
              <a:off x="8333878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3" name="object 293">
              <a:extLst>
                <a:ext uri="{FF2B5EF4-FFF2-40B4-BE49-F238E27FC236}">
                  <a16:creationId xmlns:a16="http://schemas.microsoft.com/office/drawing/2014/main" id="{D24A15EF-7BC7-2289-F7D5-92C91337C8E4}"/>
                </a:ext>
              </a:extLst>
            </p:cNvPr>
            <p:cNvSpPr/>
            <p:nvPr/>
          </p:nvSpPr>
          <p:spPr>
            <a:xfrm>
              <a:off x="8544007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4" name="object 294">
              <a:extLst>
                <a:ext uri="{FF2B5EF4-FFF2-40B4-BE49-F238E27FC236}">
                  <a16:creationId xmlns:a16="http://schemas.microsoft.com/office/drawing/2014/main" id="{E701DBD4-5BEA-327E-E08E-8640E40E4B7C}"/>
                </a:ext>
              </a:extLst>
            </p:cNvPr>
            <p:cNvSpPr/>
            <p:nvPr/>
          </p:nvSpPr>
          <p:spPr>
            <a:xfrm>
              <a:off x="8368899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5" name="object 295">
              <a:extLst>
                <a:ext uri="{FF2B5EF4-FFF2-40B4-BE49-F238E27FC236}">
                  <a16:creationId xmlns:a16="http://schemas.microsoft.com/office/drawing/2014/main" id="{23941665-7E25-ECD8-9D98-880DE1E26F8E}"/>
                </a:ext>
              </a:extLst>
            </p:cNvPr>
            <p:cNvSpPr/>
            <p:nvPr/>
          </p:nvSpPr>
          <p:spPr>
            <a:xfrm>
              <a:off x="864907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6" name="object 296">
              <a:extLst>
                <a:ext uri="{FF2B5EF4-FFF2-40B4-BE49-F238E27FC236}">
                  <a16:creationId xmlns:a16="http://schemas.microsoft.com/office/drawing/2014/main" id="{F150A273-E1DB-80C6-53BC-68D25A129871}"/>
                </a:ext>
              </a:extLst>
            </p:cNvPr>
            <p:cNvSpPr/>
            <p:nvPr/>
          </p:nvSpPr>
          <p:spPr>
            <a:xfrm>
              <a:off x="847410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7" name="object 297">
              <a:extLst>
                <a:ext uri="{FF2B5EF4-FFF2-40B4-BE49-F238E27FC236}">
                  <a16:creationId xmlns:a16="http://schemas.microsoft.com/office/drawing/2014/main" id="{ED59AE7F-F0B9-F657-4AC5-31B4DB0B2F08}"/>
                </a:ext>
              </a:extLst>
            </p:cNvPr>
            <p:cNvSpPr/>
            <p:nvPr/>
          </p:nvSpPr>
          <p:spPr>
            <a:xfrm>
              <a:off x="8299130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8" name="object 298">
              <a:extLst>
                <a:ext uri="{FF2B5EF4-FFF2-40B4-BE49-F238E27FC236}">
                  <a16:creationId xmlns:a16="http://schemas.microsoft.com/office/drawing/2014/main" id="{1DD4E312-BA92-D1A9-E7F2-CD97F227538B}"/>
                </a:ext>
              </a:extLst>
            </p:cNvPr>
            <p:cNvSpPr/>
            <p:nvPr/>
          </p:nvSpPr>
          <p:spPr>
            <a:xfrm>
              <a:off x="847410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99" name="object 299">
              <a:extLst>
                <a:ext uri="{FF2B5EF4-FFF2-40B4-BE49-F238E27FC236}">
                  <a16:creationId xmlns:a16="http://schemas.microsoft.com/office/drawing/2014/main" id="{BB91F86E-2D92-7BD6-BC40-4D445B8C6D02}"/>
                </a:ext>
              </a:extLst>
            </p:cNvPr>
            <p:cNvSpPr/>
            <p:nvPr/>
          </p:nvSpPr>
          <p:spPr>
            <a:xfrm>
              <a:off x="8299130" y="50044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00" name="object 300">
            <a:extLst>
              <a:ext uri="{FF2B5EF4-FFF2-40B4-BE49-F238E27FC236}">
                <a16:creationId xmlns:a16="http://schemas.microsoft.com/office/drawing/2014/main" id="{ED4B3AFC-EAB0-F3DC-A102-3FECAD25E5B1}"/>
              </a:ext>
            </a:extLst>
          </p:cNvPr>
          <p:cNvGrpSpPr/>
          <p:nvPr/>
        </p:nvGrpSpPr>
        <p:grpSpPr>
          <a:xfrm>
            <a:off x="8299130" y="5669709"/>
            <a:ext cx="350371" cy="123508"/>
            <a:chOff x="8299130" y="5669709"/>
            <a:chExt cx="350371" cy="123508"/>
          </a:xfrm>
        </p:grpSpPr>
        <p:sp>
          <p:nvSpPr>
            <p:cNvPr id="301" name="object 301">
              <a:extLst>
                <a:ext uri="{FF2B5EF4-FFF2-40B4-BE49-F238E27FC236}">
                  <a16:creationId xmlns:a16="http://schemas.microsoft.com/office/drawing/2014/main" id="{24222B2F-0731-667A-ABC4-5982A6B6B7F1}"/>
                </a:ext>
              </a:extLst>
            </p:cNvPr>
            <p:cNvSpPr/>
            <p:nvPr/>
          </p:nvSpPr>
          <p:spPr>
            <a:xfrm>
              <a:off x="8579376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2" name="object 302">
              <a:extLst>
                <a:ext uri="{FF2B5EF4-FFF2-40B4-BE49-F238E27FC236}">
                  <a16:creationId xmlns:a16="http://schemas.microsoft.com/office/drawing/2014/main" id="{2D4ABF16-C9B5-FA8E-03C4-4972F61E2D09}"/>
                </a:ext>
              </a:extLst>
            </p:cNvPr>
            <p:cNvSpPr/>
            <p:nvPr/>
          </p:nvSpPr>
          <p:spPr>
            <a:xfrm>
              <a:off x="861439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3" name="object 303">
              <a:extLst>
                <a:ext uri="{FF2B5EF4-FFF2-40B4-BE49-F238E27FC236}">
                  <a16:creationId xmlns:a16="http://schemas.microsoft.com/office/drawing/2014/main" id="{2DA7A862-3D74-C3B4-1D9D-8797DDD646EE}"/>
                </a:ext>
              </a:extLst>
            </p:cNvPr>
            <p:cNvSpPr/>
            <p:nvPr/>
          </p:nvSpPr>
          <p:spPr>
            <a:xfrm>
              <a:off x="850933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4" name="object 304">
              <a:extLst>
                <a:ext uri="{FF2B5EF4-FFF2-40B4-BE49-F238E27FC236}">
                  <a16:creationId xmlns:a16="http://schemas.microsoft.com/office/drawing/2014/main" id="{8E22C629-246E-3B8C-A25F-A2E0209EC889}"/>
                </a:ext>
              </a:extLst>
            </p:cNvPr>
            <p:cNvSpPr/>
            <p:nvPr/>
          </p:nvSpPr>
          <p:spPr>
            <a:xfrm>
              <a:off x="8404268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5" name="object 305">
              <a:extLst>
                <a:ext uri="{FF2B5EF4-FFF2-40B4-BE49-F238E27FC236}">
                  <a16:creationId xmlns:a16="http://schemas.microsoft.com/office/drawing/2014/main" id="{63B7F8F1-1273-E312-454B-8713553C9BCB}"/>
                </a:ext>
              </a:extLst>
            </p:cNvPr>
            <p:cNvSpPr/>
            <p:nvPr/>
          </p:nvSpPr>
          <p:spPr>
            <a:xfrm>
              <a:off x="8439354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6" name="object 306">
              <a:extLst>
                <a:ext uri="{FF2B5EF4-FFF2-40B4-BE49-F238E27FC236}">
                  <a16:creationId xmlns:a16="http://schemas.microsoft.com/office/drawing/2014/main" id="{A8411E6C-BCEB-16FB-8F9E-F500F507CF2B}"/>
                </a:ext>
              </a:extLst>
            </p:cNvPr>
            <p:cNvSpPr/>
            <p:nvPr/>
          </p:nvSpPr>
          <p:spPr>
            <a:xfrm>
              <a:off x="8334225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7" name="object 307">
              <a:extLst>
                <a:ext uri="{FF2B5EF4-FFF2-40B4-BE49-F238E27FC236}">
                  <a16:creationId xmlns:a16="http://schemas.microsoft.com/office/drawing/2014/main" id="{A6561786-BFAD-BCD6-A5D1-C9839A769441}"/>
                </a:ext>
              </a:extLst>
            </p:cNvPr>
            <p:cNvSpPr/>
            <p:nvPr/>
          </p:nvSpPr>
          <p:spPr>
            <a:xfrm>
              <a:off x="8544354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8" name="object 308">
              <a:extLst>
                <a:ext uri="{FF2B5EF4-FFF2-40B4-BE49-F238E27FC236}">
                  <a16:creationId xmlns:a16="http://schemas.microsoft.com/office/drawing/2014/main" id="{950AEA6C-C8BC-1053-A91F-F1ECE1AA5425}"/>
                </a:ext>
              </a:extLst>
            </p:cNvPr>
            <p:cNvSpPr/>
            <p:nvPr/>
          </p:nvSpPr>
          <p:spPr>
            <a:xfrm>
              <a:off x="836924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09" name="object 309">
              <a:extLst>
                <a:ext uri="{FF2B5EF4-FFF2-40B4-BE49-F238E27FC236}">
                  <a16:creationId xmlns:a16="http://schemas.microsoft.com/office/drawing/2014/main" id="{AEB36B29-AE02-E89A-3F50-7362C5EC6F77}"/>
                </a:ext>
              </a:extLst>
            </p:cNvPr>
            <p:cNvSpPr/>
            <p:nvPr/>
          </p:nvSpPr>
          <p:spPr>
            <a:xfrm>
              <a:off x="8649419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0" name="object 310">
              <a:extLst>
                <a:ext uri="{FF2B5EF4-FFF2-40B4-BE49-F238E27FC236}">
                  <a16:creationId xmlns:a16="http://schemas.microsoft.com/office/drawing/2014/main" id="{9A5700BF-2F26-D6B1-039A-31CC43E35533}"/>
                </a:ext>
              </a:extLst>
            </p:cNvPr>
            <p:cNvSpPr/>
            <p:nvPr/>
          </p:nvSpPr>
          <p:spPr>
            <a:xfrm>
              <a:off x="847444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1" name="object 311">
              <a:extLst>
                <a:ext uri="{FF2B5EF4-FFF2-40B4-BE49-F238E27FC236}">
                  <a16:creationId xmlns:a16="http://schemas.microsoft.com/office/drawing/2014/main" id="{973BAB6E-A7EA-0EE0-533F-B975AB6E8E61}"/>
                </a:ext>
              </a:extLst>
            </p:cNvPr>
            <p:cNvSpPr/>
            <p:nvPr/>
          </p:nvSpPr>
          <p:spPr>
            <a:xfrm>
              <a:off x="829947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2" name="object 312">
              <a:extLst>
                <a:ext uri="{FF2B5EF4-FFF2-40B4-BE49-F238E27FC236}">
                  <a16:creationId xmlns:a16="http://schemas.microsoft.com/office/drawing/2014/main" id="{8B229A32-D267-6A25-0B4A-DBD077ECF2E2}"/>
                </a:ext>
              </a:extLst>
            </p:cNvPr>
            <p:cNvSpPr/>
            <p:nvPr/>
          </p:nvSpPr>
          <p:spPr>
            <a:xfrm>
              <a:off x="8299478" y="569521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3" name="object 313">
              <a:extLst>
                <a:ext uri="{FF2B5EF4-FFF2-40B4-BE49-F238E27FC236}">
                  <a16:creationId xmlns:a16="http://schemas.microsoft.com/office/drawing/2014/main" id="{D9D62826-2754-FDF0-0673-05D9E9C84A06}"/>
                </a:ext>
              </a:extLst>
            </p:cNvPr>
            <p:cNvSpPr/>
            <p:nvPr/>
          </p:nvSpPr>
          <p:spPr>
            <a:xfrm>
              <a:off x="8299588" y="5669709"/>
              <a:ext cx="7662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6365"/>
                <a:gd name="f4" fmla="val 84454"/>
                <a:gd name="f5" fmla="val 126195"/>
                <a:gd name="f6" fmla="val 84123"/>
                <a:gd name="f7" fmla="*/ f0 1 126365"/>
                <a:gd name="f8" fmla="*/ f1 1 84454"/>
                <a:gd name="f9" fmla="+- f4 0 f2"/>
                <a:gd name="f10" fmla="+- f3 0 f2"/>
                <a:gd name="f11" fmla="*/ f10 1 1263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63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4" name="object 314">
              <a:extLst>
                <a:ext uri="{FF2B5EF4-FFF2-40B4-BE49-F238E27FC236}">
                  <a16:creationId xmlns:a16="http://schemas.microsoft.com/office/drawing/2014/main" id="{667AE7CA-5738-0405-1284-5457C05FC3C9}"/>
                </a:ext>
              </a:extLst>
            </p:cNvPr>
            <p:cNvSpPr/>
            <p:nvPr/>
          </p:nvSpPr>
          <p:spPr>
            <a:xfrm>
              <a:off x="8299588" y="5742002"/>
              <a:ext cx="1239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04469"/>
                <a:gd name="f4" fmla="val 84454"/>
                <a:gd name="f5" fmla="val 204161"/>
                <a:gd name="f6" fmla="val 84133"/>
                <a:gd name="f7" fmla="*/ f0 1 204469"/>
                <a:gd name="f8" fmla="*/ f1 1 84454"/>
                <a:gd name="f9" fmla="+- f4 0 f2"/>
                <a:gd name="f10" fmla="+- f3 0 f2"/>
                <a:gd name="f11" fmla="*/ f10 1 20446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0446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5" name="object 315">
              <a:extLst>
                <a:ext uri="{FF2B5EF4-FFF2-40B4-BE49-F238E27FC236}">
                  <a16:creationId xmlns:a16="http://schemas.microsoft.com/office/drawing/2014/main" id="{60AE890C-872F-1EA5-568D-5845121C7EC5}"/>
                </a:ext>
              </a:extLst>
            </p:cNvPr>
            <p:cNvSpPr/>
            <p:nvPr/>
          </p:nvSpPr>
          <p:spPr>
            <a:xfrm>
              <a:off x="8579028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6" name="object 316">
              <a:extLst>
                <a:ext uri="{FF2B5EF4-FFF2-40B4-BE49-F238E27FC236}">
                  <a16:creationId xmlns:a16="http://schemas.microsoft.com/office/drawing/2014/main" id="{0C64E02F-B2E8-325D-7CC8-4F9CD676C360}"/>
                </a:ext>
              </a:extLst>
            </p:cNvPr>
            <p:cNvSpPr/>
            <p:nvPr/>
          </p:nvSpPr>
          <p:spPr>
            <a:xfrm>
              <a:off x="8614050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7" name="object 317">
              <a:extLst>
                <a:ext uri="{FF2B5EF4-FFF2-40B4-BE49-F238E27FC236}">
                  <a16:creationId xmlns:a16="http://schemas.microsoft.com/office/drawing/2014/main" id="{360C6830-4B02-1804-8B64-D931C751695A}"/>
                </a:ext>
              </a:extLst>
            </p:cNvPr>
            <p:cNvSpPr/>
            <p:nvPr/>
          </p:nvSpPr>
          <p:spPr>
            <a:xfrm>
              <a:off x="8508985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8" name="object 318">
              <a:extLst>
                <a:ext uri="{FF2B5EF4-FFF2-40B4-BE49-F238E27FC236}">
                  <a16:creationId xmlns:a16="http://schemas.microsoft.com/office/drawing/2014/main" id="{4D6F7269-CB1A-8DDC-0F81-0A04D36F2508}"/>
                </a:ext>
              </a:extLst>
            </p:cNvPr>
            <p:cNvSpPr/>
            <p:nvPr/>
          </p:nvSpPr>
          <p:spPr>
            <a:xfrm>
              <a:off x="8403921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19" name="object 319">
              <a:extLst>
                <a:ext uri="{FF2B5EF4-FFF2-40B4-BE49-F238E27FC236}">
                  <a16:creationId xmlns:a16="http://schemas.microsoft.com/office/drawing/2014/main" id="{7C84C8CD-3046-342F-BF1D-A2343D56A052}"/>
                </a:ext>
              </a:extLst>
            </p:cNvPr>
            <p:cNvSpPr/>
            <p:nvPr/>
          </p:nvSpPr>
          <p:spPr>
            <a:xfrm>
              <a:off x="8439015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0" name="object 320">
              <a:extLst>
                <a:ext uri="{FF2B5EF4-FFF2-40B4-BE49-F238E27FC236}">
                  <a16:creationId xmlns:a16="http://schemas.microsoft.com/office/drawing/2014/main" id="{BF9B0145-4080-4901-5763-BBFC1276159F}"/>
                </a:ext>
              </a:extLst>
            </p:cNvPr>
            <p:cNvSpPr/>
            <p:nvPr/>
          </p:nvSpPr>
          <p:spPr>
            <a:xfrm>
              <a:off x="8333878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1" name="object 321">
              <a:extLst>
                <a:ext uri="{FF2B5EF4-FFF2-40B4-BE49-F238E27FC236}">
                  <a16:creationId xmlns:a16="http://schemas.microsoft.com/office/drawing/2014/main" id="{40F689FA-2691-B30B-366C-7878A154C37C}"/>
                </a:ext>
              </a:extLst>
            </p:cNvPr>
            <p:cNvSpPr/>
            <p:nvPr/>
          </p:nvSpPr>
          <p:spPr>
            <a:xfrm>
              <a:off x="8544007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2" name="object 322">
              <a:extLst>
                <a:ext uri="{FF2B5EF4-FFF2-40B4-BE49-F238E27FC236}">
                  <a16:creationId xmlns:a16="http://schemas.microsoft.com/office/drawing/2014/main" id="{A28061C9-02A7-F6DE-2EF5-236B40867254}"/>
                </a:ext>
              </a:extLst>
            </p:cNvPr>
            <p:cNvSpPr/>
            <p:nvPr/>
          </p:nvSpPr>
          <p:spPr>
            <a:xfrm>
              <a:off x="8368899" y="575475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3" name="object 323">
              <a:extLst>
                <a:ext uri="{FF2B5EF4-FFF2-40B4-BE49-F238E27FC236}">
                  <a16:creationId xmlns:a16="http://schemas.microsoft.com/office/drawing/2014/main" id="{D38F5C56-0FE8-3E35-7B2A-4DB5345B58A1}"/>
                </a:ext>
              </a:extLst>
            </p:cNvPr>
            <p:cNvSpPr/>
            <p:nvPr/>
          </p:nvSpPr>
          <p:spPr>
            <a:xfrm>
              <a:off x="8649071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4" name="object 324">
              <a:extLst>
                <a:ext uri="{FF2B5EF4-FFF2-40B4-BE49-F238E27FC236}">
                  <a16:creationId xmlns:a16="http://schemas.microsoft.com/office/drawing/2014/main" id="{6D467EAC-0929-70D5-0E57-CE59AF4FA29F}"/>
                </a:ext>
              </a:extLst>
            </p:cNvPr>
            <p:cNvSpPr/>
            <p:nvPr/>
          </p:nvSpPr>
          <p:spPr>
            <a:xfrm>
              <a:off x="8474101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5" name="object 325">
              <a:extLst>
                <a:ext uri="{FF2B5EF4-FFF2-40B4-BE49-F238E27FC236}">
                  <a16:creationId xmlns:a16="http://schemas.microsoft.com/office/drawing/2014/main" id="{A1384881-A692-CE6B-048E-0063FA9BE08E}"/>
                </a:ext>
              </a:extLst>
            </p:cNvPr>
            <p:cNvSpPr/>
            <p:nvPr/>
          </p:nvSpPr>
          <p:spPr>
            <a:xfrm>
              <a:off x="8299130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6" name="object 326">
              <a:extLst>
                <a:ext uri="{FF2B5EF4-FFF2-40B4-BE49-F238E27FC236}">
                  <a16:creationId xmlns:a16="http://schemas.microsoft.com/office/drawing/2014/main" id="{0D4243C4-7EFF-9B63-9B21-8B89A38F7197}"/>
                </a:ext>
              </a:extLst>
            </p:cNvPr>
            <p:cNvSpPr/>
            <p:nvPr/>
          </p:nvSpPr>
          <p:spPr>
            <a:xfrm>
              <a:off x="8474101" y="57420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27" name="object 327">
              <a:extLst>
                <a:ext uri="{FF2B5EF4-FFF2-40B4-BE49-F238E27FC236}">
                  <a16:creationId xmlns:a16="http://schemas.microsoft.com/office/drawing/2014/main" id="{5BB9B438-4852-AE21-BFC4-FCA67553AD74}"/>
                </a:ext>
              </a:extLst>
            </p:cNvPr>
            <p:cNvSpPr/>
            <p:nvPr/>
          </p:nvSpPr>
          <p:spPr>
            <a:xfrm>
              <a:off x="8299130" y="576750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28" name="object 328">
            <a:extLst>
              <a:ext uri="{FF2B5EF4-FFF2-40B4-BE49-F238E27FC236}">
                <a16:creationId xmlns:a16="http://schemas.microsoft.com/office/drawing/2014/main" id="{DA43FA22-4742-C3DE-C7DC-F5A2BE2E2094}"/>
              </a:ext>
            </a:extLst>
          </p:cNvPr>
          <p:cNvGrpSpPr/>
          <p:nvPr/>
        </p:nvGrpSpPr>
        <p:grpSpPr>
          <a:xfrm>
            <a:off x="8299130" y="6432301"/>
            <a:ext cx="350371" cy="123507"/>
            <a:chOff x="8299130" y="6432301"/>
            <a:chExt cx="350371" cy="123507"/>
          </a:xfrm>
        </p:grpSpPr>
        <p:sp>
          <p:nvSpPr>
            <p:cNvPr id="329" name="object 329">
              <a:extLst>
                <a:ext uri="{FF2B5EF4-FFF2-40B4-BE49-F238E27FC236}">
                  <a16:creationId xmlns:a16="http://schemas.microsoft.com/office/drawing/2014/main" id="{003FA43A-4B63-4B1C-A62C-FE981B8A8A27}"/>
                </a:ext>
              </a:extLst>
            </p:cNvPr>
            <p:cNvSpPr/>
            <p:nvPr/>
          </p:nvSpPr>
          <p:spPr>
            <a:xfrm>
              <a:off x="8579376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0" name="object 330">
              <a:extLst>
                <a:ext uri="{FF2B5EF4-FFF2-40B4-BE49-F238E27FC236}">
                  <a16:creationId xmlns:a16="http://schemas.microsoft.com/office/drawing/2014/main" id="{432150EE-41A0-CF19-3C37-203275BA5A3B}"/>
                </a:ext>
              </a:extLst>
            </p:cNvPr>
            <p:cNvSpPr/>
            <p:nvPr/>
          </p:nvSpPr>
          <p:spPr>
            <a:xfrm>
              <a:off x="8614397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1" name="object 331">
              <a:extLst>
                <a:ext uri="{FF2B5EF4-FFF2-40B4-BE49-F238E27FC236}">
                  <a16:creationId xmlns:a16="http://schemas.microsoft.com/office/drawing/2014/main" id="{0D5E77DC-2163-F4DD-6952-D0CE6D5F0F53}"/>
                </a:ext>
              </a:extLst>
            </p:cNvPr>
            <p:cNvSpPr/>
            <p:nvPr/>
          </p:nvSpPr>
          <p:spPr>
            <a:xfrm>
              <a:off x="8509333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2" name="object 332">
              <a:extLst>
                <a:ext uri="{FF2B5EF4-FFF2-40B4-BE49-F238E27FC236}">
                  <a16:creationId xmlns:a16="http://schemas.microsoft.com/office/drawing/2014/main" id="{E48C35EA-18C4-36DC-8D52-F516DD1437DE}"/>
                </a:ext>
              </a:extLst>
            </p:cNvPr>
            <p:cNvSpPr/>
            <p:nvPr/>
          </p:nvSpPr>
          <p:spPr>
            <a:xfrm>
              <a:off x="8404268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3" name="object 333">
              <a:extLst>
                <a:ext uri="{FF2B5EF4-FFF2-40B4-BE49-F238E27FC236}">
                  <a16:creationId xmlns:a16="http://schemas.microsoft.com/office/drawing/2014/main" id="{7A564087-072B-A882-366B-F548AE4195F6}"/>
                </a:ext>
              </a:extLst>
            </p:cNvPr>
            <p:cNvSpPr/>
            <p:nvPr/>
          </p:nvSpPr>
          <p:spPr>
            <a:xfrm>
              <a:off x="8439354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4" name="object 334">
              <a:extLst>
                <a:ext uri="{FF2B5EF4-FFF2-40B4-BE49-F238E27FC236}">
                  <a16:creationId xmlns:a16="http://schemas.microsoft.com/office/drawing/2014/main" id="{8E45E28C-90FA-9B8C-D771-6EF1A651F776}"/>
                </a:ext>
              </a:extLst>
            </p:cNvPr>
            <p:cNvSpPr/>
            <p:nvPr/>
          </p:nvSpPr>
          <p:spPr>
            <a:xfrm>
              <a:off x="8334225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5" name="object 335">
              <a:extLst>
                <a:ext uri="{FF2B5EF4-FFF2-40B4-BE49-F238E27FC236}">
                  <a16:creationId xmlns:a16="http://schemas.microsoft.com/office/drawing/2014/main" id="{3472ACFB-2EEE-13CB-4366-A0BCF1208E29}"/>
                </a:ext>
              </a:extLst>
            </p:cNvPr>
            <p:cNvSpPr/>
            <p:nvPr/>
          </p:nvSpPr>
          <p:spPr>
            <a:xfrm>
              <a:off x="8544354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6" name="object 336">
              <a:extLst>
                <a:ext uri="{FF2B5EF4-FFF2-40B4-BE49-F238E27FC236}">
                  <a16:creationId xmlns:a16="http://schemas.microsoft.com/office/drawing/2014/main" id="{B2B1B79F-7A66-6CC7-0DD7-0AF215976A7B}"/>
                </a:ext>
              </a:extLst>
            </p:cNvPr>
            <p:cNvSpPr/>
            <p:nvPr/>
          </p:nvSpPr>
          <p:spPr>
            <a:xfrm>
              <a:off x="8369247" y="64450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7" name="object 337">
              <a:extLst>
                <a:ext uri="{FF2B5EF4-FFF2-40B4-BE49-F238E27FC236}">
                  <a16:creationId xmlns:a16="http://schemas.microsoft.com/office/drawing/2014/main" id="{DD87BA06-8DAB-9D71-E9A2-4652C20EF570}"/>
                </a:ext>
              </a:extLst>
            </p:cNvPr>
            <p:cNvSpPr/>
            <p:nvPr/>
          </p:nvSpPr>
          <p:spPr>
            <a:xfrm>
              <a:off x="8649419" y="6432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8" name="object 338">
              <a:extLst>
                <a:ext uri="{FF2B5EF4-FFF2-40B4-BE49-F238E27FC236}">
                  <a16:creationId xmlns:a16="http://schemas.microsoft.com/office/drawing/2014/main" id="{B7F126E8-CBCA-C059-B912-07D6BD8DCE59}"/>
                </a:ext>
              </a:extLst>
            </p:cNvPr>
            <p:cNvSpPr/>
            <p:nvPr/>
          </p:nvSpPr>
          <p:spPr>
            <a:xfrm>
              <a:off x="8474448" y="6432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39" name="object 339">
              <a:extLst>
                <a:ext uri="{FF2B5EF4-FFF2-40B4-BE49-F238E27FC236}">
                  <a16:creationId xmlns:a16="http://schemas.microsoft.com/office/drawing/2014/main" id="{326F3E4A-5627-A810-AF7E-2BDE85284E74}"/>
                </a:ext>
              </a:extLst>
            </p:cNvPr>
            <p:cNvSpPr/>
            <p:nvPr/>
          </p:nvSpPr>
          <p:spPr>
            <a:xfrm>
              <a:off x="8299478" y="643230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0" name="object 340">
              <a:extLst>
                <a:ext uri="{FF2B5EF4-FFF2-40B4-BE49-F238E27FC236}">
                  <a16:creationId xmlns:a16="http://schemas.microsoft.com/office/drawing/2014/main" id="{107FEC2F-7018-85EE-6670-2F99FF5755BF}"/>
                </a:ext>
              </a:extLst>
            </p:cNvPr>
            <p:cNvSpPr/>
            <p:nvPr/>
          </p:nvSpPr>
          <p:spPr>
            <a:xfrm>
              <a:off x="8299478" y="645781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1" name="object 341">
              <a:extLst>
                <a:ext uri="{FF2B5EF4-FFF2-40B4-BE49-F238E27FC236}">
                  <a16:creationId xmlns:a16="http://schemas.microsoft.com/office/drawing/2014/main" id="{F7B2046F-D366-6721-65EB-C58BB6FF48B9}"/>
                </a:ext>
              </a:extLst>
            </p:cNvPr>
            <p:cNvSpPr/>
            <p:nvPr/>
          </p:nvSpPr>
          <p:spPr>
            <a:xfrm>
              <a:off x="8299588" y="6432301"/>
              <a:ext cx="6199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2234"/>
                <a:gd name="f4" fmla="val 84454"/>
                <a:gd name="f5" fmla="val 102070"/>
                <a:gd name="f6" fmla="val 84123"/>
                <a:gd name="f7" fmla="*/ f0 1 102234"/>
                <a:gd name="f8" fmla="*/ f1 1 84454"/>
                <a:gd name="f9" fmla="+- f4 0 f2"/>
                <a:gd name="f10" fmla="+- f3 0 f2"/>
                <a:gd name="f11" fmla="*/ f10 1 1022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22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2" name="object 342">
              <a:extLst>
                <a:ext uri="{FF2B5EF4-FFF2-40B4-BE49-F238E27FC236}">
                  <a16:creationId xmlns:a16="http://schemas.microsoft.com/office/drawing/2014/main" id="{D4F5B2F4-BBF6-4F11-C71C-9639D59935A3}"/>
                </a:ext>
              </a:extLst>
            </p:cNvPr>
            <p:cNvSpPr/>
            <p:nvPr/>
          </p:nvSpPr>
          <p:spPr>
            <a:xfrm>
              <a:off x="8299588" y="6504593"/>
              <a:ext cx="13014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14630"/>
                <a:gd name="f4" fmla="val 84454"/>
                <a:gd name="f5" fmla="val 214579"/>
                <a:gd name="f6" fmla="val 84123"/>
                <a:gd name="f7" fmla="*/ f0 1 214630"/>
                <a:gd name="f8" fmla="*/ f1 1 84454"/>
                <a:gd name="f9" fmla="+- f4 0 f2"/>
                <a:gd name="f10" fmla="+- f3 0 f2"/>
                <a:gd name="f11" fmla="*/ f10 1 2146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146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3" name="object 343">
              <a:extLst>
                <a:ext uri="{FF2B5EF4-FFF2-40B4-BE49-F238E27FC236}">
                  <a16:creationId xmlns:a16="http://schemas.microsoft.com/office/drawing/2014/main" id="{1571015C-5011-CA15-F938-4E7E74F0EC83}"/>
                </a:ext>
              </a:extLst>
            </p:cNvPr>
            <p:cNvSpPr/>
            <p:nvPr/>
          </p:nvSpPr>
          <p:spPr>
            <a:xfrm>
              <a:off x="8579028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4" name="object 344">
              <a:extLst>
                <a:ext uri="{FF2B5EF4-FFF2-40B4-BE49-F238E27FC236}">
                  <a16:creationId xmlns:a16="http://schemas.microsoft.com/office/drawing/2014/main" id="{EB5E1994-6FF8-A4AA-EF87-A9E5849005DF}"/>
                </a:ext>
              </a:extLst>
            </p:cNvPr>
            <p:cNvSpPr/>
            <p:nvPr/>
          </p:nvSpPr>
          <p:spPr>
            <a:xfrm>
              <a:off x="8614050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5" name="object 345">
              <a:extLst>
                <a:ext uri="{FF2B5EF4-FFF2-40B4-BE49-F238E27FC236}">
                  <a16:creationId xmlns:a16="http://schemas.microsoft.com/office/drawing/2014/main" id="{DFC8CE98-26E9-4D4A-715F-E716A549E9BB}"/>
                </a:ext>
              </a:extLst>
            </p:cNvPr>
            <p:cNvSpPr/>
            <p:nvPr/>
          </p:nvSpPr>
          <p:spPr>
            <a:xfrm>
              <a:off x="8508985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6" name="object 346">
              <a:extLst>
                <a:ext uri="{FF2B5EF4-FFF2-40B4-BE49-F238E27FC236}">
                  <a16:creationId xmlns:a16="http://schemas.microsoft.com/office/drawing/2014/main" id="{6ED28C6F-60DD-B13A-9A2C-B917EC508DFB}"/>
                </a:ext>
              </a:extLst>
            </p:cNvPr>
            <p:cNvSpPr/>
            <p:nvPr/>
          </p:nvSpPr>
          <p:spPr>
            <a:xfrm>
              <a:off x="8403921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7" name="object 347">
              <a:extLst>
                <a:ext uri="{FF2B5EF4-FFF2-40B4-BE49-F238E27FC236}">
                  <a16:creationId xmlns:a16="http://schemas.microsoft.com/office/drawing/2014/main" id="{949B971D-3D76-E238-8AA7-B689D30DA5E7}"/>
                </a:ext>
              </a:extLst>
            </p:cNvPr>
            <p:cNvSpPr/>
            <p:nvPr/>
          </p:nvSpPr>
          <p:spPr>
            <a:xfrm>
              <a:off x="8439015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8" name="object 348">
              <a:extLst>
                <a:ext uri="{FF2B5EF4-FFF2-40B4-BE49-F238E27FC236}">
                  <a16:creationId xmlns:a16="http://schemas.microsoft.com/office/drawing/2014/main" id="{549B4C0D-DF80-10BA-9CAE-53546F7E3B43}"/>
                </a:ext>
              </a:extLst>
            </p:cNvPr>
            <p:cNvSpPr/>
            <p:nvPr/>
          </p:nvSpPr>
          <p:spPr>
            <a:xfrm>
              <a:off x="8333878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49" name="object 349">
              <a:extLst>
                <a:ext uri="{FF2B5EF4-FFF2-40B4-BE49-F238E27FC236}">
                  <a16:creationId xmlns:a16="http://schemas.microsoft.com/office/drawing/2014/main" id="{11E6C42F-C83F-67D0-94C6-2E2A2FCF08EB}"/>
                </a:ext>
              </a:extLst>
            </p:cNvPr>
            <p:cNvSpPr/>
            <p:nvPr/>
          </p:nvSpPr>
          <p:spPr>
            <a:xfrm>
              <a:off x="8544007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0" name="object 350">
              <a:extLst>
                <a:ext uri="{FF2B5EF4-FFF2-40B4-BE49-F238E27FC236}">
                  <a16:creationId xmlns:a16="http://schemas.microsoft.com/office/drawing/2014/main" id="{5655258B-8135-7F8B-82BC-D137779252FD}"/>
                </a:ext>
              </a:extLst>
            </p:cNvPr>
            <p:cNvSpPr/>
            <p:nvPr/>
          </p:nvSpPr>
          <p:spPr>
            <a:xfrm>
              <a:off x="8368899" y="651734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1" name="object 351">
              <a:extLst>
                <a:ext uri="{FF2B5EF4-FFF2-40B4-BE49-F238E27FC236}">
                  <a16:creationId xmlns:a16="http://schemas.microsoft.com/office/drawing/2014/main" id="{838572DC-7007-0E16-2FD6-48F5DF0C8CF0}"/>
                </a:ext>
              </a:extLst>
            </p:cNvPr>
            <p:cNvSpPr/>
            <p:nvPr/>
          </p:nvSpPr>
          <p:spPr>
            <a:xfrm>
              <a:off x="8649071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2" name="object 352">
              <a:extLst>
                <a:ext uri="{FF2B5EF4-FFF2-40B4-BE49-F238E27FC236}">
                  <a16:creationId xmlns:a16="http://schemas.microsoft.com/office/drawing/2014/main" id="{1CA7D267-B1BC-AA7B-84D1-B94B2576ABA7}"/>
                </a:ext>
              </a:extLst>
            </p:cNvPr>
            <p:cNvSpPr/>
            <p:nvPr/>
          </p:nvSpPr>
          <p:spPr>
            <a:xfrm>
              <a:off x="8474101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3" name="object 353">
              <a:extLst>
                <a:ext uri="{FF2B5EF4-FFF2-40B4-BE49-F238E27FC236}">
                  <a16:creationId xmlns:a16="http://schemas.microsoft.com/office/drawing/2014/main" id="{E1D7D605-DE51-B17C-AAA9-29A50813EF8D}"/>
                </a:ext>
              </a:extLst>
            </p:cNvPr>
            <p:cNvSpPr/>
            <p:nvPr/>
          </p:nvSpPr>
          <p:spPr>
            <a:xfrm>
              <a:off x="8299130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4" name="object 354">
              <a:extLst>
                <a:ext uri="{FF2B5EF4-FFF2-40B4-BE49-F238E27FC236}">
                  <a16:creationId xmlns:a16="http://schemas.microsoft.com/office/drawing/2014/main" id="{0E399192-918E-1CEA-2C19-552A0C0202C7}"/>
                </a:ext>
              </a:extLst>
            </p:cNvPr>
            <p:cNvSpPr/>
            <p:nvPr/>
          </p:nvSpPr>
          <p:spPr>
            <a:xfrm>
              <a:off x="8474101" y="650459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5" name="object 355">
              <a:extLst>
                <a:ext uri="{FF2B5EF4-FFF2-40B4-BE49-F238E27FC236}">
                  <a16:creationId xmlns:a16="http://schemas.microsoft.com/office/drawing/2014/main" id="{33ED13F1-457A-FAD0-F2CB-C9A4333A0553}"/>
                </a:ext>
              </a:extLst>
            </p:cNvPr>
            <p:cNvSpPr/>
            <p:nvPr/>
          </p:nvSpPr>
          <p:spPr>
            <a:xfrm>
              <a:off x="8299130" y="653010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56" name="object 356">
            <a:extLst>
              <a:ext uri="{FF2B5EF4-FFF2-40B4-BE49-F238E27FC236}">
                <a16:creationId xmlns:a16="http://schemas.microsoft.com/office/drawing/2014/main" id="{9991B3E6-BCD1-68B7-7892-F816D7471533}"/>
              </a:ext>
            </a:extLst>
          </p:cNvPr>
          <p:cNvGrpSpPr/>
          <p:nvPr/>
        </p:nvGrpSpPr>
        <p:grpSpPr>
          <a:xfrm>
            <a:off x="8299130" y="3378077"/>
            <a:ext cx="350371" cy="123516"/>
            <a:chOff x="8299130" y="3378077"/>
            <a:chExt cx="350371" cy="123516"/>
          </a:xfrm>
        </p:grpSpPr>
        <p:sp>
          <p:nvSpPr>
            <p:cNvPr id="357" name="object 357">
              <a:extLst>
                <a:ext uri="{FF2B5EF4-FFF2-40B4-BE49-F238E27FC236}">
                  <a16:creationId xmlns:a16="http://schemas.microsoft.com/office/drawing/2014/main" id="{8B866E7C-90B9-3CF8-0B0C-8A0D84C9066F}"/>
                </a:ext>
              </a:extLst>
            </p:cNvPr>
            <p:cNvSpPr/>
            <p:nvPr/>
          </p:nvSpPr>
          <p:spPr>
            <a:xfrm>
              <a:off x="857937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8" name="object 358">
              <a:extLst>
                <a:ext uri="{FF2B5EF4-FFF2-40B4-BE49-F238E27FC236}">
                  <a16:creationId xmlns:a16="http://schemas.microsoft.com/office/drawing/2014/main" id="{07E31945-4891-D632-6248-38BC832309A2}"/>
                </a:ext>
              </a:extLst>
            </p:cNvPr>
            <p:cNvSpPr/>
            <p:nvPr/>
          </p:nvSpPr>
          <p:spPr>
            <a:xfrm>
              <a:off x="861439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59" name="object 359">
              <a:extLst>
                <a:ext uri="{FF2B5EF4-FFF2-40B4-BE49-F238E27FC236}">
                  <a16:creationId xmlns:a16="http://schemas.microsoft.com/office/drawing/2014/main" id="{C01E43FC-DF2E-9F1D-64B1-1D49972A758E}"/>
                </a:ext>
              </a:extLst>
            </p:cNvPr>
            <p:cNvSpPr/>
            <p:nvPr/>
          </p:nvSpPr>
          <p:spPr>
            <a:xfrm>
              <a:off x="8509333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0" name="object 360">
              <a:extLst>
                <a:ext uri="{FF2B5EF4-FFF2-40B4-BE49-F238E27FC236}">
                  <a16:creationId xmlns:a16="http://schemas.microsoft.com/office/drawing/2014/main" id="{9187919B-EDE6-E47A-735B-D5556052FDEE}"/>
                </a:ext>
              </a:extLst>
            </p:cNvPr>
            <p:cNvSpPr/>
            <p:nvPr/>
          </p:nvSpPr>
          <p:spPr>
            <a:xfrm>
              <a:off x="840426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1" name="object 361">
              <a:extLst>
                <a:ext uri="{FF2B5EF4-FFF2-40B4-BE49-F238E27FC236}">
                  <a16:creationId xmlns:a16="http://schemas.microsoft.com/office/drawing/2014/main" id="{AFDD1570-0DC5-C5CE-44CC-9D4C8095F911}"/>
                </a:ext>
              </a:extLst>
            </p:cNvPr>
            <p:cNvSpPr/>
            <p:nvPr/>
          </p:nvSpPr>
          <p:spPr>
            <a:xfrm>
              <a:off x="843935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2" name="object 362">
              <a:extLst>
                <a:ext uri="{FF2B5EF4-FFF2-40B4-BE49-F238E27FC236}">
                  <a16:creationId xmlns:a16="http://schemas.microsoft.com/office/drawing/2014/main" id="{8E1D9366-7951-0560-D5AD-E04FFCB2E1A3}"/>
                </a:ext>
              </a:extLst>
            </p:cNvPr>
            <p:cNvSpPr/>
            <p:nvPr/>
          </p:nvSpPr>
          <p:spPr>
            <a:xfrm>
              <a:off x="833422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3" name="object 363">
              <a:extLst>
                <a:ext uri="{FF2B5EF4-FFF2-40B4-BE49-F238E27FC236}">
                  <a16:creationId xmlns:a16="http://schemas.microsoft.com/office/drawing/2014/main" id="{2F6A642B-3752-F7C7-2565-BDCA87EFAAD0}"/>
                </a:ext>
              </a:extLst>
            </p:cNvPr>
            <p:cNvSpPr/>
            <p:nvPr/>
          </p:nvSpPr>
          <p:spPr>
            <a:xfrm>
              <a:off x="854435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4" name="object 364">
              <a:extLst>
                <a:ext uri="{FF2B5EF4-FFF2-40B4-BE49-F238E27FC236}">
                  <a16:creationId xmlns:a16="http://schemas.microsoft.com/office/drawing/2014/main" id="{03FB4FAA-16D0-B8CD-E816-795273F11CE0}"/>
                </a:ext>
              </a:extLst>
            </p:cNvPr>
            <p:cNvSpPr/>
            <p:nvPr/>
          </p:nvSpPr>
          <p:spPr>
            <a:xfrm>
              <a:off x="836924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5" name="object 365">
              <a:extLst>
                <a:ext uri="{FF2B5EF4-FFF2-40B4-BE49-F238E27FC236}">
                  <a16:creationId xmlns:a16="http://schemas.microsoft.com/office/drawing/2014/main" id="{893C6A94-F2EC-E90F-1C4E-B012F16053C5}"/>
                </a:ext>
              </a:extLst>
            </p:cNvPr>
            <p:cNvSpPr/>
            <p:nvPr/>
          </p:nvSpPr>
          <p:spPr>
            <a:xfrm>
              <a:off x="864941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6" name="object 366">
              <a:extLst>
                <a:ext uri="{FF2B5EF4-FFF2-40B4-BE49-F238E27FC236}">
                  <a16:creationId xmlns:a16="http://schemas.microsoft.com/office/drawing/2014/main" id="{357C1B93-8D06-3C75-D994-59B23B6F28F8}"/>
                </a:ext>
              </a:extLst>
            </p:cNvPr>
            <p:cNvSpPr/>
            <p:nvPr/>
          </p:nvSpPr>
          <p:spPr>
            <a:xfrm>
              <a:off x="8474448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7" name="object 367">
              <a:extLst>
                <a:ext uri="{FF2B5EF4-FFF2-40B4-BE49-F238E27FC236}">
                  <a16:creationId xmlns:a16="http://schemas.microsoft.com/office/drawing/2014/main" id="{5A7D358D-9550-19E6-A1F3-B3A54C419F76}"/>
                </a:ext>
              </a:extLst>
            </p:cNvPr>
            <p:cNvSpPr/>
            <p:nvPr/>
          </p:nvSpPr>
          <p:spPr>
            <a:xfrm>
              <a:off x="8299478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8" name="object 368">
              <a:extLst>
                <a:ext uri="{FF2B5EF4-FFF2-40B4-BE49-F238E27FC236}">
                  <a16:creationId xmlns:a16="http://schemas.microsoft.com/office/drawing/2014/main" id="{65C979EB-A969-5AAF-1DA9-02DABD8977AD}"/>
                </a:ext>
              </a:extLst>
            </p:cNvPr>
            <p:cNvSpPr/>
            <p:nvPr/>
          </p:nvSpPr>
          <p:spPr>
            <a:xfrm>
              <a:off x="8299478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69" name="object 369">
              <a:extLst>
                <a:ext uri="{FF2B5EF4-FFF2-40B4-BE49-F238E27FC236}">
                  <a16:creationId xmlns:a16="http://schemas.microsoft.com/office/drawing/2014/main" id="{7E24BCE4-C13A-320C-5937-A24529E59360}"/>
                </a:ext>
              </a:extLst>
            </p:cNvPr>
            <p:cNvSpPr/>
            <p:nvPr/>
          </p:nvSpPr>
          <p:spPr>
            <a:xfrm>
              <a:off x="8299588" y="3378086"/>
              <a:ext cx="696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4934"/>
                <a:gd name="f4" fmla="val 84454"/>
                <a:gd name="f5" fmla="val 114834"/>
                <a:gd name="f6" fmla="val 84112"/>
                <a:gd name="f7" fmla="*/ f0 1 114934"/>
                <a:gd name="f8" fmla="*/ f1 1 84454"/>
                <a:gd name="f9" fmla="+- f4 0 f2"/>
                <a:gd name="f10" fmla="+- f3 0 f2"/>
                <a:gd name="f11" fmla="*/ f10 1 1149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49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0" name="object 370">
              <a:extLst>
                <a:ext uri="{FF2B5EF4-FFF2-40B4-BE49-F238E27FC236}">
                  <a16:creationId xmlns:a16="http://schemas.microsoft.com/office/drawing/2014/main" id="{2AA7093C-4C59-42FB-07F1-2969EE562222}"/>
                </a:ext>
              </a:extLst>
            </p:cNvPr>
            <p:cNvSpPr/>
            <p:nvPr/>
          </p:nvSpPr>
          <p:spPr>
            <a:xfrm>
              <a:off x="864907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1" name="object 371">
              <a:extLst>
                <a:ext uri="{FF2B5EF4-FFF2-40B4-BE49-F238E27FC236}">
                  <a16:creationId xmlns:a16="http://schemas.microsoft.com/office/drawing/2014/main" id="{F5079FCD-114A-0558-9929-D18C76CE5041}"/>
                </a:ext>
              </a:extLst>
            </p:cNvPr>
            <p:cNvSpPr/>
            <p:nvPr/>
          </p:nvSpPr>
          <p:spPr>
            <a:xfrm>
              <a:off x="847410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2" name="object 372">
              <a:extLst>
                <a:ext uri="{FF2B5EF4-FFF2-40B4-BE49-F238E27FC236}">
                  <a16:creationId xmlns:a16="http://schemas.microsoft.com/office/drawing/2014/main" id="{0F6E3AD4-FC5F-7E05-F27A-C7F527026E74}"/>
                </a:ext>
              </a:extLst>
            </p:cNvPr>
            <p:cNvSpPr/>
            <p:nvPr/>
          </p:nvSpPr>
          <p:spPr>
            <a:xfrm>
              <a:off x="8299130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3" name="object 373">
              <a:extLst>
                <a:ext uri="{FF2B5EF4-FFF2-40B4-BE49-F238E27FC236}">
                  <a16:creationId xmlns:a16="http://schemas.microsoft.com/office/drawing/2014/main" id="{D37999CC-72E6-3E4B-2390-2CB4C8F03B33}"/>
                </a:ext>
              </a:extLst>
            </p:cNvPr>
            <p:cNvSpPr/>
            <p:nvPr/>
          </p:nvSpPr>
          <p:spPr>
            <a:xfrm>
              <a:off x="847410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4" name="object 374">
              <a:extLst>
                <a:ext uri="{FF2B5EF4-FFF2-40B4-BE49-F238E27FC236}">
                  <a16:creationId xmlns:a16="http://schemas.microsoft.com/office/drawing/2014/main" id="{123A4CBC-3EF4-4F7A-52BF-D140C110AA5E}"/>
                </a:ext>
              </a:extLst>
            </p:cNvPr>
            <p:cNvSpPr/>
            <p:nvPr/>
          </p:nvSpPr>
          <p:spPr>
            <a:xfrm>
              <a:off x="857902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5" name="object 375">
              <a:extLst>
                <a:ext uri="{FF2B5EF4-FFF2-40B4-BE49-F238E27FC236}">
                  <a16:creationId xmlns:a16="http://schemas.microsoft.com/office/drawing/2014/main" id="{74244AEE-516B-1B76-92EB-60B2BFE6D5C9}"/>
                </a:ext>
              </a:extLst>
            </p:cNvPr>
            <p:cNvSpPr/>
            <p:nvPr/>
          </p:nvSpPr>
          <p:spPr>
            <a:xfrm>
              <a:off x="861405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6" name="object 376">
              <a:extLst>
                <a:ext uri="{FF2B5EF4-FFF2-40B4-BE49-F238E27FC236}">
                  <a16:creationId xmlns:a16="http://schemas.microsoft.com/office/drawing/2014/main" id="{348617B6-66F3-4665-7721-19CF43A47C99}"/>
                </a:ext>
              </a:extLst>
            </p:cNvPr>
            <p:cNvSpPr/>
            <p:nvPr/>
          </p:nvSpPr>
          <p:spPr>
            <a:xfrm>
              <a:off x="850898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7" name="object 377">
              <a:extLst>
                <a:ext uri="{FF2B5EF4-FFF2-40B4-BE49-F238E27FC236}">
                  <a16:creationId xmlns:a16="http://schemas.microsoft.com/office/drawing/2014/main" id="{7518A248-C45E-A0CF-2EA6-9324BDFAB44F}"/>
                </a:ext>
              </a:extLst>
            </p:cNvPr>
            <p:cNvSpPr/>
            <p:nvPr/>
          </p:nvSpPr>
          <p:spPr>
            <a:xfrm>
              <a:off x="840392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8" name="object 378">
              <a:extLst>
                <a:ext uri="{FF2B5EF4-FFF2-40B4-BE49-F238E27FC236}">
                  <a16:creationId xmlns:a16="http://schemas.microsoft.com/office/drawing/2014/main" id="{F049EFDF-042C-8D76-EBA1-7D7A8023EDEC}"/>
                </a:ext>
              </a:extLst>
            </p:cNvPr>
            <p:cNvSpPr/>
            <p:nvPr/>
          </p:nvSpPr>
          <p:spPr>
            <a:xfrm>
              <a:off x="843901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79" name="object 379">
              <a:extLst>
                <a:ext uri="{FF2B5EF4-FFF2-40B4-BE49-F238E27FC236}">
                  <a16:creationId xmlns:a16="http://schemas.microsoft.com/office/drawing/2014/main" id="{490E0D41-C158-F998-A902-1563570B9DF4}"/>
                </a:ext>
              </a:extLst>
            </p:cNvPr>
            <p:cNvSpPr/>
            <p:nvPr/>
          </p:nvSpPr>
          <p:spPr>
            <a:xfrm>
              <a:off x="833387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0" name="object 380">
              <a:extLst>
                <a:ext uri="{FF2B5EF4-FFF2-40B4-BE49-F238E27FC236}">
                  <a16:creationId xmlns:a16="http://schemas.microsoft.com/office/drawing/2014/main" id="{CE3D21C3-CA84-6BE8-5B53-AC10BB1E24EE}"/>
                </a:ext>
              </a:extLst>
            </p:cNvPr>
            <p:cNvSpPr/>
            <p:nvPr/>
          </p:nvSpPr>
          <p:spPr>
            <a:xfrm>
              <a:off x="8544007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1" name="object 381">
              <a:extLst>
                <a:ext uri="{FF2B5EF4-FFF2-40B4-BE49-F238E27FC236}">
                  <a16:creationId xmlns:a16="http://schemas.microsoft.com/office/drawing/2014/main" id="{B3E5CD2B-88B7-F7D9-0724-4F0A472A2506}"/>
                </a:ext>
              </a:extLst>
            </p:cNvPr>
            <p:cNvSpPr/>
            <p:nvPr/>
          </p:nvSpPr>
          <p:spPr>
            <a:xfrm>
              <a:off x="8368899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2" name="object 382">
              <a:extLst>
                <a:ext uri="{FF2B5EF4-FFF2-40B4-BE49-F238E27FC236}">
                  <a16:creationId xmlns:a16="http://schemas.microsoft.com/office/drawing/2014/main" id="{B47210C9-2344-627E-F05E-4733F215A9F6}"/>
                </a:ext>
              </a:extLst>
            </p:cNvPr>
            <p:cNvSpPr/>
            <p:nvPr/>
          </p:nvSpPr>
          <p:spPr>
            <a:xfrm>
              <a:off x="8299130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383" name="object 383">
            <a:extLst>
              <a:ext uri="{FF2B5EF4-FFF2-40B4-BE49-F238E27FC236}">
                <a16:creationId xmlns:a16="http://schemas.microsoft.com/office/drawing/2014/main" id="{F24B3F8C-0FDD-77E0-DEB2-13ECCB386EF1}"/>
              </a:ext>
            </a:extLst>
          </p:cNvPr>
          <p:cNvGrpSpPr/>
          <p:nvPr/>
        </p:nvGrpSpPr>
        <p:grpSpPr>
          <a:xfrm>
            <a:off x="6656054" y="1848916"/>
            <a:ext cx="350371" cy="123526"/>
            <a:chOff x="6656054" y="1848916"/>
            <a:chExt cx="350371" cy="123526"/>
          </a:xfrm>
        </p:grpSpPr>
        <p:sp>
          <p:nvSpPr>
            <p:cNvPr id="384" name="object 384">
              <a:extLst>
                <a:ext uri="{FF2B5EF4-FFF2-40B4-BE49-F238E27FC236}">
                  <a16:creationId xmlns:a16="http://schemas.microsoft.com/office/drawing/2014/main" id="{6BA38E6C-C9B3-724D-1FD3-B361CACA2F41}"/>
                </a:ext>
              </a:extLst>
            </p:cNvPr>
            <p:cNvSpPr/>
            <p:nvPr/>
          </p:nvSpPr>
          <p:spPr>
            <a:xfrm>
              <a:off x="693630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5" name="object 385">
              <a:extLst>
                <a:ext uri="{FF2B5EF4-FFF2-40B4-BE49-F238E27FC236}">
                  <a16:creationId xmlns:a16="http://schemas.microsoft.com/office/drawing/2014/main" id="{7ACFB30B-7E2D-B5B4-17FB-94D11B80F5EE}"/>
                </a:ext>
              </a:extLst>
            </p:cNvPr>
            <p:cNvSpPr/>
            <p:nvPr/>
          </p:nvSpPr>
          <p:spPr>
            <a:xfrm>
              <a:off x="697133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6" name="object 386">
              <a:extLst>
                <a:ext uri="{FF2B5EF4-FFF2-40B4-BE49-F238E27FC236}">
                  <a16:creationId xmlns:a16="http://schemas.microsoft.com/office/drawing/2014/main" id="{C45C8C49-0FCA-FAE3-D839-D316FFA64125}"/>
                </a:ext>
              </a:extLst>
            </p:cNvPr>
            <p:cNvSpPr/>
            <p:nvPr/>
          </p:nvSpPr>
          <p:spPr>
            <a:xfrm>
              <a:off x="686625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7" name="object 387">
              <a:extLst>
                <a:ext uri="{FF2B5EF4-FFF2-40B4-BE49-F238E27FC236}">
                  <a16:creationId xmlns:a16="http://schemas.microsoft.com/office/drawing/2014/main" id="{EB98187A-17AC-B1DE-7208-AA7C075D0C1D}"/>
                </a:ext>
              </a:extLst>
            </p:cNvPr>
            <p:cNvSpPr/>
            <p:nvPr/>
          </p:nvSpPr>
          <p:spPr>
            <a:xfrm>
              <a:off x="6761192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8" name="object 388">
              <a:extLst>
                <a:ext uri="{FF2B5EF4-FFF2-40B4-BE49-F238E27FC236}">
                  <a16:creationId xmlns:a16="http://schemas.microsoft.com/office/drawing/2014/main" id="{0D10F583-DB74-27D5-127E-8227CEAD2E09}"/>
                </a:ext>
              </a:extLst>
            </p:cNvPr>
            <p:cNvSpPr/>
            <p:nvPr/>
          </p:nvSpPr>
          <p:spPr>
            <a:xfrm>
              <a:off x="679628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89" name="object 389">
              <a:extLst>
                <a:ext uri="{FF2B5EF4-FFF2-40B4-BE49-F238E27FC236}">
                  <a16:creationId xmlns:a16="http://schemas.microsoft.com/office/drawing/2014/main" id="{F8B4E99C-1975-7C3E-A59D-CA500A9678E4}"/>
                </a:ext>
              </a:extLst>
            </p:cNvPr>
            <p:cNvSpPr/>
            <p:nvPr/>
          </p:nvSpPr>
          <p:spPr>
            <a:xfrm>
              <a:off x="669114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0" name="object 390">
              <a:extLst>
                <a:ext uri="{FF2B5EF4-FFF2-40B4-BE49-F238E27FC236}">
                  <a16:creationId xmlns:a16="http://schemas.microsoft.com/office/drawing/2014/main" id="{BE2EA869-626F-D806-308F-7810D71238D3}"/>
                </a:ext>
              </a:extLst>
            </p:cNvPr>
            <p:cNvSpPr/>
            <p:nvPr/>
          </p:nvSpPr>
          <p:spPr>
            <a:xfrm>
              <a:off x="690127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1" name="object 391">
              <a:extLst>
                <a:ext uri="{FF2B5EF4-FFF2-40B4-BE49-F238E27FC236}">
                  <a16:creationId xmlns:a16="http://schemas.microsoft.com/office/drawing/2014/main" id="{91EC2FFF-19DE-7D63-F4C5-D1A249982CD7}"/>
                </a:ext>
              </a:extLst>
            </p:cNvPr>
            <p:cNvSpPr/>
            <p:nvPr/>
          </p:nvSpPr>
          <p:spPr>
            <a:xfrm>
              <a:off x="672617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2" name="object 392">
              <a:extLst>
                <a:ext uri="{FF2B5EF4-FFF2-40B4-BE49-F238E27FC236}">
                  <a16:creationId xmlns:a16="http://schemas.microsoft.com/office/drawing/2014/main" id="{FFDEA3AF-44C5-4CB2-ADED-6648E33340AF}"/>
                </a:ext>
              </a:extLst>
            </p:cNvPr>
            <p:cNvSpPr/>
            <p:nvPr/>
          </p:nvSpPr>
          <p:spPr>
            <a:xfrm>
              <a:off x="700635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3" name="object 393">
              <a:extLst>
                <a:ext uri="{FF2B5EF4-FFF2-40B4-BE49-F238E27FC236}">
                  <a16:creationId xmlns:a16="http://schemas.microsoft.com/office/drawing/2014/main" id="{5F900E0E-6BD4-A209-4F55-86FCC089B2F0}"/>
                </a:ext>
              </a:extLst>
            </p:cNvPr>
            <p:cNvSpPr/>
            <p:nvPr/>
          </p:nvSpPr>
          <p:spPr>
            <a:xfrm>
              <a:off x="683137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4" name="object 394">
              <a:extLst>
                <a:ext uri="{FF2B5EF4-FFF2-40B4-BE49-F238E27FC236}">
                  <a16:creationId xmlns:a16="http://schemas.microsoft.com/office/drawing/2014/main" id="{659E17A7-3113-E609-494D-66E2C44C638E}"/>
                </a:ext>
              </a:extLst>
            </p:cNvPr>
            <p:cNvSpPr/>
            <p:nvPr/>
          </p:nvSpPr>
          <p:spPr>
            <a:xfrm>
              <a:off x="665640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5" name="object 395">
              <a:extLst>
                <a:ext uri="{FF2B5EF4-FFF2-40B4-BE49-F238E27FC236}">
                  <a16:creationId xmlns:a16="http://schemas.microsoft.com/office/drawing/2014/main" id="{E640E698-36CE-BBF6-7289-CE1F2F5038D8}"/>
                </a:ext>
              </a:extLst>
            </p:cNvPr>
            <p:cNvSpPr/>
            <p:nvPr/>
          </p:nvSpPr>
          <p:spPr>
            <a:xfrm>
              <a:off x="6656402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6" name="object 396">
              <a:extLst>
                <a:ext uri="{FF2B5EF4-FFF2-40B4-BE49-F238E27FC236}">
                  <a16:creationId xmlns:a16="http://schemas.microsoft.com/office/drawing/2014/main" id="{9DBCE48E-820E-A317-6B1B-C0B1F7C97CA9}"/>
                </a:ext>
              </a:extLst>
            </p:cNvPr>
            <p:cNvSpPr/>
            <p:nvPr/>
          </p:nvSpPr>
          <p:spPr>
            <a:xfrm>
              <a:off x="6656539" y="1848916"/>
              <a:ext cx="8779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4779"/>
                <a:gd name="f4" fmla="val 84455"/>
                <a:gd name="f5" fmla="val 144341"/>
                <a:gd name="f6" fmla="val 84112"/>
                <a:gd name="f7" fmla="*/ f0 1 144779"/>
                <a:gd name="f8" fmla="*/ f1 1 84455"/>
                <a:gd name="f9" fmla="+- f4 0 f2"/>
                <a:gd name="f10" fmla="+- f3 0 f2"/>
                <a:gd name="f11" fmla="*/ f10 1 14477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477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7" name="object 397">
              <a:extLst>
                <a:ext uri="{FF2B5EF4-FFF2-40B4-BE49-F238E27FC236}">
                  <a16:creationId xmlns:a16="http://schemas.microsoft.com/office/drawing/2014/main" id="{9D4B28CD-E794-2AF5-7D06-83F79D22FDA6}"/>
                </a:ext>
              </a:extLst>
            </p:cNvPr>
            <p:cNvSpPr/>
            <p:nvPr/>
          </p:nvSpPr>
          <p:spPr>
            <a:xfrm>
              <a:off x="6656539" y="1921227"/>
              <a:ext cx="29034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78790"/>
                <a:gd name="f4" fmla="val 84454"/>
                <a:gd name="f5" fmla="val 478310"/>
                <a:gd name="f6" fmla="val 84091"/>
                <a:gd name="f7" fmla="*/ f0 1 478790"/>
                <a:gd name="f8" fmla="*/ f1 1 84454"/>
                <a:gd name="f9" fmla="+- f4 0 f2"/>
                <a:gd name="f10" fmla="+- f3 0 f2"/>
                <a:gd name="f11" fmla="*/ f10 1 4787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787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8" name="object 398">
              <a:extLst>
                <a:ext uri="{FF2B5EF4-FFF2-40B4-BE49-F238E27FC236}">
                  <a16:creationId xmlns:a16="http://schemas.microsoft.com/office/drawing/2014/main" id="{C9101B70-AA63-51FB-79E5-A4BB4AB70A25}"/>
                </a:ext>
              </a:extLst>
            </p:cNvPr>
            <p:cNvSpPr/>
            <p:nvPr/>
          </p:nvSpPr>
          <p:spPr>
            <a:xfrm>
              <a:off x="693596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9" name="object 399">
              <a:extLst>
                <a:ext uri="{FF2B5EF4-FFF2-40B4-BE49-F238E27FC236}">
                  <a16:creationId xmlns:a16="http://schemas.microsoft.com/office/drawing/2014/main" id="{934EDA1E-EA12-86A6-3FCB-F66A66880CC2}"/>
                </a:ext>
              </a:extLst>
            </p:cNvPr>
            <p:cNvSpPr/>
            <p:nvPr/>
          </p:nvSpPr>
          <p:spPr>
            <a:xfrm>
              <a:off x="697098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0" name="object 400">
              <a:extLst>
                <a:ext uri="{FF2B5EF4-FFF2-40B4-BE49-F238E27FC236}">
                  <a16:creationId xmlns:a16="http://schemas.microsoft.com/office/drawing/2014/main" id="{E96D62F9-E0C2-9254-3B61-2590F86289DE}"/>
                </a:ext>
              </a:extLst>
            </p:cNvPr>
            <p:cNvSpPr/>
            <p:nvPr/>
          </p:nvSpPr>
          <p:spPr>
            <a:xfrm>
              <a:off x="686591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1" name="object 401">
              <a:extLst>
                <a:ext uri="{FF2B5EF4-FFF2-40B4-BE49-F238E27FC236}">
                  <a16:creationId xmlns:a16="http://schemas.microsoft.com/office/drawing/2014/main" id="{03A6FD18-FB7D-3A34-7909-B75474A6130E}"/>
                </a:ext>
              </a:extLst>
            </p:cNvPr>
            <p:cNvSpPr/>
            <p:nvPr/>
          </p:nvSpPr>
          <p:spPr>
            <a:xfrm>
              <a:off x="676084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2" name="object 402">
              <a:extLst>
                <a:ext uri="{FF2B5EF4-FFF2-40B4-BE49-F238E27FC236}">
                  <a16:creationId xmlns:a16="http://schemas.microsoft.com/office/drawing/2014/main" id="{60B6D826-9A6D-CC14-395B-91361B700265}"/>
                </a:ext>
              </a:extLst>
            </p:cNvPr>
            <p:cNvSpPr/>
            <p:nvPr/>
          </p:nvSpPr>
          <p:spPr>
            <a:xfrm>
              <a:off x="679593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3" name="object 403">
              <a:extLst>
                <a:ext uri="{FF2B5EF4-FFF2-40B4-BE49-F238E27FC236}">
                  <a16:creationId xmlns:a16="http://schemas.microsoft.com/office/drawing/2014/main" id="{A9DD30BD-9F07-0D25-1A27-E4DD9A033841}"/>
                </a:ext>
              </a:extLst>
            </p:cNvPr>
            <p:cNvSpPr/>
            <p:nvPr/>
          </p:nvSpPr>
          <p:spPr>
            <a:xfrm>
              <a:off x="669080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4" name="object 404">
              <a:extLst>
                <a:ext uri="{FF2B5EF4-FFF2-40B4-BE49-F238E27FC236}">
                  <a16:creationId xmlns:a16="http://schemas.microsoft.com/office/drawing/2014/main" id="{03D00235-DBE8-9996-D751-38C960A983E3}"/>
                </a:ext>
              </a:extLst>
            </p:cNvPr>
            <p:cNvSpPr/>
            <p:nvPr/>
          </p:nvSpPr>
          <p:spPr>
            <a:xfrm>
              <a:off x="690094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5" name="object 405">
              <a:extLst>
                <a:ext uri="{FF2B5EF4-FFF2-40B4-BE49-F238E27FC236}">
                  <a16:creationId xmlns:a16="http://schemas.microsoft.com/office/drawing/2014/main" id="{7AFB65F8-3A48-B588-83CC-0B46DC08C00C}"/>
                </a:ext>
              </a:extLst>
            </p:cNvPr>
            <p:cNvSpPr/>
            <p:nvPr/>
          </p:nvSpPr>
          <p:spPr>
            <a:xfrm>
              <a:off x="672582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6" name="object 406">
              <a:extLst>
                <a:ext uri="{FF2B5EF4-FFF2-40B4-BE49-F238E27FC236}">
                  <a16:creationId xmlns:a16="http://schemas.microsoft.com/office/drawing/2014/main" id="{91EDC36E-C1CF-7E2B-8DCC-F3804BF23CAB}"/>
                </a:ext>
              </a:extLst>
            </p:cNvPr>
            <p:cNvSpPr/>
            <p:nvPr/>
          </p:nvSpPr>
          <p:spPr>
            <a:xfrm>
              <a:off x="700600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7" name="object 407">
              <a:extLst>
                <a:ext uri="{FF2B5EF4-FFF2-40B4-BE49-F238E27FC236}">
                  <a16:creationId xmlns:a16="http://schemas.microsoft.com/office/drawing/2014/main" id="{603A1871-F539-D9F4-94FD-9A5DC3FBC2BE}"/>
                </a:ext>
              </a:extLst>
            </p:cNvPr>
            <p:cNvSpPr/>
            <p:nvPr/>
          </p:nvSpPr>
          <p:spPr>
            <a:xfrm>
              <a:off x="683103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8" name="object 408">
              <a:extLst>
                <a:ext uri="{FF2B5EF4-FFF2-40B4-BE49-F238E27FC236}">
                  <a16:creationId xmlns:a16="http://schemas.microsoft.com/office/drawing/2014/main" id="{657948B4-0803-3446-C2FA-91114C433826}"/>
                </a:ext>
              </a:extLst>
            </p:cNvPr>
            <p:cNvSpPr/>
            <p:nvPr/>
          </p:nvSpPr>
          <p:spPr>
            <a:xfrm>
              <a:off x="665605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9" name="object 409">
              <a:extLst>
                <a:ext uri="{FF2B5EF4-FFF2-40B4-BE49-F238E27FC236}">
                  <a16:creationId xmlns:a16="http://schemas.microsoft.com/office/drawing/2014/main" id="{3B408BEA-9E28-E97A-CA37-61DDC89EE5D3}"/>
                </a:ext>
              </a:extLst>
            </p:cNvPr>
            <p:cNvSpPr/>
            <p:nvPr/>
          </p:nvSpPr>
          <p:spPr>
            <a:xfrm>
              <a:off x="683103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0" name="object 410">
              <a:extLst>
                <a:ext uri="{FF2B5EF4-FFF2-40B4-BE49-F238E27FC236}">
                  <a16:creationId xmlns:a16="http://schemas.microsoft.com/office/drawing/2014/main" id="{682954E3-6B67-1974-DF53-6DBCCB8CDA2E}"/>
                </a:ext>
              </a:extLst>
            </p:cNvPr>
            <p:cNvSpPr/>
            <p:nvPr/>
          </p:nvSpPr>
          <p:spPr>
            <a:xfrm>
              <a:off x="6656054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11" name="object 411">
            <a:extLst>
              <a:ext uri="{FF2B5EF4-FFF2-40B4-BE49-F238E27FC236}">
                <a16:creationId xmlns:a16="http://schemas.microsoft.com/office/drawing/2014/main" id="{D1097E28-992B-B417-D1C3-46C3DC894006}"/>
              </a:ext>
            </a:extLst>
          </p:cNvPr>
          <p:cNvGrpSpPr/>
          <p:nvPr/>
        </p:nvGrpSpPr>
        <p:grpSpPr>
          <a:xfrm>
            <a:off x="6656054" y="3378077"/>
            <a:ext cx="350371" cy="123516"/>
            <a:chOff x="6656054" y="3378077"/>
            <a:chExt cx="350371" cy="123516"/>
          </a:xfrm>
        </p:grpSpPr>
        <p:sp>
          <p:nvSpPr>
            <p:cNvPr id="412" name="object 412">
              <a:extLst>
                <a:ext uri="{FF2B5EF4-FFF2-40B4-BE49-F238E27FC236}">
                  <a16:creationId xmlns:a16="http://schemas.microsoft.com/office/drawing/2014/main" id="{D0F711A6-B097-E4E5-1E14-A5FAE9D9637F}"/>
                </a:ext>
              </a:extLst>
            </p:cNvPr>
            <p:cNvSpPr/>
            <p:nvPr/>
          </p:nvSpPr>
          <p:spPr>
            <a:xfrm>
              <a:off x="693630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3" name="object 413">
              <a:extLst>
                <a:ext uri="{FF2B5EF4-FFF2-40B4-BE49-F238E27FC236}">
                  <a16:creationId xmlns:a16="http://schemas.microsoft.com/office/drawing/2014/main" id="{E9BAFBD7-3726-8E59-0333-1BB0ADE8DFC9}"/>
                </a:ext>
              </a:extLst>
            </p:cNvPr>
            <p:cNvSpPr/>
            <p:nvPr/>
          </p:nvSpPr>
          <p:spPr>
            <a:xfrm>
              <a:off x="697133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4" name="object 414">
              <a:extLst>
                <a:ext uri="{FF2B5EF4-FFF2-40B4-BE49-F238E27FC236}">
                  <a16:creationId xmlns:a16="http://schemas.microsoft.com/office/drawing/2014/main" id="{2853A8EA-FA80-AF5E-F0F3-8F7BA22380D5}"/>
                </a:ext>
              </a:extLst>
            </p:cNvPr>
            <p:cNvSpPr/>
            <p:nvPr/>
          </p:nvSpPr>
          <p:spPr>
            <a:xfrm>
              <a:off x="686625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5" name="object 415">
              <a:extLst>
                <a:ext uri="{FF2B5EF4-FFF2-40B4-BE49-F238E27FC236}">
                  <a16:creationId xmlns:a16="http://schemas.microsoft.com/office/drawing/2014/main" id="{A99787D8-8F46-77D6-03B5-084537F391F3}"/>
                </a:ext>
              </a:extLst>
            </p:cNvPr>
            <p:cNvSpPr/>
            <p:nvPr/>
          </p:nvSpPr>
          <p:spPr>
            <a:xfrm>
              <a:off x="6761192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6" name="object 416">
              <a:extLst>
                <a:ext uri="{FF2B5EF4-FFF2-40B4-BE49-F238E27FC236}">
                  <a16:creationId xmlns:a16="http://schemas.microsoft.com/office/drawing/2014/main" id="{B86478FF-C518-D535-2500-56253ED6E207}"/>
                </a:ext>
              </a:extLst>
            </p:cNvPr>
            <p:cNvSpPr/>
            <p:nvPr/>
          </p:nvSpPr>
          <p:spPr>
            <a:xfrm>
              <a:off x="679628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7" name="object 417">
              <a:extLst>
                <a:ext uri="{FF2B5EF4-FFF2-40B4-BE49-F238E27FC236}">
                  <a16:creationId xmlns:a16="http://schemas.microsoft.com/office/drawing/2014/main" id="{B2A58484-79FC-3C26-78A0-941E89B3F503}"/>
                </a:ext>
              </a:extLst>
            </p:cNvPr>
            <p:cNvSpPr/>
            <p:nvPr/>
          </p:nvSpPr>
          <p:spPr>
            <a:xfrm>
              <a:off x="669114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8" name="object 418">
              <a:extLst>
                <a:ext uri="{FF2B5EF4-FFF2-40B4-BE49-F238E27FC236}">
                  <a16:creationId xmlns:a16="http://schemas.microsoft.com/office/drawing/2014/main" id="{0FD16319-9220-A7D1-34CF-EB038CCFA00A}"/>
                </a:ext>
              </a:extLst>
            </p:cNvPr>
            <p:cNvSpPr/>
            <p:nvPr/>
          </p:nvSpPr>
          <p:spPr>
            <a:xfrm>
              <a:off x="690127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19" name="object 419">
              <a:extLst>
                <a:ext uri="{FF2B5EF4-FFF2-40B4-BE49-F238E27FC236}">
                  <a16:creationId xmlns:a16="http://schemas.microsoft.com/office/drawing/2014/main" id="{606B3117-EA96-E138-9017-795534655229}"/>
                </a:ext>
              </a:extLst>
            </p:cNvPr>
            <p:cNvSpPr/>
            <p:nvPr/>
          </p:nvSpPr>
          <p:spPr>
            <a:xfrm>
              <a:off x="672617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0" name="object 420">
              <a:extLst>
                <a:ext uri="{FF2B5EF4-FFF2-40B4-BE49-F238E27FC236}">
                  <a16:creationId xmlns:a16="http://schemas.microsoft.com/office/drawing/2014/main" id="{144136B2-4A22-AA45-2AFD-6661694F216B}"/>
                </a:ext>
              </a:extLst>
            </p:cNvPr>
            <p:cNvSpPr/>
            <p:nvPr/>
          </p:nvSpPr>
          <p:spPr>
            <a:xfrm>
              <a:off x="7006352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1" name="object 421">
              <a:extLst>
                <a:ext uri="{FF2B5EF4-FFF2-40B4-BE49-F238E27FC236}">
                  <a16:creationId xmlns:a16="http://schemas.microsoft.com/office/drawing/2014/main" id="{01E7A2AF-6726-B959-2C44-7A9795BE528F}"/>
                </a:ext>
              </a:extLst>
            </p:cNvPr>
            <p:cNvSpPr/>
            <p:nvPr/>
          </p:nvSpPr>
          <p:spPr>
            <a:xfrm>
              <a:off x="6831372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2" name="object 422">
              <a:extLst>
                <a:ext uri="{FF2B5EF4-FFF2-40B4-BE49-F238E27FC236}">
                  <a16:creationId xmlns:a16="http://schemas.microsoft.com/office/drawing/2014/main" id="{939C5B12-DF40-B9CA-35B6-AD5D111C427F}"/>
                </a:ext>
              </a:extLst>
            </p:cNvPr>
            <p:cNvSpPr/>
            <p:nvPr/>
          </p:nvSpPr>
          <p:spPr>
            <a:xfrm>
              <a:off x="6656402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3" name="object 423">
              <a:extLst>
                <a:ext uri="{FF2B5EF4-FFF2-40B4-BE49-F238E27FC236}">
                  <a16:creationId xmlns:a16="http://schemas.microsoft.com/office/drawing/2014/main" id="{8F11090B-2FAB-3EDF-97C6-917B03F9C431}"/>
                </a:ext>
              </a:extLst>
            </p:cNvPr>
            <p:cNvSpPr/>
            <p:nvPr/>
          </p:nvSpPr>
          <p:spPr>
            <a:xfrm>
              <a:off x="6656402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4" name="object 424">
              <a:extLst>
                <a:ext uri="{FF2B5EF4-FFF2-40B4-BE49-F238E27FC236}">
                  <a16:creationId xmlns:a16="http://schemas.microsoft.com/office/drawing/2014/main" id="{48736C9E-9188-A053-F136-71D13E90790D}"/>
                </a:ext>
              </a:extLst>
            </p:cNvPr>
            <p:cNvSpPr/>
            <p:nvPr/>
          </p:nvSpPr>
          <p:spPr>
            <a:xfrm>
              <a:off x="6656539" y="3378086"/>
              <a:ext cx="800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079"/>
                <a:gd name="f4" fmla="val 84454"/>
                <a:gd name="f5" fmla="val 131807"/>
                <a:gd name="f6" fmla="val 84112"/>
                <a:gd name="f7" fmla="*/ f0 1 132079"/>
                <a:gd name="f8" fmla="*/ f1 1 84454"/>
                <a:gd name="f9" fmla="+- f4 0 f2"/>
                <a:gd name="f10" fmla="+- f3 0 f2"/>
                <a:gd name="f11" fmla="*/ f10 1 1320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0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5" name="object 425">
              <a:extLst>
                <a:ext uri="{FF2B5EF4-FFF2-40B4-BE49-F238E27FC236}">
                  <a16:creationId xmlns:a16="http://schemas.microsoft.com/office/drawing/2014/main" id="{E38E1FC3-8CB3-E5DE-9CB2-2BC22C606BEE}"/>
                </a:ext>
              </a:extLst>
            </p:cNvPr>
            <p:cNvSpPr/>
            <p:nvPr/>
          </p:nvSpPr>
          <p:spPr>
            <a:xfrm>
              <a:off x="700600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6" name="object 426">
              <a:extLst>
                <a:ext uri="{FF2B5EF4-FFF2-40B4-BE49-F238E27FC236}">
                  <a16:creationId xmlns:a16="http://schemas.microsoft.com/office/drawing/2014/main" id="{69CE6BEF-CB1D-9284-01D3-331798027CCA}"/>
                </a:ext>
              </a:extLst>
            </p:cNvPr>
            <p:cNvSpPr/>
            <p:nvPr/>
          </p:nvSpPr>
          <p:spPr>
            <a:xfrm>
              <a:off x="683103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7" name="object 427">
              <a:extLst>
                <a:ext uri="{FF2B5EF4-FFF2-40B4-BE49-F238E27FC236}">
                  <a16:creationId xmlns:a16="http://schemas.microsoft.com/office/drawing/2014/main" id="{E5748DE3-96C2-5709-22AC-3273396492D8}"/>
                </a:ext>
              </a:extLst>
            </p:cNvPr>
            <p:cNvSpPr/>
            <p:nvPr/>
          </p:nvSpPr>
          <p:spPr>
            <a:xfrm>
              <a:off x="665605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8" name="object 428">
              <a:extLst>
                <a:ext uri="{FF2B5EF4-FFF2-40B4-BE49-F238E27FC236}">
                  <a16:creationId xmlns:a16="http://schemas.microsoft.com/office/drawing/2014/main" id="{ED6BB17A-E026-9399-C254-1756D41773BD}"/>
                </a:ext>
              </a:extLst>
            </p:cNvPr>
            <p:cNvSpPr/>
            <p:nvPr/>
          </p:nvSpPr>
          <p:spPr>
            <a:xfrm>
              <a:off x="6831034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29" name="object 429">
              <a:extLst>
                <a:ext uri="{FF2B5EF4-FFF2-40B4-BE49-F238E27FC236}">
                  <a16:creationId xmlns:a16="http://schemas.microsoft.com/office/drawing/2014/main" id="{643C8FEE-8ADA-9549-9A67-8BD1895975A4}"/>
                </a:ext>
              </a:extLst>
            </p:cNvPr>
            <p:cNvSpPr/>
            <p:nvPr/>
          </p:nvSpPr>
          <p:spPr>
            <a:xfrm>
              <a:off x="693596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0" name="object 430">
              <a:extLst>
                <a:ext uri="{FF2B5EF4-FFF2-40B4-BE49-F238E27FC236}">
                  <a16:creationId xmlns:a16="http://schemas.microsoft.com/office/drawing/2014/main" id="{050DD374-2760-8A58-B903-1211B151428E}"/>
                </a:ext>
              </a:extLst>
            </p:cNvPr>
            <p:cNvSpPr/>
            <p:nvPr/>
          </p:nvSpPr>
          <p:spPr>
            <a:xfrm>
              <a:off x="697098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1" name="object 431">
              <a:extLst>
                <a:ext uri="{FF2B5EF4-FFF2-40B4-BE49-F238E27FC236}">
                  <a16:creationId xmlns:a16="http://schemas.microsoft.com/office/drawing/2014/main" id="{7FB29504-FC79-654D-DA3C-5323333EF0FD}"/>
                </a:ext>
              </a:extLst>
            </p:cNvPr>
            <p:cNvSpPr/>
            <p:nvPr/>
          </p:nvSpPr>
          <p:spPr>
            <a:xfrm>
              <a:off x="686591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2" name="object 432">
              <a:extLst>
                <a:ext uri="{FF2B5EF4-FFF2-40B4-BE49-F238E27FC236}">
                  <a16:creationId xmlns:a16="http://schemas.microsoft.com/office/drawing/2014/main" id="{8AF917AE-6D81-538B-8F0E-04D98A9A42DF}"/>
                </a:ext>
              </a:extLst>
            </p:cNvPr>
            <p:cNvSpPr/>
            <p:nvPr/>
          </p:nvSpPr>
          <p:spPr>
            <a:xfrm>
              <a:off x="676084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3" name="object 433">
              <a:extLst>
                <a:ext uri="{FF2B5EF4-FFF2-40B4-BE49-F238E27FC236}">
                  <a16:creationId xmlns:a16="http://schemas.microsoft.com/office/drawing/2014/main" id="{86E77A75-9D51-ECE9-E170-06F7AFA5068A}"/>
                </a:ext>
              </a:extLst>
            </p:cNvPr>
            <p:cNvSpPr/>
            <p:nvPr/>
          </p:nvSpPr>
          <p:spPr>
            <a:xfrm>
              <a:off x="6795939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4" name="object 434">
              <a:extLst>
                <a:ext uri="{FF2B5EF4-FFF2-40B4-BE49-F238E27FC236}">
                  <a16:creationId xmlns:a16="http://schemas.microsoft.com/office/drawing/2014/main" id="{9FEA3A49-705D-3C7C-3750-A5FD2A5792DB}"/>
                </a:ext>
              </a:extLst>
            </p:cNvPr>
            <p:cNvSpPr/>
            <p:nvPr/>
          </p:nvSpPr>
          <p:spPr>
            <a:xfrm>
              <a:off x="669080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5" name="object 435">
              <a:extLst>
                <a:ext uri="{FF2B5EF4-FFF2-40B4-BE49-F238E27FC236}">
                  <a16:creationId xmlns:a16="http://schemas.microsoft.com/office/drawing/2014/main" id="{C33397A8-6CDF-F9E0-46C2-7F0A83BB26A8}"/>
                </a:ext>
              </a:extLst>
            </p:cNvPr>
            <p:cNvSpPr/>
            <p:nvPr/>
          </p:nvSpPr>
          <p:spPr>
            <a:xfrm>
              <a:off x="690094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6" name="object 436">
              <a:extLst>
                <a:ext uri="{FF2B5EF4-FFF2-40B4-BE49-F238E27FC236}">
                  <a16:creationId xmlns:a16="http://schemas.microsoft.com/office/drawing/2014/main" id="{FE43FD5E-3248-D381-53CC-3C66CC99DB0D}"/>
                </a:ext>
              </a:extLst>
            </p:cNvPr>
            <p:cNvSpPr/>
            <p:nvPr/>
          </p:nvSpPr>
          <p:spPr>
            <a:xfrm>
              <a:off x="672582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37" name="object 437">
              <a:extLst>
                <a:ext uri="{FF2B5EF4-FFF2-40B4-BE49-F238E27FC236}">
                  <a16:creationId xmlns:a16="http://schemas.microsoft.com/office/drawing/2014/main" id="{9BB40927-0B53-62BF-21FC-40684417510E}"/>
                </a:ext>
              </a:extLst>
            </p:cNvPr>
            <p:cNvSpPr/>
            <p:nvPr/>
          </p:nvSpPr>
          <p:spPr>
            <a:xfrm>
              <a:off x="6656054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38" name="object 438">
            <a:extLst>
              <a:ext uri="{FF2B5EF4-FFF2-40B4-BE49-F238E27FC236}">
                <a16:creationId xmlns:a16="http://schemas.microsoft.com/office/drawing/2014/main" id="{05F09549-2BA9-A303-57B2-931919847813}"/>
              </a:ext>
            </a:extLst>
          </p:cNvPr>
          <p:cNvGrpSpPr/>
          <p:nvPr/>
        </p:nvGrpSpPr>
        <p:grpSpPr>
          <a:xfrm>
            <a:off x="5833725" y="3378077"/>
            <a:ext cx="350371" cy="123525"/>
            <a:chOff x="5833725" y="3378077"/>
            <a:chExt cx="350371" cy="123525"/>
          </a:xfrm>
        </p:grpSpPr>
        <p:sp>
          <p:nvSpPr>
            <p:cNvPr id="439" name="object 439">
              <a:extLst>
                <a:ext uri="{FF2B5EF4-FFF2-40B4-BE49-F238E27FC236}">
                  <a16:creationId xmlns:a16="http://schemas.microsoft.com/office/drawing/2014/main" id="{927C410C-FECE-07C3-011E-FCB0B93EFEBA}"/>
                </a:ext>
              </a:extLst>
            </p:cNvPr>
            <p:cNvSpPr/>
            <p:nvPr/>
          </p:nvSpPr>
          <p:spPr>
            <a:xfrm>
              <a:off x="6113971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0" name="object 440">
              <a:extLst>
                <a:ext uri="{FF2B5EF4-FFF2-40B4-BE49-F238E27FC236}">
                  <a16:creationId xmlns:a16="http://schemas.microsoft.com/office/drawing/2014/main" id="{CA25FBBA-25A0-9666-513D-F4637F51994E}"/>
                </a:ext>
              </a:extLst>
            </p:cNvPr>
            <p:cNvSpPr/>
            <p:nvPr/>
          </p:nvSpPr>
          <p:spPr>
            <a:xfrm>
              <a:off x="6148992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1" name="object 441">
              <a:extLst>
                <a:ext uri="{FF2B5EF4-FFF2-40B4-BE49-F238E27FC236}">
                  <a16:creationId xmlns:a16="http://schemas.microsoft.com/office/drawing/2014/main" id="{BD6C3AA0-DB96-1310-4B9A-13BB42CD2647}"/>
                </a:ext>
              </a:extLst>
            </p:cNvPr>
            <p:cNvSpPr/>
            <p:nvPr/>
          </p:nvSpPr>
          <p:spPr>
            <a:xfrm>
              <a:off x="604392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2" name="object 442">
              <a:extLst>
                <a:ext uri="{FF2B5EF4-FFF2-40B4-BE49-F238E27FC236}">
                  <a16:creationId xmlns:a16="http://schemas.microsoft.com/office/drawing/2014/main" id="{499AF0BF-62BC-E0FA-3803-17A1CE17D3D6}"/>
                </a:ext>
              </a:extLst>
            </p:cNvPr>
            <p:cNvSpPr/>
            <p:nvPr/>
          </p:nvSpPr>
          <p:spPr>
            <a:xfrm>
              <a:off x="5938863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3" name="object 443">
              <a:extLst>
                <a:ext uri="{FF2B5EF4-FFF2-40B4-BE49-F238E27FC236}">
                  <a16:creationId xmlns:a16="http://schemas.microsoft.com/office/drawing/2014/main" id="{AF034102-305E-4F5D-DF70-FECF1595063A}"/>
                </a:ext>
              </a:extLst>
            </p:cNvPr>
            <p:cNvSpPr/>
            <p:nvPr/>
          </p:nvSpPr>
          <p:spPr>
            <a:xfrm>
              <a:off x="597395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4" name="object 444">
              <a:extLst>
                <a:ext uri="{FF2B5EF4-FFF2-40B4-BE49-F238E27FC236}">
                  <a16:creationId xmlns:a16="http://schemas.microsoft.com/office/drawing/2014/main" id="{F0B46564-EEFA-A0A6-C633-EB51B4E3C88E}"/>
                </a:ext>
              </a:extLst>
            </p:cNvPr>
            <p:cNvSpPr/>
            <p:nvPr/>
          </p:nvSpPr>
          <p:spPr>
            <a:xfrm>
              <a:off x="5868820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5" name="object 445">
              <a:extLst>
                <a:ext uri="{FF2B5EF4-FFF2-40B4-BE49-F238E27FC236}">
                  <a16:creationId xmlns:a16="http://schemas.microsoft.com/office/drawing/2014/main" id="{BE6DED1C-CEB0-D226-69A6-DF568F4A0CA7}"/>
                </a:ext>
              </a:extLst>
            </p:cNvPr>
            <p:cNvSpPr/>
            <p:nvPr/>
          </p:nvSpPr>
          <p:spPr>
            <a:xfrm>
              <a:off x="607894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6" name="object 446">
              <a:extLst>
                <a:ext uri="{FF2B5EF4-FFF2-40B4-BE49-F238E27FC236}">
                  <a16:creationId xmlns:a16="http://schemas.microsoft.com/office/drawing/2014/main" id="{23E2201C-6297-CC6D-3C7B-BB93FF19C7D5}"/>
                </a:ext>
              </a:extLst>
            </p:cNvPr>
            <p:cNvSpPr/>
            <p:nvPr/>
          </p:nvSpPr>
          <p:spPr>
            <a:xfrm>
              <a:off x="5903841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7" name="object 447">
              <a:extLst>
                <a:ext uri="{FF2B5EF4-FFF2-40B4-BE49-F238E27FC236}">
                  <a16:creationId xmlns:a16="http://schemas.microsoft.com/office/drawing/2014/main" id="{0747A69C-ABE1-5CD9-6B49-9C40AF0B4B08}"/>
                </a:ext>
              </a:extLst>
            </p:cNvPr>
            <p:cNvSpPr/>
            <p:nvPr/>
          </p:nvSpPr>
          <p:spPr>
            <a:xfrm>
              <a:off x="6184014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8" name="object 448">
              <a:extLst>
                <a:ext uri="{FF2B5EF4-FFF2-40B4-BE49-F238E27FC236}">
                  <a16:creationId xmlns:a16="http://schemas.microsoft.com/office/drawing/2014/main" id="{46037599-EEDB-D575-1B1B-11D8C2134DD2}"/>
                </a:ext>
              </a:extLst>
            </p:cNvPr>
            <p:cNvSpPr/>
            <p:nvPr/>
          </p:nvSpPr>
          <p:spPr>
            <a:xfrm>
              <a:off x="6009043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49" name="object 449">
              <a:extLst>
                <a:ext uri="{FF2B5EF4-FFF2-40B4-BE49-F238E27FC236}">
                  <a16:creationId xmlns:a16="http://schemas.microsoft.com/office/drawing/2014/main" id="{36FB7282-DC41-6AC8-EE43-4DCB95CDF043}"/>
                </a:ext>
              </a:extLst>
            </p:cNvPr>
            <p:cNvSpPr/>
            <p:nvPr/>
          </p:nvSpPr>
          <p:spPr>
            <a:xfrm>
              <a:off x="5834073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0" name="object 450">
              <a:extLst>
                <a:ext uri="{FF2B5EF4-FFF2-40B4-BE49-F238E27FC236}">
                  <a16:creationId xmlns:a16="http://schemas.microsoft.com/office/drawing/2014/main" id="{CF9D54A6-05F8-DF50-ED74-EB156F052FB7}"/>
                </a:ext>
              </a:extLst>
            </p:cNvPr>
            <p:cNvSpPr/>
            <p:nvPr/>
          </p:nvSpPr>
          <p:spPr>
            <a:xfrm>
              <a:off x="5834073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1" name="object 451">
              <a:extLst>
                <a:ext uri="{FF2B5EF4-FFF2-40B4-BE49-F238E27FC236}">
                  <a16:creationId xmlns:a16="http://schemas.microsoft.com/office/drawing/2014/main" id="{F7B83199-F43C-42D0-CC89-135520D15C4E}"/>
                </a:ext>
              </a:extLst>
            </p:cNvPr>
            <p:cNvSpPr/>
            <p:nvPr/>
          </p:nvSpPr>
          <p:spPr>
            <a:xfrm>
              <a:off x="5834192" y="3378086"/>
              <a:ext cx="770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7000"/>
                <a:gd name="f4" fmla="val 84454"/>
                <a:gd name="f5" fmla="val 126613"/>
                <a:gd name="f6" fmla="val 84112"/>
                <a:gd name="f7" fmla="*/ f0 1 127000"/>
                <a:gd name="f8" fmla="*/ f1 1 84454"/>
                <a:gd name="f9" fmla="+- f4 0 f2"/>
                <a:gd name="f10" fmla="+- f3 0 f2"/>
                <a:gd name="f11" fmla="*/ f10 1 12700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700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2" name="object 452">
              <a:extLst>
                <a:ext uri="{FF2B5EF4-FFF2-40B4-BE49-F238E27FC236}">
                  <a16:creationId xmlns:a16="http://schemas.microsoft.com/office/drawing/2014/main" id="{DC766FBD-2AD1-3155-23AF-504A0C5140FF}"/>
                </a:ext>
              </a:extLst>
            </p:cNvPr>
            <p:cNvSpPr/>
            <p:nvPr/>
          </p:nvSpPr>
          <p:spPr>
            <a:xfrm>
              <a:off x="5834192" y="3450387"/>
              <a:ext cx="1725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4479"/>
                <a:gd name="f4" fmla="val 84454"/>
                <a:gd name="f5" fmla="val 284054"/>
                <a:gd name="f6" fmla="val 84112"/>
                <a:gd name="f7" fmla="*/ f0 1 284479"/>
                <a:gd name="f8" fmla="*/ f1 1 84454"/>
                <a:gd name="f9" fmla="+- f4 0 f2"/>
                <a:gd name="f10" fmla="+- f3 0 f2"/>
                <a:gd name="f11" fmla="*/ f10 1 2844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844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3" name="object 453">
              <a:extLst>
                <a:ext uri="{FF2B5EF4-FFF2-40B4-BE49-F238E27FC236}">
                  <a16:creationId xmlns:a16="http://schemas.microsoft.com/office/drawing/2014/main" id="{F129E02A-24C6-A8B5-FF3B-FC4568FC6AB7}"/>
                </a:ext>
              </a:extLst>
            </p:cNvPr>
            <p:cNvSpPr/>
            <p:nvPr/>
          </p:nvSpPr>
          <p:spPr>
            <a:xfrm>
              <a:off x="611362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4" name="object 454">
              <a:extLst>
                <a:ext uri="{FF2B5EF4-FFF2-40B4-BE49-F238E27FC236}">
                  <a16:creationId xmlns:a16="http://schemas.microsoft.com/office/drawing/2014/main" id="{C28170FC-2337-39F6-9291-3993BBB1DBC7}"/>
                </a:ext>
              </a:extLst>
            </p:cNvPr>
            <p:cNvSpPr/>
            <p:nvPr/>
          </p:nvSpPr>
          <p:spPr>
            <a:xfrm>
              <a:off x="614864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5" name="object 455">
              <a:extLst>
                <a:ext uri="{FF2B5EF4-FFF2-40B4-BE49-F238E27FC236}">
                  <a16:creationId xmlns:a16="http://schemas.microsoft.com/office/drawing/2014/main" id="{3FDA4774-C187-D6DB-3CD7-DEB9876F65C5}"/>
                </a:ext>
              </a:extLst>
            </p:cNvPr>
            <p:cNvSpPr/>
            <p:nvPr/>
          </p:nvSpPr>
          <p:spPr>
            <a:xfrm>
              <a:off x="604358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6" name="object 456">
              <a:extLst>
                <a:ext uri="{FF2B5EF4-FFF2-40B4-BE49-F238E27FC236}">
                  <a16:creationId xmlns:a16="http://schemas.microsoft.com/office/drawing/2014/main" id="{1861318A-4DF9-E024-EB99-AD004BCD28B5}"/>
                </a:ext>
              </a:extLst>
            </p:cNvPr>
            <p:cNvSpPr/>
            <p:nvPr/>
          </p:nvSpPr>
          <p:spPr>
            <a:xfrm>
              <a:off x="5938515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7" name="object 457">
              <a:extLst>
                <a:ext uri="{FF2B5EF4-FFF2-40B4-BE49-F238E27FC236}">
                  <a16:creationId xmlns:a16="http://schemas.microsoft.com/office/drawing/2014/main" id="{35E32FFD-F552-802D-9C88-BB925034F59F}"/>
                </a:ext>
              </a:extLst>
            </p:cNvPr>
            <p:cNvSpPr/>
            <p:nvPr/>
          </p:nvSpPr>
          <p:spPr>
            <a:xfrm>
              <a:off x="597361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8" name="object 458">
              <a:extLst>
                <a:ext uri="{FF2B5EF4-FFF2-40B4-BE49-F238E27FC236}">
                  <a16:creationId xmlns:a16="http://schemas.microsoft.com/office/drawing/2014/main" id="{FEBA45E8-6D4A-A307-D975-CB20A4DAFFCB}"/>
                </a:ext>
              </a:extLst>
            </p:cNvPr>
            <p:cNvSpPr/>
            <p:nvPr/>
          </p:nvSpPr>
          <p:spPr>
            <a:xfrm>
              <a:off x="586847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59" name="object 459">
              <a:extLst>
                <a:ext uri="{FF2B5EF4-FFF2-40B4-BE49-F238E27FC236}">
                  <a16:creationId xmlns:a16="http://schemas.microsoft.com/office/drawing/2014/main" id="{61F410E4-65A6-0BA0-C0A8-A1FF44F165AF}"/>
                </a:ext>
              </a:extLst>
            </p:cNvPr>
            <p:cNvSpPr/>
            <p:nvPr/>
          </p:nvSpPr>
          <p:spPr>
            <a:xfrm>
              <a:off x="607860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0" name="object 460">
              <a:extLst>
                <a:ext uri="{FF2B5EF4-FFF2-40B4-BE49-F238E27FC236}">
                  <a16:creationId xmlns:a16="http://schemas.microsoft.com/office/drawing/2014/main" id="{B86534ED-9381-8BAF-DDFC-4679ECF73FFF}"/>
                </a:ext>
              </a:extLst>
            </p:cNvPr>
            <p:cNvSpPr/>
            <p:nvPr/>
          </p:nvSpPr>
          <p:spPr>
            <a:xfrm>
              <a:off x="5903494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1" name="object 461">
              <a:extLst>
                <a:ext uri="{FF2B5EF4-FFF2-40B4-BE49-F238E27FC236}">
                  <a16:creationId xmlns:a16="http://schemas.microsoft.com/office/drawing/2014/main" id="{6FCA3F32-AB74-4E17-A24A-99F0ED40C8CD}"/>
                </a:ext>
              </a:extLst>
            </p:cNvPr>
            <p:cNvSpPr/>
            <p:nvPr/>
          </p:nvSpPr>
          <p:spPr>
            <a:xfrm>
              <a:off x="6183666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2" name="object 462">
              <a:extLst>
                <a:ext uri="{FF2B5EF4-FFF2-40B4-BE49-F238E27FC236}">
                  <a16:creationId xmlns:a16="http://schemas.microsoft.com/office/drawing/2014/main" id="{DF7DFC57-4218-B12B-9754-4217981E40D2}"/>
                </a:ext>
              </a:extLst>
            </p:cNvPr>
            <p:cNvSpPr/>
            <p:nvPr/>
          </p:nvSpPr>
          <p:spPr>
            <a:xfrm>
              <a:off x="6008696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3" name="object 463">
              <a:extLst>
                <a:ext uri="{FF2B5EF4-FFF2-40B4-BE49-F238E27FC236}">
                  <a16:creationId xmlns:a16="http://schemas.microsoft.com/office/drawing/2014/main" id="{B3D92BE7-1836-FE28-BFF7-B564B20CBA65}"/>
                </a:ext>
              </a:extLst>
            </p:cNvPr>
            <p:cNvSpPr/>
            <p:nvPr/>
          </p:nvSpPr>
          <p:spPr>
            <a:xfrm>
              <a:off x="5833725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4" name="object 464">
              <a:extLst>
                <a:ext uri="{FF2B5EF4-FFF2-40B4-BE49-F238E27FC236}">
                  <a16:creationId xmlns:a16="http://schemas.microsoft.com/office/drawing/2014/main" id="{B95430D2-1ED4-A081-81FA-0662F5ABDCFB}"/>
                </a:ext>
              </a:extLst>
            </p:cNvPr>
            <p:cNvSpPr/>
            <p:nvPr/>
          </p:nvSpPr>
          <p:spPr>
            <a:xfrm>
              <a:off x="6008696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5" name="object 465">
              <a:extLst>
                <a:ext uri="{FF2B5EF4-FFF2-40B4-BE49-F238E27FC236}">
                  <a16:creationId xmlns:a16="http://schemas.microsoft.com/office/drawing/2014/main" id="{F8A63D56-6656-A5E6-A691-291577BF19F6}"/>
                </a:ext>
              </a:extLst>
            </p:cNvPr>
            <p:cNvSpPr/>
            <p:nvPr/>
          </p:nvSpPr>
          <p:spPr>
            <a:xfrm>
              <a:off x="5833725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66" name="object 466">
            <a:extLst>
              <a:ext uri="{FF2B5EF4-FFF2-40B4-BE49-F238E27FC236}">
                <a16:creationId xmlns:a16="http://schemas.microsoft.com/office/drawing/2014/main" id="{93A57BF0-6087-DEEE-910F-42DC835671FF}"/>
              </a:ext>
            </a:extLst>
          </p:cNvPr>
          <p:cNvGrpSpPr/>
          <p:nvPr/>
        </p:nvGrpSpPr>
        <p:grpSpPr>
          <a:xfrm>
            <a:off x="5833725" y="4146136"/>
            <a:ext cx="350371" cy="123517"/>
            <a:chOff x="5833725" y="4146136"/>
            <a:chExt cx="350371" cy="123517"/>
          </a:xfrm>
        </p:grpSpPr>
        <p:sp>
          <p:nvSpPr>
            <p:cNvPr id="467" name="object 467">
              <a:extLst>
                <a:ext uri="{FF2B5EF4-FFF2-40B4-BE49-F238E27FC236}">
                  <a16:creationId xmlns:a16="http://schemas.microsoft.com/office/drawing/2014/main" id="{218AD86F-65CC-CB73-9242-B0F799E585EA}"/>
                </a:ext>
              </a:extLst>
            </p:cNvPr>
            <p:cNvSpPr/>
            <p:nvPr/>
          </p:nvSpPr>
          <p:spPr>
            <a:xfrm>
              <a:off x="6113971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8" name="object 468">
              <a:extLst>
                <a:ext uri="{FF2B5EF4-FFF2-40B4-BE49-F238E27FC236}">
                  <a16:creationId xmlns:a16="http://schemas.microsoft.com/office/drawing/2014/main" id="{F70E4AF8-ED06-6F6C-C264-2634BB04BE72}"/>
                </a:ext>
              </a:extLst>
            </p:cNvPr>
            <p:cNvSpPr/>
            <p:nvPr/>
          </p:nvSpPr>
          <p:spPr>
            <a:xfrm>
              <a:off x="6148992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69" name="object 469">
              <a:extLst>
                <a:ext uri="{FF2B5EF4-FFF2-40B4-BE49-F238E27FC236}">
                  <a16:creationId xmlns:a16="http://schemas.microsoft.com/office/drawing/2014/main" id="{9AE55E53-B415-59A0-5AB1-135EFD722546}"/>
                </a:ext>
              </a:extLst>
            </p:cNvPr>
            <p:cNvSpPr/>
            <p:nvPr/>
          </p:nvSpPr>
          <p:spPr>
            <a:xfrm>
              <a:off x="6043927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0" name="object 470">
              <a:extLst>
                <a:ext uri="{FF2B5EF4-FFF2-40B4-BE49-F238E27FC236}">
                  <a16:creationId xmlns:a16="http://schemas.microsoft.com/office/drawing/2014/main" id="{0EA53980-B9B5-37AB-346E-6B972CBA0E13}"/>
                </a:ext>
              </a:extLst>
            </p:cNvPr>
            <p:cNvSpPr/>
            <p:nvPr/>
          </p:nvSpPr>
          <p:spPr>
            <a:xfrm>
              <a:off x="5938863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1" name="object 471">
              <a:extLst>
                <a:ext uri="{FF2B5EF4-FFF2-40B4-BE49-F238E27FC236}">
                  <a16:creationId xmlns:a16="http://schemas.microsoft.com/office/drawing/2014/main" id="{7D09E877-AD52-7B57-98F4-71E6C7546E52}"/>
                </a:ext>
              </a:extLst>
            </p:cNvPr>
            <p:cNvSpPr/>
            <p:nvPr/>
          </p:nvSpPr>
          <p:spPr>
            <a:xfrm>
              <a:off x="5973958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2" name="object 472">
              <a:extLst>
                <a:ext uri="{FF2B5EF4-FFF2-40B4-BE49-F238E27FC236}">
                  <a16:creationId xmlns:a16="http://schemas.microsoft.com/office/drawing/2014/main" id="{91E733BA-2E0B-F742-82A3-63376E225E80}"/>
                </a:ext>
              </a:extLst>
            </p:cNvPr>
            <p:cNvSpPr/>
            <p:nvPr/>
          </p:nvSpPr>
          <p:spPr>
            <a:xfrm>
              <a:off x="5868820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3" name="object 473">
              <a:extLst>
                <a:ext uri="{FF2B5EF4-FFF2-40B4-BE49-F238E27FC236}">
                  <a16:creationId xmlns:a16="http://schemas.microsoft.com/office/drawing/2014/main" id="{BCF33E52-1DC1-8D40-CCE8-408AE6FD9C51}"/>
                </a:ext>
              </a:extLst>
            </p:cNvPr>
            <p:cNvSpPr/>
            <p:nvPr/>
          </p:nvSpPr>
          <p:spPr>
            <a:xfrm>
              <a:off x="6078949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4" name="object 474">
              <a:extLst>
                <a:ext uri="{FF2B5EF4-FFF2-40B4-BE49-F238E27FC236}">
                  <a16:creationId xmlns:a16="http://schemas.microsoft.com/office/drawing/2014/main" id="{4E8907D6-442D-EC40-D101-BA85F80DE770}"/>
                </a:ext>
              </a:extLst>
            </p:cNvPr>
            <p:cNvSpPr/>
            <p:nvPr/>
          </p:nvSpPr>
          <p:spPr>
            <a:xfrm>
              <a:off x="5903841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5" name="object 475">
              <a:extLst>
                <a:ext uri="{FF2B5EF4-FFF2-40B4-BE49-F238E27FC236}">
                  <a16:creationId xmlns:a16="http://schemas.microsoft.com/office/drawing/2014/main" id="{FE98436C-E064-DC74-31AA-CE5F7D497FBD}"/>
                </a:ext>
              </a:extLst>
            </p:cNvPr>
            <p:cNvSpPr/>
            <p:nvPr/>
          </p:nvSpPr>
          <p:spPr>
            <a:xfrm>
              <a:off x="6184014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6" name="object 476">
              <a:extLst>
                <a:ext uri="{FF2B5EF4-FFF2-40B4-BE49-F238E27FC236}">
                  <a16:creationId xmlns:a16="http://schemas.microsoft.com/office/drawing/2014/main" id="{7082E12B-E484-8512-B98F-5C81A29F3CE7}"/>
                </a:ext>
              </a:extLst>
            </p:cNvPr>
            <p:cNvSpPr/>
            <p:nvPr/>
          </p:nvSpPr>
          <p:spPr>
            <a:xfrm>
              <a:off x="6009043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7" name="object 477">
              <a:extLst>
                <a:ext uri="{FF2B5EF4-FFF2-40B4-BE49-F238E27FC236}">
                  <a16:creationId xmlns:a16="http://schemas.microsoft.com/office/drawing/2014/main" id="{5D490503-2F48-B13D-88B7-C9F1D06CD589}"/>
                </a:ext>
              </a:extLst>
            </p:cNvPr>
            <p:cNvSpPr/>
            <p:nvPr/>
          </p:nvSpPr>
          <p:spPr>
            <a:xfrm>
              <a:off x="5834073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8" name="object 478">
              <a:extLst>
                <a:ext uri="{FF2B5EF4-FFF2-40B4-BE49-F238E27FC236}">
                  <a16:creationId xmlns:a16="http://schemas.microsoft.com/office/drawing/2014/main" id="{CCE58B66-C3D8-889B-FD62-1FC6A67B02A6}"/>
                </a:ext>
              </a:extLst>
            </p:cNvPr>
            <p:cNvSpPr/>
            <p:nvPr/>
          </p:nvSpPr>
          <p:spPr>
            <a:xfrm>
              <a:off x="5834073" y="417163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79" name="object 479">
              <a:extLst>
                <a:ext uri="{FF2B5EF4-FFF2-40B4-BE49-F238E27FC236}">
                  <a16:creationId xmlns:a16="http://schemas.microsoft.com/office/drawing/2014/main" id="{EFCC3E4F-54E6-86B3-289B-1424C339AC30}"/>
                </a:ext>
              </a:extLst>
            </p:cNvPr>
            <p:cNvSpPr/>
            <p:nvPr/>
          </p:nvSpPr>
          <p:spPr>
            <a:xfrm>
              <a:off x="5834192" y="4146136"/>
              <a:ext cx="2425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0004"/>
                <a:gd name="f4" fmla="val 84454"/>
                <a:gd name="f5" fmla="val 39716"/>
                <a:gd name="f6" fmla="val 84123"/>
                <a:gd name="f7" fmla="*/ f0 1 40004"/>
                <a:gd name="f8" fmla="*/ f1 1 84454"/>
                <a:gd name="f9" fmla="+- f4 0 f2"/>
                <a:gd name="f10" fmla="+- f3 0 f2"/>
                <a:gd name="f11" fmla="*/ f10 1 400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00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0" name="object 480">
              <a:extLst>
                <a:ext uri="{FF2B5EF4-FFF2-40B4-BE49-F238E27FC236}">
                  <a16:creationId xmlns:a16="http://schemas.microsoft.com/office/drawing/2014/main" id="{0B390083-E956-10DB-CD81-F2C42FD227E7}"/>
                </a:ext>
              </a:extLst>
            </p:cNvPr>
            <p:cNvSpPr/>
            <p:nvPr/>
          </p:nvSpPr>
          <p:spPr>
            <a:xfrm>
              <a:off x="5834192" y="4218438"/>
              <a:ext cx="26223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2434"/>
                <a:gd name="f4" fmla="val 84454"/>
                <a:gd name="f5" fmla="val 431892"/>
                <a:gd name="f6" fmla="val 84123"/>
                <a:gd name="f7" fmla="*/ f0 1 432434"/>
                <a:gd name="f8" fmla="*/ f1 1 84454"/>
                <a:gd name="f9" fmla="+- f4 0 f2"/>
                <a:gd name="f10" fmla="+- f3 0 f2"/>
                <a:gd name="f11" fmla="*/ f10 1 4324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24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1" name="object 481">
              <a:extLst>
                <a:ext uri="{FF2B5EF4-FFF2-40B4-BE49-F238E27FC236}">
                  <a16:creationId xmlns:a16="http://schemas.microsoft.com/office/drawing/2014/main" id="{13C3040B-D519-A74E-FC22-A21094E15417}"/>
                </a:ext>
              </a:extLst>
            </p:cNvPr>
            <p:cNvSpPr/>
            <p:nvPr/>
          </p:nvSpPr>
          <p:spPr>
            <a:xfrm>
              <a:off x="6113623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2" name="object 482">
              <a:extLst>
                <a:ext uri="{FF2B5EF4-FFF2-40B4-BE49-F238E27FC236}">
                  <a16:creationId xmlns:a16="http://schemas.microsoft.com/office/drawing/2014/main" id="{5B00053A-0347-1B56-9DD2-B833829A111B}"/>
                </a:ext>
              </a:extLst>
            </p:cNvPr>
            <p:cNvSpPr/>
            <p:nvPr/>
          </p:nvSpPr>
          <p:spPr>
            <a:xfrm>
              <a:off x="6148645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3" name="object 483">
              <a:extLst>
                <a:ext uri="{FF2B5EF4-FFF2-40B4-BE49-F238E27FC236}">
                  <a16:creationId xmlns:a16="http://schemas.microsoft.com/office/drawing/2014/main" id="{F6EAB66B-601D-06E0-E2D4-895C28B30548}"/>
                </a:ext>
              </a:extLst>
            </p:cNvPr>
            <p:cNvSpPr/>
            <p:nvPr/>
          </p:nvSpPr>
          <p:spPr>
            <a:xfrm>
              <a:off x="604358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4" name="object 484">
              <a:extLst>
                <a:ext uri="{FF2B5EF4-FFF2-40B4-BE49-F238E27FC236}">
                  <a16:creationId xmlns:a16="http://schemas.microsoft.com/office/drawing/2014/main" id="{B3A13C1B-7D3B-889E-67C3-D8416AB960AA}"/>
                </a:ext>
              </a:extLst>
            </p:cNvPr>
            <p:cNvSpPr/>
            <p:nvPr/>
          </p:nvSpPr>
          <p:spPr>
            <a:xfrm>
              <a:off x="5938515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5" name="object 485">
              <a:extLst>
                <a:ext uri="{FF2B5EF4-FFF2-40B4-BE49-F238E27FC236}">
                  <a16:creationId xmlns:a16="http://schemas.microsoft.com/office/drawing/2014/main" id="{DBABF83F-498F-E726-8C0F-1EEB36246C3E}"/>
                </a:ext>
              </a:extLst>
            </p:cNvPr>
            <p:cNvSpPr/>
            <p:nvPr/>
          </p:nvSpPr>
          <p:spPr>
            <a:xfrm>
              <a:off x="597361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6" name="object 486">
              <a:extLst>
                <a:ext uri="{FF2B5EF4-FFF2-40B4-BE49-F238E27FC236}">
                  <a16:creationId xmlns:a16="http://schemas.microsoft.com/office/drawing/2014/main" id="{4B2532B0-B580-A53E-E00A-34C84903314F}"/>
                </a:ext>
              </a:extLst>
            </p:cNvPr>
            <p:cNvSpPr/>
            <p:nvPr/>
          </p:nvSpPr>
          <p:spPr>
            <a:xfrm>
              <a:off x="5868472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7" name="object 487">
              <a:extLst>
                <a:ext uri="{FF2B5EF4-FFF2-40B4-BE49-F238E27FC236}">
                  <a16:creationId xmlns:a16="http://schemas.microsoft.com/office/drawing/2014/main" id="{EF00FDAE-C33B-5965-C3E4-955B71CEC4E2}"/>
                </a:ext>
              </a:extLst>
            </p:cNvPr>
            <p:cNvSpPr/>
            <p:nvPr/>
          </p:nvSpPr>
          <p:spPr>
            <a:xfrm>
              <a:off x="6078602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8" name="object 488">
              <a:extLst>
                <a:ext uri="{FF2B5EF4-FFF2-40B4-BE49-F238E27FC236}">
                  <a16:creationId xmlns:a16="http://schemas.microsoft.com/office/drawing/2014/main" id="{812260EE-883B-F458-25F7-A5F4A0C737B6}"/>
                </a:ext>
              </a:extLst>
            </p:cNvPr>
            <p:cNvSpPr/>
            <p:nvPr/>
          </p:nvSpPr>
          <p:spPr>
            <a:xfrm>
              <a:off x="5903494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89" name="object 489">
              <a:extLst>
                <a:ext uri="{FF2B5EF4-FFF2-40B4-BE49-F238E27FC236}">
                  <a16:creationId xmlns:a16="http://schemas.microsoft.com/office/drawing/2014/main" id="{B2B5AFD5-E773-0DE5-5D2C-03F64DA70BB1}"/>
                </a:ext>
              </a:extLst>
            </p:cNvPr>
            <p:cNvSpPr/>
            <p:nvPr/>
          </p:nvSpPr>
          <p:spPr>
            <a:xfrm>
              <a:off x="6183666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0" name="object 490">
              <a:extLst>
                <a:ext uri="{FF2B5EF4-FFF2-40B4-BE49-F238E27FC236}">
                  <a16:creationId xmlns:a16="http://schemas.microsoft.com/office/drawing/2014/main" id="{E5C24022-2B63-C220-5157-197794266914}"/>
                </a:ext>
              </a:extLst>
            </p:cNvPr>
            <p:cNvSpPr/>
            <p:nvPr/>
          </p:nvSpPr>
          <p:spPr>
            <a:xfrm>
              <a:off x="6008696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1" name="object 491">
              <a:extLst>
                <a:ext uri="{FF2B5EF4-FFF2-40B4-BE49-F238E27FC236}">
                  <a16:creationId xmlns:a16="http://schemas.microsoft.com/office/drawing/2014/main" id="{6161C7C3-59B7-17F5-6CF5-6A70DADFF103}"/>
                </a:ext>
              </a:extLst>
            </p:cNvPr>
            <p:cNvSpPr/>
            <p:nvPr/>
          </p:nvSpPr>
          <p:spPr>
            <a:xfrm>
              <a:off x="5833725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2" name="object 492">
              <a:extLst>
                <a:ext uri="{FF2B5EF4-FFF2-40B4-BE49-F238E27FC236}">
                  <a16:creationId xmlns:a16="http://schemas.microsoft.com/office/drawing/2014/main" id="{54DB1772-C1F2-6037-2F5C-F27D53271A7A}"/>
                </a:ext>
              </a:extLst>
            </p:cNvPr>
            <p:cNvSpPr/>
            <p:nvPr/>
          </p:nvSpPr>
          <p:spPr>
            <a:xfrm>
              <a:off x="6008696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3" name="object 493">
              <a:extLst>
                <a:ext uri="{FF2B5EF4-FFF2-40B4-BE49-F238E27FC236}">
                  <a16:creationId xmlns:a16="http://schemas.microsoft.com/office/drawing/2014/main" id="{B8C1D2F3-9019-E34D-F6C2-116397F11F70}"/>
                </a:ext>
              </a:extLst>
            </p:cNvPr>
            <p:cNvSpPr/>
            <p:nvPr/>
          </p:nvSpPr>
          <p:spPr>
            <a:xfrm>
              <a:off x="5833725" y="42439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494" name="object 494">
            <a:extLst>
              <a:ext uri="{FF2B5EF4-FFF2-40B4-BE49-F238E27FC236}">
                <a16:creationId xmlns:a16="http://schemas.microsoft.com/office/drawing/2014/main" id="{EFF9E748-1BF2-86A8-AC12-1520DF54F96B}"/>
              </a:ext>
            </a:extLst>
          </p:cNvPr>
          <p:cNvGrpSpPr/>
          <p:nvPr/>
        </p:nvGrpSpPr>
        <p:grpSpPr>
          <a:xfrm>
            <a:off x="5833725" y="4906670"/>
            <a:ext cx="350371" cy="123507"/>
            <a:chOff x="5833725" y="4906670"/>
            <a:chExt cx="350371" cy="123507"/>
          </a:xfrm>
        </p:grpSpPr>
        <p:sp>
          <p:nvSpPr>
            <p:cNvPr id="495" name="object 495">
              <a:extLst>
                <a:ext uri="{FF2B5EF4-FFF2-40B4-BE49-F238E27FC236}">
                  <a16:creationId xmlns:a16="http://schemas.microsoft.com/office/drawing/2014/main" id="{EA7094B3-662D-CB1C-E846-2EC9A420F39F}"/>
                </a:ext>
              </a:extLst>
            </p:cNvPr>
            <p:cNvSpPr/>
            <p:nvPr/>
          </p:nvSpPr>
          <p:spPr>
            <a:xfrm>
              <a:off x="6113971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6" name="object 496">
              <a:extLst>
                <a:ext uri="{FF2B5EF4-FFF2-40B4-BE49-F238E27FC236}">
                  <a16:creationId xmlns:a16="http://schemas.microsoft.com/office/drawing/2014/main" id="{CA9741BA-B263-8EF8-60B5-42A88CC08A18}"/>
                </a:ext>
              </a:extLst>
            </p:cNvPr>
            <p:cNvSpPr/>
            <p:nvPr/>
          </p:nvSpPr>
          <p:spPr>
            <a:xfrm>
              <a:off x="6148992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7" name="object 497">
              <a:extLst>
                <a:ext uri="{FF2B5EF4-FFF2-40B4-BE49-F238E27FC236}">
                  <a16:creationId xmlns:a16="http://schemas.microsoft.com/office/drawing/2014/main" id="{01037858-A284-0D13-7FFB-165328A2C029}"/>
                </a:ext>
              </a:extLst>
            </p:cNvPr>
            <p:cNvSpPr/>
            <p:nvPr/>
          </p:nvSpPr>
          <p:spPr>
            <a:xfrm>
              <a:off x="604392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8" name="object 498">
              <a:extLst>
                <a:ext uri="{FF2B5EF4-FFF2-40B4-BE49-F238E27FC236}">
                  <a16:creationId xmlns:a16="http://schemas.microsoft.com/office/drawing/2014/main" id="{584A1DC0-645F-1CBF-89F1-D3463820B1C7}"/>
                </a:ext>
              </a:extLst>
            </p:cNvPr>
            <p:cNvSpPr/>
            <p:nvPr/>
          </p:nvSpPr>
          <p:spPr>
            <a:xfrm>
              <a:off x="5938863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99" name="object 499">
              <a:extLst>
                <a:ext uri="{FF2B5EF4-FFF2-40B4-BE49-F238E27FC236}">
                  <a16:creationId xmlns:a16="http://schemas.microsoft.com/office/drawing/2014/main" id="{7112D41B-C483-5B54-1985-7B602DE055E8}"/>
                </a:ext>
              </a:extLst>
            </p:cNvPr>
            <p:cNvSpPr/>
            <p:nvPr/>
          </p:nvSpPr>
          <p:spPr>
            <a:xfrm>
              <a:off x="5973958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0" name="object 500">
              <a:extLst>
                <a:ext uri="{FF2B5EF4-FFF2-40B4-BE49-F238E27FC236}">
                  <a16:creationId xmlns:a16="http://schemas.microsoft.com/office/drawing/2014/main" id="{63A4648D-9239-CEF5-20B5-4798A4CF0FF9}"/>
                </a:ext>
              </a:extLst>
            </p:cNvPr>
            <p:cNvSpPr/>
            <p:nvPr/>
          </p:nvSpPr>
          <p:spPr>
            <a:xfrm>
              <a:off x="5868820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1" name="object 501">
              <a:extLst>
                <a:ext uri="{FF2B5EF4-FFF2-40B4-BE49-F238E27FC236}">
                  <a16:creationId xmlns:a16="http://schemas.microsoft.com/office/drawing/2014/main" id="{50F1A04A-5684-457E-6C17-E3B4BE6CDE8B}"/>
                </a:ext>
              </a:extLst>
            </p:cNvPr>
            <p:cNvSpPr/>
            <p:nvPr/>
          </p:nvSpPr>
          <p:spPr>
            <a:xfrm>
              <a:off x="6078949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2" name="object 502">
              <a:extLst>
                <a:ext uri="{FF2B5EF4-FFF2-40B4-BE49-F238E27FC236}">
                  <a16:creationId xmlns:a16="http://schemas.microsoft.com/office/drawing/2014/main" id="{586C494A-1E09-F4D3-681C-33F16A5A9251}"/>
                </a:ext>
              </a:extLst>
            </p:cNvPr>
            <p:cNvSpPr/>
            <p:nvPr/>
          </p:nvSpPr>
          <p:spPr>
            <a:xfrm>
              <a:off x="5903841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3" name="object 503">
              <a:extLst>
                <a:ext uri="{FF2B5EF4-FFF2-40B4-BE49-F238E27FC236}">
                  <a16:creationId xmlns:a16="http://schemas.microsoft.com/office/drawing/2014/main" id="{BEC8C45C-79C3-8A9A-62B4-27B548A14F7B}"/>
                </a:ext>
              </a:extLst>
            </p:cNvPr>
            <p:cNvSpPr/>
            <p:nvPr/>
          </p:nvSpPr>
          <p:spPr>
            <a:xfrm>
              <a:off x="6184014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4" name="object 504">
              <a:extLst>
                <a:ext uri="{FF2B5EF4-FFF2-40B4-BE49-F238E27FC236}">
                  <a16:creationId xmlns:a16="http://schemas.microsoft.com/office/drawing/2014/main" id="{81C40C57-9564-0525-AA12-85472A442DD8}"/>
                </a:ext>
              </a:extLst>
            </p:cNvPr>
            <p:cNvSpPr/>
            <p:nvPr/>
          </p:nvSpPr>
          <p:spPr>
            <a:xfrm>
              <a:off x="6009043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5" name="object 505">
              <a:extLst>
                <a:ext uri="{FF2B5EF4-FFF2-40B4-BE49-F238E27FC236}">
                  <a16:creationId xmlns:a16="http://schemas.microsoft.com/office/drawing/2014/main" id="{EBF89D15-41FD-DBCD-9427-434E61D86F5D}"/>
                </a:ext>
              </a:extLst>
            </p:cNvPr>
            <p:cNvSpPr/>
            <p:nvPr/>
          </p:nvSpPr>
          <p:spPr>
            <a:xfrm>
              <a:off x="5834073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6" name="object 506">
              <a:extLst>
                <a:ext uri="{FF2B5EF4-FFF2-40B4-BE49-F238E27FC236}">
                  <a16:creationId xmlns:a16="http://schemas.microsoft.com/office/drawing/2014/main" id="{05A2BC39-526F-8DB3-CF6B-0571F46DB6D3}"/>
                </a:ext>
              </a:extLst>
            </p:cNvPr>
            <p:cNvSpPr/>
            <p:nvPr/>
          </p:nvSpPr>
          <p:spPr>
            <a:xfrm>
              <a:off x="5834073" y="49321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7" name="object 507">
              <a:extLst>
                <a:ext uri="{FF2B5EF4-FFF2-40B4-BE49-F238E27FC236}">
                  <a16:creationId xmlns:a16="http://schemas.microsoft.com/office/drawing/2014/main" id="{8C2DD65F-34BA-1E9E-4EE9-D54E80EAB637}"/>
                </a:ext>
              </a:extLst>
            </p:cNvPr>
            <p:cNvSpPr/>
            <p:nvPr/>
          </p:nvSpPr>
          <p:spPr>
            <a:xfrm>
              <a:off x="5834192" y="4906670"/>
              <a:ext cx="18598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6704"/>
                <a:gd name="f4" fmla="val 84454"/>
                <a:gd name="f5" fmla="val 306545"/>
                <a:gd name="f6" fmla="val 84133"/>
                <a:gd name="f7" fmla="*/ f0 1 306704"/>
                <a:gd name="f8" fmla="*/ f1 1 84454"/>
                <a:gd name="f9" fmla="+- f4 0 f2"/>
                <a:gd name="f10" fmla="+- f3 0 f2"/>
                <a:gd name="f11" fmla="*/ f10 1 3067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67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8" name="object 508">
              <a:extLst>
                <a:ext uri="{FF2B5EF4-FFF2-40B4-BE49-F238E27FC236}">
                  <a16:creationId xmlns:a16="http://schemas.microsoft.com/office/drawing/2014/main" id="{0B538F09-DC5C-0175-ADDF-C09EA2FB80AD}"/>
                </a:ext>
              </a:extLst>
            </p:cNvPr>
            <p:cNvSpPr/>
            <p:nvPr/>
          </p:nvSpPr>
          <p:spPr>
            <a:xfrm>
              <a:off x="5834192" y="4978962"/>
              <a:ext cx="20100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1470"/>
                <a:gd name="f4" fmla="val 84454"/>
                <a:gd name="f5" fmla="val 331047"/>
                <a:gd name="f6" fmla="val 84133"/>
                <a:gd name="f7" fmla="*/ f0 1 331470"/>
                <a:gd name="f8" fmla="*/ f1 1 84454"/>
                <a:gd name="f9" fmla="+- f4 0 f2"/>
                <a:gd name="f10" fmla="+- f3 0 f2"/>
                <a:gd name="f11" fmla="*/ f10 1 33147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3147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09" name="object 509">
              <a:extLst>
                <a:ext uri="{FF2B5EF4-FFF2-40B4-BE49-F238E27FC236}">
                  <a16:creationId xmlns:a16="http://schemas.microsoft.com/office/drawing/2014/main" id="{F1CC5F06-41F8-DDC0-C078-8D13F3D97030}"/>
                </a:ext>
              </a:extLst>
            </p:cNvPr>
            <p:cNvSpPr/>
            <p:nvPr/>
          </p:nvSpPr>
          <p:spPr>
            <a:xfrm>
              <a:off x="6113623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0" name="object 510">
              <a:extLst>
                <a:ext uri="{FF2B5EF4-FFF2-40B4-BE49-F238E27FC236}">
                  <a16:creationId xmlns:a16="http://schemas.microsoft.com/office/drawing/2014/main" id="{5337FFD3-DAF1-58A8-A211-5F8585B8562C}"/>
                </a:ext>
              </a:extLst>
            </p:cNvPr>
            <p:cNvSpPr/>
            <p:nvPr/>
          </p:nvSpPr>
          <p:spPr>
            <a:xfrm>
              <a:off x="614864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1" name="object 511">
              <a:extLst>
                <a:ext uri="{FF2B5EF4-FFF2-40B4-BE49-F238E27FC236}">
                  <a16:creationId xmlns:a16="http://schemas.microsoft.com/office/drawing/2014/main" id="{4BB1D6E3-CBFE-904B-07C9-8CD5CF89CBA7}"/>
                </a:ext>
              </a:extLst>
            </p:cNvPr>
            <p:cNvSpPr/>
            <p:nvPr/>
          </p:nvSpPr>
          <p:spPr>
            <a:xfrm>
              <a:off x="604358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2" name="object 512">
              <a:extLst>
                <a:ext uri="{FF2B5EF4-FFF2-40B4-BE49-F238E27FC236}">
                  <a16:creationId xmlns:a16="http://schemas.microsoft.com/office/drawing/2014/main" id="{17963312-C508-2A2A-B796-A2ADA010598C}"/>
                </a:ext>
              </a:extLst>
            </p:cNvPr>
            <p:cNvSpPr/>
            <p:nvPr/>
          </p:nvSpPr>
          <p:spPr>
            <a:xfrm>
              <a:off x="5938515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3" name="object 513">
              <a:extLst>
                <a:ext uri="{FF2B5EF4-FFF2-40B4-BE49-F238E27FC236}">
                  <a16:creationId xmlns:a16="http://schemas.microsoft.com/office/drawing/2014/main" id="{5AC0C759-4BA4-D8FF-DFF0-C7643F23B118}"/>
                </a:ext>
              </a:extLst>
            </p:cNvPr>
            <p:cNvSpPr/>
            <p:nvPr/>
          </p:nvSpPr>
          <p:spPr>
            <a:xfrm>
              <a:off x="597361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4" name="object 514">
              <a:extLst>
                <a:ext uri="{FF2B5EF4-FFF2-40B4-BE49-F238E27FC236}">
                  <a16:creationId xmlns:a16="http://schemas.microsoft.com/office/drawing/2014/main" id="{19D27CF0-2F84-1381-A1CB-CA5F5A7B0C03}"/>
                </a:ext>
              </a:extLst>
            </p:cNvPr>
            <p:cNvSpPr/>
            <p:nvPr/>
          </p:nvSpPr>
          <p:spPr>
            <a:xfrm>
              <a:off x="5868472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5" name="object 515">
              <a:extLst>
                <a:ext uri="{FF2B5EF4-FFF2-40B4-BE49-F238E27FC236}">
                  <a16:creationId xmlns:a16="http://schemas.microsoft.com/office/drawing/2014/main" id="{B05C8091-540C-BBDF-C780-2D66C2BF4DB9}"/>
                </a:ext>
              </a:extLst>
            </p:cNvPr>
            <p:cNvSpPr/>
            <p:nvPr/>
          </p:nvSpPr>
          <p:spPr>
            <a:xfrm>
              <a:off x="6078602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6" name="object 516">
              <a:extLst>
                <a:ext uri="{FF2B5EF4-FFF2-40B4-BE49-F238E27FC236}">
                  <a16:creationId xmlns:a16="http://schemas.microsoft.com/office/drawing/2014/main" id="{03301344-4005-91D7-0C3B-CA4E99896276}"/>
                </a:ext>
              </a:extLst>
            </p:cNvPr>
            <p:cNvSpPr/>
            <p:nvPr/>
          </p:nvSpPr>
          <p:spPr>
            <a:xfrm>
              <a:off x="5903494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7" name="object 517">
              <a:extLst>
                <a:ext uri="{FF2B5EF4-FFF2-40B4-BE49-F238E27FC236}">
                  <a16:creationId xmlns:a16="http://schemas.microsoft.com/office/drawing/2014/main" id="{3C87E319-5958-1C5F-E198-2D5678C84709}"/>
                </a:ext>
              </a:extLst>
            </p:cNvPr>
            <p:cNvSpPr/>
            <p:nvPr/>
          </p:nvSpPr>
          <p:spPr>
            <a:xfrm>
              <a:off x="6183666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8" name="object 518">
              <a:extLst>
                <a:ext uri="{FF2B5EF4-FFF2-40B4-BE49-F238E27FC236}">
                  <a16:creationId xmlns:a16="http://schemas.microsoft.com/office/drawing/2014/main" id="{8A8B8815-6504-5816-FF3A-68EAAA37BD34}"/>
                </a:ext>
              </a:extLst>
            </p:cNvPr>
            <p:cNvSpPr/>
            <p:nvPr/>
          </p:nvSpPr>
          <p:spPr>
            <a:xfrm>
              <a:off x="6008696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19" name="object 519">
              <a:extLst>
                <a:ext uri="{FF2B5EF4-FFF2-40B4-BE49-F238E27FC236}">
                  <a16:creationId xmlns:a16="http://schemas.microsoft.com/office/drawing/2014/main" id="{0A7E4EAB-CFC1-6189-E65B-B607F688DBE9}"/>
                </a:ext>
              </a:extLst>
            </p:cNvPr>
            <p:cNvSpPr/>
            <p:nvPr/>
          </p:nvSpPr>
          <p:spPr>
            <a:xfrm>
              <a:off x="5833725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0" name="object 520">
              <a:extLst>
                <a:ext uri="{FF2B5EF4-FFF2-40B4-BE49-F238E27FC236}">
                  <a16:creationId xmlns:a16="http://schemas.microsoft.com/office/drawing/2014/main" id="{03EBAD75-9C90-7572-515B-99BE39C4C59A}"/>
                </a:ext>
              </a:extLst>
            </p:cNvPr>
            <p:cNvSpPr/>
            <p:nvPr/>
          </p:nvSpPr>
          <p:spPr>
            <a:xfrm>
              <a:off x="6008696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1" name="object 521">
              <a:extLst>
                <a:ext uri="{FF2B5EF4-FFF2-40B4-BE49-F238E27FC236}">
                  <a16:creationId xmlns:a16="http://schemas.microsoft.com/office/drawing/2014/main" id="{A2C6E6D7-34A8-6DA1-E51A-3B3B789BECA1}"/>
                </a:ext>
              </a:extLst>
            </p:cNvPr>
            <p:cNvSpPr/>
            <p:nvPr/>
          </p:nvSpPr>
          <p:spPr>
            <a:xfrm>
              <a:off x="5833725" y="50044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22" name="object 522">
            <a:extLst>
              <a:ext uri="{FF2B5EF4-FFF2-40B4-BE49-F238E27FC236}">
                <a16:creationId xmlns:a16="http://schemas.microsoft.com/office/drawing/2014/main" id="{3BBE3DD0-A97B-FFBD-345E-43601A41EA81}"/>
              </a:ext>
            </a:extLst>
          </p:cNvPr>
          <p:cNvGrpSpPr/>
          <p:nvPr/>
        </p:nvGrpSpPr>
        <p:grpSpPr>
          <a:xfrm>
            <a:off x="5833725" y="5668868"/>
            <a:ext cx="350371" cy="123507"/>
            <a:chOff x="5833725" y="5668868"/>
            <a:chExt cx="350371" cy="123507"/>
          </a:xfrm>
        </p:grpSpPr>
        <p:sp>
          <p:nvSpPr>
            <p:cNvPr id="523" name="object 523">
              <a:extLst>
                <a:ext uri="{FF2B5EF4-FFF2-40B4-BE49-F238E27FC236}">
                  <a16:creationId xmlns:a16="http://schemas.microsoft.com/office/drawing/2014/main" id="{3172BACA-F2B8-B559-21F4-70EACF21FF4F}"/>
                </a:ext>
              </a:extLst>
            </p:cNvPr>
            <p:cNvSpPr/>
            <p:nvPr/>
          </p:nvSpPr>
          <p:spPr>
            <a:xfrm>
              <a:off x="6113971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4" name="object 524">
              <a:extLst>
                <a:ext uri="{FF2B5EF4-FFF2-40B4-BE49-F238E27FC236}">
                  <a16:creationId xmlns:a16="http://schemas.microsoft.com/office/drawing/2014/main" id="{20456B59-5C62-ADAC-FBDB-E731FDE00775}"/>
                </a:ext>
              </a:extLst>
            </p:cNvPr>
            <p:cNvSpPr/>
            <p:nvPr/>
          </p:nvSpPr>
          <p:spPr>
            <a:xfrm>
              <a:off x="6148992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5" name="object 525">
              <a:extLst>
                <a:ext uri="{FF2B5EF4-FFF2-40B4-BE49-F238E27FC236}">
                  <a16:creationId xmlns:a16="http://schemas.microsoft.com/office/drawing/2014/main" id="{9293FBE2-5856-228E-C1E4-D1E992B3D2A8}"/>
                </a:ext>
              </a:extLst>
            </p:cNvPr>
            <p:cNvSpPr/>
            <p:nvPr/>
          </p:nvSpPr>
          <p:spPr>
            <a:xfrm>
              <a:off x="6043927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6" name="object 526">
              <a:extLst>
                <a:ext uri="{FF2B5EF4-FFF2-40B4-BE49-F238E27FC236}">
                  <a16:creationId xmlns:a16="http://schemas.microsoft.com/office/drawing/2014/main" id="{19614166-33A3-0634-3047-0C76CD0C500C}"/>
                </a:ext>
              </a:extLst>
            </p:cNvPr>
            <p:cNvSpPr/>
            <p:nvPr/>
          </p:nvSpPr>
          <p:spPr>
            <a:xfrm>
              <a:off x="5938863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7" name="object 527">
              <a:extLst>
                <a:ext uri="{FF2B5EF4-FFF2-40B4-BE49-F238E27FC236}">
                  <a16:creationId xmlns:a16="http://schemas.microsoft.com/office/drawing/2014/main" id="{C1C31653-332A-6905-ED12-481BABFA8526}"/>
                </a:ext>
              </a:extLst>
            </p:cNvPr>
            <p:cNvSpPr/>
            <p:nvPr/>
          </p:nvSpPr>
          <p:spPr>
            <a:xfrm>
              <a:off x="5973958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8" name="object 528">
              <a:extLst>
                <a:ext uri="{FF2B5EF4-FFF2-40B4-BE49-F238E27FC236}">
                  <a16:creationId xmlns:a16="http://schemas.microsoft.com/office/drawing/2014/main" id="{E2B913AE-AB3A-B6E2-50A6-A950213C5BA9}"/>
                </a:ext>
              </a:extLst>
            </p:cNvPr>
            <p:cNvSpPr/>
            <p:nvPr/>
          </p:nvSpPr>
          <p:spPr>
            <a:xfrm>
              <a:off x="5868820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29" name="object 529">
              <a:extLst>
                <a:ext uri="{FF2B5EF4-FFF2-40B4-BE49-F238E27FC236}">
                  <a16:creationId xmlns:a16="http://schemas.microsoft.com/office/drawing/2014/main" id="{CD6D6116-08CD-3156-B602-1AA208D95078}"/>
                </a:ext>
              </a:extLst>
            </p:cNvPr>
            <p:cNvSpPr/>
            <p:nvPr/>
          </p:nvSpPr>
          <p:spPr>
            <a:xfrm>
              <a:off x="6078949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0" name="object 530">
              <a:extLst>
                <a:ext uri="{FF2B5EF4-FFF2-40B4-BE49-F238E27FC236}">
                  <a16:creationId xmlns:a16="http://schemas.microsoft.com/office/drawing/2014/main" id="{5B90F52F-8C59-A387-E1D6-11BEE3FE852F}"/>
                </a:ext>
              </a:extLst>
            </p:cNvPr>
            <p:cNvSpPr/>
            <p:nvPr/>
          </p:nvSpPr>
          <p:spPr>
            <a:xfrm>
              <a:off x="5903841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1" name="object 531">
              <a:extLst>
                <a:ext uri="{FF2B5EF4-FFF2-40B4-BE49-F238E27FC236}">
                  <a16:creationId xmlns:a16="http://schemas.microsoft.com/office/drawing/2014/main" id="{D4D1E048-3725-50B4-339B-DA6034D362B1}"/>
                </a:ext>
              </a:extLst>
            </p:cNvPr>
            <p:cNvSpPr/>
            <p:nvPr/>
          </p:nvSpPr>
          <p:spPr>
            <a:xfrm>
              <a:off x="6184014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2" name="object 532">
              <a:extLst>
                <a:ext uri="{FF2B5EF4-FFF2-40B4-BE49-F238E27FC236}">
                  <a16:creationId xmlns:a16="http://schemas.microsoft.com/office/drawing/2014/main" id="{4A09EB38-62E4-9384-0863-B4320636AD99}"/>
                </a:ext>
              </a:extLst>
            </p:cNvPr>
            <p:cNvSpPr/>
            <p:nvPr/>
          </p:nvSpPr>
          <p:spPr>
            <a:xfrm>
              <a:off x="6009043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3" name="object 533">
              <a:extLst>
                <a:ext uri="{FF2B5EF4-FFF2-40B4-BE49-F238E27FC236}">
                  <a16:creationId xmlns:a16="http://schemas.microsoft.com/office/drawing/2014/main" id="{7742F0B8-231B-CB92-A040-8405EBE9F98A}"/>
                </a:ext>
              </a:extLst>
            </p:cNvPr>
            <p:cNvSpPr/>
            <p:nvPr/>
          </p:nvSpPr>
          <p:spPr>
            <a:xfrm>
              <a:off x="5834073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4" name="object 534">
              <a:extLst>
                <a:ext uri="{FF2B5EF4-FFF2-40B4-BE49-F238E27FC236}">
                  <a16:creationId xmlns:a16="http://schemas.microsoft.com/office/drawing/2014/main" id="{38164679-D9BF-113B-0D4A-30D7CE9B2BE5}"/>
                </a:ext>
              </a:extLst>
            </p:cNvPr>
            <p:cNvSpPr/>
            <p:nvPr/>
          </p:nvSpPr>
          <p:spPr>
            <a:xfrm>
              <a:off x="5834073" y="569437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5" name="object 535">
              <a:extLst>
                <a:ext uri="{FF2B5EF4-FFF2-40B4-BE49-F238E27FC236}">
                  <a16:creationId xmlns:a16="http://schemas.microsoft.com/office/drawing/2014/main" id="{6CCD1C64-F4D2-687D-94E8-D7F265519D70}"/>
                </a:ext>
              </a:extLst>
            </p:cNvPr>
            <p:cNvSpPr/>
            <p:nvPr/>
          </p:nvSpPr>
          <p:spPr>
            <a:xfrm>
              <a:off x="5834192" y="5668868"/>
              <a:ext cx="18175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9720"/>
                <a:gd name="f4" fmla="val 84454"/>
                <a:gd name="f5" fmla="val 299624"/>
                <a:gd name="f6" fmla="val 84123"/>
                <a:gd name="f7" fmla="*/ f0 1 299720"/>
                <a:gd name="f8" fmla="*/ f1 1 84454"/>
                <a:gd name="f9" fmla="+- f4 0 f2"/>
                <a:gd name="f10" fmla="+- f3 0 f2"/>
                <a:gd name="f11" fmla="*/ f10 1 2997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97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6" name="object 536">
              <a:extLst>
                <a:ext uri="{FF2B5EF4-FFF2-40B4-BE49-F238E27FC236}">
                  <a16:creationId xmlns:a16="http://schemas.microsoft.com/office/drawing/2014/main" id="{270308E6-689A-A8D9-8C04-3E1CBDE5AD7F}"/>
                </a:ext>
              </a:extLst>
            </p:cNvPr>
            <p:cNvSpPr/>
            <p:nvPr/>
          </p:nvSpPr>
          <p:spPr>
            <a:xfrm>
              <a:off x="5834192" y="5741160"/>
              <a:ext cx="19214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6865"/>
                <a:gd name="f4" fmla="val 84454"/>
                <a:gd name="f5" fmla="val 316608"/>
                <a:gd name="f6" fmla="val 84123"/>
                <a:gd name="f7" fmla="*/ f0 1 316865"/>
                <a:gd name="f8" fmla="*/ f1 1 84454"/>
                <a:gd name="f9" fmla="+- f4 0 f2"/>
                <a:gd name="f10" fmla="+- f3 0 f2"/>
                <a:gd name="f11" fmla="*/ f10 1 3168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68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7" name="object 537">
              <a:extLst>
                <a:ext uri="{FF2B5EF4-FFF2-40B4-BE49-F238E27FC236}">
                  <a16:creationId xmlns:a16="http://schemas.microsoft.com/office/drawing/2014/main" id="{9976FA04-9813-37FE-9D22-581E5CFFCBA5}"/>
                </a:ext>
              </a:extLst>
            </p:cNvPr>
            <p:cNvSpPr/>
            <p:nvPr/>
          </p:nvSpPr>
          <p:spPr>
            <a:xfrm>
              <a:off x="6113623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8" name="object 538">
              <a:extLst>
                <a:ext uri="{FF2B5EF4-FFF2-40B4-BE49-F238E27FC236}">
                  <a16:creationId xmlns:a16="http://schemas.microsoft.com/office/drawing/2014/main" id="{6726C959-53F2-3C11-666F-89AE5B7E84A5}"/>
                </a:ext>
              </a:extLst>
            </p:cNvPr>
            <p:cNvSpPr/>
            <p:nvPr/>
          </p:nvSpPr>
          <p:spPr>
            <a:xfrm>
              <a:off x="6148645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39" name="object 539">
              <a:extLst>
                <a:ext uri="{FF2B5EF4-FFF2-40B4-BE49-F238E27FC236}">
                  <a16:creationId xmlns:a16="http://schemas.microsoft.com/office/drawing/2014/main" id="{BE79A482-90CC-52DF-EF10-F9F809501D3D}"/>
                </a:ext>
              </a:extLst>
            </p:cNvPr>
            <p:cNvSpPr/>
            <p:nvPr/>
          </p:nvSpPr>
          <p:spPr>
            <a:xfrm>
              <a:off x="604358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0" name="object 540">
              <a:extLst>
                <a:ext uri="{FF2B5EF4-FFF2-40B4-BE49-F238E27FC236}">
                  <a16:creationId xmlns:a16="http://schemas.microsoft.com/office/drawing/2014/main" id="{646E91DB-F392-35BB-F66B-AD2D5019E36D}"/>
                </a:ext>
              </a:extLst>
            </p:cNvPr>
            <p:cNvSpPr/>
            <p:nvPr/>
          </p:nvSpPr>
          <p:spPr>
            <a:xfrm>
              <a:off x="5938515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1" name="object 541">
              <a:extLst>
                <a:ext uri="{FF2B5EF4-FFF2-40B4-BE49-F238E27FC236}">
                  <a16:creationId xmlns:a16="http://schemas.microsoft.com/office/drawing/2014/main" id="{B0841A3F-8B84-9CF0-0344-0AED37A45CC3}"/>
                </a:ext>
              </a:extLst>
            </p:cNvPr>
            <p:cNvSpPr/>
            <p:nvPr/>
          </p:nvSpPr>
          <p:spPr>
            <a:xfrm>
              <a:off x="597361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2" name="object 542">
              <a:extLst>
                <a:ext uri="{FF2B5EF4-FFF2-40B4-BE49-F238E27FC236}">
                  <a16:creationId xmlns:a16="http://schemas.microsoft.com/office/drawing/2014/main" id="{0A78CF70-900D-EE2C-DE8C-86E23BBD4845}"/>
                </a:ext>
              </a:extLst>
            </p:cNvPr>
            <p:cNvSpPr/>
            <p:nvPr/>
          </p:nvSpPr>
          <p:spPr>
            <a:xfrm>
              <a:off x="5868472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3" name="object 543">
              <a:extLst>
                <a:ext uri="{FF2B5EF4-FFF2-40B4-BE49-F238E27FC236}">
                  <a16:creationId xmlns:a16="http://schemas.microsoft.com/office/drawing/2014/main" id="{0B2E71FB-2853-D388-945D-C0F7E1096C55}"/>
                </a:ext>
              </a:extLst>
            </p:cNvPr>
            <p:cNvSpPr/>
            <p:nvPr/>
          </p:nvSpPr>
          <p:spPr>
            <a:xfrm>
              <a:off x="6078602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4" name="object 544">
              <a:extLst>
                <a:ext uri="{FF2B5EF4-FFF2-40B4-BE49-F238E27FC236}">
                  <a16:creationId xmlns:a16="http://schemas.microsoft.com/office/drawing/2014/main" id="{D62A7E62-D831-5668-2938-36AE3F85D25C}"/>
                </a:ext>
              </a:extLst>
            </p:cNvPr>
            <p:cNvSpPr/>
            <p:nvPr/>
          </p:nvSpPr>
          <p:spPr>
            <a:xfrm>
              <a:off x="5903494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5" name="object 545">
              <a:extLst>
                <a:ext uri="{FF2B5EF4-FFF2-40B4-BE49-F238E27FC236}">
                  <a16:creationId xmlns:a16="http://schemas.microsoft.com/office/drawing/2014/main" id="{93295B8E-ABC7-4869-19C8-71C16C266BD2}"/>
                </a:ext>
              </a:extLst>
            </p:cNvPr>
            <p:cNvSpPr/>
            <p:nvPr/>
          </p:nvSpPr>
          <p:spPr>
            <a:xfrm>
              <a:off x="6183666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6" name="object 546">
              <a:extLst>
                <a:ext uri="{FF2B5EF4-FFF2-40B4-BE49-F238E27FC236}">
                  <a16:creationId xmlns:a16="http://schemas.microsoft.com/office/drawing/2014/main" id="{1187DCA8-9493-71A6-E73C-4186D9EF4429}"/>
                </a:ext>
              </a:extLst>
            </p:cNvPr>
            <p:cNvSpPr/>
            <p:nvPr/>
          </p:nvSpPr>
          <p:spPr>
            <a:xfrm>
              <a:off x="6008696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7" name="object 547">
              <a:extLst>
                <a:ext uri="{FF2B5EF4-FFF2-40B4-BE49-F238E27FC236}">
                  <a16:creationId xmlns:a16="http://schemas.microsoft.com/office/drawing/2014/main" id="{75040854-B18C-7F83-937A-A484A45B90ED}"/>
                </a:ext>
              </a:extLst>
            </p:cNvPr>
            <p:cNvSpPr/>
            <p:nvPr/>
          </p:nvSpPr>
          <p:spPr>
            <a:xfrm>
              <a:off x="5833725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8" name="object 548">
              <a:extLst>
                <a:ext uri="{FF2B5EF4-FFF2-40B4-BE49-F238E27FC236}">
                  <a16:creationId xmlns:a16="http://schemas.microsoft.com/office/drawing/2014/main" id="{B1AA846A-BAC0-1D6F-A0A0-74D7DBD9FD98}"/>
                </a:ext>
              </a:extLst>
            </p:cNvPr>
            <p:cNvSpPr/>
            <p:nvPr/>
          </p:nvSpPr>
          <p:spPr>
            <a:xfrm>
              <a:off x="6008696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49" name="object 549">
              <a:extLst>
                <a:ext uri="{FF2B5EF4-FFF2-40B4-BE49-F238E27FC236}">
                  <a16:creationId xmlns:a16="http://schemas.microsoft.com/office/drawing/2014/main" id="{1FCBC6E4-350A-45F5-8396-7077B9390349}"/>
                </a:ext>
              </a:extLst>
            </p:cNvPr>
            <p:cNvSpPr/>
            <p:nvPr/>
          </p:nvSpPr>
          <p:spPr>
            <a:xfrm>
              <a:off x="5833725" y="57666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50" name="object 550">
            <a:extLst>
              <a:ext uri="{FF2B5EF4-FFF2-40B4-BE49-F238E27FC236}">
                <a16:creationId xmlns:a16="http://schemas.microsoft.com/office/drawing/2014/main" id="{92BAC229-34B0-2FDA-2667-AB1DDEE132D8}"/>
              </a:ext>
            </a:extLst>
          </p:cNvPr>
          <p:cNvGrpSpPr/>
          <p:nvPr/>
        </p:nvGrpSpPr>
        <p:grpSpPr>
          <a:xfrm>
            <a:off x="5833725" y="6432932"/>
            <a:ext cx="350371" cy="123507"/>
            <a:chOff x="5833725" y="6432932"/>
            <a:chExt cx="350371" cy="123507"/>
          </a:xfrm>
        </p:grpSpPr>
        <p:sp>
          <p:nvSpPr>
            <p:cNvPr id="551" name="object 551">
              <a:extLst>
                <a:ext uri="{FF2B5EF4-FFF2-40B4-BE49-F238E27FC236}">
                  <a16:creationId xmlns:a16="http://schemas.microsoft.com/office/drawing/2014/main" id="{E2A02CC1-5631-B9C9-D985-1ABB5AE90997}"/>
                </a:ext>
              </a:extLst>
            </p:cNvPr>
            <p:cNvSpPr/>
            <p:nvPr/>
          </p:nvSpPr>
          <p:spPr>
            <a:xfrm>
              <a:off x="6113971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2" name="object 552">
              <a:extLst>
                <a:ext uri="{FF2B5EF4-FFF2-40B4-BE49-F238E27FC236}">
                  <a16:creationId xmlns:a16="http://schemas.microsoft.com/office/drawing/2014/main" id="{72AD6587-6337-2BE5-A7CE-C64C7A2A9CA5}"/>
                </a:ext>
              </a:extLst>
            </p:cNvPr>
            <p:cNvSpPr/>
            <p:nvPr/>
          </p:nvSpPr>
          <p:spPr>
            <a:xfrm>
              <a:off x="6148992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3" name="object 553">
              <a:extLst>
                <a:ext uri="{FF2B5EF4-FFF2-40B4-BE49-F238E27FC236}">
                  <a16:creationId xmlns:a16="http://schemas.microsoft.com/office/drawing/2014/main" id="{6D848318-66AD-E7BF-CE19-4AFDC8B1122E}"/>
                </a:ext>
              </a:extLst>
            </p:cNvPr>
            <p:cNvSpPr/>
            <p:nvPr/>
          </p:nvSpPr>
          <p:spPr>
            <a:xfrm>
              <a:off x="6043927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4" name="object 554">
              <a:extLst>
                <a:ext uri="{FF2B5EF4-FFF2-40B4-BE49-F238E27FC236}">
                  <a16:creationId xmlns:a16="http://schemas.microsoft.com/office/drawing/2014/main" id="{E82A3F6C-42D9-6AC2-197D-C50785458997}"/>
                </a:ext>
              </a:extLst>
            </p:cNvPr>
            <p:cNvSpPr/>
            <p:nvPr/>
          </p:nvSpPr>
          <p:spPr>
            <a:xfrm>
              <a:off x="5938863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5" name="object 555">
              <a:extLst>
                <a:ext uri="{FF2B5EF4-FFF2-40B4-BE49-F238E27FC236}">
                  <a16:creationId xmlns:a16="http://schemas.microsoft.com/office/drawing/2014/main" id="{98978C98-FA2B-CCC9-9B29-609360C4056A}"/>
                </a:ext>
              </a:extLst>
            </p:cNvPr>
            <p:cNvSpPr/>
            <p:nvPr/>
          </p:nvSpPr>
          <p:spPr>
            <a:xfrm>
              <a:off x="5973958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6" name="object 556">
              <a:extLst>
                <a:ext uri="{FF2B5EF4-FFF2-40B4-BE49-F238E27FC236}">
                  <a16:creationId xmlns:a16="http://schemas.microsoft.com/office/drawing/2014/main" id="{24AE4474-2538-4CC0-F524-49EAEB1EE26E}"/>
                </a:ext>
              </a:extLst>
            </p:cNvPr>
            <p:cNvSpPr/>
            <p:nvPr/>
          </p:nvSpPr>
          <p:spPr>
            <a:xfrm>
              <a:off x="5868820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7" name="object 557">
              <a:extLst>
                <a:ext uri="{FF2B5EF4-FFF2-40B4-BE49-F238E27FC236}">
                  <a16:creationId xmlns:a16="http://schemas.microsoft.com/office/drawing/2014/main" id="{EE83F50D-E16E-8A27-C8B6-D4CED35B2096}"/>
                </a:ext>
              </a:extLst>
            </p:cNvPr>
            <p:cNvSpPr/>
            <p:nvPr/>
          </p:nvSpPr>
          <p:spPr>
            <a:xfrm>
              <a:off x="6078949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8" name="object 558">
              <a:extLst>
                <a:ext uri="{FF2B5EF4-FFF2-40B4-BE49-F238E27FC236}">
                  <a16:creationId xmlns:a16="http://schemas.microsoft.com/office/drawing/2014/main" id="{49261E90-AAE8-50C1-5DDE-2D6580045F70}"/>
                </a:ext>
              </a:extLst>
            </p:cNvPr>
            <p:cNvSpPr/>
            <p:nvPr/>
          </p:nvSpPr>
          <p:spPr>
            <a:xfrm>
              <a:off x="5903841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59" name="object 559">
              <a:extLst>
                <a:ext uri="{FF2B5EF4-FFF2-40B4-BE49-F238E27FC236}">
                  <a16:creationId xmlns:a16="http://schemas.microsoft.com/office/drawing/2014/main" id="{A848DF50-FD55-E8C0-616F-31FF0F6D869F}"/>
                </a:ext>
              </a:extLst>
            </p:cNvPr>
            <p:cNvSpPr/>
            <p:nvPr/>
          </p:nvSpPr>
          <p:spPr>
            <a:xfrm>
              <a:off x="6184014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0" name="object 560">
              <a:extLst>
                <a:ext uri="{FF2B5EF4-FFF2-40B4-BE49-F238E27FC236}">
                  <a16:creationId xmlns:a16="http://schemas.microsoft.com/office/drawing/2014/main" id="{737AECAE-3B7A-E9E1-A77B-332A69A34F8D}"/>
                </a:ext>
              </a:extLst>
            </p:cNvPr>
            <p:cNvSpPr/>
            <p:nvPr/>
          </p:nvSpPr>
          <p:spPr>
            <a:xfrm>
              <a:off x="6009043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1" name="object 561">
              <a:extLst>
                <a:ext uri="{FF2B5EF4-FFF2-40B4-BE49-F238E27FC236}">
                  <a16:creationId xmlns:a16="http://schemas.microsoft.com/office/drawing/2014/main" id="{9124EAD2-A67B-BB21-3F4C-4C83404716F1}"/>
                </a:ext>
              </a:extLst>
            </p:cNvPr>
            <p:cNvSpPr/>
            <p:nvPr/>
          </p:nvSpPr>
          <p:spPr>
            <a:xfrm>
              <a:off x="5834073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2" name="object 562">
              <a:extLst>
                <a:ext uri="{FF2B5EF4-FFF2-40B4-BE49-F238E27FC236}">
                  <a16:creationId xmlns:a16="http://schemas.microsoft.com/office/drawing/2014/main" id="{0A285E79-1A05-015E-5B42-B0D016256ADD}"/>
                </a:ext>
              </a:extLst>
            </p:cNvPr>
            <p:cNvSpPr/>
            <p:nvPr/>
          </p:nvSpPr>
          <p:spPr>
            <a:xfrm>
              <a:off x="5834073" y="645843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3" name="object 563">
              <a:extLst>
                <a:ext uri="{FF2B5EF4-FFF2-40B4-BE49-F238E27FC236}">
                  <a16:creationId xmlns:a16="http://schemas.microsoft.com/office/drawing/2014/main" id="{B8406BEB-ABD8-4E71-C46D-47B0A1AB497A}"/>
                </a:ext>
              </a:extLst>
            </p:cNvPr>
            <p:cNvSpPr/>
            <p:nvPr/>
          </p:nvSpPr>
          <p:spPr>
            <a:xfrm>
              <a:off x="5834192" y="6432932"/>
              <a:ext cx="10088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6370"/>
                <a:gd name="f4" fmla="val 84454"/>
                <a:gd name="f5" fmla="val 166089"/>
                <a:gd name="f6" fmla="val 84123"/>
                <a:gd name="f7" fmla="*/ f0 1 166370"/>
                <a:gd name="f8" fmla="*/ f1 1 84454"/>
                <a:gd name="f9" fmla="+- f4 0 f2"/>
                <a:gd name="f10" fmla="+- f3 0 f2"/>
                <a:gd name="f11" fmla="*/ f10 1 16637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637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4" name="object 564">
              <a:extLst>
                <a:ext uri="{FF2B5EF4-FFF2-40B4-BE49-F238E27FC236}">
                  <a16:creationId xmlns:a16="http://schemas.microsoft.com/office/drawing/2014/main" id="{39FA6277-549B-6274-C8E1-6D8E93099EC0}"/>
                </a:ext>
              </a:extLst>
            </p:cNvPr>
            <p:cNvSpPr/>
            <p:nvPr/>
          </p:nvSpPr>
          <p:spPr>
            <a:xfrm>
              <a:off x="5834192" y="6505224"/>
              <a:ext cx="23565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88620"/>
                <a:gd name="f4" fmla="val 84454"/>
                <a:gd name="f5" fmla="val 388270"/>
                <a:gd name="f6" fmla="val 84123"/>
                <a:gd name="f7" fmla="*/ f0 1 388620"/>
                <a:gd name="f8" fmla="*/ f1 1 84454"/>
                <a:gd name="f9" fmla="+- f4 0 f2"/>
                <a:gd name="f10" fmla="+- f3 0 f2"/>
                <a:gd name="f11" fmla="*/ f10 1 3886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886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5" name="object 565">
              <a:extLst>
                <a:ext uri="{FF2B5EF4-FFF2-40B4-BE49-F238E27FC236}">
                  <a16:creationId xmlns:a16="http://schemas.microsoft.com/office/drawing/2014/main" id="{5DB15E1B-D05E-9223-881A-7E7DE6D79AE9}"/>
                </a:ext>
              </a:extLst>
            </p:cNvPr>
            <p:cNvSpPr/>
            <p:nvPr/>
          </p:nvSpPr>
          <p:spPr>
            <a:xfrm>
              <a:off x="6113623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6" name="object 566">
              <a:extLst>
                <a:ext uri="{FF2B5EF4-FFF2-40B4-BE49-F238E27FC236}">
                  <a16:creationId xmlns:a16="http://schemas.microsoft.com/office/drawing/2014/main" id="{F171C8CF-263A-0635-E020-52F1B5C1B21B}"/>
                </a:ext>
              </a:extLst>
            </p:cNvPr>
            <p:cNvSpPr/>
            <p:nvPr/>
          </p:nvSpPr>
          <p:spPr>
            <a:xfrm>
              <a:off x="6148645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7" name="object 567">
              <a:extLst>
                <a:ext uri="{FF2B5EF4-FFF2-40B4-BE49-F238E27FC236}">
                  <a16:creationId xmlns:a16="http://schemas.microsoft.com/office/drawing/2014/main" id="{D8D77388-9410-1E64-F53B-A8DBB85618C0}"/>
                </a:ext>
              </a:extLst>
            </p:cNvPr>
            <p:cNvSpPr/>
            <p:nvPr/>
          </p:nvSpPr>
          <p:spPr>
            <a:xfrm>
              <a:off x="604358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8" name="object 568">
              <a:extLst>
                <a:ext uri="{FF2B5EF4-FFF2-40B4-BE49-F238E27FC236}">
                  <a16:creationId xmlns:a16="http://schemas.microsoft.com/office/drawing/2014/main" id="{661967D9-EA2D-78BB-FEF4-ED01B5845A8F}"/>
                </a:ext>
              </a:extLst>
            </p:cNvPr>
            <p:cNvSpPr/>
            <p:nvPr/>
          </p:nvSpPr>
          <p:spPr>
            <a:xfrm>
              <a:off x="5938515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9" name="object 569">
              <a:extLst>
                <a:ext uri="{FF2B5EF4-FFF2-40B4-BE49-F238E27FC236}">
                  <a16:creationId xmlns:a16="http://schemas.microsoft.com/office/drawing/2014/main" id="{B5766738-8D7D-3143-CE11-53F745A8B285}"/>
                </a:ext>
              </a:extLst>
            </p:cNvPr>
            <p:cNvSpPr/>
            <p:nvPr/>
          </p:nvSpPr>
          <p:spPr>
            <a:xfrm>
              <a:off x="597361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0" name="object 570">
              <a:extLst>
                <a:ext uri="{FF2B5EF4-FFF2-40B4-BE49-F238E27FC236}">
                  <a16:creationId xmlns:a16="http://schemas.microsoft.com/office/drawing/2014/main" id="{F199FA99-DB7A-9065-8D84-DFA18C06B76B}"/>
                </a:ext>
              </a:extLst>
            </p:cNvPr>
            <p:cNvSpPr/>
            <p:nvPr/>
          </p:nvSpPr>
          <p:spPr>
            <a:xfrm>
              <a:off x="5868472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1" name="object 571">
              <a:extLst>
                <a:ext uri="{FF2B5EF4-FFF2-40B4-BE49-F238E27FC236}">
                  <a16:creationId xmlns:a16="http://schemas.microsoft.com/office/drawing/2014/main" id="{F4BE7D52-68AA-A0A1-7980-CB40F3C2862D}"/>
                </a:ext>
              </a:extLst>
            </p:cNvPr>
            <p:cNvSpPr/>
            <p:nvPr/>
          </p:nvSpPr>
          <p:spPr>
            <a:xfrm>
              <a:off x="6078602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2" name="object 572">
              <a:extLst>
                <a:ext uri="{FF2B5EF4-FFF2-40B4-BE49-F238E27FC236}">
                  <a16:creationId xmlns:a16="http://schemas.microsoft.com/office/drawing/2014/main" id="{90F46FC0-D10A-8F0B-9B95-179931484966}"/>
                </a:ext>
              </a:extLst>
            </p:cNvPr>
            <p:cNvSpPr/>
            <p:nvPr/>
          </p:nvSpPr>
          <p:spPr>
            <a:xfrm>
              <a:off x="5903494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3" name="object 573">
              <a:extLst>
                <a:ext uri="{FF2B5EF4-FFF2-40B4-BE49-F238E27FC236}">
                  <a16:creationId xmlns:a16="http://schemas.microsoft.com/office/drawing/2014/main" id="{17366AF2-6A7E-6EDB-D62D-895646FEE25C}"/>
                </a:ext>
              </a:extLst>
            </p:cNvPr>
            <p:cNvSpPr/>
            <p:nvPr/>
          </p:nvSpPr>
          <p:spPr>
            <a:xfrm>
              <a:off x="6183666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4" name="object 574">
              <a:extLst>
                <a:ext uri="{FF2B5EF4-FFF2-40B4-BE49-F238E27FC236}">
                  <a16:creationId xmlns:a16="http://schemas.microsoft.com/office/drawing/2014/main" id="{A39DABB6-4B66-C39B-A10D-91312222773B}"/>
                </a:ext>
              </a:extLst>
            </p:cNvPr>
            <p:cNvSpPr/>
            <p:nvPr/>
          </p:nvSpPr>
          <p:spPr>
            <a:xfrm>
              <a:off x="6008696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5" name="object 575">
              <a:extLst>
                <a:ext uri="{FF2B5EF4-FFF2-40B4-BE49-F238E27FC236}">
                  <a16:creationId xmlns:a16="http://schemas.microsoft.com/office/drawing/2014/main" id="{7EDF0D14-6311-B6AC-2F36-559B909BC75F}"/>
                </a:ext>
              </a:extLst>
            </p:cNvPr>
            <p:cNvSpPr/>
            <p:nvPr/>
          </p:nvSpPr>
          <p:spPr>
            <a:xfrm>
              <a:off x="5833725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6" name="object 576">
              <a:extLst>
                <a:ext uri="{FF2B5EF4-FFF2-40B4-BE49-F238E27FC236}">
                  <a16:creationId xmlns:a16="http://schemas.microsoft.com/office/drawing/2014/main" id="{2B6F6532-F159-4D76-665E-E0D3C26AAEF3}"/>
                </a:ext>
              </a:extLst>
            </p:cNvPr>
            <p:cNvSpPr/>
            <p:nvPr/>
          </p:nvSpPr>
          <p:spPr>
            <a:xfrm>
              <a:off x="6008696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7" name="object 577">
              <a:extLst>
                <a:ext uri="{FF2B5EF4-FFF2-40B4-BE49-F238E27FC236}">
                  <a16:creationId xmlns:a16="http://schemas.microsoft.com/office/drawing/2014/main" id="{73BD33AC-96CE-EFA8-70DA-39D4C3F93FB3}"/>
                </a:ext>
              </a:extLst>
            </p:cNvPr>
            <p:cNvSpPr/>
            <p:nvPr/>
          </p:nvSpPr>
          <p:spPr>
            <a:xfrm>
              <a:off x="5833725" y="653073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578" name="object 578">
            <a:extLst>
              <a:ext uri="{FF2B5EF4-FFF2-40B4-BE49-F238E27FC236}">
                <a16:creationId xmlns:a16="http://schemas.microsoft.com/office/drawing/2014/main" id="{F0C86138-6957-60B7-B521-333724301CFA}"/>
              </a:ext>
            </a:extLst>
          </p:cNvPr>
          <p:cNvGrpSpPr/>
          <p:nvPr/>
        </p:nvGrpSpPr>
        <p:grpSpPr>
          <a:xfrm>
            <a:off x="5012411" y="3378077"/>
            <a:ext cx="350371" cy="123525"/>
            <a:chOff x="5012411" y="3378077"/>
            <a:chExt cx="350371" cy="123525"/>
          </a:xfrm>
        </p:grpSpPr>
        <p:sp>
          <p:nvSpPr>
            <p:cNvPr id="579" name="object 579">
              <a:extLst>
                <a:ext uri="{FF2B5EF4-FFF2-40B4-BE49-F238E27FC236}">
                  <a16:creationId xmlns:a16="http://schemas.microsoft.com/office/drawing/2014/main" id="{BECC00B5-44B1-13AF-F627-4D3947AF1BA3}"/>
                </a:ext>
              </a:extLst>
            </p:cNvPr>
            <p:cNvSpPr/>
            <p:nvPr/>
          </p:nvSpPr>
          <p:spPr>
            <a:xfrm>
              <a:off x="529265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0" name="object 580">
              <a:extLst>
                <a:ext uri="{FF2B5EF4-FFF2-40B4-BE49-F238E27FC236}">
                  <a16:creationId xmlns:a16="http://schemas.microsoft.com/office/drawing/2014/main" id="{9B48321C-9E00-D17F-D607-84724ABEDAA5}"/>
                </a:ext>
              </a:extLst>
            </p:cNvPr>
            <p:cNvSpPr/>
            <p:nvPr/>
          </p:nvSpPr>
          <p:spPr>
            <a:xfrm>
              <a:off x="532767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1" name="object 581">
              <a:extLst>
                <a:ext uri="{FF2B5EF4-FFF2-40B4-BE49-F238E27FC236}">
                  <a16:creationId xmlns:a16="http://schemas.microsoft.com/office/drawing/2014/main" id="{1D344F1B-3E02-0514-7616-A0EEBC2663D5}"/>
                </a:ext>
              </a:extLst>
            </p:cNvPr>
            <p:cNvSpPr/>
            <p:nvPr/>
          </p:nvSpPr>
          <p:spPr>
            <a:xfrm>
              <a:off x="5222613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2" name="object 582">
              <a:extLst>
                <a:ext uri="{FF2B5EF4-FFF2-40B4-BE49-F238E27FC236}">
                  <a16:creationId xmlns:a16="http://schemas.microsoft.com/office/drawing/2014/main" id="{A95E0471-1AF7-9169-9B0E-89DBE665A1A8}"/>
                </a:ext>
              </a:extLst>
            </p:cNvPr>
            <p:cNvSpPr/>
            <p:nvPr/>
          </p:nvSpPr>
          <p:spPr>
            <a:xfrm>
              <a:off x="511754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3" name="object 583">
              <a:extLst>
                <a:ext uri="{FF2B5EF4-FFF2-40B4-BE49-F238E27FC236}">
                  <a16:creationId xmlns:a16="http://schemas.microsoft.com/office/drawing/2014/main" id="{EAB6414B-2F7F-345D-5F1B-7DA31328B55C}"/>
                </a:ext>
              </a:extLst>
            </p:cNvPr>
            <p:cNvSpPr/>
            <p:nvPr/>
          </p:nvSpPr>
          <p:spPr>
            <a:xfrm>
              <a:off x="515263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4" name="object 584">
              <a:extLst>
                <a:ext uri="{FF2B5EF4-FFF2-40B4-BE49-F238E27FC236}">
                  <a16:creationId xmlns:a16="http://schemas.microsoft.com/office/drawing/2014/main" id="{6A49E758-733A-ACCF-172E-3DF1AA371E90}"/>
                </a:ext>
              </a:extLst>
            </p:cNvPr>
            <p:cNvSpPr/>
            <p:nvPr/>
          </p:nvSpPr>
          <p:spPr>
            <a:xfrm>
              <a:off x="504750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5" name="object 585">
              <a:extLst>
                <a:ext uri="{FF2B5EF4-FFF2-40B4-BE49-F238E27FC236}">
                  <a16:creationId xmlns:a16="http://schemas.microsoft.com/office/drawing/2014/main" id="{92957FE2-6F8E-E062-ACC8-C1BB101FA231}"/>
                </a:ext>
              </a:extLst>
            </p:cNvPr>
            <p:cNvSpPr/>
            <p:nvPr/>
          </p:nvSpPr>
          <p:spPr>
            <a:xfrm>
              <a:off x="525763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6" name="object 586">
              <a:extLst>
                <a:ext uri="{FF2B5EF4-FFF2-40B4-BE49-F238E27FC236}">
                  <a16:creationId xmlns:a16="http://schemas.microsoft.com/office/drawing/2014/main" id="{FC828478-A582-DECA-024C-F48A4805F81D}"/>
                </a:ext>
              </a:extLst>
            </p:cNvPr>
            <p:cNvSpPr/>
            <p:nvPr/>
          </p:nvSpPr>
          <p:spPr>
            <a:xfrm>
              <a:off x="508252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7" name="object 587">
              <a:extLst>
                <a:ext uri="{FF2B5EF4-FFF2-40B4-BE49-F238E27FC236}">
                  <a16:creationId xmlns:a16="http://schemas.microsoft.com/office/drawing/2014/main" id="{C64735F0-497D-79FF-7467-A5E6B4037820}"/>
                </a:ext>
              </a:extLst>
            </p:cNvPr>
            <p:cNvSpPr/>
            <p:nvPr/>
          </p:nvSpPr>
          <p:spPr>
            <a:xfrm>
              <a:off x="536269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8" name="object 588">
              <a:extLst>
                <a:ext uri="{FF2B5EF4-FFF2-40B4-BE49-F238E27FC236}">
                  <a16:creationId xmlns:a16="http://schemas.microsoft.com/office/drawing/2014/main" id="{7459108C-6ACC-E2E6-A662-20523F35E649}"/>
                </a:ext>
              </a:extLst>
            </p:cNvPr>
            <p:cNvSpPr/>
            <p:nvPr/>
          </p:nvSpPr>
          <p:spPr>
            <a:xfrm>
              <a:off x="518772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9" name="object 589">
              <a:extLst>
                <a:ext uri="{FF2B5EF4-FFF2-40B4-BE49-F238E27FC236}">
                  <a16:creationId xmlns:a16="http://schemas.microsoft.com/office/drawing/2014/main" id="{234FE36B-13A5-40F2-3E13-D3BC4E8B00C9}"/>
                </a:ext>
              </a:extLst>
            </p:cNvPr>
            <p:cNvSpPr/>
            <p:nvPr/>
          </p:nvSpPr>
          <p:spPr>
            <a:xfrm>
              <a:off x="5012759" y="33780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0" name="object 590">
              <a:extLst>
                <a:ext uri="{FF2B5EF4-FFF2-40B4-BE49-F238E27FC236}">
                  <a16:creationId xmlns:a16="http://schemas.microsoft.com/office/drawing/2014/main" id="{ED9B1B50-84CC-A504-EB22-321B6D601671}"/>
                </a:ext>
              </a:extLst>
            </p:cNvPr>
            <p:cNvSpPr/>
            <p:nvPr/>
          </p:nvSpPr>
          <p:spPr>
            <a:xfrm>
              <a:off x="5012759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1" name="object 591">
              <a:extLst>
                <a:ext uri="{FF2B5EF4-FFF2-40B4-BE49-F238E27FC236}">
                  <a16:creationId xmlns:a16="http://schemas.microsoft.com/office/drawing/2014/main" id="{AC33FEF6-9E42-167B-D405-1FF1D6086B27}"/>
                </a:ext>
              </a:extLst>
            </p:cNvPr>
            <p:cNvSpPr/>
            <p:nvPr/>
          </p:nvSpPr>
          <p:spPr>
            <a:xfrm>
              <a:off x="5012877" y="3378086"/>
              <a:ext cx="2133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51790"/>
                <a:gd name="f4" fmla="val 84454"/>
                <a:gd name="f5" fmla="val 351559"/>
                <a:gd name="f6" fmla="val 84112"/>
                <a:gd name="f7" fmla="*/ f0 1 351790"/>
                <a:gd name="f8" fmla="*/ f1 1 84454"/>
                <a:gd name="f9" fmla="+- f4 0 f2"/>
                <a:gd name="f10" fmla="+- f3 0 f2"/>
                <a:gd name="f11" fmla="*/ f10 1 3517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517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2" name="object 592">
              <a:extLst>
                <a:ext uri="{FF2B5EF4-FFF2-40B4-BE49-F238E27FC236}">
                  <a16:creationId xmlns:a16="http://schemas.microsoft.com/office/drawing/2014/main" id="{91C59A90-0E82-C14E-0B6C-81E455F48974}"/>
                </a:ext>
              </a:extLst>
            </p:cNvPr>
            <p:cNvSpPr/>
            <p:nvPr/>
          </p:nvSpPr>
          <p:spPr>
            <a:xfrm>
              <a:off x="5012877" y="3450387"/>
              <a:ext cx="1135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7325"/>
                <a:gd name="f4" fmla="val 84454"/>
                <a:gd name="f5" fmla="val 187030"/>
                <a:gd name="f6" fmla="val 84112"/>
                <a:gd name="f7" fmla="*/ f0 1 187325"/>
                <a:gd name="f8" fmla="*/ f1 1 84454"/>
                <a:gd name="f9" fmla="+- f4 0 f2"/>
                <a:gd name="f10" fmla="+- f3 0 f2"/>
                <a:gd name="f11" fmla="*/ f10 1 1873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73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3" name="object 593">
              <a:extLst>
                <a:ext uri="{FF2B5EF4-FFF2-40B4-BE49-F238E27FC236}">
                  <a16:creationId xmlns:a16="http://schemas.microsoft.com/office/drawing/2014/main" id="{8A0444CB-403D-223D-7BB4-850C37E58272}"/>
                </a:ext>
              </a:extLst>
            </p:cNvPr>
            <p:cNvSpPr/>
            <p:nvPr/>
          </p:nvSpPr>
          <p:spPr>
            <a:xfrm>
              <a:off x="5292309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4" name="object 594">
              <a:extLst>
                <a:ext uri="{FF2B5EF4-FFF2-40B4-BE49-F238E27FC236}">
                  <a16:creationId xmlns:a16="http://schemas.microsoft.com/office/drawing/2014/main" id="{CD721AB9-0CFB-9805-89A8-C658CD96CCE4}"/>
                </a:ext>
              </a:extLst>
            </p:cNvPr>
            <p:cNvSpPr/>
            <p:nvPr/>
          </p:nvSpPr>
          <p:spPr>
            <a:xfrm>
              <a:off x="532733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5" name="object 595">
              <a:extLst>
                <a:ext uri="{FF2B5EF4-FFF2-40B4-BE49-F238E27FC236}">
                  <a16:creationId xmlns:a16="http://schemas.microsoft.com/office/drawing/2014/main" id="{A99A6512-C405-D74E-093E-2140E89D2B29}"/>
                </a:ext>
              </a:extLst>
            </p:cNvPr>
            <p:cNvSpPr/>
            <p:nvPr/>
          </p:nvSpPr>
          <p:spPr>
            <a:xfrm>
              <a:off x="5222266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6" name="object 596">
              <a:extLst>
                <a:ext uri="{FF2B5EF4-FFF2-40B4-BE49-F238E27FC236}">
                  <a16:creationId xmlns:a16="http://schemas.microsoft.com/office/drawing/2014/main" id="{53FB35C2-802A-2551-152A-F360E7B3FE8B}"/>
                </a:ext>
              </a:extLst>
            </p:cNvPr>
            <p:cNvSpPr/>
            <p:nvPr/>
          </p:nvSpPr>
          <p:spPr>
            <a:xfrm>
              <a:off x="5117201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7" name="object 597">
              <a:extLst>
                <a:ext uri="{FF2B5EF4-FFF2-40B4-BE49-F238E27FC236}">
                  <a16:creationId xmlns:a16="http://schemas.microsoft.com/office/drawing/2014/main" id="{60E4DC80-81FF-0C28-139E-CE623B720489}"/>
                </a:ext>
              </a:extLst>
            </p:cNvPr>
            <p:cNvSpPr/>
            <p:nvPr/>
          </p:nvSpPr>
          <p:spPr>
            <a:xfrm>
              <a:off x="5152296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8" name="object 598">
              <a:extLst>
                <a:ext uri="{FF2B5EF4-FFF2-40B4-BE49-F238E27FC236}">
                  <a16:creationId xmlns:a16="http://schemas.microsoft.com/office/drawing/2014/main" id="{EC432675-0BC6-9613-4190-E90DBC35C15C}"/>
                </a:ext>
              </a:extLst>
            </p:cNvPr>
            <p:cNvSpPr/>
            <p:nvPr/>
          </p:nvSpPr>
          <p:spPr>
            <a:xfrm>
              <a:off x="504715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99" name="object 599">
              <a:extLst>
                <a:ext uri="{FF2B5EF4-FFF2-40B4-BE49-F238E27FC236}">
                  <a16:creationId xmlns:a16="http://schemas.microsoft.com/office/drawing/2014/main" id="{5DF0E9A6-ABCE-3FC0-0E21-06DB8CA344F9}"/>
                </a:ext>
              </a:extLst>
            </p:cNvPr>
            <p:cNvSpPr/>
            <p:nvPr/>
          </p:nvSpPr>
          <p:spPr>
            <a:xfrm>
              <a:off x="5257287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0" name="object 600">
              <a:extLst>
                <a:ext uri="{FF2B5EF4-FFF2-40B4-BE49-F238E27FC236}">
                  <a16:creationId xmlns:a16="http://schemas.microsoft.com/office/drawing/2014/main" id="{D7E12217-AF69-5D9D-D8C2-C7A2EAE5276C}"/>
                </a:ext>
              </a:extLst>
            </p:cNvPr>
            <p:cNvSpPr/>
            <p:nvPr/>
          </p:nvSpPr>
          <p:spPr>
            <a:xfrm>
              <a:off x="508218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1" name="object 601">
              <a:extLst>
                <a:ext uri="{FF2B5EF4-FFF2-40B4-BE49-F238E27FC236}">
                  <a16:creationId xmlns:a16="http://schemas.microsoft.com/office/drawing/2014/main" id="{4F5430D4-789B-C5AB-1530-822BAD1134A2}"/>
                </a:ext>
              </a:extLst>
            </p:cNvPr>
            <p:cNvSpPr/>
            <p:nvPr/>
          </p:nvSpPr>
          <p:spPr>
            <a:xfrm>
              <a:off x="5362352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2" name="object 602">
              <a:extLst>
                <a:ext uri="{FF2B5EF4-FFF2-40B4-BE49-F238E27FC236}">
                  <a16:creationId xmlns:a16="http://schemas.microsoft.com/office/drawing/2014/main" id="{C67DC791-5839-5B3F-3222-2D67AFF66988}"/>
                </a:ext>
              </a:extLst>
            </p:cNvPr>
            <p:cNvSpPr/>
            <p:nvPr/>
          </p:nvSpPr>
          <p:spPr>
            <a:xfrm>
              <a:off x="5187382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3" name="object 603">
              <a:extLst>
                <a:ext uri="{FF2B5EF4-FFF2-40B4-BE49-F238E27FC236}">
                  <a16:creationId xmlns:a16="http://schemas.microsoft.com/office/drawing/2014/main" id="{428C372A-D03C-4931-0F27-9B6ECECFE3C2}"/>
                </a:ext>
              </a:extLst>
            </p:cNvPr>
            <p:cNvSpPr/>
            <p:nvPr/>
          </p:nvSpPr>
          <p:spPr>
            <a:xfrm>
              <a:off x="5012411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4" name="object 604">
              <a:extLst>
                <a:ext uri="{FF2B5EF4-FFF2-40B4-BE49-F238E27FC236}">
                  <a16:creationId xmlns:a16="http://schemas.microsoft.com/office/drawing/2014/main" id="{581A4B59-0B2A-C7D4-A84B-53CBF8E3CA1A}"/>
                </a:ext>
              </a:extLst>
            </p:cNvPr>
            <p:cNvSpPr/>
            <p:nvPr/>
          </p:nvSpPr>
          <p:spPr>
            <a:xfrm>
              <a:off x="5187382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5" name="object 605">
              <a:extLst>
                <a:ext uri="{FF2B5EF4-FFF2-40B4-BE49-F238E27FC236}">
                  <a16:creationId xmlns:a16="http://schemas.microsoft.com/office/drawing/2014/main" id="{4D64D42E-F295-FBDD-8124-DCEBE5BB3E0B}"/>
                </a:ext>
              </a:extLst>
            </p:cNvPr>
            <p:cNvSpPr/>
            <p:nvPr/>
          </p:nvSpPr>
          <p:spPr>
            <a:xfrm>
              <a:off x="5012411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06" name="object 606">
            <a:extLst>
              <a:ext uri="{FF2B5EF4-FFF2-40B4-BE49-F238E27FC236}">
                <a16:creationId xmlns:a16="http://schemas.microsoft.com/office/drawing/2014/main" id="{0456E2DC-D5B5-8965-4DAE-BA7DC44C493F}"/>
              </a:ext>
            </a:extLst>
          </p:cNvPr>
          <p:cNvGrpSpPr/>
          <p:nvPr/>
        </p:nvGrpSpPr>
        <p:grpSpPr>
          <a:xfrm>
            <a:off x="5012411" y="4146136"/>
            <a:ext cx="350371" cy="123517"/>
            <a:chOff x="5012411" y="4146136"/>
            <a:chExt cx="350371" cy="123517"/>
          </a:xfrm>
        </p:grpSpPr>
        <p:sp>
          <p:nvSpPr>
            <p:cNvPr id="607" name="object 607">
              <a:extLst>
                <a:ext uri="{FF2B5EF4-FFF2-40B4-BE49-F238E27FC236}">
                  <a16:creationId xmlns:a16="http://schemas.microsoft.com/office/drawing/2014/main" id="{28C641B0-A19D-EB12-28EF-C2410906F7C4}"/>
                </a:ext>
              </a:extLst>
            </p:cNvPr>
            <p:cNvSpPr/>
            <p:nvPr/>
          </p:nvSpPr>
          <p:spPr>
            <a:xfrm>
              <a:off x="5292656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8" name="object 608">
              <a:extLst>
                <a:ext uri="{FF2B5EF4-FFF2-40B4-BE49-F238E27FC236}">
                  <a16:creationId xmlns:a16="http://schemas.microsoft.com/office/drawing/2014/main" id="{DF56787D-C59D-A907-31D4-6E4BA26ED0A2}"/>
                </a:ext>
              </a:extLst>
            </p:cNvPr>
            <p:cNvSpPr/>
            <p:nvPr/>
          </p:nvSpPr>
          <p:spPr>
            <a:xfrm>
              <a:off x="5327678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09" name="object 609">
              <a:extLst>
                <a:ext uri="{FF2B5EF4-FFF2-40B4-BE49-F238E27FC236}">
                  <a16:creationId xmlns:a16="http://schemas.microsoft.com/office/drawing/2014/main" id="{42E9294A-9DDD-D873-43DD-3E86F26CAC6A}"/>
                </a:ext>
              </a:extLst>
            </p:cNvPr>
            <p:cNvSpPr/>
            <p:nvPr/>
          </p:nvSpPr>
          <p:spPr>
            <a:xfrm>
              <a:off x="5222613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0" name="object 610">
              <a:extLst>
                <a:ext uri="{FF2B5EF4-FFF2-40B4-BE49-F238E27FC236}">
                  <a16:creationId xmlns:a16="http://schemas.microsoft.com/office/drawing/2014/main" id="{6794D227-F48F-FF90-66F1-DB29A5DDCB81}"/>
                </a:ext>
              </a:extLst>
            </p:cNvPr>
            <p:cNvSpPr/>
            <p:nvPr/>
          </p:nvSpPr>
          <p:spPr>
            <a:xfrm>
              <a:off x="5117549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1" name="object 611">
              <a:extLst>
                <a:ext uri="{FF2B5EF4-FFF2-40B4-BE49-F238E27FC236}">
                  <a16:creationId xmlns:a16="http://schemas.microsoft.com/office/drawing/2014/main" id="{8AD4F352-5B65-FDAE-EBB5-904D62EA1AEF}"/>
                </a:ext>
              </a:extLst>
            </p:cNvPr>
            <p:cNvSpPr/>
            <p:nvPr/>
          </p:nvSpPr>
          <p:spPr>
            <a:xfrm>
              <a:off x="5152634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2" name="object 612">
              <a:extLst>
                <a:ext uri="{FF2B5EF4-FFF2-40B4-BE49-F238E27FC236}">
                  <a16:creationId xmlns:a16="http://schemas.microsoft.com/office/drawing/2014/main" id="{A9089277-2C9D-E0E8-2BFE-23EC00069420}"/>
                </a:ext>
              </a:extLst>
            </p:cNvPr>
            <p:cNvSpPr/>
            <p:nvPr/>
          </p:nvSpPr>
          <p:spPr>
            <a:xfrm>
              <a:off x="5047506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3" name="object 613">
              <a:extLst>
                <a:ext uri="{FF2B5EF4-FFF2-40B4-BE49-F238E27FC236}">
                  <a16:creationId xmlns:a16="http://schemas.microsoft.com/office/drawing/2014/main" id="{285D9BD3-120B-46EA-3D60-A0AF03E3CC63}"/>
                </a:ext>
              </a:extLst>
            </p:cNvPr>
            <p:cNvSpPr/>
            <p:nvPr/>
          </p:nvSpPr>
          <p:spPr>
            <a:xfrm>
              <a:off x="5257635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4" name="object 614">
              <a:extLst>
                <a:ext uri="{FF2B5EF4-FFF2-40B4-BE49-F238E27FC236}">
                  <a16:creationId xmlns:a16="http://schemas.microsoft.com/office/drawing/2014/main" id="{7E399600-AAA9-A0CD-FACD-C24060C25E19}"/>
                </a:ext>
              </a:extLst>
            </p:cNvPr>
            <p:cNvSpPr/>
            <p:nvPr/>
          </p:nvSpPr>
          <p:spPr>
            <a:xfrm>
              <a:off x="5082527" y="415889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5" name="object 615">
              <a:extLst>
                <a:ext uri="{FF2B5EF4-FFF2-40B4-BE49-F238E27FC236}">
                  <a16:creationId xmlns:a16="http://schemas.microsoft.com/office/drawing/2014/main" id="{D2BEE8B8-34BF-D2E7-A442-F4365F8EFC2B}"/>
                </a:ext>
              </a:extLst>
            </p:cNvPr>
            <p:cNvSpPr/>
            <p:nvPr/>
          </p:nvSpPr>
          <p:spPr>
            <a:xfrm>
              <a:off x="5362699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6" name="object 616">
              <a:extLst>
                <a:ext uri="{FF2B5EF4-FFF2-40B4-BE49-F238E27FC236}">
                  <a16:creationId xmlns:a16="http://schemas.microsoft.com/office/drawing/2014/main" id="{85003432-8A85-FDF3-9478-DDFB3158149D}"/>
                </a:ext>
              </a:extLst>
            </p:cNvPr>
            <p:cNvSpPr/>
            <p:nvPr/>
          </p:nvSpPr>
          <p:spPr>
            <a:xfrm>
              <a:off x="5187729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7" name="object 617">
              <a:extLst>
                <a:ext uri="{FF2B5EF4-FFF2-40B4-BE49-F238E27FC236}">
                  <a16:creationId xmlns:a16="http://schemas.microsoft.com/office/drawing/2014/main" id="{2832FBE5-155F-974B-1E08-0FADAE69394C}"/>
                </a:ext>
              </a:extLst>
            </p:cNvPr>
            <p:cNvSpPr/>
            <p:nvPr/>
          </p:nvSpPr>
          <p:spPr>
            <a:xfrm>
              <a:off x="5012759" y="414613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8" name="object 618">
              <a:extLst>
                <a:ext uri="{FF2B5EF4-FFF2-40B4-BE49-F238E27FC236}">
                  <a16:creationId xmlns:a16="http://schemas.microsoft.com/office/drawing/2014/main" id="{10ED8900-76D4-AA0D-1F0E-F2C807089C7F}"/>
                </a:ext>
              </a:extLst>
            </p:cNvPr>
            <p:cNvSpPr/>
            <p:nvPr/>
          </p:nvSpPr>
          <p:spPr>
            <a:xfrm>
              <a:off x="5012759" y="417163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19" name="object 619">
              <a:extLst>
                <a:ext uri="{FF2B5EF4-FFF2-40B4-BE49-F238E27FC236}">
                  <a16:creationId xmlns:a16="http://schemas.microsoft.com/office/drawing/2014/main" id="{34D6808D-34FD-F049-713C-366E6E2E44F1}"/>
                </a:ext>
              </a:extLst>
            </p:cNvPr>
            <p:cNvSpPr/>
            <p:nvPr/>
          </p:nvSpPr>
          <p:spPr>
            <a:xfrm>
              <a:off x="5012877" y="4146136"/>
              <a:ext cx="26646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9420"/>
                <a:gd name="f4" fmla="val 84454"/>
                <a:gd name="f5" fmla="val 438970"/>
                <a:gd name="f6" fmla="val 84123"/>
                <a:gd name="f7" fmla="*/ f0 1 439420"/>
                <a:gd name="f8" fmla="*/ f1 1 84454"/>
                <a:gd name="f9" fmla="+- f4 0 f2"/>
                <a:gd name="f10" fmla="+- f3 0 f2"/>
                <a:gd name="f11" fmla="*/ f10 1 4394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94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0" name="object 620">
              <a:extLst>
                <a:ext uri="{FF2B5EF4-FFF2-40B4-BE49-F238E27FC236}">
                  <a16:creationId xmlns:a16="http://schemas.microsoft.com/office/drawing/2014/main" id="{C80FF8E8-A5A0-0076-3ABD-950817125BBB}"/>
                </a:ext>
              </a:extLst>
            </p:cNvPr>
            <p:cNvSpPr/>
            <p:nvPr/>
          </p:nvSpPr>
          <p:spPr>
            <a:xfrm>
              <a:off x="5012877" y="4218438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4"/>
                <a:gd name="f5" fmla="val 291163"/>
                <a:gd name="f6" fmla="val 84123"/>
                <a:gd name="f7" fmla="*/ f0 1 291465"/>
                <a:gd name="f8" fmla="*/ f1 1 84454"/>
                <a:gd name="f9" fmla="+- f4 0 f2"/>
                <a:gd name="f10" fmla="+- f3 0 f2"/>
                <a:gd name="f11" fmla="*/ f10 1 2914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1" name="object 621">
              <a:extLst>
                <a:ext uri="{FF2B5EF4-FFF2-40B4-BE49-F238E27FC236}">
                  <a16:creationId xmlns:a16="http://schemas.microsoft.com/office/drawing/2014/main" id="{23FA5D86-8341-F2BA-E89E-97DDC9ED0DCF}"/>
                </a:ext>
              </a:extLst>
            </p:cNvPr>
            <p:cNvSpPr/>
            <p:nvPr/>
          </p:nvSpPr>
          <p:spPr>
            <a:xfrm>
              <a:off x="5292309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2" name="object 622">
              <a:extLst>
                <a:ext uri="{FF2B5EF4-FFF2-40B4-BE49-F238E27FC236}">
                  <a16:creationId xmlns:a16="http://schemas.microsoft.com/office/drawing/2014/main" id="{41EB9449-2B13-CC08-481C-30B1427F029D}"/>
                </a:ext>
              </a:extLst>
            </p:cNvPr>
            <p:cNvSpPr/>
            <p:nvPr/>
          </p:nvSpPr>
          <p:spPr>
            <a:xfrm>
              <a:off x="532733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3" name="object 623">
              <a:extLst>
                <a:ext uri="{FF2B5EF4-FFF2-40B4-BE49-F238E27FC236}">
                  <a16:creationId xmlns:a16="http://schemas.microsoft.com/office/drawing/2014/main" id="{CC0FE311-03DD-9884-3F83-8F2860F56E5A}"/>
                </a:ext>
              </a:extLst>
            </p:cNvPr>
            <p:cNvSpPr/>
            <p:nvPr/>
          </p:nvSpPr>
          <p:spPr>
            <a:xfrm>
              <a:off x="5222266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4" name="object 624">
              <a:extLst>
                <a:ext uri="{FF2B5EF4-FFF2-40B4-BE49-F238E27FC236}">
                  <a16:creationId xmlns:a16="http://schemas.microsoft.com/office/drawing/2014/main" id="{F3891956-5248-175E-9AD5-9DB7EF85D0F6}"/>
                </a:ext>
              </a:extLst>
            </p:cNvPr>
            <p:cNvSpPr/>
            <p:nvPr/>
          </p:nvSpPr>
          <p:spPr>
            <a:xfrm>
              <a:off x="5117201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5" name="object 625">
              <a:extLst>
                <a:ext uri="{FF2B5EF4-FFF2-40B4-BE49-F238E27FC236}">
                  <a16:creationId xmlns:a16="http://schemas.microsoft.com/office/drawing/2014/main" id="{F6D3EC01-5375-AEC1-2131-639CD47FA8E5}"/>
                </a:ext>
              </a:extLst>
            </p:cNvPr>
            <p:cNvSpPr/>
            <p:nvPr/>
          </p:nvSpPr>
          <p:spPr>
            <a:xfrm>
              <a:off x="5152296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6" name="object 626">
              <a:extLst>
                <a:ext uri="{FF2B5EF4-FFF2-40B4-BE49-F238E27FC236}">
                  <a16:creationId xmlns:a16="http://schemas.microsoft.com/office/drawing/2014/main" id="{0DD6262C-AC7D-1AAC-2FF4-D9EFC2791AA3}"/>
                </a:ext>
              </a:extLst>
            </p:cNvPr>
            <p:cNvSpPr/>
            <p:nvPr/>
          </p:nvSpPr>
          <p:spPr>
            <a:xfrm>
              <a:off x="5047158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7" name="object 627">
              <a:extLst>
                <a:ext uri="{FF2B5EF4-FFF2-40B4-BE49-F238E27FC236}">
                  <a16:creationId xmlns:a16="http://schemas.microsoft.com/office/drawing/2014/main" id="{06136EDD-F15B-55BB-8389-90CB328BD89C}"/>
                </a:ext>
              </a:extLst>
            </p:cNvPr>
            <p:cNvSpPr/>
            <p:nvPr/>
          </p:nvSpPr>
          <p:spPr>
            <a:xfrm>
              <a:off x="5257287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8" name="object 628">
              <a:extLst>
                <a:ext uri="{FF2B5EF4-FFF2-40B4-BE49-F238E27FC236}">
                  <a16:creationId xmlns:a16="http://schemas.microsoft.com/office/drawing/2014/main" id="{F547A411-A670-97BD-F941-7C0126AA598E}"/>
                </a:ext>
              </a:extLst>
            </p:cNvPr>
            <p:cNvSpPr/>
            <p:nvPr/>
          </p:nvSpPr>
          <p:spPr>
            <a:xfrm>
              <a:off x="5082180" y="423118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29" name="object 629">
              <a:extLst>
                <a:ext uri="{FF2B5EF4-FFF2-40B4-BE49-F238E27FC236}">
                  <a16:creationId xmlns:a16="http://schemas.microsoft.com/office/drawing/2014/main" id="{85C3C665-209D-FEC7-54A9-57AEA2D171AB}"/>
                </a:ext>
              </a:extLst>
            </p:cNvPr>
            <p:cNvSpPr/>
            <p:nvPr/>
          </p:nvSpPr>
          <p:spPr>
            <a:xfrm>
              <a:off x="5362352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0" name="object 630">
              <a:extLst>
                <a:ext uri="{FF2B5EF4-FFF2-40B4-BE49-F238E27FC236}">
                  <a16:creationId xmlns:a16="http://schemas.microsoft.com/office/drawing/2014/main" id="{3A351738-7587-242B-4859-87BD9811C625}"/>
                </a:ext>
              </a:extLst>
            </p:cNvPr>
            <p:cNvSpPr/>
            <p:nvPr/>
          </p:nvSpPr>
          <p:spPr>
            <a:xfrm>
              <a:off x="5187382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1" name="object 631">
              <a:extLst>
                <a:ext uri="{FF2B5EF4-FFF2-40B4-BE49-F238E27FC236}">
                  <a16:creationId xmlns:a16="http://schemas.microsoft.com/office/drawing/2014/main" id="{7539FE5C-0E36-EACF-BBAF-5D0646EAF255}"/>
                </a:ext>
              </a:extLst>
            </p:cNvPr>
            <p:cNvSpPr/>
            <p:nvPr/>
          </p:nvSpPr>
          <p:spPr>
            <a:xfrm>
              <a:off x="5012411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2" name="object 632">
              <a:extLst>
                <a:ext uri="{FF2B5EF4-FFF2-40B4-BE49-F238E27FC236}">
                  <a16:creationId xmlns:a16="http://schemas.microsoft.com/office/drawing/2014/main" id="{23A192F2-9272-F412-565F-FCE4C2BB0128}"/>
                </a:ext>
              </a:extLst>
            </p:cNvPr>
            <p:cNvSpPr/>
            <p:nvPr/>
          </p:nvSpPr>
          <p:spPr>
            <a:xfrm>
              <a:off x="5187382" y="421842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3" name="object 633">
              <a:extLst>
                <a:ext uri="{FF2B5EF4-FFF2-40B4-BE49-F238E27FC236}">
                  <a16:creationId xmlns:a16="http://schemas.microsoft.com/office/drawing/2014/main" id="{8F15E445-65DE-E5CE-035A-CD189B93DC2E}"/>
                </a:ext>
              </a:extLst>
            </p:cNvPr>
            <p:cNvSpPr/>
            <p:nvPr/>
          </p:nvSpPr>
          <p:spPr>
            <a:xfrm>
              <a:off x="5012411" y="424394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34" name="object 634">
            <a:extLst>
              <a:ext uri="{FF2B5EF4-FFF2-40B4-BE49-F238E27FC236}">
                <a16:creationId xmlns:a16="http://schemas.microsoft.com/office/drawing/2014/main" id="{5CCE8EE3-8F9F-AD73-A481-80F7267005BD}"/>
              </a:ext>
            </a:extLst>
          </p:cNvPr>
          <p:cNvGrpSpPr/>
          <p:nvPr/>
        </p:nvGrpSpPr>
        <p:grpSpPr>
          <a:xfrm>
            <a:off x="5012411" y="4906670"/>
            <a:ext cx="350371" cy="123507"/>
            <a:chOff x="5012411" y="4906670"/>
            <a:chExt cx="350371" cy="123507"/>
          </a:xfrm>
        </p:grpSpPr>
        <p:sp>
          <p:nvSpPr>
            <p:cNvPr id="635" name="object 635">
              <a:extLst>
                <a:ext uri="{FF2B5EF4-FFF2-40B4-BE49-F238E27FC236}">
                  <a16:creationId xmlns:a16="http://schemas.microsoft.com/office/drawing/2014/main" id="{170C3B81-82D2-0523-369B-0E409F7DC933}"/>
                </a:ext>
              </a:extLst>
            </p:cNvPr>
            <p:cNvSpPr/>
            <p:nvPr/>
          </p:nvSpPr>
          <p:spPr>
            <a:xfrm>
              <a:off x="5292656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6" name="object 636">
              <a:extLst>
                <a:ext uri="{FF2B5EF4-FFF2-40B4-BE49-F238E27FC236}">
                  <a16:creationId xmlns:a16="http://schemas.microsoft.com/office/drawing/2014/main" id="{9F34D315-5F55-4AA4-3845-AD3D65236708}"/>
                </a:ext>
              </a:extLst>
            </p:cNvPr>
            <p:cNvSpPr/>
            <p:nvPr/>
          </p:nvSpPr>
          <p:spPr>
            <a:xfrm>
              <a:off x="5327678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7" name="object 637">
              <a:extLst>
                <a:ext uri="{FF2B5EF4-FFF2-40B4-BE49-F238E27FC236}">
                  <a16:creationId xmlns:a16="http://schemas.microsoft.com/office/drawing/2014/main" id="{87498FB6-8157-8BB8-E521-80EABBCDC517}"/>
                </a:ext>
              </a:extLst>
            </p:cNvPr>
            <p:cNvSpPr/>
            <p:nvPr/>
          </p:nvSpPr>
          <p:spPr>
            <a:xfrm>
              <a:off x="5222613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8" name="object 638">
              <a:extLst>
                <a:ext uri="{FF2B5EF4-FFF2-40B4-BE49-F238E27FC236}">
                  <a16:creationId xmlns:a16="http://schemas.microsoft.com/office/drawing/2014/main" id="{8E5D6999-CDA4-A3A3-B85A-DBFBF63DDF20}"/>
                </a:ext>
              </a:extLst>
            </p:cNvPr>
            <p:cNvSpPr/>
            <p:nvPr/>
          </p:nvSpPr>
          <p:spPr>
            <a:xfrm>
              <a:off x="5117549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39" name="object 639">
              <a:extLst>
                <a:ext uri="{FF2B5EF4-FFF2-40B4-BE49-F238E27FC236}">
                  <a16:creationId xmlns:a16="http://schemas.microsoft.com/office/drawing/2014/main" id="{A6EA155A-87B9-D42D-9525-0DDD65864213}"/>
                </a:ext>
              </a:extLst>
            </p:cNvPr>
            <p:cNvSpPr/>
            <p:nvPr/>
          </p:nvSpPr>
          <p:spPr>
            <a:xfrm>
              <a:off x="5152634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0" name="object 640">
              <a:extLst>
                <a:ext uri="{FF2B5EF4-FFF2-40B4-BE49-F238E27FC236}">
                  <a16:creationId xmlns:a16="http://schemas.microsoft.com/office/drawing/2014/main" id="{87AD1E52-D2A5-D680-61CB-E9F41C3774CE}"/>
                </a:ext>
              </a:extLst>
            </p:cNvPr>
            <p:cNvSpPr/>
            <p:nvPr/>
          </p:nvSpPr>
          <p:spPr>
            <a:xfrm>
              <a:off x="5047506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1" name="object 641">
              <a:extLst>
                <a:ext uri="{FF2B5EF4-FFF2-40B4-BE49-F238E27FC236}">
                  <a16:creationId xmlns:a16="http://schemas.microsoft.com/office/drawing/2014/main" id="{2B55ADAE-20D3-CBAA-383B-8042C9C2C2A6}"/>
                </a:ext>
              </a:extLst>
            </p:cNvPr>
            <p:cNvSpPr/>
            <p:nvPr/>
          </p:nvSpPr>
          <p:spPr>
            <a:xfrm>
              <a:off x="5257635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2" name="object 642">
              <a:extLst>
                <a:ext uri="{FF2B5EF4-FFF2-40B4-BE49-F238E27FC236}">
                  <a16:creationId xmlns:a16="http://schemas.microsoft.com/office/drawing/2014/main" id="{2FDB58DD-352F-E505-EE75-A2111C14D927}"/>
                </a:ext>
              </a:extLst>
            </p:cNvPr>
            <p:cNvSpPr/>
            <p:nvPr/>
          </p:nvSpPr>
          <p:spPr>
            <a:xfrm>
              <a:off x="5082527" y="49194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3" name="object 643">
              <a:extLst>
                <a:ext uri="{FF2B5EF4-FFF2-40B4-BE49-F238E27FC236}">
                  <a16:creationId xmlns:a16="http://schemas.microsoft.com/office/drawing/2014/main" id="{2D585D2A-D10F-E246-F8C3-72F2E7E1EF7D}"/>
                </a:ext>
              </a:extLst>
            </p:cNvPr>
            <p:cNvSpPr/>
            <p:nvPr/>
          </p:nvSpPr>
          <p:spPr>
            <a:xfrm>
              <a:off x="536269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4" name="object 644">
              <a:extLst>
                <a:ext uri="{FF2B5EF4-FFF2-40B4-BE49-F238E27FC236}">
                  <a16:creationId xmlns:a16="http://schemas.microsoft.com/office/drawing/2014/main" id="{05A4ACAF-D2A3-1CBC-57E8-CBCC13E7FB8E}"/>
                </a:ext>
              </a:extLst>
            </p:cNvPr>
            <p:cNvSpPr/>
            <p:nvPr/>
          </p:nvSpPr>
          <p:spPr>
            <a:xfrm>
              <a:off x="518772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5" name="object 645">
              <a:extLst>
                <a:ext uri="{FF2B5EF4-FFF2-40B4-BE49-F238E27FC236}">
                  <a16:creationId xmlns:a16="http://schemas.microsoft.com/office/drawing/2014/main" id="{E18D59C9-DFF4-E835-6B1C-44BA4C3A4EC0}"/>
                </a:ext>
              </a:extLst>
            </p:cNvPr>
            <p:cNvSpPr/>
            <p:nvPr/>
          </p:nvSpPr>
          <p:spPr>
            <a:xfrm>
              <a:off x="5012759" y="49066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6" name="object 646">
              <a:extLst>
                <a:ext uri="{FF2B5EF4-FFF2-40B4-BE49-F238E27FC236}">
                  <a16:creationId xmlns:a16="http://schemas.microsoft.com/office/drawing/2014/main" id="{22D2DEF8-4287-2B49-8A6B-C6BC28489744}"/>
                </a:ext>
              </a:extLst>
            </p:cNvPr>
            <p:cNvSpPr/>
            <p:nvPr/>
          </p:nvSpPr>
          <p:spPr>
            <a:xfrm>
              <a:off x="5012759" y="49321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7" name="object 647">
              <a:extLst>
                <a:ext uri="{FF2B5EF4-FFF2-40B4-BE49-F238E27FC236}">
                  <a16:creationId xmlns:a16="http://schemas.microsoft.com/office/drawing/2014/main" id="{248B6FAE-DA3C-AEB0-522E-CD026820C473}"/>
                </a:ext>
              </a:extLst>
            </p:cNvPr>
            <p:cNvSpPr/>
            <p:nvPr/>
          </p:nvSpPr>
          <p:spPr>
            <a:xfrm>
              <a:off x="5012877" y="4906670"/>
              <a:ext cx="978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1290"/>
                <a:gd name="f4" fmla="val 84454"/>
                <a:gd name="f5" fmla="val 161220"/>
                <a:gd name="f6" fmla="val 84133"/>
                <a:gd name="f7" fmla="*/ f0 1 161290"/>
                <a:gd name="f8" fmla="*/ f1 1 84454"/>
                <a:gd name="f9" fmla="+- f4 0 f2"/>
                <a:gd name="f10" fmla="+- f3 0 f2"/>
                <a:gd name="f11" fmla="*/ f10 1 161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1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8" name="object 648">
              <a:extLst>
                <a:ext uri="{FF2B5EF4-FFF2-40B4-BE49-F238E27FC236}">
                  <a16:creationId xmlns:a16="http://schemas.microsoft.com/office/drawing/2014/main" id="{DC2D5A65-C870-9281-93E8-E9B16A06C70A}"/>
                </a:ext>
              </a:extLst>
            </p:cNvPr>
            <p:cNvSpPr/>
            <p:nvPr/>
          </p:nvSpPr>
          <p:spPr>
            <a:xfrm>
              <a:off x="5362352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49" name="object 649">
              <a:extLst>
                <a:ext uri="{FF2B5EF4-FFF2-40B4-BE49-F238E27FC236}">
                  <a16:creationId xmlns:a16="http://schemas.microsoft.com/office/drawing/2014/main" id="{C87FD417-55C9-EB92-AB98-84D3F7896953}"/>
                </a:ext>
              </a:extLst>
            </p:cNvPr>
            <p:cNvSpPr/>
            <p:nvPr/>
          </p:nvSpPr>
          <p:spPr>
            <a:xfrm>
              <a:off x="5187382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0" name="object 650">
              <a:extLst>
                <a:ext uri="{FF2B5EF4-FFF2-40B4-BE49-F238E27FC236}">
                  <a16:creationId xmlns:a16="http://schemas.microsoft.com/office/drawing/2014/main" id="{4CCD897A-64AD-D8FC-F14B-DE04498F7B6B}"/>
                </a:ext>
              </a:extLst>
            </p:cNvPr>
            <p:cNvSpPr/>
            <p:nvPr/>
          </p:nvSpPr>
          <p:spPr>
            <a:xfrm>
              <a:off x="5012411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1" name="object 651">
              <a:extLst>
                <a:ext uri="{FF2B5EF4-FFF2-40B4-BE49-F238E27FC236}">
                  <a16:creationId xmlns:a16="http://schemas.microsoft.com/office/drawing/2014/main" id="{084199E4-B1A8-CE05-7FB3-7589B2FD592E}"/>
                </a:ext>
              </a:extLst>
            </p:cNvPr>
            <p:cNvSpPr/>
            <p:nvPr/>
          </p:nvSpPr>
          <p:spPr>
            <a:xfrm>
              <a:off x="5187382" y="49789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2" name="object 652">
              <a:extLst>
                <a:ext uri="{FF2B5EF4-FFF2-40B4-BE49-F238E27FC236}">
                  <a16:creationId xmlns:a16="http://schemas.microsoft.com/office/drawing/2014/main" id="{657700B1-86D2-DE1C-FE41-26BC272D80F2}"/>
                </a:ext>
              </a:extLst>
            </p:cNvPr>
            <p:cNvSpPr/>
            <p:nvPr/>
          </p:nvSpPr>
          <p:spPr>
            <a:xfrm>
              <a:off x="5292309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3" name="object 653">
              <a:extLst>
                <a:ext uri="{FF2B5EF4-FFF2-40B4-BE49-F238E27FC236}">
                  <a16:creationId xmlns:a16="http://schemas.microsoft.com/office/drawing/2014/main" id="{C42DE3BD-EA0F-1E67-3B34-0E442C10910B}"/>
                </a:ext>
              </a:extLst>
            </p:cNvPr>
            <p:cNvSpPr/>
            <p:nvPr/>
          </p:nvSpPr>
          <p:spPr>
            <a:xfrm>
              <a:off x="532733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4" name="object 654">
              <a:extLst>
                <a:ext uri="{FF2B5EF4-FFF2-40B4-BE49-F238E27FC236}">
                  <a16:creationId xmlns:a16="http://schemas.microsoft.com/office/drawing/2014/main" id="{3EC3BEF0-4580-2923-77B4-2AEDBCD07E21}"/>
                </a:ext>
              </a:extLst>
            </p:cNvPr>
            <p:cNvSpPr/>
            <p:nvPr/>
          </p:nvSpPr>
          <p:spPr>
            <a:xfrm>
              <a:off x="5222266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5" name="object 655">
              <a:extLst>
                <a:ext uri="{FF2B5EF4-FFF2-40B4-BE49-F238E27FC236}">
                  <a16:creationId xmlns:a16="http://schemas.microsoft.com/office/drawing/2014/main" id="{F93B05DD-7240-C1C0-A324-15E2032AC368}"/>
                </a:ext>
              </a:extLst>
            </p:cNvPr>
            <p:cNvSpPr/>
            <p:nvPr/>
          </p:nvSpPr>
          <p:spPr>
            <a:xfrm>
              <a:off x="5117201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6" name="object 656">
              <a:extLst>
                <a:ext uri="{FF2B5EF4-FFF2-40B4-BE49-F238E27FC236}">
                  <a16:creationId xmlns:a16="http://schemas.microsoft.com/office/drawing/2014/main" id="{7971EA51-3415-5E6A-9644-4F655F893C43}"/>
                </a:ext>
              </a:extLst>
            </p:cNvPr>
            <p:cNvSpPr/>
            <p:nvPr/>
          </p:nvSpPr>
          <p:spPr>
            <a:xfrm>
              <a:off x="5152296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7" name="object 657">
              <a:extLst>
                <a:ext uri="{FF2B5EF4-FFF2-40B4-BE49-F238E27FC236}">
                  <a16:creationId xmlns:a16="http://schemas.microsoft.com/office/drawing/2014/main" id="{08435CF5-4757-4133-E7FE-223C6495891E}"/>
                </a:ext>
              </a:extLst>
            </p:cNvPr>
            <p:cNvSpPr/>
            <p:nvPr/>
          </p:nvSpPr>
          <p:spPr>
            <a:xfrm>
              <a:off x="5047158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8" name="object 658">
              <a:extLst>
                <a:ext uri="{FF2B5EF4-FFF2-40B4-BE49-F238E27FC236}">
                  <a16:creationId xmlns:a16="http://schemas.microsoft.com/office/drawing/2014/main" id="{917DA8A3-4975-A97A-05E4-5ADF57BC2478}"/>
                </a:ext>
              </a:extLst>
            </p:cNvPr>
            <p:cNvSpPr/>
            <p:nvPr/>
          </p:nvSpPr>
          <p:spPr>
            <a:xfrm>
              <a:off x="5257287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59" name="object 659">
              <a:extLst>
                <a:ext uri="{FF2B5EF4-FFF2-40B4-BE49-F238E27FC236}">
                  <a16:creationId xmlns:a16="http://schemas.microsoft.com/office/drawing/2014/main" id="{4BBE6725-0533-CEC3-FF63-DA0628B0DD4A}"/>
                </a:ext>
              </a:extLst>
            </p:cNvPr>
            <p:cNvSpPr/>
            <p:nvPr/>
          </p:nvSpPr>
          <p:spPr>
            <a:xfrm>
              <a:off x="5082180" y="49917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0" name="object 660">
              <a:extLst>
                <a:ext uri="{FF2B5EF4-FFF2-40B4-BE49-F238E27FC236}">
                  <a16:creationId xmlns:a16="http://schemas.microsoft.com/office/drawing/2014/main" id="{346F92BD-0EA2-F95F-9F48-B88845055AF5}"/>
                </a:ext>
              </a:extLst>
            </p:cNvPr>
            <p:cNvSpPr/>
            <p:nvPr/>
          </p:nvSpPr>
          <p:spPr>
            <a:xfrm>
              <a:off x="5012411" y="50044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61" name="object 661">
            <a:extLst>
              <a:ext uri="{FF2B5EF4-FFF2-40B4-BE49-F238E27FC236}">
                <a16:creationId xmlns:a16="http://schemas.microsoft.com/office/drawing/2014/main" id="{829DB130-6229-E5EF-E7A4-8366F1FD190B}"/>
              </a:ext>
            </a:extLst>
          </p:cNvPr>
          <p:cNvGrpSpPr/>
          <p:nvPr/>
        </p:nvGrpSpPr>
        <p:grpSpPr>
          <a:xfrm>
            <a:off x="5012411" y="5668868"/>
            <a:ext cx="350371" cy="123507"/>
            <a:chOff x="5012411" y="5668868"/>
            <a:chExt cx="350371" cy="123507"/>
          </a:xfrm>
        </p:grpSpPr>
        <p:sp>
          <p:nvSpPr>
            <p:cNvPr id="662" name="object 662">
              <a:extLst>
                <a:ext uri="{FF2B5EF4-FFF2-40B4-BE49-F238E27FC236}">
                  <a16:creationId xmlns:a16="http://schemas.microsoft.com/office/drawing/2014/main" id="{F6C5C382-3D00-DFA9-0AC8-0938F3843C75}"/>
                </a:ext>
              </a:extLst>
            </p:cNvPr>
            <p:cNvSpPr/>
            <p:nvPr/>
          </p:nvSpPr>
          <p:spPr>
            <a:xfrm>
              <a:off x="5292656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3" name="object 663">
              <a:extLst>
                <a:ext uri="{FF2B5EF4-FFF2-40B4-BE49-F238E27FC236}">
                  <a16:creationId xmlns:a16="http://schemas.microsoft.com/office/drawing/2014/main" id="{A5507DB6-AD2F-723A-C1E5-D0E387ED5864}"/>
                </a:ext>
              </a:extLst>
            </p:cNvPr>
            <p:cNvSpPr/>
            <p:nvPr/>
          </p:nvSpPr>
          <p:spPr>
            <a:xfrm>
              <a:off x="5327678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4" name="object 664">
              <a:extLst>
                <a:ext uri="{FF2B5EF4-FFF2-40B4-BE49-F238E27FC236}">
                  <a16:creationId xmlns:a16="http://schemas.microsoft.com/office/drawing/2014/main" id="{D8F82205-231F-B0C2-4146-986C26011A80}"/>
                </a:ext>
              </a:extLst>
            </p:cNvPr>
            <p:cNvSpPr/>
            <p:nvPr/>
          </p:nvSpPr>
          <p:spPr>
            <a:xfrm>
              <a:off x="5222613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5" name="object 665">
              <a:extLst>
                <a:ext uri="{FF2B5EF4-FFF2-40B4-BE49-F238E27FC236}">
                  <a16:creationId xmlns:a16="http://schemas.microsoft.com/office/drawing/2014/main" id="{DB4315D3-6F08-4A64-BFB6-181F38AD378A}"/>
                </a:ext>
              </a:extLst>
            </p:cNvPr>
            <p:cNvSpPr/>
            <p:nvPr/>
          </p:nvSpPr>
          <p:spPr>
            <a:xfrm>
              <a:off x="5117549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6" name="object 666">
              <a:extLst>
                <a:ext uri="{FF2B5EF4-FFF2-40B4-BE49-F238E27FC236}">
                  <a16:creationId xmlns:a16="http://schemas.microsoft.com/office/drawing/2014/main" id="{535A99C3-652E-44F5-7EB1-447B7BD49336}"/>
                </a:ext>
              </a:extLst>
            </p:cNvPr>
            <p:cNvSpPr/>
            <p:nvPr/>
          </p:nvSpPr>
          <p:spPr>
            <a:xfrm>
              <a:off x="5152634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7" name="object 667">
              <a:extLst>
                <a:ext uri="{FF2B5EF4-FFF2-40B4-BE49-F238E27FC236}">
                  <a16:creationId xmlns:a16="http://schemas.microsoft.com/office/drawing/2014/main" id="{7D917150-109D-5069-31FF-5F363E1280C4}"/>
                </a:ext>
              </a:extLst>
            </p:cNvPr>
            <p:cNvSpPr/>
            <p:nvPr/>
          </p:nvSpPr>
          <p:spPr>
            <a:xfrm>
              <a:off x="5047506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8" name="object 668">
              <a:extLst>
                <a:ext uri="{FF2B5EF4-FFF2-40B4-BE49-F238E27FC236}">
                  <a16:creationId xmlns:a16="http://schemas.microsoft.com/office/drawing/2014/main" id="{237FBEAC-67D1-6A36-1DB0-446971F0874E}"/>
                </a:ext>
              </a:extLst>
            </p:cNvPr>
            <p:cNvSpPr/>
            <p:nvPr/>
          </p:nvSpPr>
          <p:spPr>
            <a:xfrm>
              <a:off x="5257635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69" name="object 669">
              <a:extLst>
                <a:ext uri="{FF2B5EF4-FFF2-40B4-BE49-F238E27FC236}">
                  <a16:creationId xmlns:a16="http://schemas.microsoft.com/office/drawing/2014/main" id="{0034F719-D6F9-4819-2C51-19FEBDA825A3}"/>
                </a:ext>
              </a:extLst>
            </p:cNvPr>
            <p:cNvSpPr/>
            <p:nvPr/>
          </p:nvSpPr>
          <p:spPr>
            <a:xfrm>
              <a:off x="5082527" y="568162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0" name="object 670">
              <a:extLst>
                <a:ext uri="{FF2B5EF4-FFF2-40B4-BE49-F238E27FC236}">
                  <a16:creationId xmlns:a16="http://schemas.microsoft.com/office/drawing/2014/main" id="{5A378D86-7180-7CF3-D1AC-D2106FF9EF49}"/>
                </a:ext>
              </a:extLst>
            </p:cNvPr>
            <p:cNvSpPr/>
            <p:nvPr/>
          </p:nvSpPr>
          <p:spPr>
            <a:xfrm>
              <a:off x="5362699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1" name="object 671">
              <a:extLst>
                <a:ext uri="{FF2B5EF4-FFF2-40B4-BE49-F238E27FC236}">
                  <a16:creationId xmlns:a16="http://schemas.microsoft.com/office/drawing/2014/main" id="{832507F6-C9B2-7CAA-FF62-DF22828C6685}"/>
                </a:ext>
              </a:extLst>
            </p:cNvPr>
            <p:cNvSpPr/>
            <p:nvPr/>
          </p:nvSpPr>
          <p:spPr>
            <a:xfrm>
              <a:off x="5187729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2" name="object 672">
              <a:extLst>
                <a:ext uri="{FF2B5EF4-FFF2-40B4-BE49-F238E27FC236}">
                  <a16:creationId xmlns:a16="http://schemas.microsoft.com/office/drawing/2014/main" id="{426F7041-4578-791C-99C7-97DD7A14E9A0}"/>
                </a:ext>
              </a:extLst>
            </p:cNvPr>
            <p:cNvSpPr/>
            <p:nvPr/>
          </p:nvSpPr>
          <p:spPr>
            <a:xfrm>
              <a:off x="5012759" y="566886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3" name="object 673">
              <a:extLst>
                <a:ext uri="{FF2B5EF4-FFF2-40B4-BE49-F238E27FC236}">
                  <a16:creationId xmlns:a16="http://schemas.microsoft.com/office/drawing/2014/main" id="{7730DD36-B108-2F90-8FA7-6E2895733550}"/>
                </a:ext>
              </a:extLst>
            </p:cNvPr>
            <p:cNvSpPr/>
            <p:nvPr/>
          </p:nvSpPr>
          <p:spPr>
            <a:xfrm>
              <a:off x="5012759" y="569437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4" name="object 674">
              <a:extLst>
                <a:ext uri="{FF2B5EF4-FFF2-40B4-BE49-F238E27FC236}">
                  <a16:creationId xmlns:a16="http://schemas.microsoft.com/office/drawing/2014/main" id="{793292C2-B4AF-47C9-2AB0-45F37C21064B}"/>
                </a:ext>
              </a:extLst>
            </p:cNvPr>
            <p:cNvSpPr/>
            <p:nvPr/>
          </p:nvSpPr>
          <p:spPr>
            <a:xfrm>
              <a:off x="5012877" y="5668868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4"/>
                <a:gd name="f5" fmla="val 241751"/>
                <a:gd name="f6" fmla="val 84123"/>
                <a:gd name="f7" fmla="*/ f0 1 241934"/>
                <a:gd name="f8" fmla="*/ f1 1 84454"/>
                <a:gd name="f9" fmla="+- f4 0 f2"/>
                <a:gd name="f10" fmla="+- f3 0 f2"/>
                <a:gd name="f11" fmla="*/ f10 1 2419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5" name="object 675">
              <a:extLst>
                <a:ext uri="{FF2B5EF4-FFF2-40B4-BE49-F238E27FC236}">
                  <a16:creationId xmlns:a16="http://schemas.microsoft.com/office/drawing/2014/main" id="{C04D5EDC-475C-E2EB-DDCA-1A7B93AE20AF}"/>
                </a:ext>
              </a:extLst>
            </p:cNvPr>
            <p:cNvSpPr/>
            <p:nvPr/>
          </p:nvSpPr>
          <p:spPr>
            <a:xfrm>
              <a:off x="5362352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6" name="object 676">
              <a:extLst>
                <a:ext uri="{FF2B5EF4-FFF2-40B4-BE49-F238E27FC236}">
                  <a16:creationId xmlns:a16="http://schemas.microsoft.com/office/drawing/2014/main" id="{4D4BDD79-2933-3170-2EFB-795D8545CBAA}"/>
                </a:ext>
              </a:extLst>
            </p:cNvPr>
            <p:cNvSpPr/>
            <p:nvPr/>
          </p:nvSpPr>
          <p:spPr>
            <a:xfrm>
              <a:off x="5187382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7" name="object 677">
              <a:extLst>
                <a:ext uri="{FF2B5EF4-FFF2-40B4-BE49-F238E27FC236}">
                  <a16:creationId xmlns:a16="http://schemas.microsoft.com/office/drawing/2014/main" id="{B063C2E0-D002-5254-3059-88233C8473B0}"/>
                </a:ext>
              </a:extLst>
            </p:cNvPr>
            <p:cNvSpPr/>
            <p:nvPr/>
          </p:nvSpPr>
          <p:spPr>
            <a:xfrm>
              <a:off x="5012411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8" name="object 678">
              <a:extLst>
                <a:ext uri="{FF2B5EF4-FFF2-40B4-BE49-F238E27FC236}">
                  <a16:creationId xmlns:a16="http://schemas.microsoft.com/office/drawing/2014/main" id="{FF26D217-942A-88D2-7C21-E1A7479FB392}"/>
                </a:ext>
              </a:extLst>
            </p:cNvPr>
            <p:cNvSpPr/>
            <p:nvPr/>
          </p:nvSpPr>
          <p:spPr>
            <a:xfrm>
              <a:off x="5187382" y="574116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79" name="object 679">
              <a:extLst>
                <a:ext uri="{FF2B5EF4-FFF2-40B4-BE49-F238E27FC236}">
                  <a16:creationId xmlns:a16="http://schemas.microsoft.com/office/drawing/2014/main" id="{5A5EB1F5-F9DB-ECAA-9F6C-E4360A254638}"/>
                </a:ext>
              </a:extLst>
            </p:cNvPr>
            <p:cNvSpPr/>
            <p:nvPr/>
          </p:nvSpPr>
          <p:spPr>
            <a:xfrm>
              <a:off x="5292309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0" name="object 680">
              <a:extLst>
                <a:ext uri="{FF2B5EF4-FFF2-40B4-BE49-F238E27FC236}">
                  <a16:creationId xmlns:a16="http://schemas.microsoft.com/office/drawing/2014/main" id="{CCAAFEA2-8D78-EC07-953A-E8DCD1B17633}"/>
                </a:ext>
              </a:extLst>
            </p:cNvPr>
            <p:cNvSpPr/>
            <p:nvPr/>
          </p:nvSpPr>
          <p:spPr>
            <a:xfrm>
              <a:off x="532733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1" name="object 681">
              <a:extLst>
                <a:ext uri="{FF2B5EF4-FFF2-40B4-BE49-F238E27FC236}">
                  <a16:creationId xmlns:a16="http://schemas.microsoft.com/office/drawing/2014/main" id="{AE83E74A-237A-2B09-681E-133C59663AA6}"/>
                </a:ext>
              </a:extLst>
            </p:cNvPr>
            <p:cNvSpPr/>
            <p:nvPr/>
          </p:nvSpPr>
          <p:spPr>
            <a:xfrm>
              <a:off x="5222266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2" name="object 682">
              <a:extLst>
                <a:ext uri="{FF2B5EF4-FFF2-40B4-BE49-F238E27FC236}">
                  <a16:creationId xmlns:a16="http://schemas.microsoft.com/office/drawing/2014/main" id="{8D2523A4-4402-56E8-1F0D-FA31283C239C}"/>
                </a:ext>
              </a:extLst>
            </p:cNvPr>
            <p:cNvSpPr/>
            <p:nvPr/>
          </p:nvSpPr>
          <p:spPr>
            <a:xfrm>
              <a:off x="5117201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3" name="object 683">
              <a:extLst>
                <a:ext uri="{FF2B5EF4-FFF2-40B4-BE49-F238E27FC236}">
                  <a16:creationId xmlns:a16="http://schemas.microsoft.com/office/drawing/2014/main" id="{9BA3B15E-DFF9-63EC-45A0-FA3B794402CC}"/>
                </a:ext>
              </a:extLst>
            </p:cNvPr>
            <p:cNvSpPr/>
            <p:nvPr/>
          </p:nvSpPr>
          <p:spPr>
            <a:xfrm>
              <a:off x="5152296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4" name="object 684">
              <a:extLst>
                <a:ext uri="{FF2B5EF4-FFF2-40B4-BE49-F238E27FC236}">
                  <a16:creationId xmlns:a16="http://schemas.microsoft.com/office/drawing/2014/main" id="{EBB78954-B32C-D85D-E3F2-B97B08566F6B}"/>
                </a:ext>
              </a:extLst>
            </p:cNvPr>
            <p:cNvSpPr/>
            <p:nvPr/>
          </p:nvSpPr>
          <p:spPr>
            <a:xfrm>
              <a:off x="5047158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5" name="object 685">
              <a:extLst>
                <a:ext uri="{FF2B5EF4-FFF2-40B4-BE49-F238E27FC236}">
                  <a16:creationId xmlns:a16="http://schemas.microsoft.com/office/drawing/2014/main" id="{09B39F0D-55DA-E328-DBEA-40D2C24B0897}"/>
                </a:ext>
              </a:extLst>
            </p:cNvPr>
            <p:cNvSpPr/>
            <p:nvPr/>
          </p:nvSpPr>
          <p:spPr>
            <a:xfrm>
              <a:off x="5257287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6" name="object 686">
              <a:extLst>
                <a:ext uri="{FF2B5EF4-FFF2-40B4-BE49-F238E27FC236}">
                  <a16:creationId xmlns:a16="http://schemas.microsoft.com/office/drawing/2014/main" id="{AA819AE0-627B-30A1-453A-134F4A964F2D}"/>
                </a:ext>
              </a:extLst>
            </p:cNvPr>
            <p:cNvSpPr/>
            <p:nvPr/>
          </p:nvSpPr>
          <p:spPr>
            <a:xfrm>
              <a:off x="5082180" y="575391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87" name="object 687">
              <a:extLst>
                <a:ext uri="{FF2B5EF4-FFF2-40B4-BE49-F238E27FC236}">
                  <a16:creationId xmlns:a16="http://schemas.microsoft.com/office/drawing/2014/main" id="{27818ED0-AD5F-CA86-63F5-F0C9F01CB088}"/>
                </a:ext>
              </a:extLst>
            </p:cNvPr>
            <p:cNvSpPr/>
            <p:nvPr/>
          </p:nvSpPr>
          <p:spPr>
            <a:xfrm>
              <a:off x="5012411" y="576667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688" name="object 688">
            <a:extLst>
              <a:ext uri="{FF2B5EF4-FFF2-40B4-BE49-F238E27FC236}">
                <a16:creationId xmlns:a16="http://schemas.microsoft.com/office/drawing/2014/main" id="{E3DF1A3D-C5E2-5D33-5637-D84AA2D69C6C}"/>
              </a:ext>
            </a:extLst>
          </p:cNvPr>
          <p:cNvGrpSpPr/>
          <p:nvPr/>
        </p:nvGrpSpPr>
        <p:grpSpPr>
          <a:xfrm>
            <a:off x="5012411" y="6432932"/>
            <a:ext cx="350371" cy="123507"/>
            <a:chOff x="5012411" y="6432932"/>
            <a:chExt cx="350371" cy="123507"/>
          </a:xfrm>
        </p:grpSpPr>
        <p:sp>
          <p:nvSpPr>
            <p:cNvPr id="689" name="object 689">
              <a:extLst>
                <a:ext uri="{FF2B5EF4-FFF2-40B4-BE49-F238E27FC236}">
                  <a16:creationId xmlns:a16="http://schemas.microsoft.com/office/drawing/2014/main" id="{EC8D5ECB-0D56-FD6A-5E5C-6C1F25AAAC3F}"/>
                </a:ext>
              </a:extLst>
            </p:cNvPr>
            <p:cNvSpPr/>
            <p:nvPr/>
          </p:nvSpPr>
          <p:spPr>
            <a:xfrm>
              <a:off x="5292656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0" name="object 690">
              <a:extLst>
                <a:ext uri="{FF2B5EF4-FFF2-40B4-BE49-F238E27FC236}">
                  <a16:creationId xmlns:a16="http://schemas.microsoft.com/office/drawing/2014/main" id="{BDE0B196-AA28-6F0B-D270-1C7A19E6B4EB}"/>
                </a:ext>
              </a:extLst>
            </p:cNvPr>
            <p:cNvSpPr/>
            <p:nvPr/>
          </p:nvSpPr>
          <p:spPr>
            <a:xfrm>
              <a:off x="5327678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1" name="object 691">
              <a:extLst>
                <a:ext uri="{FF2B5EF4-FFF2-40B4-BE49-F238E27FC236}">
                  <a16:creationId xmlns:a16="http://schemas.microsoft.com/office/drawing/2014/main" id="{0985F818-D307-6263-25E3-AF7DA6E5EDEC}"/>
                </a:ext>
              </a:extLst>
            </p:cNvPr>
            <p:cNvSpPr/>
            <p:nvPr/>
          </p:nvSpPr>
          <p:spPr>
            <a:xfrm>
              <a:off x="5222613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2" name="object 692">
              <a:extLst>
                <a:ext uri="{FF2B5EF4-FFF2-40B4-BE49-F238E27FC236}">
                  <a16:creationId xmlns:a16="http://schemas.microsoft.com/office/drawing/2014/main" id="{20FA5CD9-52DA-9005-A207-A98A480F2538}"/>
                </a:ext>
              </a:extLst>
            </p:cNvPr>
            <p:cNvSpPr/>
            <p:nvPr/>
          </p:nvSpPr>
          <p:spPr>
            <a:xfrm>
              <a:off x="5117549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3" name="object 693">
              <a:extLst>
                <a:ext uri="{FF2B5EF4-FFF2-40B4-BE49-F238E27FC236}">
                  <a16:creationId xmlns:a16="http://schemas.microsoft.com/office/drawing/2014/main" id="{8138DA2D-C4B3-4317-32CC-41D64446E36B}"/>
                </a:ext>
              </a:extLst>
            </p:cNvPr>
            <p:cNvSpPr/>
            <p:nvPr/>
          </p:nvSpPr>
          <p:spPr>
            <a:xfrm>
              <a:off x="5152634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4" name="object 694">
              <a:extLst>
                <a:ext uri="{FF2B5EF4-FFF2-40B4-BE49-F238E27FC236}">
                  <a16:creationId xmlns:a16="http://schemas.microsoft.com/office/drawing/2014/main" id="{74D301C0-7F6E-D2C0-AA4D-4DD2FA85EA25}"/>
                </a:ext>
              </a:extLst>
            </p:cNvPr>
            <p:cNvSpPr/>
            <p:nvPr/>
          </p:nvSpPr>
          <p:spPr>
            <a:xfrm>
              <a:off x="5047506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5" name="object 695">
              <a:extLst>
                <a:ext uri="{FF2B5EF4-FFF2-40B4-BE49-F238E27FC236}">
                  <a16:creationId xmlns:a16="http://schemas.microsoft.com/office/drawing/2014/main" id="{49DDD7AF-CFEA-DFBB-4507-D13D9DF2A0CC}"/>
                </a:ext>
              </a:extLst>
            </p:cNvPr>
            <p:cNvSpPr/>
            <p:nvPr/>
          </p:nvSpPr>
          <p:spPr>
            <a:xfrm>
              <a:off x="5257635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6" name="object 696">
              <a:extLst>
                <a:ext uri="{FF2B5EF4-FFF2-40B4-BE49-F238E27FC236}">
                  <a16:creationId xmlns:a16="http://schemas.microsoft.com/office/drawing/2014/main" id="{F87BD924-CFFF-392E-C251-F1638414EAE8}"/>
                </a:ext>
              </a:extLst>
            </p:cNvPr>
            <p:cNvSpPr/>
            <p:nvPr/>
          </p:nvSpPr>
          <p:spPr>
            <a:xfrm>
              <a:off x="5082527" y="644568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7" name="object 697">
              <a:extLst>
                <a:ext uri="{FF2B5EF4-FFF2-40B4-BE49-F238E27FC236}">
                  <a16:creationId xmlns:a16="http://schemas.microsoft.com/office/drawing/2014/main" id="{EE43FD20-69DA-7874-C7DC-2B6DE4B06332}"/>
                </a:ext>
              </a:extLst>
            </p:cNvPr>
            <p:cNvSpPr/>
            <p:nvPr/>
          </p:nvSpPr>
          <p:spPr>
            <a:xfrm>
              <a:off x="5362699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8" name="object 698">
              <a:extLst>
                <a:ext uri="{FF2B5EF4-FFF2-40B4-BE49-F238E27FC236}">
                  <a16:creationId xmlns:a16="http://schemas.microsoft.com/office/drawing/2014/main" id="{DFBF687A-4CCA-A83C-B635-A79A5E60A685}"/>
                </a:ext>
              </a:extLst>
            </p:cNvPr>
            <p:cNvSpPr/>
            <p:nvPr/>
          </p:nvSpPr>
          <p:spPr>
            <a:xfrm>
              <a:off x="5187729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699" name="object 699">
              <a:extLst>
                <a:ext uri="{FF2B5EF4-FFF2-40B4-BE49-F238E27FC236}">
                  <a16:creationId xmlns:a16="http://schemas.microsoft.com/office/drawing/2014/main" id="{086F7235-DC31-B4C7-5F44-79BBC4CF1F00}"/>
                </a:ext>
              </a:extLst>
            </p:cNvPr>
            <p:cNvSpPr/>
            <p:nvPr/>
          </p:nvSpPr>
          <p:spPr>
            <a:xfrm>
              <a:off x="5012759" y="643293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0" name="object 700">
              <a:extLst>
                <a:ext uri="{FF2B5EF4-FFF2-40B4-BE49-F238E27FC236}">
                  <a16:creationId xmlns:a16="http://schemas.microsoft.com/office/drawing/2014/main" id="{FA0BC281-0C63-9507-4AF6-2B224E58E05E}"/>
                </a:ext>
              </a:extLst>
            </p:cNvPr>
            <p:cNvSpPr/>
            <p:nvPr/>
          </p:nvSpPr>
          <p:spPr>
            <a:xfrm>
              <a:off x="5012759" y="645843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1" name="object 701">
              <a:extLst>
                <a:ext uri="{FF2B5EF4-FFF2-40B4-BE49-F238E27FC236}">
                  <a16:creationId xmlns:a16="http://schemas.microsoft.com/office/drawing/2014/main" id="{EAB298DE-DD29-204F-21DD-DAACF96F2852}"/>
                </a:ext>
              </a:extLst>
            </p:cNvPr>
            <p:cNvSpPr/>
            <p:nvPr/>
          </p:nvSpPr>
          <p:spPr>
            <a:xfrm>
              <a:off x="5012877" y="6432932"/>
              <a:ext cx="4158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8579"/>
                <a:gd name="f4" fmla="val 84454"/>
                <a:gd name="f5" fmla="val 68479"/>
                <a:gd name="f6" fmla="val 84123"/>
                <a:gd name="f7" fmla="*/ f0 1 68579"/>
                <a:gd name="f8" fmla="*/ f1 1 84454"/>
                <a:gd name="f9" fmla="+- f4 0 f2"/>
                <a:gd name="f10" fmla="+- f3 0 f2"/>
                <a:gd name="f11" fmla="*/ f10 1 68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8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2" name="object 702">
              <a:extLst>
                <a:ext uri="{FF2B5EF4-FFF2-40B4-BE49-F238E27FC236}">
                  <a16:creationId xmlns:a16="http://schemas.microsoft.com/office/drawing/2014/main" id="{32344635-5F09-901C-60F2-D13BA02362ED}"/>
                </a:ext>
              </a:extLst>
            </p:cNvPr>
            <p:cNvSpPr/>
            <p:nvPr/>
          </p:nvSpPr>
          <p:spPr>
            <a:xfrm>
              <a:off x="5362352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3" name="object 703">
              <a:extLst>
                <a:ext uri="{FF2B5EF4-FFF2-40B4-BE49-F238E27FC236}">
                  <a16:creationId xmlns:a16="http://schemas.microsoft.com/office/drawing/2014/main" id="{FD175DF8-DCB8-0629-A83E-13EC76E9BFE8}"/>
                </a:ext>
              </a:extLst>
            </p:cNvPr>
            <p:cNvSpPr/>
            <p:nvPr/>
          </p:nvSpPr>
          <p:spPr>
            <a:xfrm>
              <a:off x="5187382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4" name="object 704">
              <a:extLst>
                <a:ext uri="{FF2B5EF4-FFF2-40B4-BE49-F238E27FC236}">
                  <a16:creationId xmlns:a16="http://schemas.microsoft.com/office/drawing/2014/main" id="{9C3967A7-8933-7CB4-3073-B209706D0DE2}"/>
                </a:ext>
              </a:extLst>
            </p:cNvPr>
            <p:cNvSpPr/>
            <p:nvPr/>
          </p:nvSpPr>
          <p:spPr>
            <a:xfrm>
              <a:off x="5012411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5" name="object 705">
              <a:extLst>
                <a:ext uri="{FF2B5EF4-FFF2-40B4-BE49-F238E27FC236}">
                  <a16:creationId xmlns:a16="http://schemas.microsoft.com/office/drawing/2014/main" id="{4CE4A07D-1FDC-D450-7CF0-BFCBC4613CF2}"/>
                </a:ext>
              </a:extLst>
            </p:cNvPr>
            <p:cNvSpPr/>
            <p:nvPr/>
          </p:nvSpPr>
          <p:spPr>
            <a:xfrm>
              <a:off x="5187382" y="65052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6" name="object 706">
              <a:extLst>
                <a:ext uri="{FF2B5EF4-FFF2-40B4-BE49-F238E27FC236}">
                  <a16:creationId xmlns:a16="http://schemas.microsoft.com/office/drawing/2014/main" id="{B1A91CD3-0DE4-D02C-0517-B953AB04D9D4}"/>
                </a:ext>
              </a:extLst>
            </p:cNvPr>
            <p:cNvSpPr/>
            <p:nvPr/>
          </p:nvSpPr>
          <p:spPr>
            <a:xfrm>
              <a:off x="5292309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7" name="object 707">
              <a:extLst>
                <a:ext uri="{FF2B5EF4-FFF2-40B4-BE49-F238E27FC236}">
                  <a16:creationId xmlns:a16="http://schemas.microsoft.com/office/drawing/2014/main" id="{8D23214C-3D0F-6051-37A0-6AD233344033}"/>
                </a:ext>
              </a:extLst>
            </p:cNvPr>
            <p:cNvSpPr/>
            <p:nvPr/>
          </p:nvSpPr>
          <p:spPr>
            <a:xfrm>
              <a:off x="532733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8" name="object 708">
              <a:extLst>
                <a:ext uri="{FF2B5EF4-FFF2-40B4-BE49-F238E27FC236}">
                  <a16:creationId xmlns:a16="http://schemas.microsoft.com/office/drawing/2014/main" id="{1CCE53A1-9FF9-3A19-791D-9C177163B9E8}"/>
                </a:ext>
              </a:extLst>
            </p:cNvPr>
            <p:cNvSpPr/>
            <p:nvPr/>
          </p:nvSpPr>
          <p:spPr>
            <a:xfrm>
              <a:off x="5222266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09" name="object 709">
              <a:extLst>
                <a:ext uri="{FF2B5EF4-FFF2-40B4-BE49-F238E27FC236}">
                  <a16:creationId xmlns:a16="http://schemas.microsoft.com/office/drawing/2014/main" id="{8C609CDB-B27B-CB70-2878-143A50E9E54E}"/>
                </a:ext>
              </a:extLst>
            </p:cNvPr>
            <p:cNvSpPr/>
            <p:nvPr/>
          </p:nvSpPr>
          <p:spPr>
            <a:xfrm>
              <a:off x="5117201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0" name="object 710">
              <a:extLst>
                <a:ext uri="{FF2B5EF4-FFF2-40B4-BE49-F238E27FC236}">
                  <a16:creationId xmlns:a16="http://schemas.microsoft.com/office/drawing/2014/main" id="{0B014928-B77B-D783-75A4-548AF06FB119}"/>
                </a:ext>
              </a:extLst>
            </p:cNvPr>
            <p:cNvSpPr/>
            <p:nvPr/>
          </p:nvSpPr>
          <p:spPr>
            <a:xfrm>
              <a:off x="5152296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1" name="object 711">
              <a:extLst>
                <a:ext uri="{FF2B5EF4-FFF2-40B4-BE49-F238E27FC236}">
                  <a16:creationId xmlns:a16="http://schemas.microsoft.com/office/drawing/2014/main" id="{D4A29734-5754-2177-9FA1-5C8A57C5112A}"/>
                </a:ext>
              </a:extLst>
            </p:cNvPr>
            <p:cNvSpPr/>
            <p:nvPr/>
          </p:nvSpPr>
          <p:spPr>
            <a:xfrm>
              <a:off x="5047158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2" name="object 712">
              <a:extLst>
                <a:ext uri="{FF2B5EF4-FFF2-40B4-BE49-F238E27FC236}">
                  <a16:creationId xmlns:a16="http://schemas.microsoft.com/office/drawing/2014/main" id="{47C04201-444C-0F32-949E-E69595BC6B79}"/>
                </a:ext>
              </a:extLst>
            </p:cNvPr>
            <p:cNvSpPr/>
            <p:nvPr/>
          </p:nvSpPr>
          <p:spPr>
            <a:xfrm>
              <a:off x="5257287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3" name="object 713">
              <a:extLst>
                <a:ext uri="{FF2B5EF4-FFF2-40B4-BE49-F238E27FC236}">
                  <a16:creationId xmlns:a16="http://schemas.microsoft.com/office/drawing/2014/main" id="{D122BE61-BBFB-22F3-847E-49DA25ED3EAF}"/>
                </a:ext>
              </a:extLst>
            </p:cNvPr>
            <p:cNvSpPr/>
            <p:nvPr/>
          </p:nvSpPr>
          <p:spPr>
            <a:xfrm>
              <a:off x="5082180" y="651797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14" name="object 714">
              <a:extLst>
                <a:ext uri="{FF2B5EF4-FFF2-40B4-BE49-F238E27FC236}">
                  <a16:creationId xmlns:a16="http://schemas.microsoft.com/office/drawing/2014/main" id="{480717D9-CC27-A8E0-3ECB-B740865FA801}"/>
                </a:ext>
              </a:extLst>
            </p:cNvPr>
            <p:cNvSpPr/>
            <p:nvPr/>
          </p:nvSpPr>
          <p:spPr>
            <a:xfrm>
              <a:off x="5012411" y="653073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15" name="object 715">
            <a:extLst>
              <a:ext uri="{FF2B5EF4-FFF2-40B4-BE49-F238E27FC236}">
                <a16:creationId xmlns:a16="http://schemas.microsoft.com/office/drawing/2014/main" id="{CAE52726-B401-0A57-A5A0-449BD5AB77E5}"/>
              </a:ext>
            </a:extLst>
          </p:cNvPr>
          <p:cNvGrpSpPr/>
          <p:nvPr/>
        </p:nvGrpSpPr>
        <p:grpSpPr>
          <a:xfrm>
            <a:off x="5833817" y="3633295"/>
            <a:ext cx="351175" cy="351175"/>
            <a:chOff x="5833817" y="3633295"/>
            <a:chExt cx="351175" cy="351175"/>
          </a:xfrm>
        </p:grpSpPr>
        <p:pic>
          <p:nvPicPr>
            <p:cNvPr id="716" name="object 716">
              <a:extLst>
                <a:ext uri="{FF2B5EF4-FFF2-40B4-BE49-F238E27FC236}">
                  <a16:creationId xmlns:a16="http://schemas.microsoft.com/office/drawing/2014/main" id="{48E86754-ADD9-9A74-BFBE-B54D0777CC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833817" y="3633295"/>
              <a:ext cx="351083" cy="35110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17" name="object 717">
              <a:extLst>
                <a:ext uri="{FF2B5EF4-FFF2-40B4-BE49-F238E27FC236}">
                  <a16:creationId xmlns:a16="http://schemas.microsoft.com/office/drawing/2014/main" id="{1EEA5710-48DD-0984-354A-8224C72A297E}"/>
                </a:ext>
              </a:extLst>
            </p:cNvPr>
            <p:cNvSpPr/>
            <p:nvPr/>
          </p:nvSpPr>
          <p:spPr>
            <a:xfrm>
              <a:off x="5833817" y="3633295"/>
              <a:ext cx="351175" cy="35117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9120"/>
                <a:gd name="f4" fmla="val 289488"/>
                <a:gd name="f5" fmla="val 3788"/>
                <a:gd name="f6" fmla="val 336445"/>
                <a:gd name="f7" fmla="val 14757"/>
                <a:gd name="f8" fmla="val 380989"/>
                <a:gd name="f9" fmla="val 32309"/>
                <a:gd name="f10" fmla="val 422525"/>
                <a:gd name="f11" fmla="val 55850"/>
                <a:gd name="f12" fmla="val 460456"/>
                <a:gd name="f13" fmla="val 84782"/>
                <a:gd name="f14" fmla="val 494187"/>
                <a:gd name="f15" fmla="val 118511"/>
                <a:gd name="f16" fmla="val 523122"/>
                <a:gd name="f17" fmla="val 156440"/>
                <a:gd name="f18" fmla="val 546664"/>
                <a:gd name="f19" fmla="val 197973"/>
                <a:gd name="f20" fmla="val 564218"/>
                <a:gd name="f21" fmla="val 242514"/>
                <a:gd name="f22" fmla="val 575188"/>
                <a:gd name="f23" fmla="val 289467"/>
                <a:gd name="f24" fmla="val 578977"/>
                <a:gd name="f25" fmla="val 336426"/>
                <a:gd name="f26" fmla="val 380972"/>
                <a:gd name="f27" fmla="val 422508"/>
                <a:gd name="f28" fmla="val 460440"/>
                <a:gd name="f29" fmla="val 494170"/>
                <a:gd name="f30" fmla="val 523104"/>
                <a:gd name="f31" fmla="val 546645"/>
                <a:gd name="f32" fmla="val 564198"/>
                <a:gd name="f33" fmla="val 575167"/>
                <a:gd name="f34" fmla="val 578956"/>
                <a:gd name="f35" fmla="val 242534"/>
                <a:gd name="f36" fmla="val 197991"/>
                <a:gd name="f37" fmla="val 156456"/>
                <a:gd name="f38" fmla="val 118524"/>
                <a:gd name="f39" fmla="val 84793"/>
                <a:gd name="f40" fmla="val 55857"/>
                <a:gd name="f41" fmla="val 32314"/>
                <a:gd name="f42" fmla="val 14759"/>
                <a:gd name="f43" fmla="val 3789"/>
                <a:gd name="f44" fmla="*/ f0 1 579120"/>
                <a:gd name="f45" fmla="*/ f1 1 579120"/>
                <a:gd name="f46" fmla="+- f3 0 f2"/>
                <a:gd name="f47" fmla="*/ f46 1 579120"/>
                <a:gd name="f48" fmla="*/ f2 1 f47"/>
                <a:gd name="f49" fmla="*/ f3 1 f47"/>
                <a:gd name="f50" fmla="*/ f48 f44 1"/>
                <a:gd name="f51" fmla="*/ f49 f44 1"/>
                <a:gd name="f52" fmla="*/ f49 f45 1"/>
                <a:gd name="f53" fmla="*/ f48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9120" h="579120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2"/>
                  </a:lnTo>
                  <a:lnTo>
                    <a:pt x="f26" y="f20"/>
                  </a:lnTo>
                  <a:lnTo>
                    <a:pt x="f27" y="f18"/>
                  </a:lnTo>
                  <a:lnTo>
                    <a:pt x="f28" y="f16"/>
                  </a:lnTo>
                  <a:lnTo>
                    <a:pt x="f29" y="f14"/>
                  </a:lnTo>
                  <a:lnTo>
                    <a:pt x="f30" y="f12"/>
                  </a:lnTo>
                  <a:lnTo>
                    <a:pt x="f31" y="f10"/>
                  </a:lnTo>
                  <a:lnTo>
                    <a:pt x="f32" y="f8"/>
                  </a:lnTo>
                  <a:lnTo>
                    <a:pt x="f33" y="f6"/>
                  </a:lnTo>
                  <a:lnTo>
                    <a:pt x="f34" y="f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42"/>
                  </a:lnTo>
                  <a:lnTo>
                    <a:pt x="f25" y="f43"/>
                  </a:lnTo>
                  <a:lnTo>
                    <a:pt x="f23" y="f2"/>
                  </a:lnTo>
                  <a:lnTo>
                    <a:pt x="f21" y="f43"/>
                  </a:lnTo>
                  <a:lnTo>
                    <a:pt x="f19" y="f42"/>
                  </a:lnTo>
                  <a:lnTo>
                    <a:pt x="f17" y="f41"/>
                  </a:lnTo>
                  <a:lnTo>
                    <a:pt x="f15" y="f40"/>
                  </a:lnTo>
                  <a:lnTo>
                    <a:pt x="f13" y="f39"/>
                  </a:lnTo>
                  <a:lnTo>
                    <a:pt x="f11" y="f38"/>
                  </a:lnTo>
                  <a:lnTo>
                    <a:pt x="f9" y="f37"/>
                  </a:lnTo>
                  <a:lnTo>
                    <a:pt x="f7" y="f36"/>
                  </a:lnTo>
                  <a:lnTo>
                    <a:pt x="f5" y="f35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18" name="object 718">
            <a:extLst>
              <a:ext uri="{FF2B5EF4-FFF2-40B4-BE49-F238E27FC236}">
                <a16:creationId xmlns:a16="http://schemas.microsoft.com/office/drawing/2014/main" id="{8E3B9E48-F7E2-786A-108B-E577EB028F47}"/>
              </a:ext>
            </a:extLst>
          </p:cNvPr>
          <p:cNvGrpSpPr/>
          <p:nvPr/>
        </p:nvGrpSpPr>
        <p:grpSpPr>
          <a:xfrm>
            <a:off x="3373395" y="4396298"/>
            <a:ext cx="348102" cy="348093"/>
            <a:chOff x="3373395" y="4396298"/>
            <a:chExt cx="348102" cy="348093"/>
          </a:xfrm>
        </p:grpSpPr>
        <p:pic>
          <p:nvPicPr>
            <p:cNvPr id="719" name="object 719">
              <a:extLst>
                <a:ext uri="{FF2B5EF4-FFF2-40B4-BE49-F238E27FC236}">
                  <a16:creationId xmlns:a16="http://schemas.microsoft.com/office/drawing/2014/main" id="{669558CA-8F2C-A06A-1FB1-07C35CC844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373395" y="4396298"/>
              <a:ext cx="348048" cy="34804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20" name="object 720">
              <a:extLst>
                <a:ext uri="{FF2B5EF4-FFF2-40B4-BE49-F238E27FC236}">
                  <a16:creationId xmlns:a16="http://schemas.microsoft.com/office/drawing/2014/main" id="{202DC727-AEAD-6F52-D679-725766F1AEA1}"/>
                </a:ext>
              </a:extLst>
            </p:cNvPr>
            <p:cNvSpPr/>
            <p:nvPr/>
          </p:nvSpPr>
          <p:spPr>
            <a:xfrm>
              <a:off x="3373404" y="4396298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39"/>
                <a:gd name="f4" fmla="val 574040"/>
                <a:gd name="f5" fmla="val 286986"/>
                <a:gd name="f6" fmla="val 3755"/>
                <a:gd name="f7" fmla="val 333533"/>
                <a:gd name="f8" fmla="val 14629"/>
                <a:gd name="f9" fmla="val 377689"/>
                <a:gd name="f10" fmla="val 32030"/>
                <a:gd name="f11" fmla="val 418863"/>
                <a:gd name="f12" fmla="val 55368"/>
                <a:gd name="f13" fmla="val 456464"/>
                <a:gd name="f14" fmla="val 84051"/>
                <a:gd name="f15" fmla="val 489901"/>
                <a:gd name="f16" fmla="val 117489"/>
                <a:gd name="f17" fmla="val 518583"/>
                <a:gd name="f18" fmla="val 155091"/>
                <a:gd name="f19" fmla="val 541920"/>
                <a:gd name="f20" fmla="val 196266"/>
                <a:gd name="f21" fmla="val 559321"/>
                <a:gd name="f22" fmla="val 240425"/>
                <a:gd name="f23" fmla="val 570195"/>
                <a:gd name="f24" fmla="val 286975"/>
                <a:gd name="f25" fmla="val 573951"/>
                <a:gd name="f26" fmla="val 333522"/>
                <a:gd name="f27" fmla="val 377679"/>
                <a:gd name="f28" fmla="val 418852"/>
                <a:gd name="f29" fmla="val 456453"/>
                <a:gd name="f30" fmla="val 489890"/>
                <a:gd name="f31" fmla="val 518573"/>
                <a:gd name="f32" fmla="val 541910"/>
                <a:gd name="f33" fmla="val 559311"/>
                <a:gd name="f34" fmla="val 570184"/>
                <a:gd name="f35" fmla="val 573940"/>
                <a:gd name="f36" fmla="val 240435"/>
                <a:gd name="f37" fmla="val 196276"/>
                <a:gd name="f38" fmla="val 155099"/>
                <a:gd name="f39" fmla="val 117495"/>
                <a:gd name="f40" fmla="val 84056"/>
                <a:gd name="f41" fmla="val 55371"/>
                <a:gd name="f42" fmla="val 32032"/>
                <a:gd name="f43" fmla="val 14630"/>
                <a:gd name="f44" fmla="val 3756"/>
                <a:gd name="f45" fmla="*/ f0 1 574039"/>
                <a:gd name="f46" fmla="*/ f1 1 574040"/>
                <a:gd name="f47" fmla="+- f4 0 f2"/>
                <a:gd name="f48" fmla="+- f3 0 f2"/>
                <a:gd name="f49" fmla="*/ f48 1 574039"/>
                <a:gd name="f50" fmla="*/ f47 1 574040"/>
                <a:gd name="f51" fmla="*/ f2 1 f49"/>
                <a:gd name="f52" fmla="*/ f3 1 f49"/>
                <a:gd name="f53" fmla="*/ f2 1 f50"/>
                <a:gd name="f54" fmla="*/ f4 1 f50"/>
                <a:gd name="f55" fmla="*/ f51 f45 1"/>
                <a:gd name="f56" fmla="*/ f52 f45 1"/>
                <a:gd name="f57" fmla="*/ f54 f46 1"/>
                <a:gd name="f58" fmla="*/ f53 f4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5" t="f58" r="f56" b="f57"/>
              <a:pathLst>
                <a:path w="574039" h="574040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3"/>
                  </a:lnTo>
                  <a:lnTo>
                    <a:pt x="f27" y="f21"/>
                  </a:lnTo>
                  <a:lnTo>
                    <a:pt x="f28" y="f19"/>
                  </a:lnTo>
                  <a:lnTo>
                    <a:pt x="f29" y="f17"/>
                  </a:lnTo>
                  <a:lnTo>
                    <a:pt x="f30" y="f15"/>
                  </a:lnTo>
                  <a:lnTo>
                    <a:pt x="f31" y="f13"/>
                  </a:lnTo>
                  <a:lnTo>
                    <a:pt x="f32" y="f11"/>
                  </a:lnTo>
                  <a:lnTo>
                    <a:pt x="f33" y="f9"/>
                  </a:lnTo>
                  <a:lnTo>
                    <a:pt x="f34" y="f7"/>
                  </a:lnTo>
                  <a:lnTo>
                    <a:pt x="f35" y="f5"/>
                  </a:lnTo>
                  <a:lnTo>
                    <a:pt x="f34" y="f36"/>
                  </a:lnTo>
                  <a:lnTo>
                    <a:pt x="f33" y="f37"/>
                  </a:lnTo>
                  <a:lnTo>
                    <a:pt x="f32" y="f38"/>
                  </a:lnTo>
                  <a:lnTo>
                    <a:pt x="f31" y="f39"/>
                  </a:lnTo>
                  <a:lnTo>
                    <a:pt x="f30" y="f40"/>
                  </a:lnTo>
                  <a:lnTo>
                    <a:pt x="f29" y="f41"/>
                  </a:lnTo>
                  <a:lnTo>
                    <a:pt x="f28" y="f42"/>
                  </a:lnTo>
                  <a:lnTo>
                    <a:pt x="f27" y="f43"/>
                  </a:lnTo>
                  <a:lnTo>
                    <a:pt x="f26" y="f44"/>
                  </a:lnTo>
                  <a:lnTo>
                    <a:pt x="f24" y="f2"/>
                  </a:lnTo>
                  <a:lnTo>
                    <a:pt x="f22" y="f44"/>
                  </a:lnTo>
                  <a:lnTo>
                    <a:pt x="f20" y="f43"/>
                  </a:lnTo>
                  <a:lnTo>
                    <a:pt x="f18" y="f42"/>
                  </a:lnTo>
                  <a:lnTo>
                    <a:pt x="f16" y="f41"/>
                  </a:lnTo>
                  <a:lnTo>
                    <a:pt x="f14" y="f40"/>
                  </a:lnTo>
                  <a:lnTo>
                    <a:pt x="f12" y="f39"/>
                  </a:lnTo>
                  <a:lnTo>
                    <a:pt x="f10" y="f38"/>
                  </a:lnTo>
                  <a:lnTo>
                    <a:pt x="f8" y="f37"/>
                  </a:lnTo>
                  <a:lnTo>
                    <a:pt x="f6" y="f36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21" name="object 721">
            <a:extLst>
              <a:ext uri="{FF2B5EF4-FFF2-40B4-BE49-F238E27FC236}">
                <a16:creationId xmlns:a16="http://schemas.microsoft.com/office/drawing/2014/main" id="{867CF95C-A2A4-0200-8945-5EC2D28433CD}"/>
              </a:ext>
            </a:extLst>
          </p:cNvPr>
          <p:cNvGrpSpPr/>
          <p:nvPr/>
        </p:nvGrpSpPr>
        <p:grpSpPr>
          <a:xfrm>
            <a:off x="5833725" y="4392046"/>
            <a:ext cx="350023" cy="350023"/>
            <a:chOff x="5833725" y="4392046"/>
            <a:chExt cx="350023" cy="350023"/>
          </a:xfrm>
        </p:grpSpPr>
        <p:pic>
          <p:nvPicPr>
            <p:cNvPr id="722" name="object 722">
              <a:extLst>
                <a:ext uri="{FF2B5EF4-FFF2-40B4-BE49-F238E27FC236}">
                  <a16:creationId xmlns:a16="http://schemas.microsoft.com/office/drawing/2014/main" id="{F81D6127-7479-2CC4-EDD0-2E76281D5F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33734" y="4392046"/>
              <a:ext cx="349931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23" name="object 723">
              <a:extLst>
                <a:ext uri="{FF2B5EF4-FFF2-40B4-BE49-F238E27FC236}">
                  <a16:creationId xmlns:a16="http://schemas.microsoft.com/office/drawing/2014/main" id="{72AE628A-9694-60D2-FA8A-139D52416438}"/>
                </a:ext>
              </a:extLst>
            </p:cNvPr>
            <p:cNvSpPr/>
            <p:nvPr/>
          </p:nvSpPr>
          <p:spPr>
            <a:xfrm>
              <a:off x="5833725" y="439204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24" name="object 724">
            <a:extLst>
              <a:ext uri="{FF2B5EF4-FFF2-40B4-BE49-F238E27FC236}">
                <a16:creationId xmlns:a16="http://schemas.microsoft.com/office/drawing/2014/main" id="{A9F08A76-F2E1-0DBF-65E7-6612BF06901F}"/>
              </a:ext>
            </a:extLst>
          </p:cNvPr>
          <p:cNvGrpSpPr/>
          <p:nvPr/>
        </p:nvGrpSpPr>
        <p:grpSpPr>
          <a:xfrm>
            <a:off x="5831467" y="5157353"/>
            <a:ext cx="350032" cy="350032"/>
            <a:chOff x="5831467" y="5157353"/>
            <a:chExt cx="350032" cy="350032"/>
          </a:xfrm>
        </p:grpSpPr>
        <p:pic>
          <p:nvPicPr>
            <p:cNvPr id="725" name="object 725">
              <a:extLst>
                <a:ext uri="{FF2B5EF4-FFF2-40B4-BE49-F238E27FC236}">
                  <a16:creationId xmlns:a16="http://schemas.microsoft.com/office/drawing/2014/main" id="{C38078C4-20D2-5FF0-A6D9-313E37057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831467" y="5157353"/>
              <a:ext cx="34995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26" name="object 726">
              <a:extLst>
                <a:ext uri="{FF2B5EF4-FFF2-40B4-BE49-F238E27FC236}">
                  <a16:creationId xmlns:a16="http://schemas.microsoft.com/office/drawing/2014/main" id="{D196FD9E-9FF2-B63E-09A6-BD1E4A9CF99F}"/>
                </a:ext>
              </a:extLst>
            </p:cNvPr>
            <p:cNvSpPr/>
            <p:nvPr/>
          </p:nvSpPr>
          <p:spPr>
            <a:xfrm>
              <a:off x="5831476" y="515736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27" name="object 727">
            <a:extLst>
              <a:ext uri="{FF2B5EF4-FFF2-40B4-BE49-F238E27FC236}">
                <a16:creationId xmlns:a16="http://schemas.microsoft.com/office/drawing/2014/main" id="{23C7FB86-FACB-E72C-4CC2-5440C0F7EE8C}"/>
              </a:ext>
            </a:extLst>
          </p:cNvPr>
          <p:cNvGrpSpPr/>
          <p:nvPr/>
        </p:nvGrpSpPr>
        <p:grpSpPr>
          <a:xfrm>
            <a:off x="5012128" y="3634575"/>
            <a:ext cx="350023" cy="352821"/>
            <a:chOff x="5012128" y="3634575"/>
            <a:chExt cx="350023" cy="352821"/>
          </a:xfrm>
        </p:grpSpPr>
        <p:pic>
          <p:nvPicPr>
            <p:cNvPr id="728" name="object 728">
              <a:extLst>
                <a:ext uri="{FF2B5EF4-FFF2-40B4-BE49-F238E27FC236}">
                  <a16:creationId xmlns:a16="http://schemas.microsoft.com/office/drawing/2014/main" id="{0BF046C8-CD5A-E84C-79E5-75C2025062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012128" y="3634575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29" name="object 729">
              <a:extLst>
                <a:ext uri="{FF2B5EF4-FFF2-40B4-BE49-F238E27FC236}">
                  <a16:creationId xmlns:a16="http://schemas.microsoft.com/office/drawing/2014/main" id="{17D2FE55-A6EB-3E73-077E-76090BA94050}"/>
                </a:ext>
              </a:extLst>
            </p:cNvPr>
            <p:cNvSpPr/>
            <p:nvPr/>
          </p:nvSpPr>
          <p:spPr>
            <a:xfrm>
              <a:off x="5012128" y="36361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0" name="object 730">
              <a:extLst>
                <a:ext uri="{FF2B5EF4-FFF2-40B4-BE49-F238E27FC236}">
                  <a16:creationId xmlns:a16="http://schemas.microsoft.com/office/drawing/2014/main" id="{224D9DCD-3D25-1204-9BB5-4693E2FE4D2F}"/>
                </a:ext>
              </a:extLst>
            </p:cNvPr>
            <p:cNvSpPr/>
            <p:nvPr/>
          </p:nvSpPr>
          <p:spPr>
            <a:xfrm>
              <a:off x="5012128" y="36373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1" name="object 731">
              <a:extLst>
                <a:ext uri="{FF2B5EF4-FFF2-40B4-BE49-F238E27FC236}">
                  <a16:creationId xmlns:a16="http://schemas.microsoft.com/office/drawing/2014/main" id="{B1D485AC-7FCB-F190-0071-218597FCF2CE}"/>
                </a:ext>
              </a:extLst>
            </p:cNvPr>
            <p:cNvSpPr/>
            <p:nvPr/>
          </p:nvSpPr>
          <p:spPr>
            <a:xfrm>
              <a:off x="5012128" y="36361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2" name="object 732">
              <a:extLst>
                <a:ext uri="{FF2B5EF4-FFF2-40B4-BE49-F238E27FC236}">
                  <a16:creationId xmlns:a16="http://schemas.microsoft.com/office/drawing/2014/main" id="{FFE4B902-EC34-A927-44F3-71FA7E84FC1F}"/>
                </a:ext>
              </a:extLst>
            </p:cNvPr>
            <p:cNvSpPr/>
            <p:nvPr/>
          </p:nvSpPr>
          <p:spPr>
            <a:xfrm>
              <a:off x="5012128" y="36373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3" name="object 733">
              <a:extLst>
                <a:ext uri="{FF2B5EF4-FFF2-40B4-BE49-F238E27FC236}">
                  <a16:creationId xmlns:a16="http://schemas.microsoft.com/office/drawing/2014/main" id="{89AF7118-03E4-9CDD-DB24-9D1D15755A59}"/>
                </a:ext>
              </a:extLst>
            </p:cNvPr>
            <p:cNvSpPr/>
            <p:nvPr/>
          </p:nvSpPr>
          <p:spPr>
            <a:xfrm>
              <a:off x="5012128" y="363610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34" name="object 734">
              <a:extLst>
                <a:ext uri="{FF2B5EF4-FFF2-40B4-BE49-F238E27FC236}">
                  <a16:creationId xmlns:a16="http://schemas.microsoft.com/office/drawing/2014/main" id="{0C63533D-E247-8A78-D93E-074175349317}"/>
                </a:ext>
              </a:extLst>
            </p:cNvPr>
            <p:cNvSpPr/>
            <p:nvPr/>
          </p:nvSpPr>
          <p:spPr>
            <a:xfrm>
              <a:off x="5012128" y="36373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35" name="object 735">
            <a:extLst>
              <a:ext uri="{FF2B5EF4-FFF2-40B4-BE49-F238E27FC236}">
                <a16:creationId xmlns:a16="http://schemas.microsoft.com/office/drawing/2014/main" id="{A1EBD841-8A9F-773B-5AA1-04A5AE2413FC}"/>
              </a:ext>
            </a:extLst>
          </p:cNvPr>
          <p:cNvGrpSpPr/>
          <p:nvPr/>
        </p:nvGrpSpPr>
        <p:grpSpPr>
          <a:xfrm>
            <a:off x="3373441" y="2865153"/>
            <a:ext cx="350023" cy="350023"/>
            <a:chOff x="3373441" y="2865153"/>
            <a:chExt cx="350023" cy="350023"/>
          </a:xfrm>
        </p:grpSpPr>
        <p:pic>
          <p:nvPicPr>
            <p:cNvPr id="736" name="object 736">
              <a:extLst>
                <a:ext uri="{FF2B5EF4-FFF2-40B4-BE49-F238E27FC236}">
                  <a16:creationId xmlns:a16="http://schemas.microsoft.com/office/drawing/2014/main" id="{1BB2974B-CE19-4E65-7DD7-339DE6026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373441" y="2865153"/>
              <a:ext cx="349940" cy="34909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37" name="object 737">
              <a:extLst>
                <a:ext uri="{FF2B5EF4-FFF2-40B4-BE49-F238E27FC236}">
                  <a16:creationId xmlns:a16="http://schemas.microsoft.com/office/drawing/2014/main" id="{C394B451-C761-FF04-6C78-69B7300D6DED}"/>
                </a:ext>
              </a:extLst>
            </p:cNvPr>
            <p:cNvSpPr/>
            <p:nvPr/>
          </p:nvSpPr>
          <p:spPr>
            <a:xfrm>
              <a:off x="3373441" y="286515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38" name="object 738">
            <a:extLst>
              <a:ext uri="{FF2B5EF4-FFF2-40B4-BE49-F238E27FC236}">
                <a16:creationId xmlns:a16="http://schemas.microsoft.com/office/drawing/2014/main" id="{BD53F649-2D07-A5FB-7295-24E8AA56CFCD}"/>
              </a:ext>
            </a:extLst>
          </p:cNvPr>
          <p:cNvGrpSpPr/>
          <p:nvPr/>
        </p:nvGrpSpPr>
        <p:grpSpPr>
          <a:xfrm>
            <a:off x="8299478" y="566287"/>
            <a:ext cx="350023" cy="350042"/>
            <a:chOff x="8299478" y="566287"/>
            <a:chExt cx="350023" cy="350042"/>
          </a:xfrm>
        </p:grpSpPr>
        <p:pic>
          <p:nvPicPr>
            <p:cNvPr id="739" name="object 739">
              <a:extLst>
                <a:ext uri="{FF2B5EF4-FFF2-40B4-BE49-F238E27FC236}">
                  <a16:creationId xmlns:a16="http://schemas.microsoft.com/office/drawing/2014/main" id="{8550FA2A-6A99-2DAC-A3A0-83E521AFE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299478" y="56628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40" name="object 740">
              <a:extLst>
                <a:ext uri="{FF2B5EF4-FFF2-40B4-BE49-F238E27FC236}">
                  <a16:creationId xmlns:a16="http://schemas.microsoft.com/office/drawing/2014/main" id="{493EB8B4-50C4-BD21-B9F0-1A602E652137}"/>
                </a:ext>
              </a:extLst>
            </p:cNvPr>
            <p:cNvSpPr/>
            <p:nvPr/>
          </p:nvSpPr>
          <p:spPr>
            <a:xfrm>
              <a:off x="8299478" y="56630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41" name="object 741">
            <a:extLst>
              <a:ext uri="{FF2B5EF4-FFF2-40B4-BE49-F238E27FC236}">
                <a16:creationId xmlns:a16="http://schemas.microsoft.com/office/drawing/2014/main" id="{A9BC029B-7763-4EAE-5017-3F3DE5C2A924}"/>
              </a:ext>
            </a:extLst>
          </p:cNvPr>
          <p:cNvGrpSpPr/>
          <p:nvPr/>
        </p:nvGrpSpPr>
        <p:grpSpPr>
          <a:xfrm>
            <a:off x="7479481" y="564504"/>
            <a:ext cx="359468" cy="359468"/>
            <a:chOff x="7479481" y="564504"/>
            <a:chExt cx="359468" cy="359468"/>
          </a:xfrm>
        </p:grpSpPr>
        <p:pic>
          <p:nvPicPr>
            <p:cNvPr id="742" name="object 742">
              <a:extLst>
                <a:ext uri="{FF2B5EF4-FFF2-40B4-BE49-F238E27FC236}">
                  <a16:creationId xmlns:a16="http://schemas.microsoft.com/office/drawing/2014/main" id="{55D105CE-7F5A-1AD2-D2C2-38962FCAC5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483275" y="569259"/>
              <a:ext cx="349950" cy="3499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43" name="object 743">
              <a:extLst>
                <a:ext uri="{FF2B5EF4-FFF2-40B4-BE49-F238E27FC236}">
                  <a16:creationId xmlns:a16="http://schemas.microsoft.com/office/drawing/2014/main" id="{EB96FFFC-20BB-0EB1-4C34-B89F44842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479481" y="564504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744" name="object 744">
              <a:extLst>
                <a:ext uri="{FF2B5EF4-FFF2-40B4-BE49-F238E27FC236}">
                  <a16:creationId xmlns:a16="http://schemas.microsoft.com/office/drawing/2014/main" id="{9BC0C800-9116-128B-7457-C288C62F2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479481" y="564504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45" name="object 745">
              <a:extLst>
                <a:ext uri="{FF2B5EF4-FFF2-40B4-BE49-F238E27FC236}">
                  <a16:creationId xmlns:a16="http://schemas.microsoft.com/office/drawing/2014/main" id="{C564E2F8-630C-BF90-61A7-6527E2D922F2}"/>
                </a:ext>
              </a:extLst>
            </p:cNvPr>
            <p:cNvSpPr/>
            <p:nvPr/>
          </p:nvSpPr>
          <p:spPr>
            <a:xfrm>
              <a:off x="7484235" y="56925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46" name="object 746">
            <a:extLst>
              <a:ext uri="{FF2B5EF4-FFF2-40B4-BE49-F238E27FC236}">
                <a16:creationId xmlns:a16="http://schemas.microsoft.com/office/drawing/2014/main" id="{D4DB1106-008B-6731-636D-41749605D129}"/>
              </a:ext>
            </a:extLst>
          </p:cNvPr>
          <p:cNvGrpSpPr/>
          <p:nvPr/>
        </p:nvGrpSpPr>
        <p:grpSpPr>
          <a:xfrm>
            <a:off x="8298024" y="5911852"/>
            <a:ext cx="350023" cy="350023"/>
            <a:chOff x="8298024" y="5911852"/>
            <a:chExt cx="350023" cy="350023"/>
          </a:xfrm>
        </p:grpSpPr>
        <p:pic>
          <p:nvPicPr>
            <p:cNvPr id="747" name="object 747">
              <a:extLst>
                <a:ext uri="{FF2B5EF4-FFF2-40B4-BE49-F238E27FC236}">
                  <a16:creationId xmlns:a16="http://schemas.microsoft.com/office/drawing/2014/main" id="{815E6E07-5175-1014-2FB9-5920D05D1D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8298024" y="5911852"/>
              <a:ext cx="349931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48" name="object 748">
              <a:extLst>
                <a:ext uri="{FF2B5EF4-FFF2-40B4-BE49-F238E27FC236}">
                  <a16:creationId xmlns:a16="http://schemas.microsoft.com/office/drawing/2014/main" id="{0509A46C-0DE7-4D04-E589-B475E10C4B0C}"/>
                </a:ext>
              </a:extLst>
            </p:cNvPr>
            <p:cNvSpPr/>
            <p:nvPr/>
          </p:nvSpPr>
          <p:spPr>
            <a:xfrm>
              <a:off x="8298024" y="591185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49" name="object 749">
            <a:extLst>
              <a:ext uri="{FF2B5EF4-FFF2-40B4-BE49-F238E27FC236}">
                <a16:creationId xmlns:a16="http://schemas.microsoft.com/office/drawing/2014/main" id="{0416D476-9B5B-B766-B4D1-4AA84F289C5A}"/>
              </a:ext>
            </a:extLst>
          </p:cNvPr>
          <p:cNvGrpSpPr/>
          <p:nvPr/>
        </p:nvGrpSpPr>
        <p:grpSpPr>
          <a:xfrm>
            <a:off x="5834987" y="5918993"/>
            <a:ext cx="350023" cy="350023"/>
            <a:chOff x="5834987" y="5918993"/>
            <a:chExt cx="350023" cy="350023"/>
          </a:xfrm>
        </p:grpSpPr>
        <p:pic>
          <p:nvPicPr>
            <p:cNvPr id="750" name="object 750">
              <a:extLst>
                <a:ext uri="{FF2B5EF4-FFF2-40B4-BE49-F238E27FC236}">
                  <a16:creationId xmlns:a16="http://schemas.microsoft.com/office/drawing/2014/main" id="{BD2E7F23-9925-77CA-883B-AB1388430B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5834987" y="5919094"/>
              <a:ext cx="349940" cy="34973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51" name="object 751">
              <a:extLst>
                <a:ext uri="{FF2B5EF4-FFF2-40B4-BE49-F238E27FC236}">
                  <a16:creationId xmlns:a16="http://schemas.microsoft.com/office/drawing/2014/main" id="{1C67D3B1-3805-3F03-488E-8301A5C160BB}"/>
                </a:ext>
              </a:extLst>
            </p:cNvPr>
            <p:cNvSpPr/>
            <p:nvPr/>
          </p:nvSpPr>
          <p:spPr>
            <a:xfrm>
              <a:off x="5834987" y="591899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52" name="object 752">
            <a:extLst>
              <a:ext uri="{FF2B5EF4-FFF2-40B4-BE49-F238E27FC236}">
                <a16:creationId xmlns:a16="http://schemas.microsoft.com/office/drawing/2014/main" id="{6099ABFB-666C-2F20-6999-08ED843A58F5}"/>
              </a:ext>
            </a:extLst>
          </p:cNvPr>
          <p:cNvGrpSpPr/>
          <p:nvPr/>
        </p:nvGrpSpPr>
        <p:grpSpPr>
          <a:xfrm>
            <a:off x="2547829" y="2613080"/>
            <a:ext cx="350023" cy="124239"/>
            <a:chOff x="2547829" y="2613080"/>
            <a:chExt cx="350023" cy="124239"/>
          </a:xfrm>
        </p:grpSpPr>
        <p:sp>
          <p:nvSpPr>
            <p:cNvPr id="753" name="object 753">
              <a:extLst>
                <a:ext uri="{FF2B5EF4-FFF2-40B4-BE49-F238E27FC236}">
                  <a16:creationId xmlns:a16="http://schemas.microsoft.com/office/drawing/2014/main" id="{00D88F8B-8FB5-282D-4E85-BF8B9BE6D8DE}"/>
                </a:ext>
              </a:extLst>
            </p:cNvPr>
            <p:cNvSpPr/>
            <p:nvPr/>
          </p:nvSpPr>
          <p:spPr>
            <a:xfrm>
              <a:off x="2547838" y="2613199"/>
              <a:ext cx="7354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285"/>
                <a:gd name="f4" fmla="val 84454"/>
                <a:gd name="f5" fmla="val 120823"/>
                <a:gd name="f6" fmla="val 84112"/>
                <a:gd name="f7" fmla="*/ f0 1 121285"/>
                <a:gd name="f8" fmla="*/ f1 1 84454"/>
                <a:gd name="f9" fmla="+- f4 0 f2"/>
                <a:gd name="f10" fmla="+- f3 0 f2"/>
                <a:gd name="f11" fmla="*/ f10 1 12128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128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4" name="object 754">
              <a:extLst>
                <a:ext uri="{FF2B5EF4-FFF2-40B4-BE49-F238E27FC236}">
                  <a16:creationId xmlns:a16="http://schemas.microsoft.com/office/drawing/2014/main" id="{A2204D7F-A29C-670E-C0BF-CDAB17C6E9B5}"/>
                </a:ext>
              </a:extLst>
            </p:cNvPr>
            <p:cNvSpPr/>
            <p:nvPr/>
          </p:nvSpPr>
          <p:spPr>
            <a:xfrm>
              <a:off x="2582576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5" name="object 755">
              <a:extLst>
                <a:ext uri="{FF2B5EF4-FFF2-40B4-BE49-F238E27FC236}">
                  <a16:creationId xmlns:a16="http://schemas.microsoft.com/office/drawing/2014/main" id="{50074783-2267-5894-A8FF-5C675AFA9B5E}"/>
                </a:ext>
              </a:extLst>
            </p:cNvPr>
            <p:cNvSpPr/>
            <p:nvPr/>
          </p:nvSpPr>
          <p:spPr>
            <a:xfrm>
              <a:off x="2617598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6" name="object 756">
              <a:extLst>
                <a:ext uri="{FF2B5EF4-FFF2-40B4-BE49-F238E27FC236}">
                  <a16:creationId xmlns:a16="http://schemas.microsoft.com/office/drawing/2014/main" id="{4FC3608E-429D-5B9F-C6C9-1AED2A2F33CD}"/>
                </a:ext>
              </a:extLst>
            </p:cNvPr>
            <p:cNvSpPr/>
            <p:nvPr/>
          </p:nvSpPr>
          <p:spPr>
            <a:xfrm>
              <a:off x="2547838" y="26130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7" name="object 757">
              <a:extLst>
                <a:ext uri="{FF2B5EF4-FFF2-40B4-BE49-F238E27FC236}">
                  <a16:creationId xmlns:a16="http://schemas.microsoft.com/office/drawing/2014/main" id="{C8907658-53F2-AB21-7A78-15D63C5313E3}"/>
                </a:ext>
              </a:extLst>
            </p:cNvPr>
            <p:cNvSpPr/>
            <p:nvPr/>
          </p:nvSpPr>
          <p:spPr>
            <a:xfrm>
              <a:off x="2827736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8" name="object 758">
              <a:extLst>
                <a:ext uri="{FF2B5EF4-FFF2-40B4-BE49-F238E27FC236}">
                  <a16:creationId xmlns:a16="http://schemas.microsoft.com/office/drawing/2014/main" id="{FE4BFD56-F41C-3E55-39DA-EDC5486572DC}"/>
                </a:ext>
              </a:extLst>
            </p:cNvPr>
            <p:cNvSpPr/>
            <p:nvPr/>
          </p:nvSpPr>
          <p:spPr>
            <a:xfrm>
              <a:off x="2862757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59" name="object 759">
              <a:extLst>
                <a:ext uri="{FF2B5EF4-FFF2-40B4-BE49-F238E27FC236}">
                  <a16:creationId xmlns:a16="http://schemas.microsoft.com/office/drawing/2014/main" id="{7468F63D-D9E2-6906-77D8-717CE136DB5A}"/>
                </a:ext>
              </a:extLst>
            </p:cNvPr>
            <p:cNvSpPr/>
            <p:nvPr/>
          </p:nvSpPr>
          <p:spPr>
            <a:xfrm>
              <a:off x="2757693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0" name="object 760">
              <a:extLst>
                <a:ext uri="{FF2B5EF4-FFF2-40B4-BE49-F238E27FC236}">
                  <a16:creationId xmlns:a16="http://schemas.microsoft.com/office/drawing/2014/main" id="{738EEDBE-EA8D-A57D-7E75-D7E0E2A560A1}"/>
                </a:ext>
              </a:extLst>
            </p:cNvPr>
            <p:cNvSpPr/>
            <p:nvPr/>
          </p:nvSpPr>
          <p:spPr>
            <a:xfrm>
              <a:off x="2652619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1" name="object 761">
              <a:extLst>
                <a:ext uri="{FF2B5EF4-FFF2-40B4-BE49-F238E27FC236}">
                  <a16:creationId xmlns:a16="http://schemas.microsoft.com/office/drawing/2014/main" id="{BBF424EA-F840-511C-5AEE-94DD18CC638F}"/>
                </a:ext>
              </a:extLst>
            </p:cNvPr>
            <p:cNvSpPr/>
            <p:nvPr/>
          </p:nvSpPr>
          <p:spPr>
            <a:xfrm>
              <a:off x="2687714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2" name="object 762">
              <a:extLst>
                <a:ext uri="{FF2B5EF4-FFF2-40B4-BE49-F238E27FC236}">
                  <a16:creationId xmlns:a16="http://schemas.microsoft.com/office/drawing/2014/main" id="{0C111981-485F-586B-102D-C6D5BCFF3F25}"/>
                </a:ext>
              </a:extLst>
            </p:cNvPr>
            <p:cNvSpPr/>
            <p:nvPr/>
          </p:nvSpPr>
          <p:spPr>
            <a:xfrm>
              <a:off x="2792714" y="26258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3" name="object 763">
              <a:extLst>
                <a:ext uri="{FF2B5EF4-FFF2-40B4-BE49-F238E27FC236}">
                  <a16:creationId xmlns:a16="http://schemas.microsoft.com/office/drawing/2014/main" id="{BA8DF08C-0E8F-65AE-02F8-187E5EA878DD}"/>
                </a:ext>
              </a:extLst>
            </p:cNvPr>
            <p:cNvSpPr/>
            <p:nvPr/>
          </p:nvSpPr>
          <p:spPr>
            <a:xfrm>
              <a:off x="2897779" y="26130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4" name="object 764">
              <a:extLst>
                <a:ext uri="{FF2B5EF4-FFF2-40B4-BE49-F238E27FC236}">
                  <a16:creationId xmlns:a16="http://schemas.microsoft.com/office/drawing/2014/main" id="{7DAFD905-3BE8-BA51-C25D-9680D44D586F}"/>
                </a:ext>
              </a:extLst>
            </p:cNvPr>
            <p:cNvSpPr/>
            <p:nvPr/>
          </p:nvSpPr>
          <p:spPr>
            <a:xfrm>
              <a:off x="2722808" y="26130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5" name="object 765">
              <a:extLst>
                <a:ext uri="{FF2B5EF4-FFF2-40B4-BE49-F238E27FC236}">
                  <a16:creationId xmlns:a16="http://schemas.microsoft.com/office/drawing/2014/main" id="{F264F91E-A746-1801-D60F-7DE54C99FD0D}"/>
                </a:ext>
              </a:extLst>
            </p:cNvPr>
            <p:cNvSpPr/>
            <p:nvPr/>
          </p:nvSpPr>
          <p:spPr>
            <a:xfrm>
              <a:off x="2547829" y="263859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6" name="object 766">
              <a:extLst>
                <a:ext uri="{FF2B5EF4-FFF2-40B4-BE49-F238E27FC236}">
                  <a16:creationId xmlns:a16="http://schemas.microsoft.com/office/drawing/2014/main" id="{27A4939B-E7C0-AC0B-3FBC-9D0F6BA77960}"/>
                </a:ext>
              </a:extLst>
            </p:cNvPr>
            <p:cNvSpPr/>
            <p:nvPr/>
          </p:nvSpPr>
          <p:spPr>
            <a:xfrm>
              <a:off x="2897779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7" name="object 767">
              <a:extLst>
                <a:ext uri="{FF2B5EF4-FFF2-40B4-BE49-F238E27FC236}">
                  <a16:creationId xmlns:a16="http://schemas.microsoft.com/office/drawing/2014/main" id="{1AE843F3-AB2D-ACED-2CB5-A8D0D83A76A5}"/>
                </a:ext>
              </a:extLst>
            </p:cNvPr>
            <p:cNvSpPr/>
            <p:nvPr/>
          </p:nvSpPr>
          <p:spPr>
            <a:xfrm>
              <a:off x="2722808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8" name="object 768">
              <a:extLst>
                <a:ext uri="{FF2B5EF4-FFF2-40B4-BE49-F238E27FC236}">
                  <a16:creationId xmlns:a16="http://schemas.microsoft.com/office/drawing/2014/main" id="{613D7292-E49A-302C-062A-338F0C08484C}"/>
                </a:ext>
              </a:extLst>
            </p:cNvPr>
            <p:cNvSpPr/>
            <p:nvPr/>
          </p:nvSpPr>
          <p:spPr>
            <a:xfrm>
              <a:off x="2547838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69" name="object 769">
              <a:extLst>
                <a:ext uri="{FF2B5EF4-FFF2-40B4-BE49-F238E27FC236}">
                  <a16:creationId xmlns:a16="http://schemas.microsoft.com/office/drawing/2014/main" id="{D1D965ED-9154-E724-AA93-5D20CE85C17E}"/>
                </a:ext>
              </a:extLst>
            </p:cNvPr>
            <p:cNvSpPr/>
            <p:nvPr/>
          </p:nvSpPr>
          <p:spPr>
            <a:xfrm>
              <a:off x="2722808" y="26861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0" name="object 770">
              <a:extLst>
                <a:ext uri="{FF2B5EF4-FFF2-40B4-BE49-F238E27FC236}">
                  <a16:creationId xmlns:a16="http://schemas.microsoft.com/office/drawing/2014/main" id="{8B1731B5-2110-C99F-7811-DEA533FECDA9}"/>
                </a:ext>
              </a:extLst>
            </p:cNvPr>
            <p:cNvSpPr/>
            <p:nvPr/>
          </p:nvSpPr>
          <p:spPr>
            <a:xfrm>
              <a:off x="2827736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1" name="object 771">
              <a:extLst>
                <a:ext uri="{FF2B5EF4-FFF2-40B4-BE49-F238E27FC236}">
                  <a16:creationId xmlns:a16="http://schemas.microsoft.com/office/drawing/2014/main" id="{5F51C700-3A45-4D9C-1D08-0AD456FB1B1D}"/>
                </a:ext>
              </a:extLst>
            </p:cNvPr>
            <p:cNvSpPr/>
            <p:nvPr/>
          </p:nvSpPr>
          <p:spPr>
            <a:xfrm>
              <a:off x="2862757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2" name="object 772">
              <a:extLst>
                <a:ext uri="{FF2B5EF4-FFF2-40B4-BE49-F238E27FC236}">
                  <a16:creationId xmlns:a16="http://schemas.microsoft.com/office/drawing/2014/main" id="{6289C1BB-21FA-0C8B-58C9-C564AF460DD0}"/>
                </a:ext>
              </a:extLst>
            </p:cNvPr>
            <p:cNvSpPr/>
            <p:nvPr/>
          </p:nvSpPr>
          <p:spPr>
            <a:xfrm>
              <a:off x="2757693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3" name="object 773">
              <a:extLst>
                <a:ext uri="{FF2B5EF4-FFF2-40B4-BE49-F238E27FC236}">
                  <a16:creationId xmlns:a16="http://schemas.microsoft.com/office/drawing/2014/main" id="{8BA4C294-6D4D-CFD7-885D-AB4BE9E7A7B5}"/>
                </a:ext>
              </a:extLst>
            </p:cNvPr>
            <p:cNvSpPr/>
            <p:nvPr/>
          </p:nvSpPr>
          <p:spPr>
            <a:xfrm>
              <a:off x="2652619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4" name="object 774">
              <a:extLst>
                <a:ext uri="{FF2B5EF4-FFF2-40B4-BE49-F238E27FC236}">
                  <a16:creationId xmlns:a16="http://schemas.microsoft.com/office/drawing/2014/main" id="{7B4D6E32-7901-D9E8-99CE-6F3FF46E2075}"/>
                </a:ext>
              </a:extLst>
            </p:cNvPr>
            <p:cNvSpPr/>
            <p:nvPr/>
          </p:nvSpPr>
          <p:spPr>
            <a:xfrm>
              <a:off x="2687714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5" name="object 775">
              <a:extLst>
                <a:ext uri="{FF2B5EF4-FFF2-40B4-BE49-F238E27FC236}">
                  <a16:creationId xmlns:a16="http://schemas.microsoft.com/office/drawing/2014/main" id="{D3DC5519-2BE7-7FD2-A223-A3780EB324D0}"/>
                </a:ext>
              </a:extLst>
            </p:cNvPr>
            <p:cNvSpPr/>
            <p:nvPr/>
          </p:nvSpPr>
          <p:spPr>
            <a:xfrm>
              <a:off x="2582576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6" name="object 776">
              <a:extLst>
                <a:ext uri="{FF2B5EF4-FFF2-40B4-BE49-F238E27FC236}">
                  <a16:creationId xmlns:a16="http://schemas.microsoft.com/office/drawing/2014/main" id="{219F838D-A581-0549-833B-A4C5F2332C64}"/>
                </a:ext>
              </a:extLst>
            </p:cNvPr>
            <p:cNvSpPr/>
            <p:nvPr/>
          </p:nvSpPr>
          <p:spPr>
            <a:xfrm>
              <a:off x="2792714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7" name="object 777">
              <a:extLst>
                <a:ext uri="{FF2B5EF4-FFF2-40B4-BE49-F238E27FC236}">
                  <a16:creationId xmlns:a16="http://schemas.microsoft.com/office/drawing/2014/main" id="{5B5D45F4-9A98-2D12-4B7D-8EAD67217D5E}"/>
                </a:ext>
              </a:extLst>
            </p:cNvPr>
            <p:cNvSpPr/>
            <p:nvPr/>
          </p:nvSpPr>
          <p:spPr>
            <a:xfrm>
              <a:off x="2617598" y="26988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8" name="object 778">
              <a:extLst>
                <a:ext uri="{FF2B5EF4-FFF2-40B4-BE49-F238E27FC236}">
                  <a16:creationId xmlns:a16="http://schemas.microsoft.com/office/drawing/2014/main" id="{6E167CDD-9A84-9416-C1B3-84F886E655A5}"/>
                </a:ext>
              </a:extLst>
            </p:cNvPr>
            <p:cNvSpPr/>
            <p:nvPr/>
          </p:nvSpPr>
          <p:spPr>
            <a:xfrm>
              <a:off x="2547829" y="271161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79" name="object 779">
              <a:extLst>
                <a:ext uri="{FF2B5EF4-FFF2-40B4-BE49-F238E27FC236}">
                  <a16:creationId xmlns:a16="http://schemas.microsoft.com/office/drawing/2014/main" id="{380FB919-1F0F-A7E4-8845-085178BB4771}"/>
                </a:ext>
              </a:extLst>
            </p:cNvPr>
            <p:cNvSpPr/>
            <p:nvPr/>
          </p:nvSpPr>
          <p:spPr>
            <a:xfrm>
              <a:off x="2547838" y="2686104"/>
              <a:ext cx="6738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1125"/>
                <a:gd name="f4" fmla="val 84454"/>
                <a:gd name="f5" fmla="val 110687"/>
                <a:gd name="f6" fmla="val 84112"/>
                <a:gd name="f7" fmla="*/ f0 1 111125"/>
                <a:gd name="f8" fmla="*/ f1 1 84454"/>
                <a:gd name="f9" fmla="+- f4 0 f2"/>
                <a:gd name="f10" fmla="+- f3 0 f2"/>
                <a:gd name="f11" fmla="*/ f10 1 1111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11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780" name="object 780">
            <a:extLst>
              <a:ext uri="{FF2B5EF4-FFF2-40B4-BE49-F238E27FC236}">
                <a16:creationId xmlns:a16="http://schemas.microsoft.com/office/drawing/2014/main" id="{9B9810FB-B88E-51FE-A396-419B19BEFFFA}"/>
              </a:ext>
            </a:extLst>
          </p:cNvPr>
          <p:cNvGrpSpPr/>
          <p:nvPr/>
        </p:nvGrpSpPr>
        <p:grpSpPr>
          <a:xfrm>
            <a:off x="3369692" y="2612724"/>
            <a:ext cx="350023" cy="124239"/>
            <a:chOff x="3369692" y="2612724"/>
            <a:chExt cx="350023" cy="124239"/>
          </a:xfrm>
        </p:grpSpPr>
        <p:sp>
          <p:nvSpPr>
            <p:cNvPr id="781" name="object 781">
              <a:extLst>
                <a:ext uri="{FF2B5EF4-FFF2-40B4-BE49-F238E27FC236}">
                  <a16:creationId xmlns:a16="http://schemas.microsoft.com/office/drawing/2014/main" id="{35FA114B-941B-DA36-4709-110C4F8AAD08}"/>
                </a:ext>
              </a:extLst>
            </p:cNvPr>
            <p:cNvSpPr/>
            <p:nvPr/>
          </p:nvSpPr>
          <p:spPr>
            <a:xfrm>
              <a:off x="3369692" y="2612724"/>
              <a:ext cx="9048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9225"/>
                <a:gd name="f4" fmla="val 84454"/>
                <a:gd name="f5" fmla="val 148623"/>
                <a:gd name="f6" fmla="val 84123"/>
                <a:gd name="f7" fmla="*/ f0 1 149225"/>
                <a:gd name="f8" fmla="*/ f1 1 84454"/>
                <a:gd name="f9" fmla="+- f4 0 f2"/>
                <a:gd name="f10" fmla="+- f3 0 f2"/>
                <a:gd name="f11" fmla="*/ f10 1 14922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922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2" name="object 782">
              <a:extLst>
                <a:ext uri="{FF2B5EF4-FFF2-40B4-BE49-F238E27FC236}">
                  <a16:creationId xmlns:a16="http://schemas.microsoft.com/office/drawing/2014/main" id="{D9672851-C9E7-BDDA-1323-479A010B4AD3}"/>
                </a:ext>
              </a:extLst>
            </p:cNvPr>
            <p:cNvSpPr/>
            <p:nvPr/>
          </p:nvSpPr>
          <p:spPr>
            <a:xfrm>
              <a:off x="3474482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3" name="object 783">
              <a:extLst>
                <a:ext uri="{FF2B5EF4-FFF2-40B4-BE49-F238E27FC236}">
                  <a16:creationId xmlns:a16="http://schemas.microsoft.com/office/drawing/2014/main" id="{A0FE50BE-F230-C71E-9294-62E00325FAB3}"/>
                </a:ext>
              </a:extLst>
            </p:cNvPr>
            <p:cNvSpPr/>
            <p:nvPr/>
          </p:nvSpPr>
          <p:spPr>
            <a:xfrm>
              <a:off x="3404439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4" name="object 784">
              <a:extLst>
                <a:ext uri="{FF2B5EF4-FFF2-40B4-BE49-F238E27FC236}">
                  <a16:creationId xmlns:a16="http://schemas.microsoft.com/office/drawing/2014/main" id="{5327E43B-D302-08A0-9411-6A7A4A990BB4}"/>
                </a:ext>
              </a:extLst>
            </p:cNvPr>
            <p:cNvSpPr/>
            <p:nvPr/>
          </p:nvSpPr>
          <p:spPr>
            <a:xfrm>
              <a:off x="3439460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5" name="object 785">
              <a:extLst>
                <a:ext uri="{FF2B5EF4-FFF2-40B4-BE49-F238E27FC236}">
                  <a16:creationId xmlns:a16="http://schemas.microsoft.com/office/drawing/2014/main" id="{6A4093FA-445C-4853-C7C3-D79042E325C8}"/>
                </a:ext>
              </a:extLst>
            </p:cNvPr>
            <p:cNvSpPr/>
            <p:nvPr/>
          </p:nvSpPr>
          <p:spPr>
            <a:xfrm>
              <a:off x="3369692" y="26127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6" name="object 786">
              <a:extLst>
                <a:ext uri="{FF2B5EF4-FFF2-40B4-BE49-F238E27FC236}">
                  <a16:creationId xmlns:a16="http://schemas.microsoft.com/office/drawing/2014/main" id="{35B32BBB-497F-6499-A476-1A17E2FA78D9}"/>
                </a:ext>
              </a:extLst>
            </p:cNvPr>
            <p:cNvSpPr/>
            <p:nvPr/>
          </p:nvSpPr>
          <p:spPr>
            <a:xfrm>
              <a:off x="3649589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7" name="object 787">
              <a:extLst>
                <a:ext uri="{FF2B5EF4-FFF2-40B4-BE49-F238E27FC236}">
                  <a16:creationId xmlns:a16="http://schemas.microsoft.com/office/drawing/2014/main" id="{50F3B347-05CE-066C-F069-292F67FCDCE2}"/>
                </a:ext>
              </a:extLst>
            </p:cNvPr>
            <p:cNvSpPr/>
            <p:nvPr/>
          </p:nvSpPr>
          <p:spPr>
            <a:xfrm>
              <a:off x="3684611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8" name="object 788">
              <a:extLst>
                <a:ext uri="{FF2B5EF4-FFF2-40B4-BE49-F238E27FC236}">
                  <a16:creationId xmlns:a16="http://schemas.microsoft.com/office/drawing/2014/main" id="{4D826239-084F-A0A5-A48D-1B9134AF6043}"/>
                </a:ext>
              </a:extLst>
            </p:cNvPr>
            <p:cNvSpPr/>
            <p:nvPr/>
          </p:nvSpPr>
          <p:spPr>
            <a:xfrm>
              <a:off x="3579546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89" name="object 789">
              <a:extLst>
                <a:ext uri="{FF2B5EF4-FFF2-40B4-BE49-F238E27FC236}">
                  <a16:creationId xmlns:a16="http://schemas.microsoft.com/office/drawing/2014/main" id="{B9CD0CA7-286D-5D41-3046-CD528B9B5E86}"/>
                </a:ext>
              </a:extLst>
            </p:cNvPr>
            <p:cNvSpPr/>
            <p:nvPr/>
          </p:nvSpPr>
          <p:spPr>
            <a:xfrm>
              <a:off x="3509576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0" name="object 790">
              <a:extLst>
                <a:ext uri="{FF2B5EF4-FFF2-40B4-BE49-F238E27FC236}">
                  <a16:creationId xmlns:a16="http://schemas.microsoft.com/office/drawing/2014/main" id="{EB087B59-3FF0-9F5C-413F-841378C1DFAD}"/>
                </a:ext>
              </a:extLst>
            </p:cNvPr>
            <p:cNvSpPr/>
            <p:nvPr/>
          </p:nvSpPr>
          <p:spPr>
            <a:xfrm>
              <a:off x="3614568" y="262548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1" name="object 791">
              <a:extLst>
                <a:ext uri="{FF2B5EF4-FFF2-40B4-BE49-F238E27FC236}">
                  <a16:creationId xmlns:a16="http://schemas.microsoft.com/office/drawing/2014/main" id="{71F45800-A29B-0A34-6C42-F2D8EA391EAB}"/>
                </a:ext>
              </a:extLst>
            </p:cNvPr>
            <p:cNvSpPr/>
            <p:nvPr/>
          </p:nvSpPr>
          <p:spPr>
            <a:xfrm>
              <a:off x="3719632" y="26127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2" name="object 792">
              <a:extLst>
                <a:ext uri="{FF2B5EF4-FFF2-40B4-BE49-F238E27FC236}">
                  <a16:creationId xmlns:a16="http://schemas.microsoft.com/office/drawing/2014/main" id="{1B38B75A-922D-A2F5-B2FB-B2F537F1D067}"/>
                </a:ext>
              </a:extLst>
            </p:cNvPr>
            <p:cNvSpPr/>
            <p:nvPr/>
          </p:nvSpPr>
          <p:spPr>
            <a:xfrm>
              <a:off x="3544662" y="26127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3" name="object 793">
              <a:extLst>
                <a:ext uri="{FF2B5EF4-FFF2-40B4-BE49-F238E27FC236}">
                  <a16:creationId xmlns:a16="http://schemas.microsoft.com/office/drawing/2014/main" id="{5A73AFF5-8431-8A4B-1A84-181DA5714C7C}"/>
                </a:ext>
              </a:extLst>
            </p:cNvPr>
            <p:cNvSpPr/>
            <p:nvPr/>
          </p:nvSpPr>
          <p:spPr>
            <a:xfrm>
              <a:off x="3369692" y="263822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4" name="object 794">
              <a:extLst>
                <a:ext uri="{FF2B5EF4-FFF2-40B4-BE49-F238E27FC236}">
                  <a16:creationId xmlns:a16="http://schemas.microsoft.com/office/drawing/2014/main" id="{31FF0EE1-DBA5-FF2D-4B5A-8FB88BBBB5F1}"/>
                </a:ext>
              </a:extLst>
            </p:cNvPr>
            <p:cNvSpPr/>
            <p:nvPr/>
          </p:nvSpPr>
          <p:spPr>
            <a:xfrm>
              <a:off x="3370158" y="2685748"/>
              <a:ext cx="635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4775"/>
                <a:gd name="f4" fmla="val 84454"/>
                <a:gd name="f5" fmla="val 104227"/>
                <a:gd name="f6" fmla="val 84112"/>
                <a:gd name="f7" fmla="*/ f0 1 104775"/>
                <a:gd name="f8" fmla="*/ f1 1 84454"/>
                <a:gd name="f9" fmla="+- f4 0 f2"/>
                <a:gd name="f10" fmla="+- f3 0 f2"/>
                <a:gd name="f11" fmla="*/ f10 1 1047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47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5" name="object 795">
              <a:extLst>
                <a:ext uri="{FF2B5EF4-FFF2-40B4-BE49-F238E27FC236}">
                  <a16:creationId xmlns:a16="http://schemas.microsoft.com/office/drawing/2014/main" id="{48DAB389-7F45-720C-D1D9-54C009214234}"/>
                </a:ext>
              </a:extLst>
            </p:cNvPr>
            <p:cNvSpPr/>
            <p:nvPr/>
          </p:nvSpPr>
          <p:spPr>
            <a:xfrm>
              <a:off x="3649589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6" name="object 796">
              <a:extLst>
                <a:ext uri="{FF2B5EF4-FFF2-40B4-BE49-F238E27FC236}">
                  <a16:creationId xmlns:a16="http://schemas.microsoft.com/office/drawing/2014/main" id="{288A5405-1DA5-81A5-72A1-7263BB735506}"/>
                </a:ext>
              </a:extLst>
            </p:cNvPr>
            <p:cNvSpPr/>
            <p:nvPr/>
          </p:nvSpPr>
          <p:spPr>
            <a:xfrm>
              <a:off x="3684611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7" name="object 797">
              <a:extLst>
                <a:ext uri="{FF2B5EF4-FFF2-40B4-BE49-F238E27FC236}">
                  <a16:creationId xmlns:a16="http://schemas.microsoft.com/office/drawing/2014/main" id="{BF854504-C7C1-B20A-93E5-CF6DC2D49F95}"/>
                </a:ext>
              </a:extLst>
            </p:cNvPr>
            <p:cNvSpPr/>
            <p:nvPr/>
          </p:nvSpPr>
          <p:spPr>
            <a:xfrm>
              <a:off x="3579546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8" name="object 798">
              <a:extLst>
                <a:ext uri="{FF2B5EF4-FFF2-40B4-BE49-F238E27FC236}">
                  <a16:creationId xmlns:a16="http://schemas.microsoft.com/office/drawing/2014/main" id="{88D20D86-411F-272E-BB50-6E39477198C0}"/>
                </a:ext>
              </a:extLst>
            </p:cNvPr>
            <p:cNvSpPr/>
            <p:nvPr/>
          </p:nvSpPr>
          <p:spPr>
            <a:xfrm>
              <a:off x="3474482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799" name="object 799">
              <a:extLst>
                <a:ext uri="{FF2B5EF4-FFF2-40B4-BE49-F238E27FC236}">
                  <a16:creationId xmlns:a16="http://schemas.microsoft.com/office/drawing/2014/main" id="{D5502C7D-D829-625C-64C8-753297F027DB}"/>
                </a:ext>
              </a:extLst>
            </p:cNvPr>
            <p:cNvSpPr/>
            <p:nvPr/>
          </p:nvSpPr>
          <p:spPr>
            <a:xfrm>
              <a:off x="3509576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0" name="object 800">
              <a:extLst>
                <a:ext uri="{FF2B5EF4-FFF2-40B4-BE49-F238E27FC236}">
                  <a16:creationId xmlns:a16="http://schemas.microsoft.com/office/drawing/2014/main" id="{1162E09C-83C1-F1F7-3297-10BFC407CD18}"/>
                </a:ext>
              </a:extLst>
            </p:cNvPr>
            <p:cNvSpPr/>
            <p:nvPr/>
          </p:nvSpPr>
          <p:spPr>
            <a:xfrm>
              <a:off x="3404439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1" name="object 801">
              <a:extLst>
                <a:ext uri="{FF2B5EF4-FFF2-40B4-BE49-F238E27FC236}">
                  <a16:creationId xmlns:a16="http://schemas.microsoft.com/office/drawing/2014/main" id="{A39D85DA-8A0A-E7E2-3C05-BAB94D58DC71}"/>
                </a:ext>
              </a:extLst>
            </p:cNvPr>
            <p:cNvSpPr/>
            <p:nvPr/>
          </p:nvSpPr>
          <p:spPr>
            <a:xfrm>
              <a:off x="3614568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2" name="object 802">
              <a:extLst>
                <a:ext uri="{FF2B5EF4-FFF2-40B4-BE49-F238E27FC236}">
                  <a16:creationId xmlns:a16="http://schemas.microsoft.com/office/drawing/2014/main" id="{4C1DB93C-8646-0B5A-E05A-2EE96702C163}"/>
                </a:ext>
              </a:extLst>
            </p:cNvPr>
            <p:cNvSpPr/>
            <p:nvPr/>
          </p:nvSpPr>
          <p:spPr>
            <a:xfrm>
              <a:off x="3439460" y="269849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3" name="object 803">
              <a:extLst>
                <a:ext uri="{FF2B5EF4-FFF2-40B4-BE49-F238E27FC236}">
                  <a16:creationId xmlns:a16="http://schemas.microsoft.com/office/drawing/2014/main" id="{54B020E9-0241-2CB1-DB75-94DCD88C9088}"/>
                </a:ext>
              </a:extLst>
            </p:cNvPr>
            <p:cNvSpPr/>
            <p:nvPr/>
          </p:nvSpPr>
          <p:spPr>
            <a:xfrm>
              <a:off x="371963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4" name="object 804">
              <a:extLst>
                <a:ext uri="{FF2B5EF4-FFF2-40B4-BE49-F238E27FC236}">
                  <a16:creationId xmlns:a16="http://schemas.microsoft.com/office/drawing/2014/main" id="{1F43EA56-B042-07AC-0F13-F11B80F03040}"/>
                </a:ext>
              </a:extLst>
            </p:cNvPr>
            <p:cNvSpPr/>
            <p:nvPr/>
          </p:nvSpPr>
          <p:spPr>
            <a:xfrm>
              <a:off x="354466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5" name="object 805">
              <a:extLst>
                <a:ext uri="{FF2B5EF4-FFF2-40B4-BE49-F238E27FC236}">
                  <a16:creationId xmlns:a16="http://schemas.microsoft.com/office/drawing/2014/main" id="{5613CD81-F698-1D52-95A0-24971B315210}"/>
                </a:ext>
              </a:extLst>
            </p:cNvPr>
            <p:cNvSpPr/>
            <p:nvPr/>
          </p:nvSpPr>
          <p:spPr>
            <a:xfrm>
              <a:off x="336969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6" name="object 806">
              <a:extLst>
                <a:ext uri="{FF2B5EF4-FFF2-40B4-BE49-F238E27FC236}">
                  <a16:creationId xmlns:a16="http://schemas.microsoft.com/office/drawing/2014/main" id="{5A085CE8-40E5-35D4-9978-E6C8959C2E4C}"/>
                </a:ext>
              </a:extLst>
            </p:cNvPr>
            <p:cNvSpPr/>
            <p:nvPr/>
          </p:nvSpPr>
          <p:spPr>
            <a:xfrm>
              <a:off x="3544662" y="268573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07" name="object 807">
              <a:extLst>
                <a:ext uri="{FF2B5EF4-FFF2-40B4-BE49-F238E27FC236}">
                  <a16:creationId xmlns:a16="http://schemas.microsoft.com/office/drawing/2014/main" id="{0C8882A6-EA2D-3D17-52FB-2EA61BFF268A}"/>
                </a:ext>
              </a:extLst>
            </p:cNvPr>
            <p:cNvSpPr/>
            <p:nvPr/>
          </p:nvSpPr>
          <p:spPr>
            <a:xfrm>
              <a:off x="3369692" y="271125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08" name="object 808">
            <a:extLst>
              <a:ext uri="{FF2B5EF4-FFF2-40B4-BE49-F238E27FC236}">
                <a16:creationId xmlns:a16="http://schemas.microsoft.com/office/drawing/2014/main" id="{59178A8C-5F0E-7669-EB26-37B5FB4A1D45}"/>
              </a:ext>
            </a:extLst>
          </p:cNvPr>
          <p:cNvGrpSpPr/>
          <p:nvPr/>
        </p:nvGrpSpPr>
        <p:grpSpPr>
          <a:xfrm>
            <a:off x="3369692" y="3377491"/>
            <a:ext cx="350023" cy="124779"/>
            <a:chOff x="3369692" y="3377491"/>
            <a:chExt cx="350023" cy="124779"/>
          </a:xfrm>
        </p:grpSpPr>
        <p:sp>
          <p:nvSpPr>
            <p:cNvPr id="809" name="object 809">
              <a:extLst>
                <a:ext uri="{FF2B5EF4-FFF2-40B4-BE49-F238E27FC236}">
                  <a16:creationId xmlns:a16="http://schemas.microsoft.com/office/drawing/2014/main" id="{D04F97A8-42D6-C8B7-7415-916A171D2A01}"/>
                </a:ext>
              </a:extLst>
            </p:cNvPr>
            <p:cNvSpPr/>
            <p:nvPr/>
          </p:nvSpPr>
          <p:spPr>
            <a:xfrm>
              <a:off x="3380545" y="3451055"/>
              <a:ext cx="8047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714"/>
                <a:gd name="f4" fmla="val 84454"/>
                <a:gd name="f5" fmla="val 132153"/>
                <a:gd name="f6" fmla="val 84112"/>
                <a:gd name="f7" fmla="*/ f0 1 132714"/>
                <a:gd name="f8" fmla="*/ f1 1 84454"/>
                <a:gd name="f9" fmla="+- f4 0 f2"/>
                <a:gd name="f10" fmla="+- f3 0 f2"/>
                <a:gd name="f11" fmla="*/ f10 1 13271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71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0" name="object 810">
              <a:extLst>
                <a:ext uri="{FF2B5EF4-FFF2-40B4-BE49-F238E27FC236}">
                  <a16:creationId xmlns:a16="http://schemas.microsoft.com/office/drawing/2014/main" id="{7A26661A-4894-FCE9-61B9-93C9B389C0CB}"/>
                </a:ext>
              </a:extLst>
            </p:cNvPr>
            <p:cNvSpPr/>
            <p:nvPr/>
          </p:nvSpPr>
          <p:spPr>
            <a:xfrm>
              <a:off x="3369692" y="3377500"/>
              <a:ext cx="25530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1004"/>
                <a:gd name="f4" fmla="val 84454"/>
                <a:gd name="f5" fmla="val 420866"/>
                <a:gd name="f6" fmla="val 84112"/>
                <a:gd name="f7" fmla="*/ f0 1 421004"/>
                <a:gd name="f8" fmla="*/ f1 1 84454"/>
                <a:gd name="f9" fmla="+- f4 0 f2"/>
                <a:gd name="f10" fmla="+- f3 0 f2"/>
                <a:gd name="f11" fmla="*/ f10 1 4210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10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1" name="object 811">
              <a:extLst>
                <a:ext uri="{FF2B5EF4-FFF2-40B4-BE49-F238E27FC236}">
                  <a16:creationId xmlns:a16="http://schemas.microsoft.com/office/drawing/2014/main" id="{A59FB522-6079-BA65-C650-DE9B181123D0}"/>
                </a:ext>
              </a:extLst>
            </p:cNvPr>
            <p:cNvSpPr/>
            <p:nvPr/>
          </p:nvSpPr>
          <p:spPr>
            <a:xfrm>
              <a:off x="3649589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2" name="object 812">
              <a:extLst>
                <a:ext uri="{FF2B5EF4-FFF2-40B4-BE49-F238E27FC236}">
                  <a16:creationId xmlns:a16="http://schemas.microsoft.com/office/drawing/2014/main" id="{B8A12249-E50F-CEEC-2ED7-C2F22E33A342}"/>
                </a:ext>
              </a:extLst>
            </p:cNvPr>
            <p:cNvSpPr/>
            <p:nvPr/>
          </p:nvSpPr>
          <p:spPr>
            <a:xfrm>
              <a:off x="3579546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3" name="object 813">
              <a:extLst>
                <a:ext uri="{FF2B5EF4-FFF2-40B4-BE49-F238E27FC236}">
                  <a16:creationId xmlns:a16="http://schemas.microsoft.com/office/drawing/2014/main" id="{4BDE090D-1CC1-746F-A899-BC7A67AC962B}"/>
                </a:ext>
              </a:extLst>
            </p:cNvPr>
            <p:cNvSpPr/>
            <p:nvPr/>
          </p:nvSpPr>
          <p:spPr>
            <a:xfrm>
              <a:off x="3474482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4" name="object 814">
              <a:extLst>
                <a:ext uri="{FF2B5EF4-FFF2-40B4-BE49-F238E27FC236}">
                  <a16:creationId xmlns:a16="http://schemas.microsoft.com/office/drawing/2014/main" id="{C8174059-0814-72D6-C215-A516CD1FE793}"/>
                </a:ext>
              </a:extLst>
            </p:cNvPr>
            <p:cNvSpPr/>
            <p:nvPr/>
          </p:nvSpPr>
          <p:spPr>
            <a:xfrm>
              <a:off x="3509576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5" name="object 815">
              <a:extLst>
                <a:ext uri="{FF2B5EF4-FFF2-40B4-BE49-F238E27FC236}">
                  <a16:creationId xmlns:a16="http://schemas.microsoft.com/office/drawing/2014/main" id="{8A70899B-23A7-C550-E1D5-42BD312BC5FA}"/>
                </a:ext>
              </a:extLst>
            </p:cNvPr>
            <p:cNvSpPr/>
            <p:nvPr/>
          </p:nvSpPr>
          <p:spPr>
            <a:xfrm>
              <a:off x="3404439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6" name="object 816">
              <a:extLst>
                <a:ext uri="{FF2B5EF4-FFF2-40B4-BE49-F238E27FC236}">
                  <a16:creationId xmlns:a16="http://schemas.microsoft.com/office/drawing/2014/main" id="{C17DEEFF-EFA3-0841-C4F4-BA40C773FC02}"/>
                </a:ext>
              </a:extLst>
            </p:cNvPr>
            <p:cNvSpPr/>
            <p:nvPr/>
          </p:nvSpPr>
          <p:spPr>
            <a:xfrm>
              <a:off x="3614568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7" name="object 817">
              <a:extLst>
                <a:ext uri="{FF2B5EF4-FFF2-40B4-BE49-F238E27FC236}">
                  <a16:creationId xmlns:a16="http://schemas.microsoft.com/office/drawing/2014/main" id="{973DBF2A-F227-86DA-1D4E-5E6853CA2FEB}"/>
                </a:ext>
              </a:extLst>
            </p:cNvPr>
            <p:cNvSpPr/>
            <p:nvPr/>
          </p:nvSpPr>
          <p:spPr>
            <a:xfrm>
              <a:off x="3439460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8" name="object 818">
              <a:extLst>
                <a:ext uri="{FF2B5EF4-FFF2-40B4-BE49-F238E27FC236}">
                  <a16:creationId xmlns:a16="http://schemas.microsoft.com/office/drawing/2014/main" id="{31AC2C83-45B1-61D5-77A7-50A0BD813B5A}"/>
                </a:ext>
              </a:extLst>
            </p:cNvPr>
            <p:cNvSpPr/>
            <p:nvPr/>
          </p:nvSpPr>
          <p:spPr>
            <a:xfrm>
              <a:off x="354466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19" name="object 819">
              <a:extLst>
                <a:ext uri="{FF2B5EF4-FFF2-40B4-BE49-F238E27FC236}">
                  <a16:creationId xmlns:a16="http://schemas.microsoft.com/office/drawing/2014/main" id="{F9D5B773-34C7-70FA-C5B4-2A57F9BD1F15}"/>
                </a:ext>
              </a:extLst>
            </p:cNvPr>
            <p:cNvSpPr/>
            <p:nvPr/>
          </p:nvSpPr>
          <p:spPr>
            <a:xfrm>
              <a:off x="336969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0" name="object 820">
              <a:extLst>
                <a:ext uri="{FF2B5EF4-FFF2-40B4-BE49-F238E27FC236}">
                  <a16:creationId xmlns:a16="http://schemas.microsoft.com/office/drawing/2014/main" id="{EF47CBE1-0AF8-3266-9BEC-F52D2BA4AAD7}"/>
                </a:ext>
              </a:extLst>
            </p:cNvPr>
            <p:cNvSpPr/>
            <p:nvPr/>
          </p:nvSpPr>
          <p:spPr>
            <a:xfrm>
              <a:off x="354466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1" name="object 821">
              <a:extLst>
                <a:ext uri="{FF2B5EF4-FFF2-40B4-BE49-F238E27FC236}">
                  <a16:creationId xmlns:a16="http://schemas.microsoft.com/office/drawing/2014/main" id="{2D28290F-C3D5-E2B3-E4B3-2EE29CBDF51B}"/>
                </a:ext>
              </a:extLst>
            </p:cNvPr>
            <p:cNvSpPr/>
            <p:nvPr/>
          </p:nvSpPr>
          <p:spPr>
            <a:xfrm>
              <a:off x="3684611" y="339024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2" name="object 822">
              <a:extLst>
                <a:ext uri="{FF2B5EF4-FFF2-40B4-BE49-F238E27FC236}">
                  <a16:creationId xmlns:a16="http://schemas.microsoft.com/office/drawing/2014/main" id="{946847BF-2476-AF10-7241-EE16C0C6BC01}"/>
                </a:ext>
              </a:extLst>
            </p:cNvPr>
            <p:cNvSpPr/>
            <p:nvPr/>
          </p:nvSpPr>
          <p:spPr>
            <a:xfrm>
              <a:off x="3719632" y="337749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3" name="object 823">
              <a:extLst>
                <a:ext uri="{FF2B5EF4-FFF2-40B4-BE49-F238E27FC236}">
                  <a16:creationId xmlns:a16="http://schemas.microsoft.com/office/drawing/2014/main" id="{8725D502-A41B-544C-41D8-B58BBC45B3AC}"/>
                </a:ext>
              </a:extLst>
            </p:cNvPr>
            <p:cNvSpPr/>
            <p:nvPr/>
          </p:nvSpPr>
          <p:spPr>
            <a:xfrm>
              <a:off x="3369692" y="340299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4" name="object 824">
              <a:extLst>
                <a:ext uri="{FF2B5EF4-FFF2-40B4-BE49-F238E27FC236}">
                  <a16:creationId xmlns:a16="http://schemas.microsoft.com/office/drawing/2014/main" id="{B3ADE144-2745-6452-840B-AF4809F92371}"/>
                </a:ext>
              </a:extLst>
            </p:cNvPr>
            <p:cNvSpPr/>
            <p:nvPr/>
          </p:nvSpPr>
          <p:spPr>
            <a:xfrm>
              <a:off x="3649589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5" name="object 825">
              <a:extLst>
                <a:ext uri="{FF2B5EF4-FFF2-40B4-BE49-F238E27FC236}">
                  <a16:creationId xmlns:a16="http://schemas.microsoft.com/office/drawing/2014/main" id="{8BE896D0-4D21-52A9-C696-E56BB83D4F4A}"/>
                </a:ext>
              </a:extLst>
            </p:cNvPr>
            <p:cNvSpPr/>
            <p:nvPr/>
          </p:nvSpPr>
          <p:spPr>
            <a:xfrm>
              <a:off x="3684611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6" name="object 826">
              <a:extLst>
                <a:ext uri="{FF2B5EF4-FFF2-40B4-BE49-F238E27FC236}">
                  <a16:creationId xmlns:a16="http://schemas.microsoft.com/office/drawing/2014/main" id="{AC8E1366-86F7-D02D-ADCD-9D72A6D4D9D2}"/>
                </a:ext>
              </a:extLst>
            </p:cNvPr>
            <p:cNvSpPr/>
            <p:nvPr/>
          </p:nvSpPr>
          <p:spPr>
            <a:xfrm>
              <a:off x="3579546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7" name="object 827">
              <a:extLst>
                <a:ext uri="{FF2B5EF4-FFF2-40B4-BE49-F238E27FC236}">
                  <a16:creationId xmlns:a16="http://schemas.microsoft.com/office/drawing/2014/main" id="{11A9976F-A970-ACC0-4E83-912C826291CA}"/>
                </a:ext>
              </a:extLst>
            </p:cNvPr>
            <p:cNvSpPr/>
            <p:nvPr/>
          </p:nvSpPr>
          <p:spPr>
            <a:xfrm>
              <a:off x="3474482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8" name="object 828">
              <a:extLst>
                <a:ext uri="{FF2B5EF4-FFF2-40B4-BE49-F238E27FC236}">
                  <a16:creationId xmlns:a16="http://schemas.microsoft.com/office/drawing/2014/main" id="{7EBFA717-0B31-0A65-4E1B-8EABC93005BC}"/>
                </a:ext>
              </a:extLst>
            </p:cNvPr>
            <p:cNvSpPr/>
            <p:nvPr/>
          </p:nvSpPr>
          <p:spPr>
            <a:xfrm>
              <a:off x="3509576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29" name="object 829">
              <a:extLst>
                <a:ext uri="{FF2B5EF4-FFF2-40B4-BE49-F238E27FC236}">
                  <a16:creationId xmlns:a16="http://schemas.microsoft.com/office/drawing/2014/main" id="{FD30137B-0E27-D1AD-CA0B-AC303F66C116}"/>
                </a:ext>
              </a:extLst>
            </p:cNvPr>
            <p:cNvSpPr/>
            <p:nvPr/>
          </p:nvSpPr>
          <p:spPr>
            <a:xfrm>
              <a:off x="3404439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0" name="object 830">
              <a:extLst>
                <a:ext uri="{FF2B5EF4-FFF2-40B4-BE49-F238E27FC236}">
                  <a16:creationId xmlns:a16="http://schemas.microsoft.com/office/drawing/2014/main" id="{0CE9A844-D1E6-846F-0F07-06CE9BC5AD8F}"/>
                </a:ext>
              </a:extLst>
            </p:cNvPr>
            <p:cNvSpPr/>
            <p:nvPr/>
          </p:nvSpPr>
          <p:spPr>
            <a:xfrm>
              <a:off x="3614568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1" name="object 831">
              <a:extLst>
                <a:ext uri="{FF2B5EF4-FFF2-40B4-BE49-F238E27FC236}">
                  <a16:creationId xmlns:a16="http://schemas.microsoft.com/office/drawing/2014/main" id="{4C848A18-141C-EF7F-9F6D-3894DB5C4F86}"/>
                </a:ext>
              </a:extLst>
            </p:cNvPr>
            <p:cNvSpPr/>
            <p:nvPr/>
          </p:nvSpPr>
          <p:spPr>
            <a:xfrm>
              <a:off x="3439460" y="34632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2" name="object 832">
              <a:extLst>
                <a:ext uri="{FF2B5EF4-FFF2-40B4-BE49-F238E27FC236}">
                  <a16:creationId xmlns:a16="http://schemas.microsoft.com/office/drawing/2014/main" id="{210691E6-B3C2-0052-4E59-452AF00C8292}"/>
                </a:ext>
              </a:extLst>
            </p:cNvPr>
            <p:cNvSpPr/>
            <p:nvPr/>
          </p:nvSpPr>
          <p:spPr>
            <a:xfrm>
              <a:off x="371963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3" name="object 833">
              <a:extLst>
                <a:ext uri="{FF2B5EF4-FFF2-40B4-BE49-F238E27FC236}">
                  <a16:creationId xmlns:a16="http://schemas.microsoft.com/office/drawing/2014/main" id="{F573C6D7-D252-FE6D-BBBD-7C668081F34C}"/>
                </a:ext>
              </a:extLst>
            </p:cNvPr>
            <p:cNvSpPr/>
            <p:nvPr/>
          </p:nvSpPr>
          <p:spPr>
            <a:xfrm>
              <a:off x="354466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4" name="object 834">
              <a:extLst>
                <a:ext uri="{FF2B5EF4-FFF2-40B4-BE49-F238E27FC236}">
                  <a16:creationId xmlns:a16="http://schemas.microsoft.com/office/drawing/2014/main" id="{5059E9D2-F77A-F47D-732A-8CC3B0B9354D}"/>
                </a:ext>
              </a:extLst>
            </p:cNvPr>
            <p:cNvSpPr/>
            <p:nvPr/>
          </p:nvSpPr>
          <p:spPr>
            <a:xfrm>
              <a:off x="336969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5" name="object 835">
              <a:extLst>
                <a:ext uri="{FF2B5EF4-FFF2-40B4-BE49-F238E27FC236}">
                  <a16:creationId xmlns:a16="http://schemas.microsoft.com/office/drawing/2014/main" id="{BD99DD16-FFC7-1653-E043-C153EE59D452}"/>
                </a:ext>
              </a:extLst>
            </p:cNvPr>
            <p:cNvSpPr/>
            <p:nvPr/>
          </p:nvSpPr>
          <p:spPr>
            <a:xfrm>
              <a:off x="3544662" y="345051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36" name="object 836">
              <a:extLst>
                <a:ext uri="{FF2B5EF4-FFF2-40B4-BE49-F238E27FC236}">
                  <a16:creationId xmlns:a16="http://schemas.microsoft.com/office/drawing/2014/main" id="{6225694E-0AD2-386D-2881-8AB1DE04DA78}"/>
                </a:ext>
              </a:extLst>
            </p:cNvPr>
            <p:cNvSpPr/>
            <p:nvPr/>
          </p:nvSpPr>
          <p:spPr>
            <a:xfrm>
              <a:off x="3369692" y="347601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837" name="object 837">
            <a:extLst>
              <a:ext uri="{FF2B5EF4-FFF2-40B4-BE49-F238E27FC236}">
                <a16:creationId xmlns:a16="http://schemas.microsoft.com/office/drawing/2014/main" id="{4360BA03-CEDA-1287-2E79-95BF74B12446}"/>
              </a:ext>
            </a:extLst>
          </p:cNvPr>
          <p:cNvGrpSpPr/>
          <p:nvPr/>
        </p:nvGrpSpPr>
        <p:grpSpPr>
          <a:xfrm>
            <a:off x="2545241" y="557738"/>
            <a:ext cx="7748177" cy="5716508"/>
            <a:chOff x="2545241" y="557738"/>
            <a:chExt cx="7748177" cy="5716508"/>
          </a:xfrm>
        </p:grpSpPr>
        <p:pic>
          <p:nvPicPr>
            <p:cNvPr id="838" name="object 838">
              <a:extLst>
                <a:ext uri="{FF2B5EF4-FFF2-40B4-BE49-F238E27FC236}">
                  <a16:creationId xmlns:a16="http://schemas.microsoft.com/office/drawing/2014/main" id="{E922BE85-FE65-ED64-2CB1-26E7DF88C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4190512" y="2103248"/>
              <a:ext cx="349940" cy="34445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39" name="object 839">
              <a:extLst>
                <a:ext uri="{FF2B5EF4-FFF2-40B4-BE49-F238E27FC236}">
                  <a16:creationId xmlns:a16="http://schemas.microsoft.com/office/drawing/2014/main" id="{B4F4C94C-B535-D321-D24F-25638A78FF85}"/>
                </a:ext>
              </a:extLst>
            </p:cNvPr>
            <p:cNvSpPr/>
            <p:nvPr/>
          </p:nvSpPr>
          <p:spPr>
            <a:xfrm>
              <a:off x="4190512" y="210266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0" name="object 840">
              <a:extLst>
                <a:ext uri="{FF2B5EF4-FFF2-40B4-BE49-F238E27FC236}">
                  <a16:creationId xmlns:a16="http://schemas.microsoft.com/office/drawing/2014/main" id="{88A08B69-2C92-CE14-5168-E4A6CF82F40F}"/>
                </a:ext>
              </a:extLst>
            </p:cNvPr>
            <p:cNvSpPr/>
            <p:nvPr/>
          </p:nvSpPr>
          <p:spPr>
            <a:xfrm>
              <a:off x="4470062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1" name="object 841">
              <a:extLst>
                <a:ext uri="{FF2B5EF4-FFF2-40B4-BE49-F238E27FC236}">
                  <a16:creationId xmlns:a16="http://schemas.microsoft.com/office/drawing/2014/main" id="{83796B79-FC80-1126-FDDA-934D34C9172E}"/>
                </a:ext>
              </a:extLst>
            </p:cNvPr>
            <p:cNvSpPr/>
            <p:nvPr/>
          </p:nvSpPr>
          <p:spPr>
            <a:xfrm>
              <a:off x="4505084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2" name="object 842">
              <a:extLst>
                <a:ext uri="{FF2B5EF4-FFF2-40B4-BE49-F238E27FC236}">
                  <a16:creationId xmlns:a16="http://schemas.microsoft.com/office/drawing/2014/main" id="{35041218-5106-98B1-949C-7DACC0809481}"/>
                </a:ext>
              </a:extLst>
            </p:cNvPr>
            <p:cNvSpPr/>
            <p:nvPr/>
          </p:nvSpPr>
          <p:spPr>
            <a:xfrm>
              <a:off x="4400019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3" name="object 843">
              <a:extLst>
                <a:ext uri="{FF2B5EF4-FFF2-40B4-BE49-F238E27FC236}">
                  <a16:creationId xmlns:a16="http://schemas.microsoft.com/office/drawing/2014/main" id="{529EC652-3B00-BB28-E8F1-BE48D9E68E4F}"/>
                </a:ext>
              </a:extLst>
            </p:cNvPr>
            <p:cNvSpPr/>
            <p:nvPr/>
          </p:nvSpPr>
          <p:spPr>
            <a:xfrm>
              <a:off x="4294955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4" name="object 844">
              <a:extLst>
                <a:ext uri="{FF2B5EF4-FFF2-40B4-BE49-F238E27FC236}">
                  <a16:creationId xmlns:a16="http://schemas.microsoft.com/office/drawing/2014/main" id="{3D0B9741-0739-48FC-6BCA-0C45DB46A414}"/>
                </a:ext>
              </a:extLst>
            </p:cNvPr>
            <p:cNvSpPr/>
            <p:nvPr/>
          </p:nvSpPr>
          <p:spPr>
            <a:xfrm>
              <a:off x="4330049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5" name="object 845">
              <a:extLst>
                <a:ext uri="{FF2B5EF4-FFF2-40B4-BE49-F238E27FC236}">
                  <a16:creationId xmlns:a16="http://schemas.microsoft.com/office/drawing/2014/main" id="{2767CABD-353E-D3DD-DCF4-BA5849EE0282}"/>
                </a:ext>
              </a:extLst>
            </p:cNvPr>
            <p:cNvSpPr/>
            <p:nvPr/>
          </p:nvSpPr>
          <p:spPr>
            <a:xfrm>
              <a:off x="4224912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6" name="object 846">
              <a:extLst>
                <a:ext uri="{FF2B5EF4-FFF2-40B4-BE49-F238E27FC236}">
                  <a16:creationId xmlns:a16="http://schemas.microsoft.com/office/drawing/2014/main" id="{20AD21FF-5445-3B68-205B-3EDDB9164479}"/>
                </a:ext>
              </a:extLst>
            </p:cNvPr>
            <p:cNvSpPr/>
            <p:nvPr/>
          </p:nvSpPr>
          <p:spPr>
            <a:xfrm>
              <a:off x="4435041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7" name="object 847">
              <a:extLst>
                <a:ext uri="{FF2B5EF4-FFF2-40B4-BE49-F238E27FC236}">
                  <a16:creationId xmlns:a16="http://schemas.microsoft.com/office/drawing/2014/main" id="{62E772F6-ACC7-C2EB-A14A-B682C2CC72DF}"/>
                </a:ext>
              </a:extLst>
            </p:cNvPr>
            <p:cNvSpPr/>
            <p:nvPr/>
          </p:nvSpPr>
          <p:spPr>
            <a:xfrm>
              <a:off x="4259933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8" name="object 848">
              <a:extLst>
                <a:ext uri="{FF2B5EF4-FFF2-40B4-BE49-F238E27FC236}">
                  <a16:creationId xmlns:a16="http://schemas.microsoft.com/office/drawing/2014/main" id="{C64518A2-8726-EA26-27AD-0A24C532E6E9}"/>
                </a:ext>
              </a:extLst>
            </p:cNvPr>
            <p:cNvSpPr/>
            <p:nvPr/>
          </p:nvSpPr>
          <p:spPr>
            <a:xfrm>
              <a:off x="454010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49" name="object 849">
              <a:extLst>
                <a:ext uri="{FF2B5EF4-FFF2-40B4-BE49-F238E27FC236}">
                  <a16:creationId xmlns:a16="http://schemas.microsoft.com/office/drawing/2014/main" id="{E0AF0CA8-4D03-8F01-F63A-0E40ECC3063D}"/>
                </a:ext>
              </a:extLst>
            </p:cNvPr>
            <p:cNvSpPr/>
            <p:nvPr/>
          </p:nvSpPr>
          <p:spPr>
            <a:xfrm>
              <a:off x="436513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0" name="object 850">
              <a:extLst>
                <a:ext uri="{FF2B5EF4-FFF2-40B4-BE49-F238E27FC236}">
                  <a16:creationId xmlns:a16="http://schemas.microsoft.com/office/drawing/2014/main" id="{1E4E1EF4-B278-8EDB-D975-E17BFF53E1D3}"/>
                </a:ext>
              </a:extLst>
            </p:cNvPr>
            <p:cNvSpPr/>
            <p:nvPr/>
          </p:nvSpPr>
          <p:spPr>
            <a:xfrm>
              <a:off x="4190164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1" name="object 851">
              <a:extLst>
                <a:ext uri="{FF2B5EF4-FFF2-40B4-BE49-F238E27FC236}">
                  <a16:creationId xmlns:a16="http://schemas.microsoft.com/office/drawing/2014/main" id="{D32046BC-8A1A-66E7-210E-5495083B7EE8}"/>
                </a:ext>
              </a:extLst>
            </p:cNvPr>
            <p:cNvSpPr/>
            <p:nvPr/>
          </p:nvSpPr>
          <p:spPr>
            <a:xfrm>
              <a:off x="436513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2" name="object 852">
              <a:extLst>
                <a:ext uri="{FF2B5EF4-FFF2-40B4-BE49-F238E27FC236}">
                  <a16:creationId xmlns:a16="http://schemas.microsoft.com/office/drawing/2014/main" id="{C997D409-5D63-1EEF-0D67-0B8AFA297BB3}"/>
                </a:ext>
              </a:extLst>
            </p:cNvPr>
            <p:cNvSpPr/>
            <p:nvPr/>
          </p:nvSpPr>
          <p:spPr>
            <a:xfrm>
              <a:off x="4190164" y="493233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3" name="object 853">
              <a:extLst>
                <a:ext uri="{FF2B5EF4-FFF2-40B4-BE49-F238E27FC236}">
                  <a16:creationId xmlns:a16="http://schemas.microsoft.com/office/drawing/2014/main" id="{C6EB4037-B01B-E34C-7C63-3527F549780B}"/>
                </a:ext>
              </a:extLst>
            </p:cNvPr>
            <p:cNvSpPr/>
            <p:nvPr/>
          </p:nvSpPr>
          <p:spPr>
            <a:xfrm>
              <a:off x="4645033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4" name="object 854">
              <a:extLst>
                <a:ext uri="{FF2B5EF4-FFF2-40B4-BE49-F238E27FC236}">
                  <a16:creationId xmlns:a16="http://schemas.microsoft.com/office/drawing/2014/main" id="{392E9ABB-E183-65DF-6BE4-E12962863356}"/>
                </a:ext>
              </a:extLst>
            </p:cNvPr>
            <p:cNvSpPr/>
            <p:nvPr/>
          </p:nvSpPr>
          <p:spPr>
            <a:xfrm>
              <a:off x="4680054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5" name="object 855">
              <a:extLst>
                <a:ext uri="{FF2B5EF4-FFF2-40B4-BE49-F238E27FC236}">
                  <a16:creationId xmlns:a16="http://schemas.microsoft.com/office/drawing/2014/main" id="{E4C849ED-B3B6-927E-A92C-5769684CFDC6}"/>
                </a:ext>
              </a:extLst>
            </p:cNvPr>
            <p:cNvSpPr/>
            <p:nvPr/>
          </p:nvSpPr>
          <p:spPr>
            <a:xfrm>
              <a:off x="4574990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6" name="object 856">
              <a:extLst>
                <a:ext uri="{FF2B5EF4-FFF2-40B4-BE49-F238E27FC236}">
                  <a16:creationId xmlns:a16="http://schemas.microsoft.com/office/drawing/2014/main" id="{87C10DA4-E3A2-3AD7-03B0-F11A490FDF6D}"/>
                </a:ext>
              </a:extLst>
            </p:cNvPr>
            <p:cNvSpPr/>
            <p:nvPr/>
          </p:nvSpPr>
          <p:spPr>
            <a:xfrm>
              <a:off x="4610011" y="491958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7" name="object 857">
              <a:extLst>
                <a:ext uri="{FF2B5EF4-FFF2-40B4-BE49-F238E27FC236}">
                  <a16:creationId xmlns:a16="http://schemas.microsoft.com/office/drawing/2014/main" id="{762FE587-C1B6-131C-B05D-815924939012}"/>
                </a:ext>
              </a:extLst>
            </p:cNvPr>
            <p:cNvSpPr/>
            <p:nvPr/>
          </p:nvSpPr>
          <p:spPr>
            <a:xfrm>
              <a:off x="4715085" y="490682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8" name="object 858">
              <a:extLst>
                <a:ext uri="{FF2B5EF4-FFF2-40B4-BE49-F238E27FC236}">
                  <a16:creationId xmlns:a16="http://schemas.microsoft.com/office/drawing/2014/main" id="{0D39369E-2D5D-E21A-A77C-B966D57CD27A}"/>
                </a:ext>
              </a:extLst>
            </p:cNvPr>
            <p:cNvSpPr/>
            <p:nvPr/>
          </p:nvSpPr>
          <p:spPr>
            <a:xfrm>
              <a:off x="4540105" y="4932337"/>
              <a:ext cx="17520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75204"/>
                <a:gd name="f5" fmla="val 87490"/>
                <a:gd name="f6" fmla="val 174974"/>
                <a:gd name="f7" fmla="abs f0"/>
                <a:gd name="f8" fmla="abs f1"/>
                <a:gd name="f9" fmla="abs f2"/>
                <a:gd name="f10" fmla="*/ f0 1 17520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175204"/>
                <a:gd name="f17" fmla="*/ f11 1 0"/>
                <a:gd name="f18" fmla="*/ f13 1 175204"/>
                <a:gd name="f19" fmla="*/ f14 1 21600"/>
                <a:gd name="f20" fmla="*/ 21600 f14 1"/>
                <a:gd name="f21" fmla="*/ 0 1 f16"/>
                <a:gd name="f22" fmla="*/ 17520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17520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59" name="object 859">
              <a:extLst>
                <a:ext uri="{FF2B5EF4-FFF2-40B4-BE49-F238E27FC236}">
                  <a16:creationId xmlns:a16="http://schemas.microsoft.com/office/drawing/2014/main" id="{AEF30021-3C3A-65FC-0BC2-7B9307FB425F}"/>
                </a:ext>
              </a:extLst>
            </p:cNvPr>
            <p:cNvSpPr/>
            <p:nvPr/>
          </p:nvSpPr>
          <p:spPr>
            <a:xfrm>
              <a:off x="4189991" y="1084789"/>
              <a:ext cx="500972" cy="38725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826134"/>
                <a:gd name="f4" fmla="val 6386195"/>
                <a:gd name="f5" fmla="val 357466"/>
                <a:gd name="f6" fmla="val 84112"/>
                <a:gd name="f7" fmla="val 825690"/>
                <a:gd name="f8" fmla="val 6301448"/>
                <a:gd name="f9" fmla="val 469"/>
                <a:gd name="f10" fmla="val 6385585"/>
                <a:gd name="f11" fmla="*/ f0 1 826134"/>
                <a:gd name="f12" fmla="*/ f1 1 6386195"/>
                <a:gd name="f13" fmla="+- f4 0 f2"/>
                <a:gd name="f14" fmla="+- f3 0 f2"/>
                <a:gd name="f15" fmla="*/ f14 1 826134"/>
                <a:gd name="f16" fmla="*/ f13 1 6386195"/>
                <a:gd name="f17" fmla="*/ f2 1 f15"/>
                <a:gd name="f18" fmla="*/ f3 1 f15"/>
                <a:gd name="f19" fmla="*/ f2 1 f16"/>
                <a:gd name="f20" fmla="*/ f4 1 f16"/>
                <a:gd name="f21" fmla="*/ f17 f11 1"/>
                <a:gd name="f22" fmla="*/ f18 f11 1"/>
                <a:gd name="f23" fmla="*/ f20 f12 1"/>
                <a:gd name="f24" fmla="*/ f1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1" t="f24" r="f22" b="f23"/>
              <a:pathLst>
                <a:path w="826134" h="638619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  <a:path w="826134" h="6386195">
                  <a:moveTo>
                    <a:pt x="f7" y="f8"/>
                  </a:moveTo>
                  <a:lnTo>
                    <a:pt x="f9" y="f8"/>
                  </a:lnTo>
                  <a:lnTo>
                    <a:pt x="f9" y="f10"/>
                  </a:lnTo>
                  <a:lnTo>
                    <a:pt x="f7" y="f10"/>
                  </a:lnTo>
                  <a:lnTo>
                    <a:pt x="f7" y="f8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0" name="object 860">
              <a:extLst>
                <a:ext uri="{FF2B5EF4-FFF2-40B4-BE49-F238E27FC236}">
                  <a16:creationId xmlns:a16="http://schemas.microsoft.com/office/drawing/2014/main" id="{436D26DA-3384-3247-72BD-EC0018E0928A}"/>
                </a:ext>
              </a:extLst>
            </p:cNvPr>
            <p:cNvSpPr/>
            <p:nvPr/>
          </p:nvSpPr>
          <p:spPr>
            <a:xfrm>
              <a:off x="4469907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1" name="object 861">
              <a:extLst>
                <a:ext uri="{FF2B5EF4-FFF2-40B4-BE49-F238E27FC236}">
                  <a16:creationId xmlns:a16="http://schemas.microsoft.com/office/drawing/2014/main" id="{ED12DAC2-B0E2-1883-BC4D-E6F55DF00604}"/>
                </a:ext>
              </a:extLst>
            </p:cNvPr>
            <p:cNvSpPr/>
            <p:nvPr/>
          </p:nvSpPr>
          <p:spPr>
            <a:xfrm>
              <a:off x="4504928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2" name="object 862">
              <a:extLst>
                <a:ext uri="{FF2B5EF4-FFF2-40B4-BE49-F238E27FC236}">
                  <a16:creationId xmlns:a16="http://schemas.microsoft.com/office/drawing/2014/main" id="{24213D99-16BB-D50A-7383-8414256A5C7B}"/>
                </a:ext>
              </a:extLst>
            </p:cNvPr>
            <p:cNvSpPr/>
            <p:nvPr/>
          </p:nvSpPr>
          <p:spPr>
            <a:xfrm>
              <a:off x="4399864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3" name="object 863">
              <a:extLst>
                <a:ext uri="{FF2B5EF4-FFF2-40B4-BE49-F238E27FC236}">
                  <a16:creationId xmlns:a16="http://schemas.microsoft.com/office/drawing/2014/main" id="{3371FD7A-802A-AD2F-BA2C-972579C1A40C}"/>
                </a:ext>
              </a:extLst>
            </p:cNvPr>
            <p:cNvSpPr/>
            <p:nvPr/>
          </p:nvSpPr>
          <p:spPr>
            <a:xfrm>
              <a:off x="4294790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4" name="object 864">
              <a:extLst>
                <a:ext uri="{FF2B5EF4-FFF2-40B4-BE49-F238E27FC236}">
                  <a16:creationId xmlns:a16="http://schemas.microsoft.com/office/drawing/2014/main" id="{008083F9-A01E-3039-7F45-8FA301B5B544}"/>
                </a:ext>
              </a:extLst>
            </p:cNvPr>
            <p:cNvSpPr/>
            <p:nvPr/>
          </p:nvSpPr>
          <p:spPr>
            <a:xfrm>
              <a:off x="4329885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5" name="object 865">
              <a:extLst>
                <a:ext uri="{FF2B5EF4-FFF2-40B4-BE49-F238E27FC236}">
                  <a16:creationId xmlns:a16="http://schemas.microsoft.com/office/drawing/2014/main" id="{2C957208-C2CC-F825-4F23-64E5139F3C56}"/>
                </a:ext>
              </a:extLst>
            </p:cNvPr>
            <p:cNvSpPr/>
            <p:nvPr/>
          </p:nvSpPr>
          <p:spPr>
            <a:xfrm>
              <a:off x="4224747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6" name="object 866">
              <a:extLst>
                <a:ext uri="{FF2B5EF4-FFF2-40B4-BE49-F238E27FC236}">
                  <a16:creationId xmlns:a16="http://schemas.microsoft.com/office/drawing/2014/main" id="{68E28924-91AD-D644-16A0-75A4F6E989C0}"/>
                </a:ext>
              </a:extLst>
            </p:cNvPr>
            <p:cNvSpPr/>
            <p:nvPr/>
          </p:nvSpPr>
          <p:spPr>
            <a:xfrm>
              <a:off x="4434876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7" name="object 867">
              <a:extLst>
                <a:ext uri="{FF2B5EF4-FFF2-40B4-BE49-F238E27FC236}">
                  <a16:creationId xmlns:a16="http://schemas.microsoft.com/office/drawing/2014/main" id="{26111195-A46F-B34D-8E22-24AAB51C9DB9}"/>
                </a:ext>
              </a:extLst>
            </p:cNvPr>
            <p:cNvSpPr/>
            <p:nvPr/>
          </p:nvSpPr>
          <p:spPr>
            <a:xfrm>
              <a:off x="4259768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8" name="object 868">
              <a:extLst>
                <a:ext uri="{FF2B5EF4-FFF2-40B4-BE49-F238E27FC236}">
                  <a16:creationId xmlns:a16="http://schemas.microsoft.com/office/drawing/2014/main" id="{6D2D9194-107A-F2D3-F626-8A8884DAE62C}"/>
                </a:ext>
              </a:extLst>
            </p:cNvPr>
            <p:cNvSpPr/>
            <p:nvPr/>
          </p:nvSpPr>
          <p:spPr>
            <a:xfrm>
              <a:off x="4539950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69" name="object 869">
              <a:extLst>
                <a:ext uri="{FF2B5EF4-FFF2-40B4-BE49-F238E27FC236}">
                  <a16:creationId xmlns:a16="http://schemas.microsoft.com/office/drawing/2014/main" id="{43F72F89-1413-507C-E92D-FB05A2F9663C}"/>
                </a:ext>
              </a:extLst>
            </p:cNvPr>
            <p:cNvSpPr/>
            <p:nvPr/>
          </p:nvSpPr>
          <p:spPr>
            <a:xfrm>
              <a:off x="4364979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0" name="object 870">
              <a:extLst>
                <a:ext uri="{FF2B5EF4-FFF2-40B4-BE49-F238E27FC236}">
                  <a16:creationId xmlns:a16="http://schemas.microsoft.com/office/drawing/2014/main" id="{9080231C-C698-9730-62C1-0BE417351EF8}"/>
                </a:ext>
              </a:extLst>
            </p:cNvPr>
            <p:cNvSpPr/>
            <p:nvPr/>
          </p:nvSpPr>
          <p:spPr>
            <a:xfrm>
              <a:off x="4190000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1" name="object 871">
              <a:extLst>
                <a:ext uri="{FF2B5EF4-FFF2-40B4-BE49-F238E27FC236}">
                  <a16:creationId xmlns:a16="http://schemas.microsoft.com/office/drawing/2014/main" id="{9E97C0B5-B250-D26E-FD86-434E12F9931F}"/>
                </a:ext>
              </a:extLst>
            </p:cNvPr>
            <p:cNvSpPr/>
            <p:nvPr/>
          </p:nvSpPr>
          <p:spPr>
            <a:xfrm>
              <a:off x="4364979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2" name="object 872">
              <a:extLst>
                <a:ext uri="{FF2B5EF4-FFF2-40B4-BE49-F238E27FC236}">
                  <a16:creationId xmlns:a16="http://schemas.microsoft.com/office/drawing/2014/main" id="{32529551-8CB0-6192-A794-ECF095B92098}"/>
                </a:ext>
              </a:extLst>
            </p:cNvPr>
            <p:cNvSpPr/>
            <p:nvPr/>
          </p:nvSpPr>
          <p:spPr>
            <a:xfrm>
              <a:off x="4190000" y="111029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3" name="object 873">
              <a:extLst>
                <a:ext uri="{FF2B5EF4-FFF2-40B4-BE49-F238E27FC236}">
                  <a16:creationId xmlns:a16="http://schemas.microsoft.com/office/drawing/2014/main" id="{0B5CC508-DB6A-216A-FF90-14A73BAD364B}"/>
                </a:ext>
              </a:extLst>
            </p:cNvPr>
            <p:cNvSpPr/>
            <p:nvPr/>
          </p:nvSpPr>
          <p:spPr>
            <a:xfrm>
              <a:off x="4190475" y="1157804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5"/>
                <a:gd name="f5" fmla="val 576307"/>
                <a:gd name="f6" fmla="val 84112"/>
                <a:gd name="f7" fmla="*/ f0 1 576579"/>
                <a:gd name="f8" fmla="*/ f1 1 84455"/>
                <a:gd name="f9" fmla="+- f4 0 f2"/>
                <a:gd name="f10" fmla="+- f3 0 f2"/>
                <a:gd name="f11" fmla="*/ f10 1 57657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4" name="object 874">
              <a:extLst>
                <a:ext uri="{FF2B5EF4-FFF2-40B4-BE49-F238E27FC236}">
                  <a16:creationId xmlns:a16="http://schemas.microsoft.com/office/drawing/2014/main" id="{04C363DA-0DB6-B198-BF61-F2002DC78D20}"/>
                </a:ext>
              </a:extLst>
            </p:cNvPr>
            <p:cNvSpPr/>
            <p:nvPr/>
          </p:nvSpPr>
          <p:spPr>
            <a:xfrm>
              <a:off x="446990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5" name="object 875">
              <a:extLst>
                <a:ext uri="{FF2B5EF4-FFF2-40B4-BE49-F238E27FC236}">
                  <a16:creationId xmlns:a16="http://schemas.microsoft.com/office/drawing/2014/main" id="{53F783C3-E7F2-FDFF-68DE-F9E6530B6ED0}"/>
                </a:ext>
              </a:extLst>
            </p:cNvPr>
            <p:cNvSpPr/>
            <p:nvPr/>
          </p:nvSpPr>
          <p:spPr>
            <a:xfrm>
              <a:off x="45049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6" name="object 876">
              <a:extLst>
                <a:ext uri="{FF2B5EF4-FFF2-40B4-BE49-F238E27FC236}">
                  <a16:creationId xmlns:a16="http://schemas.microsoft.com/office/drawing/2014/main" id="{23FF810E-4DCC-BFD3-3FBB-03C7DAE9CDAC}"/>
                </a:ext>
              </a:extLst>
            </p:cNvPr>
            <p:cNvSpPr/>
            <p:nvPr/>
          </p:nvSpPr>
          <p:spPr>
            <a:xfrm>
              <a:off x="439986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7" name="object 877">
              <a:extLst>
                <a:ext uri="{FF2B5EF4-FFF2-40B4-BE49-F238E27FC236}">
                  <a16:creationId xmlns:a16="http://schemas.microsoft.com/office/drawing/2014/main" id="{FED3C009-A385-6370-7D22-B6571177C2C8}"/>
                </a:ext>
              </a:extLst>
            </p:cNvPr>
            <p:cNvSpPr/>
            <p:nvPr/>
          </p:nvSpPr>
          <p:spPr>
            <a:xfrm>
              <a:off x="429479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8" name="object 878">
              <a:extLst>
                <a:ext uri="{FF2B5EF4-FFF2-40B4-BE49-F238E27FC236}">
                  <a16:creationId xmlns:a16="http://schemas.microsoft.com/office/drawing/2014/main" id="{3331106B-5272-DCAB-CD78-E0A738502204}"/>
                </a:ext>
              </a:extLst>
            </p:cNvPr>
            <p:cNvSpPr/>
            <p:nvPr/>
          </p:nvSpPr>
          <p:spPr>
            <a:xfrm>
              <a:off x="432988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79" name="object 879">
              <a:extLst>
                <a:ext uri="{FF2B5EF4-FFF2-40B4-BE49-F238E27FC236}">
                  <a16:creationId xmlns:a16="http://schemas.microsoft.com/office/drawing/2014/main" id="{6EE03285-A173-B856-19AA-67A82486FC42}"/>
                </a:ext>
              </a:extLst>
            </p:cNvPr>
            <p:cNvSpPr/>
            <p:nvPr/>
          </p:nvSpPr>
          <p:spPr>
            <a:xfrm>
              <a:off x="422474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0" name="object 880">
              <a:extLst>
                <a:ext uri="{FF2B5EF4-FFF2-40B4-BE49-F238E27FC236}">
                  <a16:creationId xmlns:a16="http://schemas.microsoft.com/office/drawing/2014/main" id="{B97D20BA-8A9A-1CC5-B362-1C0CF796F32E}"/>
                </a:ext>
              </a:extLst>
            </p:cNvPr>
            <p:cNvSpPr/>
            <p:nvPr/>
          </p:nvSpPr>
          <p:spPr>
            <a:xfrm>
              <a:off x="443487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1" name="object 881">
              <a:extLst>
                <a:ext uri="{FF2B5EF4-FFF2-40B4-BE49-F238E27FC236}">
                  <a16:creationId xmlns:a16="http://schemas.microsoft.com/office/drawing/2014/main" id="{CE7D6052-24F0-7DA7-9DCC-F11415917649}"/>
                </a:ext>
              </a:extLst>
            </p:cNvPr>
            <p:cNvSpPr/>
            <p:nvPr/>
          </p:nvSpPr>
          <p:spPr>
            <a:xfrm>
              <a:off x="425976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2" name="object 882">
              <a:extLst>
                <a:ext uri="{FF2B5EF4-FFF2-40B4-BE49-F238E27FC236}">
                  <a16:creationId xmlns:a16="http://schemas.microsoft.com/office/drawing/2014/main" id="{4C1EEDFA-ABA0-F5A2-FE69-B428EE2C88BD}"/>
                </a:ext>
              </a:extLst>
            </p:cNvPr>
            <p:cNvSpPr/>
            <p:nvPr/>
          </p:nvSpPr>
          <p:spPr>
            <a:xfrm>
              <a:off x="4539950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3" name="object 883">
              <a:extLst>
                <a:ext uri="{FF2B5EF4-FFF2-40B4-BE49-F238E27FC236}">
                  <a16:creationId xmlns:a16="http://schemas.microsoft.com/office/drawing/2014/main" id="{FBA26699-19C4-EEBB-7691-86BA0BE27D33}"/>
                </a:ext>
              </a:extLst>
            </p:cNvPr>
            <p:cNvSpPr/>
            <p:nvPr/>
          </p:nvSpPr>
          <p:spPr>
            <a:xfrm>
              <a:off x="436497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4" name="object 884">
              <a:extLst>
                <a:ext uri="{FF2B5EF4-FFF2-40B4-BE49-F238E27FC236}">
                  <a16:creationId xmlns:a16="http://schemas.microsoft.com/office/drawing/2014/main" id="{15FA9D35-8ABF-81A3-6E5C-EC823954605F}"/>
                </a:ext>
              </a:extLst>
            </p:cNvPr>
            <p:cNvSpPr/>
            <p:nvPr/>
          </p:nvSpPr>
          <p:spPr>
            <a:xfrm>
              <a:off x="4190000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5" name="object 885">
              <a:extLst>
                <a:ext uri="{FF2B5EF4-FFF2-40B4-BE49-F238E27FC236}">
                  <a16:creationId xmlns:a16="http://schemas.microsoft.com/office/drawing/2014/main" id="{F646D5B1-880E-4268-EE8E-4A73770C385A}"/>
                </a:ext>
              </a:extLst>
            </p:cNvPr>
            <p:cNvSpPr/>
            <p:nvPr/>
          </p:nvSpPr>
          <p:spPr>
            <a:xfrm>
              <a:off x="436497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6" name="object 886">
              <a:extLst>
                <a:ext uri="{FF2B5EF4-FFF2-40B4-BE49-F238E27FC236}">
                  <a16:creationId xmlns:a16="http://schemas.microsoft.com/office/drawing/2014/main" id="{273F9E05-13F3-E9C4-773B-E23D525309A2}"/>
                </a:ext>
              </a:extLst>
            </p:cNvPr>
            <p:cNvSpPr/>
            <p:nvPr/>
          </p:nvSpPr>
          <p:spPr>
            <a:xfrm>
              <a:off x="4190000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7" name="object 887">
              <a:extLst>
                <a:ext uri="{FF2B5EF4-FFF2-40B4-BE49-F238E27FC236}">
                  <a16:creationId xmlns:a16="http://schemas.microsoft.com/office/drawing/2014/main" id="{0D5804AE-45CE-0FD2-5E84-DB87C22F95AD}"/>
                </a:ext>
              </a:extLst>
            </p:cNvPr>
            <p:cNvSpPr/>
            <p:nvPr/>
          </p:nvSpPr>
          <p:spPr>
            <a:xfrm>
              <a:off x="4190000" y="1847801"/>
              <a:ext cx="25876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26720"/>
                <a:gd name="f4" fmla="val 84455"/>
                <a:gd name="f5" fmla="val 426395"/>
                <a:gd name="f6" fmla="val 84123"/>
                <a:gd name="f7" fmla="*/ f0 1 426720"/>
                <a:gd name="f8" fmla="*/ f1 1 84455"/>
                <a:gd name="f9" fmla="+- f4 0 f2"/>
                <a:gd name="f10" fmla="+- f3 0 f2"/>
                <a:gd name="f11" fmla="*/ f10 1 42672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2672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8" name="object 888">
              <a:extLst>
                <a:ext uri="{FF2B5EF4-FFF2-40B4-BE49-F238E27FC236}">
                  <a16:creationId xmlns:a16="http://schemas.microsoft.com/office/drawing/2014/main" id="{61FDECA5-8120-99D9-B8DA-4A61DB5E2881}"/>
                </a:ext>
              </a:extLst>
            </p:cNvPr>
            <p:cNvSpPr/>
            <p:nvPr/>
          </p:nvSpPr>
          <p:spPr>
            <a:xfrm>
              <a:off x="4469907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89" name="object 889">
              <a:extLst>
                <a:ext uri="{FF2B5EF4-FFF2-40B4-BE49-F238E27FC236}">
                  <a16:creationId xmlns:a16="http://schemas.microsoft.com/office/drawing/2014/main" id="{8AEB0D25-4E90-CC78-3AAF-EDC9F498B087}"/>
                </a:ext>
              </a:extLst>
            </p:cNvPr>
            <p:cNvSpPr/>
            <p:nvPr/>
          </p:nvSpPr>
          <p:spPr>
            <a:xfrm>
              <a:off x="4504928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0" name="object 890">
              <a:extLst>
                <a:ext uri="{FF2B5EF4-FFF2-40B4-BE49-F238E27FC236}">
                  <a16:creationId xmlns:a16="http://schemas.microsoft.com/office/drawing/2014/main" id="{2C9B4964-0BFD-4A82-C579-C99110727ACD}"/>
                </a:ext>
              </a:extLst>
            </p:cNvPr>
            <p:cNvSpPr/>
            <p:nvPr/>
          </p:nvSpPr>
          <p:spPr>
            <a:xfrm>
              <a:off x="4399864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1" name="object 891">
              <a:extLst>
                <a:ext uri="{FF2B5EF4-FFF2-40B4-BE49-F238E27FC236}">
                  <a16:creationId xmlns:a16="http://schemas.microsoft.com/office/drawing/2014/main" id="{DBD209E0-B26C-1DEA-2506-E6C8CFA14120}"/>
                </a:ext>
              </a:extLst>
            </p:cNvPr>
            <p:cNvSpPr/>
            <p:nvPr/>
          </p:nvSpPr>
          <p:spPr>
            <a:xfrm>
              <a:off x="4294790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2" name="object 892">
              <a:extLst>
                <a:ext uri="{FF2B5EF4-FFF2-40B4-BE49-F238E27FC236}">
                  <a16:creationId xmlns:a16="http://schemas.microsoft.com/office/drawing/2014/main" id="{B4C92BC5-3D2E-F2A0-3405-7B658555FC27}"/>
                </a:ext>
              </a:extLst>
            </p:cNvPr>
            <p:cNvSpPr/>
            <p:nvPr/>
          </p:nvSpPr>
          <p:spPr>
            <a:xfrm>
              <a:off x="4329885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3" name="object 893">
              <a:extLst>
                <a:ext uri="{FF2B5EF4-FFF2-40B4-BE49-F238E27FC236}">
                  <a16:creationId xmlns:a16="http://schemas.microsoft.com/office/drawing/2014/main" id="{0BCBE364-FAD3-F66F-58E4-AEBE81ED2D3D}"/>
                </a:ext>
              </a:extLst>
            </p:cNvPr>
            <p:cNvSpPr/>
            <p:nvPr/>
          </p:nvSpPr>
          <p:spPr>
            <a:xfrm>
              <a:off x="4224747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4" name="object 894">
              <a:extLst>
                <a:ext uri="{FF2B5EF4-FFF2-40B4-BE49-F238E27FC236}">
                  <a16:creationId xmlns:a16="http://schemas.microsoft.com/office/drawing/2014/main" id="{D4924F25-7973-F327-B636-42176572478D}"/>
                </a:ext>
              </a:extLst>
            </p:cNvPr>
            <p:cNvSpPr/>
            <p:nvPr/>
          </p:nvSpPr>
          <p:spPr>
            <a:xfrm>
              <a:off x="4434876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5" name="object 895">
              <a:extLst>
                <a:ext uri="{FF2B5EF4-FFF2-40B4-BE49-F238E27FC236}">
                  <a16:creationId xmlns:a16="http://schemas.microsoft.com/office/drawing/2014/main" id="{44A291B8-DDBE-5CB2-6F1C-663245DAF157}"/>
                </a:ext>
              </a:extLst>
            </p:cNvPr>
            <p:cNvSpPr/>
            <p:nvPr/>
          </p:nvSpPr>
          <p:spPr>
            <a:xfrm>
              <a:off x="4259768" y="186053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6" name="object 896">
              <a:extLst>
                <a:ext uri="{FF2B5EF4-FFF2-40B4-BE49-F238E27FC236}">
                  <a16:creationId xmlns:a16="http://schemas.microsoft.com/office/drawing/2014/main" id="{709B97EB-E5C8-1B20-1410-A3028DA54D2A}"/>
                </a:ext>
              </a:extLst>
            </p:cNvPr>
            <p:cNvSpPr/>
            <p:nvPr/>
          </p:nvSpPr>
          <p:spPr>
            <a:xfrm>
              <a:off x="4539950" y="18477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7" name="object 897">
              <a:extLst>
                <a:ext uri="{FF2B5EF4-FFF2-40B4-BE49-F238E27FC236}">
                  <a16:creationId xmlns:a16="http://schemas.microsoft.com/office/drawing/2014/main" id="{701AE920-9AFA-A725-14B7-F3FBCF744A7B}"/>
                </a:ext>
              </a:extLst>
            </p:cNvPr>
            <p:cNvSpPr/>
            <p:nvPr/>
          </p:nvSpPr>
          <p:spPr>
            <a:xfrm>
              <a:off x="4364979" y="18477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8" name="object 898">
              <a:extLst>
                <a:ext uri="{FF2B5EF4-FFF2-40B4-BE49-F238E27FC236}">
                  <a16:creationId xmlns:a16="http://schemas.microsoft.com/office/drawing/2014/main" id="{D996F228-F4DB-18B7-2929-BECF7CA982B2}"/>
                </a:ext>
              </a:extLst>
            </p:cNvPr>
            <p:cNvSpPr/>
            <p:nvPr/>
          </p:nvSpPr>
          <p:spPr>
            <a:xfrm>
              <a:off x="4190000" y="18477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899" name="object 899">
              <a:extLst>
                <a:ext uri="{FF2B5EF4-FFF2-40B4-BE49-F238E27FC236}">
                  <a16:creationId xmlns:a16="http://schemas.microsoft.com/office/drawing/2014/main" id="{4C122274-8ADB-748C-6089-BD586643DB5C}"/>
                </a:ext>
              </a:extLst>
            </p:cNvPr>
            <p:cNvSpPr/>
            <p:nvPr/>
          </p:nvSpPr>
          <p:spPr>
            <a:xfrm>
              <a:off x="4364979" y="184779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0" name="object 900">
              <a:extLst>
                <a:ext uri="{FF2B5EF4-FFF2-40B4-BE49-F238E27FC236}">
                  <a16:creationId xmlns:a16="http://schemas.microsoft.com/office/drawing/2014/main" id="{7F3AAC92-4A68-E2D1-E62C-2E97EE0BCC38}"/>
                </a:ext>
              </a:extLst>
            </p:cNvPr>
            <p:cNvSpPr/>
            <p:nvPr/>
          </p:nvSpPr>
          <p:spPr>
            <a:xfrm>
              <a:off x="4190000" y="187329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1" name="object 901">
              <a:extLst>
                <a:ext uri="{FF2B5EF4-FFF2-40B4-BE49-F238E27FC236}">
                  <a16:creationId xmlns:a16="http://schemas.microsoft.com/office/drawing/2014/main" id="{DAD806D0-313A-307A-DDA5-75767B929B44}"/>
                </a:ext>
              </a:extLst>
            </p:cNvPr>
            <p:cNvSpPr/>
            <p:nvPr/>
          </p:nvSpPr>
          <p:spPr>
            <a:xfrm>
              <a:off x="4190475" y="1920816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4"/>
                <a:gd name="f5" fmla="val 576307"/>
                <a:gd name="f6" fmla="val 84112"/>
                <a:gd name="f7" fmla="*/ f0 1 576579"/>
                <a:gd name="f8" fmla="*/ f1 1 84454"/>
                <a:gd name="f9" fmla="+- f4 0 f2"/>
                <a:gd name="f10" fmla="+- f3 0 f2"/>
                <a:gd name="f11" fmla="*/ f10 1 576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2" name="object 902">
              <a:extLst>
                <a:ext uri="{FF2B5EF4-FFF2-40B4-BE49-F238E27FC236}">
                  <a16:creationId xmlns:a16="http://schemas.microsoft.com/office/drawing/2014/main" id="{66D01148-0F8F-A24D-C6BD-9EFBFA0EF9E3}"/>
                </a:ext>
              </a:extLst>
            </p:cNvPr>
            <p:cNvSpPr/>
            <p:nvPr/>
          </p:nvSpPr>
          <p:spPr>
            <a:xfrm>
              <a:off x="4469907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3" name="object 903">
              <a:extLst>
                <a:ext uri="{FF2B5EF4-FFF2-40B4-BE49-F238E27FC236}">
                  <a16:creationId xmlns:a16="http://schemas.microsoft.com/office/drawing/2014/main" id="{D53157D5-B17E-4EAD-7DC9-FF5F04E0946E}"/>
                </a:ext>
              </a:extLst>
            </p:cNvPr>
            <p:cNvSpPr/>
            <p:nvPr/>
          </p:nvSpPr>
          <p:spPr>
            <a:xfrm>
              <a:off x="4504928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4" name="object 904">
              <a:extLst>
                <a:ext uri="{FF2B5EF4-FFF2-40B4-BE49-F238E27FC236}">
                  <a16:creationId xmlns:a16="http://schemas.microsoft.com/office/drawing/2014/main" id="{99883DA3-CF34-9DA0-7411-9B34E6576E2C}"/>
                </a:ext>
              </a:extLst>
            </p:cNvPr>
            <p:cNvSpPr/>
            <p:nvPr/>
          </p:nvSpPr>
          <p:spPr>
            <a:xfrm>
              <a:off x="4399864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5" name="object 905">
              <a:extLst>
                <a:ext uri="{FF2B5EF4-FFF2-40B4-BE49-F238E27FC236}">
                  <a16:creationId xmlns:a16="http://schemas.microsoft.com/office/drawing/2014/main" id="{D337B3DB-4619-2DA8-0ED4-60E811C0C879}"/>
                </a:ext>
              </a:extLst>
            </p:cNvPr>
            <p:cNvSpPr/>
            <p:nvPr/>
          </p:nvSpPr>
          <p:spPr>
            <a:xfrm>
              <a:off x="4294790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6" name="object 906">
              <a:extLst>
                <a:ext uri="{FF2B5EF4-FFF2-40B4-BE49-F238E27FC236}">
                  <a16:creationId xmlns:a16="http://schemas.microsoft.com/office/drawing/2014/main" id="{FC86AC15-2BA8-162B-8CF8-F170D57FB908}"/>
                </a:ext>
              </a:extLst>
            </p:cNvPr>
            <p:cNvSpPr/>
            <p:nvPr/>
          </p:nvSpPr>
          <p:spPr>
            <a:xfrm>
              <a:off x="4329885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7" name="object 907">
              <a:extLst>
                <a:ext uri="{FF2B5EF4-FFF2-40B4-BE49-F238E27FC236}">
                  <a16:creationId xmlns:a16="http://schemas.microsoft.com/office/drawing/2014/main" id="{ECC68D4A-8531-9AED-9104-B00B5EF6CF49}"/>
                </a:ext>
              </a:extLst>
            </p:cNvPr>
            <p:cNvSpPr/>
            <p:nvPr/>
          </p:nvSpPr>
          <p:spPr>
            <a:xfrm>
              <a:off x="4224747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8" name="object 908">
              <a:extLst>
                <a:ext uri="{FF2B5EF4-FFF2-40B4-BE49-F238E27FC236}">
                  <a16:creationId xmlns:a16="http://schemas.microsoft.com/office/drawing/2014/main" id="{74DB9A26-0F7A-8073-8F54-F1BB4CA363D8}"/>
                </a:ext>
              </a:extLst>
            </p:cNvPr>
            <p:cNvSpPr/>
            <p:nvPr/>
          </p:nvSpPr>
          <p:spPr>
            <a:xfrm>
              <a:off x="4434876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09" name="object 909">
              <a:extLst>
                <a:ext uri="{FF2B5EF4-FFF2-40B4-BE49-F238E27FC236}">
                  <a16:creationId xmlns:a16="http://schemas.microsoft.com/office/drawing/2014/main" id="{780C3022-0ADB-0FFA-3648-E7B6F17F2FAD}"/>
                </a:ext>
              </a:extLst>
            </p:cNvPr>
            <p:cNvSpPr/>
            <p:nvPr/>
          </p:nvSpPr>
          <p:spPr>
            <a:xfrm>
              <a:off x="4259768" y="193356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0" name="object 910">
              <a:extLst>
                <a:ext uri="{FF2B5EF4-FFF2-40B4-BE49-F238E27FC236}">
                  <a16:creationId xmlns:a16="http://schemas.microsoft.com/office/drawing/2014/main" id="{EB2C3411-ABC7-7388-2A15-32BE7F96D718}"/>
                </a:ext>
              </a:extLst>
            </p:cNvPr>
            <p:cNvSpPr/>
            <p:nvPr/>
          </p:nvSpPr>
          <p:spPr>
            <a:xfrm>
              <a:off x="4539950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1" name="object 911">
              <a:extLst>
                <a:ext uri="{FF2B5EF4-FFF2-40B4-BE49-F238E27FC236}">
                  <a16:creationId xmlns:a16="http://schemas.microsoft.com/office/drawing/2014/main" id="{29D24FF1-8381-BED2-64C7-29C4D4D7CCA5}"/>
                </a:ext>
              </a:extLst>
            </p:cNvPr>
            <p:cNvSpPr/>
            <p:nvPr/>
          </p:nvSpPr>
          <p:spPr>
            <a:xfrm>
              <a:off x="4364979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2" name="object 912">
              <a:extLst>
                <a:ext uri="{FF2B5EF4-FFF2-40B4-BE49-F238E27FC236}">
                  <a16:creationId xmlns:a16="http://schemas.microsoft.com/office/drawing/2014/main" id="{CD2CE275-8E41-F158-62CE-A7E493EB785A}"/>
                </a:ext>
              </a:extLst>
            </p:cNvPr>
            <p:cNvSpPr/>
            <p:nvPr/>
          </p:nvSpPr>
          <p:spPr>
            <a:xfrm>
              <a:off x="4190000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3" name="object 913">
              <a:extLst>
                <a:ext uri="{FF2B5EF4-FFF2-40B4-BE49-F238E27FC236}">
                  <a16:creationId xmlns:a16="http://schemas.microsoft.com/office/drawing/2014/main" id="{1C0F893F-1338-E982-1A31-CE06C64AFC52}"/>
                </a:ext>
              </a:extLst>
            </p:cNvPr>
            <p:cNvSpPr/>
            <p:nvPr/>
          </p:nvSpPr>
          <p:spPr>
            <a:xfrm>
              <a:off x="4364979" y="192080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4" name="object 914">
              <a:extLst>
                <a:ext uri="{FF2B5EF4-FFF2-40B4-BE49-F238E27FC236}">
                  <a16:creationId xmlns:a16="http://schemas.microsoft.com/office/drawing/2014/main" id="{58C8E319-94BF-1403-2CD8-0E878D7DB6ED}"/>
                </a:ext>
              </a:extLst>
            </p:cNvPr>
            <p:cNvSpPr/>
            <p:nvPr/>
          </p:nvSpPr>
          <p:spPr>
            <a:xfrm>
              <a:off x="4190000" y="194631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5" name="object 915">
              <a:extLst>
                <a:ext uri="{FF2B5EF4-FFF2-40B4-BE49-F238E27FC236}">
                  <a16:creationId xmlns:a16="http://schemas.microsoft.com/office/drawing/2014/main" id="{30713169-A810-92E4-5974-9369F80D7BE7}"/>
                </a:ext>
              </a:extLst>
            </p:cNvPr>
            <p:cNvSpPr/>
            <p:nvPr/>
          </p:nvSpPr>
          <p:spPr>
            <a:xfrm>
              <a:off x="4190000" y="4145770"/>
              <a:ext cx="26569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8150"/>
                <a:gd name="f4" fmla="val 84454"/>
                <a:gd name="f5" fmla="val 437724"/>
                <a:gd name="f6" fmla="val 84133"/>
                <a:gd name="f7" fmla="*/ f0 1 438150"/>
                <a:gd name="f8" fmla="*/ f1 1 84454"/>
                <a:gd name="f9" fmla="+- f4 0 f2"/>
                <a:gd name="f10" fmla="+- f3 0 f2"/>
                <a:gd name="f11" fmla="*/ f10 1 4381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81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6" name="object 916">
              <a:extLst>
                <a:ext uri="{FF2B5EF4-FFF2-40B4-BE49-F238E27FC236}">
                  <a16:creationId xmlns:a16="http://schemas.microsoft.com/office/drawing/2014/main" id="{D269C5C2-E253-C512-3CB3-C978356BC322}"/>
                </a:ext>
              </a:extLst>
            </p:cNvPr>
            <p:cNvSpPr/>
            <p:nvPr/>
          </p:nvSpPr>
          <p:spPr>
            <a:xfrm>
              <a:off x="4469907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7" name="object 917">
              <a:extLst>
                <a:ext uri="{FF2B5EF4-FFF2-40B4-BE49-F238E27FC236}">
                  <a16:creationId xmlns:a16="http://schemas.microsoft.com/office/drawing/2014/main" id="{1D20936E-292A-87FB-9C17-57F43126DBE9}"/>
                </a:ext>
              </a:extLst>
            </p:cNvPr>
            <p:cNvSpPr/>
            <p:nvPr/>
          </p:nvSpPr>
          <p:spPr>
            <a:xfrm>
              <a:off x="4504928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8" name="object 918">
              <a:extLst>
                <a:ext uri="{FF2B5EF4-FFF2-40B4-BE49-F238E27FC236}">
                  <a16:creationId xmlns:a16="http://schemas.microsoft.com/office/drawing/2014/main" id="{66F83DE4-A4BD-73B8-31B9-137BA5313868}"/>
                </a:ext>
              </a:extLst>
            </p:cNvPr>
            <p:cNvSpPr/>
            <p:nvPr/>
          </p:nvSpPr>
          <p:spPr>
            <a:xfrm>
              <a:off x="4399864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19" name="object 919">
              <a:extLst>
                <a:ext uri="{FF2B5EF4-FFF2-40B4-BE49-F238E27FC236}">
                  <a16:creationId xmlns:a16="http://schemas.microsoft.com/office/drawing/2014/main" id="{E30FE3D6-473D-D2A1-36E4-61A300BCA87F}"/>
                </a:ext>
              </a:extLst>
            </p:cNvPr>
            <p:cNvSpPr/>
            <p:nvPr/>
          </p:nvSpPr>
          <p:spPr>
            <a:xfrm>
              <a:off x="4294790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0" name="object 920">
              <a:extLst>
                <a:ext uri="{FF2B5EF4-FFF2-40B4-BE49-F238E27FC236}">
                  <a16:creationId xmlns:a16="http://schemas.microsoft.com/office/drawing/2014/main" id="{B7BF23D7-64E1-E11E-8A95-AD301B108739}"/>
                </a:ext>
              </a:extLst>
            </p:cNvPr>
            <p:cNvSpPr/>
            <p:nvPr/>
          </p:nvSpPr>
          <p:spPr>
            <a:xfrm>
              <a:off x="4329885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1" name="object 921">
              <a:extLst>
                <a:ext uri="{FF2B5EF4-FFF2-40B4-BE49-F238E27FC236}">
                  <a16:creationId xmlns:a16="http://schemas.microsoft.com/office/drawing/2014/main" id="{94A4054B-019E-885E-8C4B-9EAEC0B19117}"/>
                </a:ext>
              </a:extLst>
            </p:cNvPr>
            <p:cNvSpPr/>
            <p:nvPr/>
          </p:nvSpPr>
          <p:spPr>
            <a:xfrm>
              <a:off x="4224747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2" name="object 922">
              <a:extLst>
                <a:ext uri="{FF2B5EF4-FFF2-40B4-BE49-F238E27FC236}">
                  <a16:creationId xmlns:a16="http://schemas.microsoft.com/office/drawing/2014/main" id="{12D20390-19F9-D8B3-F33C-1E1531878039}"/>
                </a:ext>
              </a:extLst>
            </p:cNvPr>
            <p:cNvSpPr/>
            <p:nvPr/>
          </p:nvSpPr>
          <p:spPr>
            <a:xfrm>
              <a:off x="4434876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3" name="object 923">
              <a:extLst>
                <a:ext uri="{FF2B5EF4-FFF2-40B4-BE49-F238E27FC236}">
                  <a16:creationId xmlns:a16="http://schemas.microsoft.com/office/drawing/2014/main" id="{3B5AECA3-FAC7-F5E0-0BC5-C6C76C4EB6F3}"/>
                </a:ext>
              </a:extLst>
            </p:cNvPr>
            <p:cNvSpPr/>
            <p:nvPr/>
          </p:nvSpPr>
          <p:spPr>
            <a:xfrm>
              <a:off x="4259768" y="415852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4" name="object 924">
              <a:extLst>
                <a:ext uri="{FF2B5EF4-FFF2-40B4-BE49-F238E27FC236}">
                  <a16:creationId xmlns:a16="http://schemas.microsoft.com/office/drawing/2014/main" id="{E5C8A420-CB47-D4A8-34B8-208397DE55D1}"/>
                </a:ext>
              </a:extLst>
            </p:cNvPr>
            <p:cNvSpPr/>
            <p:nvPr/>
          </p:nvSpPr>
          <p:spPr>
            <a:xfrm>
              <a:off x="4539950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5" name="object 925">
              <a:extLst>
                <a:ext uri="{FF2B5EF4-FFF2-40B4-BE49-F238E27FC236}">
                  <a16:creationId xmlns:a16="http://schemas.microsoft.com/office/drawing/2014/main" id="{DA076D9C-E7A1-0149-3B4C-8D537DCF69E7}"/>
                </a:ext>
              </a:extLst>
            </p:cNvPr>
            <p:cNvSpPr/>
            <p:nvPr/>
          </p:nvSpPr>
          <p:spPr>
            <a:xfrm>
              <a:off x="4364979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6" name="object 926">
              <a:extLst>
                <a:ext uri="{FF2B5EF4-FFF2-40B4-BE49-F238E27FC236}">
                  <a16:creationId xmlns:a16="http://schemas.microsoft.com/office/drawing/2014/main" id="{689E57BD-A45F-AD0E-C90B-2CCFAC4234CB}"/>
                </a:ext>
              </a:extLst>
            </p:cNvPr>
            <p:cNvSpPr/>
            <p:nvPr/>
          </p:nvSpPr>
          <p:spPr>
            <a:xfrm>
              <a:off x="4190000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7" name="object 927">
              <a:extLst>
                <a:ext uri="{FF2B5EF4-FFF2-40B4-BE49-F238E27FC236}">
                  <a16:creationId xmlns:a16="http://schemas.microsoft.com/office/drawing/2014/main" id="{AE56D40B-FF8D-2594-688B-A8A207AE8723}"/>
                </a:ext>
              </a:extLst>
            </p:cNvPr>
            <p:cNvSpPr/>
            <p:nvPr/>
          </p:nvSpPr>
          <p:spPr>
            <a:xfrm>
              <a:off x="4364979" y="41457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8" name="object 928">
              <a:extLst>
                <a:ext uri="{FF2B5EF4-FFF2-40B4-BE49-F238E27FC236}">
                  <a16:creationId xmlns:a16="http://schemas.microsoft.com/office/drawing/2014/main" id="{B83A862B-CC29-229B-25DF-49074C74F08F}"/>
                </a:ext>
              </a:extLst>
            </p:cNvPr>
            <p:cNvSpPr/>
            <p:nvPr/>
          </p:nvSpPr>
          <p:spPr>
            <a:xfrm>
              <a:off x="4190000" y="41712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29" name="object 929">
              <a:extLst>
                <a:ext uri="{FF2B5EF4-FFF2-40B4-BE49-F238E27FC236}">
                  <a16:creationId xmlns:a16="http://schemas.microsoft.com/office/drawing/2014/main" id="{E5028194-29EE-3B3B-7897-4845EC201D41}"/>
                </a:ext>
              </a:extLst>
            </p:cNvPr>
            <p:cNvSpPr/>
            <p:nvPr/>
          </p:nvSpPr>
          <p:spPr>
            <a:xfrm>
              <a:off x="4469907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0" name="object 930">
              <a:extLst>
                <a:ext uri="{FF2B5EF4-FFF2-40B4-BE49-F238E27FC236}">
                  <a16:creationId xmlns:a16="http://schemas.microsoft.com/office/drawing/2014/main" id="{351C6240-9A26-687B-AF2D-E230DEE83435}"/>
                </a:ext>
              </a:extLst>
            </p:cNvPr>
            <p:cNvSpPr/>
            <p:nvPr/>
          </p:nvSpPr>
          <p:spPr>
            <a:xfrm>
              <a:off x="4504928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1" name="object 931">
              <a:extLst>
                <a:ext uri="{FF2B5EF4-FFF2-40B4-BE49-F238E27FC236}">
                  <a16:creationId xmlns:a16="http://schemas.microsoft.com/office/drawing/2014/main" id="{9272647C-C324-0C98-0236-62175B5DE176}"/>
                </a:ext>
              </a:extLst>
            </p:cNvPr>
            <p:cNvSpPr/>
            <p:nvPr/>
          </p:nvSpPr>
          <p:spPr>
            <a:xfrm>
              <a:off x="4399864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2" name="object 932">
              <a:extLst>
                <a:ext uri="{FF2B5EF4-FFF2-40B4-BE49-F238E27FC236}">
                  <a16:creationId xmlns:a16="http://schemas.microsoft.com/office/drawing/2014/main" id="{E2FD8CD6-C142-E4AA-A430-C2D6E9D8BF98}"/>
                </a:ext>
              </a:extLst>
            </p:cNvPr>
            <p:cNvSpPr/>
            <p:nvPr/>
          </p:nvSpPr>
          <p:spPr>
            <a:xfrm>
              <a:off x="4294790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3" name="object 933">
              <a:extLst>
                <a:ext uri="{FF2B5EF4-FFF2-40B4-BE49-F238E27FC236}">
                  <a16:creationId xmlns:a16="http://schemas.microsoft.com/office/drawing/2014/main" id="{2F87D95E-BF3A-A6C1-9350-C4136F26AC7E}"/>
                </a:ext>
              </a:extLst>
            </p:cNvPr>
            <p:cNvSpPr/>
            <p:nvPr/>
          </p:nvSpPr>
          <p:spPr>
            <a:xfrm>
              <a:off x="4329885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4" name="object 934">
              <a:extLst>
                <a:ext uri="{FF2B5EF4-FFF2-40B4-BE49-F238E27FC236}">
                  <a16:creationId xmlns:a16="http://schemas.microsoft.com/office/drawing/2014/main" id="{9F0F8FC2-ADE6-09F0-3C4C-C58C0642F123}"/>
                </a:ext>
              </a:extLst>
            </p:cNvPr>
            <p:cNvSpPr/>
            <p:nvPr/>
          </p:nvSpPr>
          <p:spPr>
            <a:xfrm>
              <a:off x="4224747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5" name="object 935">
              <a:extLst>
                <a:ext uri="{FF2B5EF4-FFF2-40B4-BE49-F238E27FC236}">
                  <a16:creationId xmlns:a16="http://schemas.microsoft.com/office/drawing/2014/main" id="{FED03E64-1C95-C77A-82F4-FC65ED882850}"/>
                </a:ext>
              </a:extLst>
            </p:cNvPr>
            <p:cNvSpPr/>
            <p:nvPr/>
          </p:nvSpPr>
          <p:spPr>
            <a:xfrm>
              <a:off x="4434876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6" name="object 936">
              <a:extLst>
                <a:ext uri="{FF2B5EF4-FFF2-40B4-BE49-F238E27FC236}">
                  <a16:creationId xmlns:a16="http://schemas.microsoft.com/office/drawing/2014/main" id="{9F5B44B4-1511-CD2E-44F8-9304718386A7}"/>
                </a:ext>
              </a:extLst>
            </p:cNvPr>
            <p:cNvSpPr/>
            <p:nvPr/>
          </p:nvSpPr>
          <p:spPr>
            <a:xfrm>
              <a:off x="4259768" y="42315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7" name="object 937">
              <a:extLst>
                <a:ext uri="{FF2B5EF4-FFF2-40B4-BE49-F238E27FC236}">
                  <a16:creationId xmlns:a16="http://schemas.microsoft.com/office/drawing/2014/main" id="{7CEAA088-9215-8C7D-5C0A-8D5DCAF08FB6}"/>
                </a:ext>
              </a:extLst>
            </p:cNvPr>
            <p:cNvSpPr/>
            <p:nvPr/>
          </p:nvSpPr>
          <p:spPr>
            <a:xfrm>
              <a:off x="4539950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8" name="object 938">
              <a:extLst>
                <a:ext uri="{FF2B5EF4-FFF2-40B4-BE49-F238E27FC236}">
                  <a16:creationId xmlns:a16="http://schemas.microsoft.com/office/drawing/2014/main" id="{6180649D-F391-A89D-EECF-EE9BE853E137}"/>
                </a:ext>
              </a:extLst>
            </p:cNvPr>
            <p:cNvSpPr/>
            <p:nvPr/>
          </p:nvSpPr>
          <p:spPr>
            <a:xfrm>
              <a:off x="4364979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39" name="object 939">
              <a:extLst>
                <a:ext uri="{FF2B5EF4-FFF2-40B4-BE49-F238E27FC236}">
                  <a16:creationId xmlns:a16="http://schemas.microsoft.com/office/drawing/2014/main" id="{C417B899-0F8A-1245-B052-131F04B8B494}"/>
                </a:ext>
              </a:extLst>
            </p:cNvPr>
            <p:cNvSpPr/>
            <p:nvPr/>
          </p:nvSpPr>
          <p:spPr>
            <a:xfrm>
              <a:off x="4190000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0" name="object 940">
              <a:extLst>
                <a:ext uri="{FF2B5EF4-FFF2-40B4-BE49-F238E27FC236}">
                  <a16:creationId xmlns:a16="http://schemas.microsoft.com/office/drawing/2014/main" id="{4A82CAE0-04F7-AF8C-262D-6EC4A3E44CE2}"/>
                </a:ext>
              </a:extLst>
            </p:cNvPr>
            <p:cNvSpPr/>
            <p:nvPr/>
          </p:nvSpPr>
          <p:spPr>
            <a:xfrm>
              <a:off x="4364979" y="42187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1" name="object 941">
              <a:extLst>
                <a:ext uri="{FF2B5EF4-FFF2-40B4-BE49-F238E27FC236}">
                  <a16:creationId xmlns:a16="http://schemas.microsoft.com/office/drawing/2014/main" id="{77DEEBB3-F5AB-D4C6-849C-D16D43B5BABD}"/>
                </a:ext>
              </a:extLst>
            </p:cNvPr>
            <p:cNvSpPr/>
            <p:nvPr/>
          </p:nvSpPr>
          <p:spPr>
            <a:xfrm>
              <a:off x="4190000" y="424429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2" name="object 942">
              <a:extLst>
                <a:ext uri="{FF2B5EF4-FFF2-40B4-BE49-F238E27FC236}">
                  <a16:creationId xmlns:a16="http://schemas.microsoft.com/office/drawing/2014/main" id="{CE9E8B68-0F38-2E5B-3B29-447E662A07F5}"/>
                </a:ext>
              </a:extLst>
            </p:cNvPr>
            <p:cNvSpPr/>
            <p:nvPr/>
          </p:nvSpPr>
          <p:spPr>
            <a:xfrm>
              <a:off x="4190000" y="2612559"/>
              <a:ext cx="16403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70509"/>
                <a:gd name="f4" fmla="val 84454"/>
                <a:gd name="f5" fmla="val 270494"/>
                <a:gd name="f6" fmla="val 84112"/>
                <a:gd name="f7" fmla="*/ f0 1 270509"/>
                <a:gd name="f8" fmla="*/ f1 1 84454"/>
                <a:gd name="f9" fmla="+- f4 0 f2"/>
                <a:gd name="f10" fmla="+- f3 0 f2"/>
                <a:gd name="f11" fmla="*/ f10 1 2705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705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3" name="object 943">
              <a:extLst>
                <a:ext uri="{FF2B5EF4-FFF2-40B4-BE49-F238E27FC236}">
                  <a16:creationId xmlns:a16="http://schemas.microsoft.com/office/drawing/2014/main" id="{BF777D14-DF0E-DFBC-89B5-6EB896634175}"/>
                </a:ext>
              </a:extLst>
            </p:cNvPr>
            <p:cNvSpPr/>
            <p:nvPr/>
          </p:nvSpPr>
          <p:spPr>
            <a:xfrm>
              <a:off x="4469907" y="262531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4" name="object 944">
              <a:extLst>
                <a:ext uri="{FF2B5EF4-FFF2-40B4-BE49-F238E27FC236}">
                  <a16:creationId xmlns:a16="http://schemas.microsoft.com/office/drawing/2014/main" id="{F4E163D4-7E8F-F447-C6C0-96E74F139DC1}"/>
                </a:ext>
              </a:extLst>
            </p:cNvPr>
            <p:cNvSpPr/>
            <p:nvPr/>
          </p:nvSpPr>
          <p:spPr>
            <a:xfrm>
              <a:off x="4504928" y="262531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5" name="object 945">
              <a:extLst>
                <a:ext uri="{FF2B5EF4-FFF2-40B4-BE49-F238E27FC236}">
                  <a16:creationId xmlns:a16="http://schemas.microsoft.com/office/drawing/2014/main" id="{CD87C226-BFB5-0BE4-F6A9-B027B60C6587}"/>
                </a:ext>
              </a:extLst>
            </p:cNvPr>
            <p:cNvSpPr/>
            <p:nvPr/>
          </p:nvSpPr>
          <p:spPr>
            <a:xfrm>
              <a:off x="4399864" y="262531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6" name="object 946">
              <a:extLst>
                <a:ext uri="{FF2B5EF4-FFF2-40B4-BE49-F238E27FC236}">
                  <a16:creationId xmlns:a16="http://schemas.microsoft.com/office/drawing/2014/main" id="{A8271832-0E94-C6D1-27F0-5DE9050C1397}"/>
                </a:ext>
              </a:extLst>
            </p:cNvPr>
            <p:cNvSpPr/>
            <p:nvPr/>
          </p:nvSpPr>
          <p:spPr>
            <a:xfrm>
              <a:off x="4294790" y="262531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7" name="object 947">
              <a:extLst>
                <a:ext uri="{FF2B5EF4-FFF2-40B4-BE49-F238E27FC236}">
                  <a16:creationId xmlns:a16="http://schemas.microsoft.com/office/drawing/2014/main" id="{305235BF-592A-94CB-AEF2-394144968A15}"/>
                </a:ext>
              </a:extLst>
            </p:cNvPr>
            <p:cNvSpPr/>
            <p:nvPr/>
          </p:nvSpPr>
          <p:spPr>
            <a:xfrm>
              <a:off x="4329885" y="262531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8" name="object 948">
              <a:extLst>
                <a:ext uri="{FF2B5EF4-FFF2-40B4-BE49-F238E27FC236}">
                  <a16:creationId xmlns:a16="http://schemas.microsoft.com/office/drawing/2014/main" id="{E808ABED-1A58-C014-8475-1C785EBC85AC}"/>
                </a:ext>
              </a:extLst>
            </p:cNvPr>
            <p:cNvSpPr/>
            <p:nvPr/>
          </p:nvSpPr>
          <p:spPr>
            <a:xfrm>
              <a:off x="4224747" y="262531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49" name="object 949">
              <a:extLst>
                <a:ext uri="{FF2B5EF4-FFF2-40B4-BE49-F238E27FC236}">
                  <a16:creationId xmlns:a16="http://schemas.microsoft.com/office/drawing/2014/main" id="{A72F6161-61F1-0C14-885B-36B15F31C902}"/>
                </a:ext>
              </a:extLst>
            </p:cNvPr>
            <p:cNvSpPr/>
            <p:nvPr/>
          </p:nvSpPr>
          <p:spPr>
            <a:xfrm>
              <a:off x="4434876" y="262531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0" name="object 950">
              <a:extLst>
                <a:ext uri="{FF2B5EF4-FFF2-40B4-BE49-F238E27FC236}">
                  <a16:creationId xmlns:a16="http://schemas.microsoft.com/office/drawing/2014/main" id="{E0E3D107-3D87-59AD-58B7-4B9474488D0F}"/>
                </a:ext>
              </a:extLst>
            </p:cNvPr>
            <p:cNvSpPr/>
            <p:nvPr/>
          </p:nvSpPr>
          <p:spPr>
            <a:xfrm>
              <a:off x="4259768" y="262531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1" name="object 951">
              <a:extLst>
                <a:ext uri="{FF2B5EF4-FFF2-40B4-BE49-F238E27FC236}">
                  <a16:creationId xmlns:a16="http://schemas.microsoft.com/office/drawing/2014/main" id="{E5CFB411-0165-51A0-3377-2FF1E000CEA0}"/>
                </a:ext>
              </a:extLst>
            </p:cNvPr>
            <p:cNvSpPr/>
            <p:nvPr/>
          </p:nvSpPr>
          <p:spPr>
            <a:xfrm>
              <a:off x="4539950" y="261255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2" name="object 952">
              <a:extLst>
                <a:ext uri="{FF2B5EF4-FFF2-40B4-BE49-F238E27FC236}">
                  <a16:creationId xmlns:a16="http://schemas.microsoft.com/office/drawing/2014/main" id="{625E9B60-6748-ACA8-86D7-4E263891D000}"/>
                </a:ext>
              </a:extLst>
            </p:cNvPr>
            <p:cNvSpPr/>
            <p:nvPr/>
          </p:nvSpPr>
          <p:spPr>
            <a:xfrm>
              <a:off x="4364979" y="261255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3" name="object 953">
              <a:extLst>
                <a:ext uri="{FF2B5EF4-FFF2-40B4-BE49-F238E27FC236}">
                  <a16:creationId xmlns:a16="http://schemas.microsoft.com/office/drawing/2014/main" id="{5DD5F732-DB23-0DDA-627C-09442D2FBD5D}"/>
                </a:ext>
              </a:extLst>
            </p:cNvPr>
            <p:cNvSpPr/>
            <p:nvPr/>
          </p:nvSpPr>
          <p:spPr>
            <a:xfrm>
              <a:off x="4190000" y="261255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4" name="object 954">
              <a:extLst>
                <a:ext uri="{FF2B5EF4-FFF2-40B4-BE49-F238E27FC236}">
                  <a16:creationId xmlns:a16="http://schemas.microsoft.com/office/drawing/2014/main" id="{676717EE-166D-ACFC-395A-7A1397DA6D06}"/>
                </a:ext>
              </a:extLst>
            </p:cNvPr>
            <p:cNvSpPr/>
            <p:nvPr/>
          </p:nvSpPr>
          <p:spPr>
            <a:xfrm>
              <a:off x="4364979" y="261255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5" name="object 955">
              <a:extLst>
                <a:ext uri="{FF2B5EF4-FFF2-40B4-BE49-F238E27FC236}">
                  <a16:creationId xmlns:a16="http://schemas.microsoft.com/office/drawing/2014/main" id="{84D5EB17-E7FB-720B-8407-4E2477628BC3}"/>
                </a:ext>
              </a:extLst>
            </p:cNvPr>
            <p:cNvSpPr/>
            <p:nvPr/>
          </p:nvSpPr>
          <p:spPr>
            <a:xfrm>
              <a:off x="4190000" y="263806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6" name="object 956">
              <a:extLst>
                <a:ext uri="{FF2B5EF4-FFF2-40B4-BE49-F238E27FC236}">
                  <a16:creationId xmlns:a16="http://schemas.microsoft.com/office/drawing/2014/main" id="{0F814996-F129-6E14-3031-2EA23543BBDB}"/>
                </a:ext>
              </a:extLst>
            </p:cNvPr>
            <p:cNvSpPr/>
            <p:nvPr/>
          </p:nvSpPr>
          <p:spPr>
            <a:xfrm>
              <a:off x="4469907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7" name="object 957">
              <a:extLst>
                <a:ext uri="{FF2B5EF4-FFF2-40B4-BE49-F238E27FC236}">
                  <a16:creationId xmlns:a16="http://schemas.microsoft.com/office/drawing/2014/main" id="{7C4B08D2-8714-53CA-0C52-73ADF3600A35}"/>
                </a:ext>
              </a:extLst>
            </p:cNvPr>
            <p:cNvSpPr/>
            <p:nvPr/>
          </p:nvSpPr>
          <p:spPr>
            <a:xfrm>
              <a:off x="4504928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8" name="object 958">
              <a:extLst>
                <a:ext uri="{FF2B5EF4-FFF2-40B4-BE49-F238E27FC236}">
                  <a16:creationId xmlns:a16="http://schemas.microsoft.com/office/drawing/2014/main" id="{EE4A78D4-5F1F-B362-7026-848795522421}"/>
                </a:ext>
              </a:extLst>
            </p:cNvPr>
            <p:cNvSpPr/>
            <p:nvPr/>
          </p:nvSpPr>
          <p:spPr>
            <a:xfrm>
              <a:off x="4399864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59" name="object 959">
              <a:extLst>
                <a:ext uri="{FF2B5EF4-FFF2-40B4-BE49-F238E27FC236}">
                  <a16:creationId xmlns:a16="http://schemas.microsoft.com/office/drawing/2014/main" id="{C8456F55-96B1-0D29-6FE8-3732E48DAC30}"/>
                </a:ext>
              </a:extLst>
            </p:cNvPr>
            <p:cNvSpPr/>
            <p:nvPr/>
          </p:nvSpPr>
          <p:spPr>
            <a:xfrm>
              <a:off x="4294790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0" name="object 960">
              <a:extLst>
                <a:ext uri="{FF2B5EF4-FFF2-40B4-BE49-F238E27FC236}">
                  <a16:creationId xmlns:a16="http://schemas.microsoft.com/office/drawing/2014/main" id="{BF03AB43-5F55-CD46-FD85-59FC173EAC79}"/>
                </a:ext>
              </a:extLst>
            </p:cNvPr>
            <p:cNvSpPr/>
            <p:nvPr/>
          </p:nvSpPr>
          <p:spPr>
            <a:xfrm>
              <a:off x="4329885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1" name="object 961">
              <a:extLst>
                <a:ext uri="{FF2B5EF4-FFF2-40B4-BE49-F238E27FC236}">
                  <a16:creationId xmlns:a16="http://schemas.microsoft.com/office/drawing/2014/main" id="{D334F494-F339-75BA-9525-0D106289219D}"/>
                </a:ext>
              </a:extLst>
            </p:cNvPr>
            <p:cNvSpPr/>
            <p:nvPr/>
          </p:nvSpPr>
          <p:spPr>
            <a:xfrm>
              <a:off x="4224747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2" name="object 962">
              <a:extLst>
                <a:ext uri="{FF2B5EF4-FFF2-40B4-BE49-F238E27FC236}">
                  <a16:creationId xmlns:a16="http://schemas.microsoft.com/office/drawing/2014/main" id="{494FF97B-95B3-C0A4-6282-FB6BC96CE911}"/>
                </a:ext>
              </a:extLst>
            </p:cNvPr>
            <p:cNvSpPr/>
            <p:nvPr/>
          </p:nvSpPr>
          <p:spPr>
            <a:xfrm>
              <a:off x="4434876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3" name="object 963">
              <a:extLst>
                <a:ext uri="{FF2B5EF4-FFF2-40B4-BE49-F238E27FC236}">
                  <a16:creationId xmlns:a16="http://schemas.microsoft.com/office/drawing/2014/main" id="{867CF296-4462-FE04-A6CE-C02C0A0C4959}"/>
                </a:ext>
              </a:extLst>
            </p:cNvPr>
            <p:cNvSpPr/>
            <p:nvPr/>
          </p:nvSpPr>
          <p:spPr>
            <a:xfrm>
              <a:off x="4259768" y="269833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4" name="object 964">
              <a:extLst>
                <a:ext uri="{FF2B5EF4-FFF2-40B4-BE49-F238E27FC236}">
                  <a16:creationId xmlns:a16="http://schemas.microsoft.com/office/drawing/2014/main" id="{B0A11834-364B-2A9A-8EE0-97A53D53ADFC}"/>
                </a:ext>
              </a:extLst>
            </p:cNvPr>
            <p:cNvSpPr/>
            <p:nvPr/>
          </p:nvSpPr>
          <p:spPr>
            <a:xfrm>
              <a:off x="4539950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5" name="object 965">
              <a:extLst>
                <a:ext uri="{FF2B5EF4-FFF2-40B4-BE49-F238E27FC236}">
                  <a16:creationId xmlns:a16="http://schemas.microsoft.com/office/drawing/2014/main" id="{71771D7E-2162-942C-51BF-298A08726613}"/>
                </a:ext>
              </a:extLst>
            </p:cNvPr>
            <p:cNvSpPr/>
            <p:nvPr/>
          </p:nvSpPr>
          <p:spPr>
            <a:xfrm>
              <a:off x="4364979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6" name="object 966">
              <a:extLst>
                <a:ext uri="{FF2B5EF4-FFF2-40B4-BE49-F238E27FC236}">
                  <a16:creationId xmlns:a16="http://schemas.microsoft.com/office/drawing/2014/main" id="{88CF4002-1790-2C60-9161-6A14E67EC2F3}"/>
                </a:ext>
              </a:extLst>
            </p:cNvPr>
            <p:cNvSpPr/>
            <p:nvPr/>
          </p:nvSpPr>
          <p:spPr>
            <a:xfrm>
              <a:off x="4190000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7" name="object 967">
              <a:extLst>
                <a:ext uri="{FF2B5EF4-FFF2-40B4-BE49-F238E27FC236}">
                  <a16:creationId xmlns:a16="http://schemas.microsoft.com/office/drawing/2014/main" id="{4E38E36A-E53A-965F-98FB-F815D23371E6}"/>
                </a:ext>
              </a:extLst>
            </p:cNvPr>
            <p:cNvSpPr/>
            <p:nvPr/>
          </p:nvSpPr>
          <p:spPr>
            <a:xfrm>
              <a:off x="4364979" y="268557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8" name="object 968">
              <a:extLst>
                <a:ext uri="{FF2B5EF4-FFF2-40B4-BE49-F238E27FC236}">
                  <a16:creationId xmlns:a16="http://schemas.microsoft.com/office/drawing/2014/main" id="{BC47E5A8-15A2-9F65-8799-2531257B4CC4}"/>
                </a:ext>
              </a:extLst>
            </p:cNvPr>
            <p:cNvSpPr/>
            <p:nvPr/>
          </p:nvSpPr>
          <p:spPr>
            <a:xfrm>
              <a:off x="4190000" y="271108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69" name="object 969">
              <a:extLst>
                <a:ext uri="{FF2B5EF4-FFF2-40B4-BE49-F238E27FC236}">
                  <a16:creationId xmlns:a16="http://schemas.microsoft.com/office/drawing/2014/main" id="{1B7AC4EF-090E-0D8A-F234-A10E3D5D3A96}"/>
                </a:ext>
              </a:extLst>
            </p:cNvPr>
            <p:cNvSpPr/>
            <p:nvPr/>
          </p:nvSpPr>
          <p:spPr>
            <a:xfrm>
              <a:off x="4190000" y="3376623"/>
              <a:ext cx="6546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7950"/>
                <a:gd name="f4" fmla="val 84454"/>
                <a:gd name="f5" fmla="val 107892"/>
                <a:gd name="f6" fmla="val 84112"/>
                <a:gd name="f7" fmla="*/ f0 1 107950"/>
                <a:gd name="f8" fmla="*/ f1 1 84454"/>
                <a:gd name="f9" fmla="+- f4 0 f2"/>
                <a:gd name="f10" fmla="+- f3 0 f2"/>
                <a:gd name="f11" fmla="*/ f10 1 1079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79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0" name="object 970">
              <a:extLst>
                <a:ext uri="{FF2B5EF4-FFF2-40B4-BE49-F238E27FC236}">
                  <a16:creationId xmlns:a16="http://schemas.microsoft.com/office/drawing/2014/main" id="{998EE99B-833C-6B65-5480-0350D9A0353B}"/>
                </a:ext>
              </a:extLst>
            </p:cNvPr>
            <p:cNvSpPr/>
            <p:nvPr/>
          </p:nvSpPr>
          <p:spPr>
            <a:xfrm>
              <a:off x="4469907" y="3389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1" name="object 971">
              <a:extLst>
                <a:ext uri="{FF2B5EF4-FFF2-40B4-BE49-F238E27FC236}">
                  <a16:creationId xmlns:a16="http://schemas.microsoft.com/office/drawing/2014/main" id="{531B476E-F7EE-EB67-8E49-BCB362EFF501}"/>
                </a:ext>
              </a:extLst>
            </p:cNvPr>
            <p:cNvSpPr/>
            <p:nvPr/>
          </p:nvSpPr>
          <p:spPr>
            <a:xfrm>
              <a:off x="4504928" y="3389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2" name="object 972">
              <a:extLst>
                <a:ext uri="{FF2B5EF4-FFF2-40B4-BE49-F238E27FC236}">
                  <a16:creationId xmlns:a16="http://schemas.microsoft.com/office/drawing/2014/main" id="{818E506C-5DBB-2D2B-F1D7-55415FEFDAC9}"/>
                </a:ext>
              </a:extLst>
            </p:cNvPr>
            <p:cNvSpPr/>
            <p:nvPr/>
          </p:nvSpPr>
          <p:spPr>
            <a:xfrm>
              <a:off x="4399864" y="3389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3" name="object 973">
              <a:extLst>
                <a:ext uri="{FF2B5EF4-FFF2-40B4-BE49-F238E27FC236}">
                  <a16:creationId xmlns:a16="http://schemas.microsoft.com/office/drawing/2014/main" id="{8292A9E3-00D1-15D2-C409-35A78C7D6A45}"/>
                </a:ext>
              </a:extLst>
            </p:cNvPr>
            <p:cNvSpPr/>
            <p:nvPr/>
          </p:nvSpPr>
          <p:spPr>
            <a:xfrm>
              <a:off x="4294790" y="3389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4" name="object 974">
              <a:extLst>
                <a:ext uri="{FF2B5EF4-FFF2-40B4-BE49-F238E27FC236}">
                  <a16:creationId xmlns:a16="http://schemas.microsoft.com/office/drawing/2014/main" id="{2EC0001F-DCBE-87B9-F0E4-6C54835C42ED}"/>
                </a:ext>
              </a:extLst>
            </p:cNvPr>
            <p:cNvSpPr/>
            <p:nvPr/>
          </p:nvSpPr>
          <p:spPr>
            <a:xfrm>
              <a:off x="4329885" y="3389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5" name="object 975">
              <a:extLst>
                <a:ext uri="{FF2B5EF4-FFF2-40B4-BE49-F238E27FC236}">
                  <a16:creationId xmlns:a16="http://schemas.microsoft.com/office/drawing/2014/main" id="{E764D51A-7DE6-2CD3-1A11-2A45BA00AFC7}"/>
                </a:ext>
              </a:extLst>
            </p:cNvPr>
            <p:cNvSpPr/>
            <p:nvPr/>
          </p:nvSpPr>
          <p:spPr>
            <a:xfrm>
              <a:off x="4224747" y="3389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6" name="object 976">
              <a:extLst>
                <a:ext uri="{FF2B5EF4-FFF2-40B4-BE49-F238E27FC236}">
                  <a16:creationId xmlns:a16="http://schemas.microsoft.com/office/drawing/2014/main" id="{5077ECBE-0B9F-F734-8695-C79896C0DE15}"/>
                </a:ext>
              </a:extLst>
            </p:cNvPr>
            <p:cNvSpPr/>
            <p:nvPr/>
          </p:nvSpPr>
          <p:spPr>
            <a:xfrm>
              <a:off x="4434876" y="3389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7" name="object 977">
              <a:extLst>
                <a:ext uri="{FF2B5EF4-FFF2-40B4-BE49-F238E27FC236}">
                  <a16:creationId xmlns:a16="http://schemas.microsoft.com/office/drawing/2014/main" id="{1FF8F0E4-C43E-B355-3A4F-3C3551A0D6C9}"/>
                </a:ext>
              </a:extLst>
            </p:cNvPr>
            <p:cNvSpPr/>
            <p:nvPr/>
          </p:nvSpPr>
          <p:spPr>
            <a:xfrm>
              <a:off x="4259768" y="3389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8" name="object 978">
              <a:extLst>
                <a:ext uri="{FF2B5EF4-FFF2-40B4-BE49-F238E27FC236}">
                  <a16:creationId xmlns:a16="http://schemas.microsoft.com/office/drawing/2014/main" id="{DD243C89-0BBF-5E07-2CBE-184AD781F6A2}"/>
                </a:ext>
              </a:extLst>
            </p:cNvPr>
            <p:cNvSpPr/>
            <p:nvPr/>
          </p:nvSpPr>
          <p:spPr>
            <a:xfrm>
              <a:off x="4539950" y="337662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79" name="object 979">
              <a:extLst>
                <a:ext uri="{FF2B5EF4-FFF2-40B4-BE49-F238E27FC236}">
                  <a16:creationId xmlns:a16="http://schemas.microsoft.com/office/drawing/2014/main" id="{D4DFA5EB-1826-32FD-1DAE-6F2AF79EA7C7}"/>
                </a:ext>
              </a:extLst>
            </p:cNvPr>
            <p:cNvSpPr/>
            <p:nvPr/>
          </p:nvSpPr>
          <p:spPr>
            <a:xfrm>
              <a:off x="4364979" y="337662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0" name="object 980">
              <a:extLst>
                <a:ext uri="{FF2B5EF4-FFF2-40B4-BE49-F238E27FC236}">
                  <a16:creationId xmlns:a16="http://schemas.microsoft.com/office/drawing/2014/main" id="{4974D085-F1A0-0CE3-443C-D5F9A287A1C5}"/>
                </a:ext>
              </a:extLst>
            </p:cNvPr>
            <p:cNvSpPr/>
            <p:nvPr/>
          </p:nvSpPr>
          <p:spPr>
            <a:xfrm>
              <a:off x="4190000" y="337662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1" name="object 981">
              <a:extLst>
                <a:ext uri="{FF2B5EF4-FFF2-40B4-BE49-F238E27FC236}">
                  <a16:creationId xmlns:a16="http://schemas.microsoft.com/office/drawing/2014/main" id="{B680351C-6B7C-9684-6F9A-BEBB5C9F6CAE}"/>
                </a:ext>
              </a:extLst>
            </p:cNvPr>
            <p:cNvSpPr/>
            <p:nvPr/>
          </p:nvSpPr>
          <p:spPr>
            <a:xfrm>
              <a:off x="4364979" y="337662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2" name="object 982">
              <a:extLst>
                <a:ext uri="{FF2B5EF4-FFF2-40B4-BE49-F238E27FC236}">
                  <a16:creationId xmlns:a16="http://schemas.microsoft.com/office/drawing/2014/main" id="{1C5E2973-246F-D0CE-BC65-978C0CFC96B8}"/>
                </a:ext>
              </a:extLst>
            </p:cNvPr>
            <p:cNvSpPr/>
            <p:nvPr/>
          </p:nvSpPr>
          <p:spPr>
            <a:xfrm>
              <a:off x="4190000" y="340212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3" name="object 983">
              <a:extLst>
                <a:ext uri="{FF2B5EF4-FFF2-40B4-BE49-F238E27FC236}">
                  <a16:creationId xmlns:a16="http://schemas.microsoft.com/office/drawing/2014/main" id="{8C9B7718-83CF-FD7E-D1A7-5DEFFCCC5FB5}"/>
                </a:ext>
              </a:extLst>
            </p:cNvPr>
            <p:cNvSpPr/>
            <p:nvPr/>
          </p:nvSpPr>
          <p:spPr>
            <a:xfrm>
              <a:off x="4469907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4" name="object 984">
              <a:extLst>
                <a:ext uri="{FF2B5EF4-FFF2-40B4-BE49-F238E27FC236}">
                  <a16:creationId xmlns:a16="http://schemas.microsoft.com/office/drawing/2014/main" id="{948E0888-27C8-128B-7DD7-6A84DBEA7319}"/>
                </a:ext>
              </a:extLst>
            </p:cNvPr>
            <p:cNvSpPr/>
            <p:nvPr/>
          </p:nvSpPr>
          <p:spPr>
            <a:xfrm>
              <a:off x="4504928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5" name="object 985">
              <a:extLst>
                <a:ext uri="{FF2B5EF4-FFF2-40B4-BE49-F238E27FC236}">
                  <a16:creationId xmlns:a16="http://schemas.microsoft.com/office/drawing/2014/main" id="{B6E06BA3-8956-C327-B63A-BD97ECB45435}"/>
                </a:ext>
              </a:extLst>
            </p:cNvPr>
            <p:cNvSpPr/>
            <p:nvPr/>
          </p:nvSpPr>
          <p:spPr>
            <a:xfrm>
              <a:off x="4399864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6" name="object 986">
              <a:extLst>
                <a:ext uri="{FF2B5EF4-FFF2-40B4-BE49-F238E27FC236}">
                  <a16:creationId xmlns:a16="http://schemas.microsoft.com/office/drawing/2014/main" id="{AD7D706B-C51B-07C2-5AC4-7D90CB3CEDFF}"/>
                </a:ext>
              </a:extLst>
            </p:cNvPr>
            <p:cNvSpPr/>
            <p:nvPr/>
          </p:nvSpPr>
          <p:spPr>
            <a:xfrm>
              <a:off x="4294790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7" name="object 987">
              <a:extLst>
                <a:ext uri="{FF2B5EF4-FFF2-40B4-BE49-F238E27FC236}">
                  <a16:creationId xmlns:a16="http://schemas.microsoft.com/office/drawing/2014/main" id="{75AB693E-0F43-3244-A254-B96E38054495}"/>
                </a:ext>
              </a:extLst>
            </p:cNvPr>
            <p:cNvSpPr/>
            <p:nvPr/>
          </p:nvSpPr>
          <p:spPr>
            <a:xfrm>
              <a:off x="4329885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8" name="object 988">
              <a:extLst>
                <a:ext uri="{FF2B5EF4-FFF2-40B4-BE49-F238E27FC236}">
                  <a16:creationId xmlns:a16="http://schemas.microsoft.com/office/drawing/2014/main" id="{7B4B3203-AF87-838B-D642-8A8F64C1E81B}"/>
                </a:ext>
              </a:extLst>
            </p:cNvPr>
            <p:cNvSpPr/>
            <p:nvPr/>
          </p:nvSpPr>
          <p:spPr>
            <a:xfrm>
              <a:off x="4224747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89" name="object 989">
              <a:extLst>
                <a:ext uri="{FF2B5EF4-FFF2-40B4-BE49-F238E27FC236}">
                  <a16:creationId xmlns:a16="http://schemas.microsoft.com/office/drawing/2014/main" id="{26B8B6B5-332D-2EC2-BB06-DB8640F0EC17}"/>
                </a:ext>
              </a:extLst>
            </p:cNvPr>
            <p:cNvSpPr/>
            <p:nvPr/>
          </p:nvSpPr>
          <p:spPr>
            <a:xfrm>
              <a:off x="4434876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0" name="object 990">
              <a:extLst>
                <a:ext uri="{FF2B5EF4-FFF2-40B4-BE49-F238E27FC236}">
                  <a16:creationId xmlns:a16="http://schemas.microsoft.com/office/drawing/2014/main" id="{EED52227-DED6-7A01-2753-3CC06F38AC2C}"/>
                </a:ext>
              </a:extLst>
            </p:cNvPr>
            <p:cNvSpPr/>
            <p:nvPr/>
          </p:nvSpPr>
          <p:spPr>
            <a:xfrm>
              <a:off x="4259768" y="346239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1" name="object 991">
              <a:extLst>
                <a:ext uri="{FF2B5EF4-FFF2-40B4-BE49-F238E27FC236}">
                  <a16:creationId xmlns:a16="http://schemas.microsoft.com/office/drawing/2014/main" id="{52900E68-883A-49A9-197D-A9ABC72901F7}"/>
                </a:ext>
              </a:extLst>
            </p:cNvPr>
            <p:cNvSpPr/>
            <p:nvPr/>
          </p:nvSpPr>
          <p:spPr>
            <a:xfrm>
              <a:off x="4539950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2" name="object 992">
              <a:extLst>
                <a:ext uri="{FF2B5EF4-FFF2-40B4-BE49-F238E27FC236}">
                  <a16:creationId xmlns:a16="http://schemas.microsoft.com/office/drawing/2014/main" id="{6C14C026-AC13-4A14-5A1D-8060396CA620}"/>
                </a:ext>
              </a:extLst>
            </p:cNvPr>
            <p:cNvSpPr/>
            <p:nvPr/>
          </p:nvSpPr>
          <p:spPr>
            <a:xfrm>
              <a:off x="4364979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3" name="object 993">
              <a:extLst>
                <a:ext uri="{FF2B5EF4-FFF2-40B4-BE49-F238E27FC236}">
                  <a16:creationId xmlns:a16="http://schemas.microsoft.com/office/drawing/2014/main" id="{C9A58FA5-794E-36E4-D263-07EE57E4C413}"/>
                </a:ext>
              </a:extLst>
            </p:cNvPr>
            <p:cNvSpPr/>
            <p:nvPr/>
          </p:nvSpPr>
          <p:spPr>
            <a:xfrm>
              <a:off x="4190000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4" name="object 994">
              <a:extLst>
                <a:ext uri="{FF2B5EF4-FFF2-40B4-BE49-F238E27FC236}">
                  <a16:creationId xmlns:a16="http://schemas.microsoft.com/office/drawing/2014/main" id="{A2C8F1F7-2627-EA23-A9BE-F220FD9E3CD8}"/>
                </a:ext>
              </a:extLst>
            </p:cNvPr>
            <p:cNvSpPr/>
            <p:nvPr/>
          </p:nvSpPr>
          <p:spPr>
            <a:xfrm>
              <a:off x="4364979" y="344963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5" name="object 995">
              <a:extLst>
                <a:ext uri="{FF2B5EF4-FFF2-40B4-BE49-F238E27FC236}">
                  <a16:creationId xmlns:a16="http://schemas.microsoft.com/office/drawing/2014/main" id="{219C4285-CEB0-1DC3-E69C-FA19876BDB2E}"/>
                </a:ext>
              </a:extLst>
            </p:cNvPr>
            <p:cNvSpPr/>
            <p:nvPr/>
          </p:nvSpPr>
          <p:spPr>
            <a:xfrm>
              <a:off x="4190000" y="347514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96" name="object 996">
              <a:extLst>
                <a:ext uri="{FF2B5EF4-FFF2-40B4-BE49-F238E27FC236}">
                  <a16:creationId xmlns:a16="http://schemas.microsoft.com/office/drawing/2014/main" id="{CE0D30E1-DEC6-AFA8-045C-12F047F52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191344" y="363679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997" name="object 997">
              <a:extLst>
                <a:ext uri="{FF2B5EF4-FFF2-40B4-BE49-F238E27FC236}">
                  <a16:creationId xmlns:a16="http://schemas.microsoft.com/office/drawing/2014/main" id="{B33B0DCF-41D0-4531-D739-C44720730B5A}"/>
                </a:ext>
              </a:extLst>
            </p:cNvPr>
            <p:cNvSpPr/>
            <p:nvPr/>
          </p:nvSpPr>
          <p:spPr>
            <a:xfrm>
              <a:off x="4332820" y="3983199"/>
              <a:ext cx="6699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67001"/>
                <a:gd name="f5" fmla="val 66993"/>
                <a:gd name="f6" fmla="abs f0"/>
                <a:gd name="f7" fmla="abs f1"/>
                <a:gd name="f8" fmla="abs f2"/>
                <a:gd name="f9" fmla="*/ f0 1 67001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67001"/>
                <a:gd name="f16" fmla="*/ f10 1 0"/>
                <a:gd name="f17" fmla="*/ f12 1 67001"/>
                <a:gd name="f18" fmla="*/ f13 1 21600"/>
                <a:gd name="f19" fmla="*/ 21600 f13 1"/>
                <a:gd name="f20" fmla="*/ 0 1 f15"/>
                <a:gd name="f21" fmla="*/ 67001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67001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998" name="object 998">
              <a:extLst>
                <a:ext uri="{FF2B5EF4-FFF2-40B4-BE49-F238E27FC236}">
                  <a16:creationId xmlns:a16="http://schemas.microsoft.com/office/drawing/2014/main" id="{D0B6B7EA-6F01-BE21-4AD5-9FE6B6E3755A}"/>
                </a:ext>
              </a:extLst>
            </p:cNvPr>
            <p:cNvSpPr/>
            <p:nvPr/>
          </p:nvSpPr>
          <p:spPr>
            <a:xfrm>
              <a:off x="4191344" y="363680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99" name="object 999">
              <a:extLst>
                <a:ext uri="{FF2B5EF4-FFF2-40B4-BE49-F238E27FC236}">
                  <a16:creationId xmlns:a16="http://schemas.microsoft.com/office/drawing/2014/main" id="{FEDE5809-FEA6-ED50-D204-A9305F0E9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4188994" y="4396672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00" name="object 1000">
              <a:extLst>
                <a:ext uri="{FF2B5EF4-FFF2-40B4-BE49-F238E27FC236}">
                  <a16:creationId xmlns:a16="http://schemas.microsoft.com/office/drawing/2014/main" id="{FA625D1B-B9CC-5CE0-3BCA-CEA78D91121D}"/>
                </a:ext>
              </a:extLst>
            </p:cNvPr>
            <p:cNvSpPr/>
            <p:nvPr/>
          </p:nvSpPr>
          <p:spPr>
            <a:xfrm>
              <a:off x="4188994" y="439668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01" name="object 1001">
              <a:extLst>
                <a:ext uri="{FF2B5EF4-FFF2-40B4-BE49-F238E27FC236}">
                  <a16:creationId xmlns:a16="http://schemas.microsoft.com/office/drawing/2014/main" id="{C7FAEAF2-94D8-A431-3F2A-5B33A2F625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190512" y="569250"/>
              <a:ext cx="348011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02" name="object 1002">
              <a:extLst>
                <a:ext uri="{FF2B5EF4-FFF2-40B4-BE49-F238E27FC236}">
                  <a16:creationId xmlns:a16="http://schemas.microsoft.com/office/drawing/2014/main" id="{EB99D41F-A656-9C2F-4C85-8AA0389AE861}"/>
                </a:ext>
              </a:extLst>
            </p:cNvPr>
            <p:cNvSpPr/>
            <p:nvPr/>
          </p:nvSpPr>
          <p:spPr>
            <a:xfrm>
              <a:off x="4190512" y="5692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03" name="object 1003">
              <a:extLst>
                <a:ext uri="{FF2B5EF4-FFF2-40B4-BE49-F238E27FC236}">
                  <a16:creationId xmlns:a16="http://schemas.microsoft.com/office/drawing/2014/main" id="{7EFBD49E-D182-E3CC-FBB0-69A3F6816F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4190512" y="1330488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04" name="object 1004">
              <a:extLst>
                <a:ext uri="{FF2B5EF4-FFF2-40B4-BE49-F238E27FC236}">
                  <a16:creationId xmlns:a16="http://schemas.microsoft.com/office/drawing/2014/main" id="{5C4B5DA1-76F6-9B56-CC9F-908F94C12E6E}"/>
                </a:ext>
              </a:extLst>
            </p:cNvPr>
            <p:cNvSpPr/>
            <p:nvPr/>
          </p:nvSpPr>
          <p:spPr>
            <a:xfrm>
              <a:off x="4190512" y="133048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05" name="object 1005">
              <a:extLst>
                <a:ext uri="{FF2B5EF4-FFF2-40B4-BE49-F238E27FC236}">
                  <a16:creationId xmlns:a16="http://schemas.microsoft.com/office/drawing/2014/main" id="{94864792-4A3D-F942-8359-645EDCAEC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190512" y="2864604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06" name="object 1006">
              <a:extLst>
                <a:ext uri="{FF2B5EF4-FFF2-40B4-BE49-F238E27FC236}">
                  <a16:creationId xmlns:a16="http://schemas.microsoft.com/office/drawing/2014/main" id="{8B9F22BC-75A1-0B4A-AB9B-771B6BD0B1B4}"/>
                </a:ext>
              </a:extLst>
            </p:cNvPr>
            <p:cNvSpPr/>
            <p:nvPr/>
          </p:nvSpPr>
          <p:spPr>
            <a:xfrm>
              <a:off x="4190512" y="286461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07" name="object 1007">
              <a:extLst>
                <a:ext uri="{FF2B5EF4-FFF2-40B4-BE49-F238E27FC236}">
                  <a16:creationId xmlns:a16="http://schemas.microsoft.com/office/drawing/2014/main" id="{FF0B83CF-2637-263F-8657-2E7AA1B105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4188994" y="5159117"/>
              <a:ext cx="348935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08" name="object 1008">
              <a:extLst>
                <a:ext uri="{FF2B5EF4-FFF2-40B4-BE49-F238E27FC236}">
                  <a16:creationId xmlns:a16="http://schemas.microsoft.com/office/drawing/2014/main" id="{E2C3C7E1-F289-960A-D296-8CD3D9352A69}"/>
                </a:ext>
              </a:extLst>
            </p:cNvPr>
            <p:cNvSpPr/>
            <p:nvPr/>
          </p:nvSpPr>
          <p:spPr>
            <a:xfrm>
              <a:off x="4188994" y="515911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09" name="object 1009">
              <a:extLst>
                <a:ext uri="{FF2B5EF4-FFF2-40B4-BE49-F238E27FC236}">
                  <a16:creationId xmlns:a16="http://schemas.microsoft.com/office/drawing/2014/main" id="{2368C1FD-DB3A-F809-D8D3-6DD9778961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4190695" y="5922065"/>
              <a:ext cx="3482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10" name="object 1010">
              <a:extLst>
                <a:ext uri="{FF2B5EF4-FFF2-40B4-BE49-F238E27FC236}">
                  <a16:creationId xmlns:a16="http://schemas.microsoft.com/office/drawing/2014/main" id="{7635A74D-1B6A-B232-A1A9-C086DC04F82F}"/>
                </a:ext>
              </a:extLst>
            </p:cNvPr>
            <p:cNvSpPr/>
            <p:nvPr/>
          </p:nvSpPr>
          <p:spPr>
            <a:xfrm>
              <a:off x="4188994" y="592206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1" name="object 1011">
              <a:extLst>
                <a:ext uri="{FF2B5EF4-FFF2-40B4-BE49-F238E27FC236}">
                  <a16:creationId xmlns:a16="http://schemas.microsoft.com/office/drawing/2014/main" id="{02D436AE-8644-5232-0BE6-8AD709B4A5CC}"/>
                </a:ext>
              </a:extLst>
            </p:cNvPr>
            <p:cNvSpPr/>
            <p:nvPr/>
          </p:nvSpPr>
          <p:spPr>
            <a:xfrm>
              <a:off x="4470062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2" name="object 1012">
              <a:extLst>
                <a:ext uri="{FF2B5EF4-FFF2-40B4-BE49-F238E27FC236}">
                  <a16:creationId xmlns:a16="http://schemas.microsoft.com/office/drawing/2014/main" id="{D600144A-1152-9AB6-E076-600D76DFC0CA}"/>
                </a:ext>
              </a:extLst>
            </p:cNvPr>
            <p:cNvSpPr/>
            <p:nvPr/>
          </p:nvSpPr>
          <p:spPr>
            <a:xfrm>
              <a:off x="4505084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3" name="object 1013">
              <a:extLst>
                <a:ext uri="{FF2B5EF4-FFF2-40B4-BE49-F238E27FC236}">
                  <a16:creationId xmlns:a16="http://schemas.microsoft.com/office/drawing/2014/main" id="{273B6F2B-3504-D4B1-DA27-70D26687B5E2}"/>
                </a:ext>
              </a:extLst>
            </p:cNvPr>
            <p:cNvSpPr/>
            <p:nvPr/>
          </p:nvSpPr>
          <p:spPr>
            <a:xfrm>
              <a:off x="4400019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4" name="object 1014">
              <a:extLst>
                <a:ext uri="{FF2B5EF4-FFF2-40B4-BE49-F238E27FC236}">
                  <a16:creationId xmlns:a16="http://schemas.microsoft.com/office/drawing/2014/main" id="{FBA4D0CE-BA9A-BB7C-AB77-08B57722735A}"/>
                </a:ext>
              </a:extLst>
            </p:cNvPr>
            <p:cNvSpPr/>
            <p:nvPr/>
          </p:nvSpPr>
          <p:spPr>
            <a:xfrm>
              <a:off x="4294955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5" name="object 1015">
              <a:extLst>
                <a:ext uri="{FF2B5EF4-FFF2-40B4-BE49-F238E27FC236}">
                  <a16:creationId xmlns:a16="http://schemas.microsoft.com/office/drawing/2014/main" id="{4DA8B9E9-B1D5-923D-75C3-FC75DF5FFFBF}"/>
                </a:ext>
              </a:extLst>
            </p:cNvPr>
            <p:cNvSpPr/>
            <p:nvPr/>
          </p:nvSpPr>
          <p:spPr>
            <a:xfrm>
              <a:off x="4330049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6" name="object 1016">
              <a:extLst>
                <a:ext uri="{FF2B5EF4-FFF2-40B4-BE49-F238E27FC236}">
                  <a16:creationId xmlns:a16="http://schemas.microsoft.com/office/drawing/2014/main" id="{28C6B8E0-8567-AAE8-7237-8525B58509E4}"/>
                </a:ext>
              </a:extLst>
            </p:cNvPr>
            <p:cNvSpPr/>
            <p:nvPr/>
          </p:nvSpPr>
          <p:spPr>
            <a:xfrm>
              <a:off x="4224912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7" name="object 1017">
              <a:extLst>
                <a:ext uri="{FF2B5EF4-FFF2-40B4-BE49-F238E27FC236}">
                  <a16:creationId xmlns:a16="http://schemas.microsoft.com/office/drawing/2014/main" id="{C86EC7CF-6937-1372-504B-3616D5A2A28D}"/>
                </a:ext>
              </a:extLst>
            </p:cNvPr>
            <p:cNvSpPr/>
            <p:nvPr/>
          </p:nvSpPr>
          <p:spPr>
            <a:xfrm>
              <a:off x="4435041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8" name="object 1018">
              <a:extLst>
                <a:ext uri="{FF2B5EF4-FFF2-40B4-BE49-F238E27FC236}">
                  <a16:creationId xmlns:a16="http://schemas.microsoft.com/office/drawing/2014/main" id="{6E47CD9D-A6C8-E8F9-7494-7FA88DC555F8}"/>
                </a:ext>
              </a:extLst>
            </p:cNvPr>
            <p:cNvSpPr/>
            <p:nvPr/>
          </p:nvSpPr>
          <p:spPr>
            <a:xfrm>
              <a:off x="4259933" y="49906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19" name="object 1019">
              <a:extLst>
                <a:ext uri="{FF2B5EF4-FFF2-40B4-BE49-F238E27FC236}">
                  <a16:creationId xmlns:a16="http://schemas.microsoft.com/office/drawing/2014/main" id="{E907A35B-752C-AD71-4A89-D99C6FBFC9DE}"/>
                </a:ext>
              </a:extLst>
            </p:cNvPr>
            <p:cNvSpPr/>
            <p:nvPr/>
          </p:nvSpPr>
          <p:spPr>
            <a:xfrm>
              <a:off x="4540105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0" name="object 1020">
              <a:extLst>
                <a:ext uri="{FF2B5EF4-FFF2-40B4-BE49-F238E27FC236}">
                  <a16:creationId xmlns:a16="http://schemas.microsoft.com/office/drawing/2014/main" id="{34D14896-B106-E85C-B084-F04B24FD9FD5}"/>
                </a:ext>
              </a:extLst>
            </p:cNvPr>
            <p:cNvSpPr/>
            <p:nvPr/>
          </p:nvSpPr>
          <p:spPr>
            <a:xfrm>
              <a:off x="4365135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1" name="object 1021">
              <a:extLst>
                <a:ext uri="{FF2B5EF4-FFF2-40B4-BE49-F238E27FC236}">
                  <a16:creationId xmlns:a16="http://schemas.microsoft.com/office/drawing/2014/main" id="{94FF12AE-C45F-EFE2-ABA9-93FAB6A0DFD5}"/>
                </a:ext>
              </a:extLst>
            </p:cNvPr>
            <p:cNvSpPr/>
            <p:nvPr/>
          </p:nvSpPr>
          <p:spPr>
            <a:xfrm>
              <a:off x="4190164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2" name="object 1022">
              <a:extLst>
                <a:ext uri="{FF2B5EF4-FFF2-40B4-BE49-F238E27FC236}">
                  <a16:creationId xmlns:a16="http://schemas.microsoft.com/office/drawing/2014/main" id="{A14D8401-BD65-DC17-6D34-DC57A90BEFD3}"/>
                </a:ext>
              </a:extLst>
            </p:cNvPr>
            <p:cNvSpPr/>
            <p:nvPr/>
          </p:nvSpPr>
          <p:spPr>
            <a:xfrm>
              <a:off x="4365135" y="49779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3" name="object 1023">
              <a:extLst>
                <a:ext uri="{FF2B5EF4-FFF2-40B4-BE49-F238E27FC236}">
                  <a16:creationId xmlns:a16="http://schemas.microsoft.com/office/drawing/2014/main" id="{31EAD9E1-AC1B-7A71-FB51-F8241717980C}"/>
                </a:ext>
              </a:extLst>
            </p:cNvPr>
            <p:cNvSpPr/>
            <p:nvPr/>
          </p:nvSpPr>
          <p:spPr>
            <a:xfrm>
              <a:off x="4190164" y="500342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4" name="object 1024">
              <a:extLst>
                <a:ext uri="{FF2B5EF4-FFF2-40B4-BE49-F238E27FC236}">
                  <a16:creationId xmlns:a16="http://schemas.microsoft.com/office/drawing/2014/main" id="{84147CD2-9C95-1BF5-5542-62E4163DB458}"/>
                </a:ext>
              </a:extLst>
            </p:cNvPr>
            <p:cNvSpPr/>
            <p:nvPr/>
          </p:nvSpPr>
          <p:spPr>
            <a:xfrm>
              <a:off x="4471946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5" name="object 1025">
              <a:extLst>
                <a:ext uri="{FF2B5EF4-FFF2-40B4-BE49-F238E27FC236}">
                  <a16:creationId xmlns:a16="http://schemas.microsoft.com/office/drawing/2014/main" id="{85E7E7B9-B234-DF1F-3D93-3A5A6AC51B7F}"/>
                </a:ext>
              </a:extLst>
            </p:cNvPr>
            <p:cNvSpPr/>
            <p:nvPr/>
          </p:nvSpPr>
          <p:spPr>
            <a:xfrm>
              <a:off x="450696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6" name="object 1026">
              <a:extLst>
                <a:ext uri="{FF2B5EF4-FFF2-40B4-BE49-F238E27FC236}">
                  <a16:creationId xmlns:a16="http://schemas.microsoft.com/office/drawing/2014/main" id="{7F4DB504-17E2-5C6C-183C-8AFA19668C19}"/>
                </a:ext>
              </a:extLst>
            </p:cNvPr>
            <p:cNvSpPr/>
            <p:nvPr/>
          </p:nvSpPr>
          <p:spPr>
            <a:xfrm>
              <a:off x="440190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7" name="object 1027">
              <a:extLst>
                <a:ext uri="{FF2B5EF4-FFF2-40B4-BE49-F238E27FC236}">
                  <a16:creationId xmlns:a16="http://schemas.microsoft.com/office/drawing/2014/main" id="{84A59F98-DAE3-789C-10E1-E1FE354436FC}"/>
                </a:ext>
              </a:extLst>
            </p:cNvPr>
            <p:cNvSpPr/>
            <p:nvPr/>
          </p:nvSpPr>
          <p:spPr>
            <a:xfrm>
              <a:off x="4296838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8" name="object 1028">
              <a:extLst>
                <a:ext uri="{FF2B5EF4-FFF2-40B4-BE49-F238E27FC236}">
                  <a16:creationId xmlns:a16="http://schemas.microsoft.com/office/drawing/2014/main" id="{95ECE1BE-066A-A864-7F82-A961BF8FF400}"/>
                </a:ext>
              </a:extLst>
            </p:cNvPr>
            <p:cNvSpPr/>
            <p:nvPr/>
          </p:nvSpPr>
          <p:spPr>
            <a:xfrm>
              <a:off x="433193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29" name="object 1029">
              <a:extLst>
                <a:ext uri="{FF2B5EF4-FFF2-40B4-BE49-F238E27FC236}">
                  <a16:creationId xmlns:a16="http://schemas.microsoft.com/office/drawing/2014/main" id="{729A9643-22C6-777E-950F-63D4ACD54CF3}"/>
                </a:ext>
              </a:extLst>
            </p:cNvPr>
            <p:cNvSpPr/>
            <p:nvPr/>
          </p:nvSpPr>
          <p:spPr>
            <a:xfrm>
              <a:off x="4226795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0" name="object 1030">
              <a:extLst>
                <a:ext uri="{FF2B5EF4-FFF2-40B4-BE49-F238E27FC236}">
                  <a16:creationId xmlns:a16="http://schemas.microsoft.com/office/drawing/2014/main" id="{3F31BE0C-C77F-77B9-64F6-DECB506D34FF}"/>
                </a:ext>
              </a:extLst>
            </p:cNvPr>
            <p:cNvSpPr/>
            <p:nvPr/>
          </p:nvSpPr>
          <p:spPr>
            <a:xfrm>
              <a:off x="4436924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1" name="object 1031">
              <a:extLst>
                <a:ext uri="{FF2B5EF4-FFF2-40B4-BE49-F238E27FC236}">
                  <a16:creationId xmlns:a16="http://schemas.microsoft.com/office/drawing/2014/main" id="{7F38B639-D9F5-B1DD-D32F-DDE83FED177C}"/>
                </a:ext>
              </a:extLst>
            </p:cNvPr>
            <p:cNvSpPr/>
            <p:nvPr/>
          </p:nvSpPr>
          <p:spPr>
            <a:xfrm>
              <a:off x="426181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2" name="object 1032">
              <a:extLst>
                <a:ext uri="{FF2B5EF4-FFF2-40B4-BE49-F238E27FC236}">
                  <a16:creationId xmlns:a16="http://schemas.microsoft.com/office/drawing/2014/main" id="{6E99DBE8-FD2C-8545-4ABC-E79ED8DD130C}"/>
                </a:ext>
              </a:extLst>
            </p:cNvPr>
            <p:cNvSpPr/>
            <p:nvPr/>
          </p:nvSpPr>
          <p:spPr>
            <a:xfrm>
              <a:off x="4541989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3" name="object 1033">
              <a:extLst>
                <a:ext uri="{FF2B5EF4-FFF2-40B4-BE49-F238E27FC236}">
                  <a16:creationId xmlns:a16="http://schemas.microsoft.com/office/drawing/2014/main" id="{C4E37EF6-3A9C-2EE4-C3B3-6653C17EE2DF}"/>
                </a:ext>
              </a:extLst>
            </p:cNvPr>
            <p:cNvSpPr/>
            <p:nvPr/>
          </p:nvSpPr>
          <p:spPr>
            <a:xfrm>
              <a:off x="436701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4" name="object 1034">
              <a:extLst>
                <a:ext uri="{FF2B5EF4-FFF2-40B4-BE49-F238E27FC236}">
                  <a16:creationId xmlns:a16="http://schemas.microsoft.com/office/drawing/2014/main" id="{F4734051-4025-B572-0F28-526F301E7FD8}"/>
                </a:ext>
              </a:extLst>
            </p:cNvPr>
            <p:cNvSpPr/>
            <p:nvPr/>
          </p:nvSpPr>
          <p:spPr>
            <a:xfrm>
              <a:off x="419204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5" name="object 1035">
              <a:extLst>
                <a:ext uri="{FF2B5EF4-FFF2-40B4-BE49-F238E27FC236}">
                  <a16:creationId xmlns:a16="http://schemas.microsoft.com/office/drawing/2014/main" id="{9733C6B1-1D7C-21A1-CB99-68A15BD243B5}"/>
                </a:ext>
              </a:extLst>
            </p:cNvPr>
            <p:cNvSpPr/>
            <p:nvPr/>
          </p:nvSpPr>
          <p:spPr>
            <a:xfrm>
              <a:off x="4367018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6" name="object 1036">
              <a:extLst>
                <a:ext uri="{FF2B5EF4-FFF2-40B4-BE49-F238E27FC236}">
                  <a16:creationId xmlns:a16="http://schemas.microsoft.com/office/drawing/2014/main" id="{2D41DF88-2214-93BF-F284-3602AEB1891D}"/>
                </a:ext>
              </a:extLst>
            </p:cNvPr>
            <p:cNvSpPr/>
            <p:nvPr/>
          </p:nvSpPr>
          <p:spPr>
            <a:xfrm>
              <a:off x="4192048" y="56952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7" name="object 1037">
              <a:extLst>
                <a:ext uri="{FF2B5EF4-FFF2-40B4-BE49-F238E27FC236}">
                  <a16:creationId xmlns:a16="http://schemas.microsoft.com/office/drawing/2014/main" id="{908E91F4-39A1-F91F-F4CB-996D35E7CD4F}"/>
                </a:ext>
              </a:extLst>
            </p:cNvPr>
            <p:cNvSpPr/>
            <p:nvPr/>
          </p:nvSpPr>
          <p:spPr>
            <a:xfrm>
              <a:off x="4646916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8" name="object 1038">
              <a:extLst>
                <a:ext uri="{FF2B5EF4-FFF2-40B4-BE49-F238E27FC236}">
                  <a16:creationId xmlns:a16="http://schemas.microsoft.com/office/drawing/2014/main" id="{E5D6E270-8D9D-C114-953A-5C9B03ED2A50}"/>
                </a:ext>
              </a:extLst>
            </p:cNvPr>
            <p:cNvSpPr/>
            <p:nvPr/>
          </p:nvSpPr>
          <p:spPr>
            <a:xfrm>
              <a:off x="4681947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39" name="object 1039">
              <a:extLst>
                <a:ext uri="{FF2B5EF4-FFF2-40B4-BE49-F238E27FC236}">
                  <a16:creationId xmlns:a16="http://schemas.microsoft.com/office/drawing/2014/main" id="{FBC29285-B792-D15A-5F88-6AC26A25E56E}"/>
                </a:ext>
              </a:extLst>
            </p:cNvPr>
            <p:cNvSpPr/>
            <p:nvPr/>
          </p:nvSpPr>
          <p:spPr>
            <a:xfrm>
              <a:off x="4576873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0" name="object 1040">
              <a:extLst>
                <a:ext uri="{FF2B5EF4-FFF2-40B4-BE49-F238E27FC236}">
                  <a16:creationId xmlns:a16="http://schemas.microsoft.com/office/drawing/2014/main" id="{AA3FAEE2-2CC3-BECE-A0DA-91610E6F9625}"/>
                </a:ext>
              </a:extLst>
            </p:cNvPr>
            <p:cNvSpPr/>
            <p:nvPr/>
          </p:nvSpPr>
          <p:spPr>
            <a:xfrm>
              <a:off x="4611895" y="56824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1" name="object 1041">
              <a:extLst>
                <a:ext uri="{FF2B5EF4-FFF2-40B4-BE49-F238E27FC236}">
                  <a16:creationId xmlns:a16="http://schemas.microsoft.com/office/drawing/2014/main" id="{ED0B1B21-BEF6-B6B0-A1D9-F112DC528D17}"/>
                </a:ext>
              </a:extLst>
            </p:cNvPr>
            <p:cNvSpPr/>
            <p:nvPr/>
          </p:nvSpPr>
          <p:spPr>
            <a:xfrm>
              <a:off x="4716959" y="56697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2" name="object 1042">
              <a:extLst>
                <a:ext uri="{FF2B5EF4-FFF2-40B4-BE49-F238E27FC236}">
                  <a16:creationId xmlns:a16="http://schemas.microsoft.com/office/drawing/2014/main" id="{1C70E422-DE0B-533D-F61C-61227AEA05BA}"/>
                </a:ext>
              </a:extLst>
            </p:cNvPr>
            <p:cNvSpPr/>
            <p:nvPr/>
          </p:nvSpPr>
          <p:spPr>
            <a:xfrm>
              <a:off x="4541989" y="5695221"/>
              <a:ext cx="17520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75204"/>
                <a:gd name="f5" fmla="val 87490"/>
                <a:gd name="f6" fmla="val 174974"/>
                <a:gd name="f7" fmla="abs f0"/>
                <a:gd name="f8" fmla="abs f1"/>
                <a:gd name="f9" fmla="abs f2"/>
                <a:gd name="f10" fmla="*/ f0 1 17520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175204"/>
                <a:gd name="f17" fmla="*/ f11 1 0"/>
                <a:gd name="f18" fmla="*/ f13 1 175204"/>
                <a:gd name="f19" fmla="*/ f14 1 21600"/>
                <a:gd name="f20" fmla="*/ 21600 f14 1"/>
                <a:gd name="f21" fmla="*/ 0 1 f16"/>
                <a:gd name="f22" fmla="*/ 17520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17520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3" name="object 1043">
              <a:extLst>
                <a:ext uri="{FF2B5EF4-FFF2-40B4-BE49-F238E27FC236}">
                  <a16:creationId xmlns:a16="http://schemas.microsoft.com/office/drawing/2014/main" id="{47A9AA47-F0A1-EFDB-6C0B-51D25D86E14E}"/>
                </a:ext>
              </a:extLst>
            </p:cNvPr>
            <p:cNvSpPr/>
            <p:nvPr/>
          </p:nvSpPr>
          <p:spPr>
            <a:xfrm>
              <a:off x="4192176" y="5668868"/>
              <a:ext cx="52484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865504"/>
                <a:gd name="f4" fmla="val 84454"/>
                <a:gd name="f5" fmla="val 865408"/>
                <a:gd name="f6" fmla="val 84123"/>
                <a:gd name="f7" fmla="*/ f0 1 865504"/>
                <a:gd name="f8" fmla="*/ f1 1 84454"/>
                <a:gd name="f9" fmla="+- f4 0 f2"/>
                <a:gd name="f10" fmla="+- f3 0 f2"/>
                <a:gd name="f11" fmla="*/ f10 1 8655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8655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4" name="object 1044">
              <a:extLst>
                <a:ext uri="{FF2B5EF4-FFF2-40B4-BE49-F238E27FC236}">
                  <a16:creationId xmlns:a16="http://schemas.microsoft.com/office/drawing/2014/main" id="{2471E23A-A427-D52D-DBCF-B0DE0B3365A4}"/>
                </a:ext>
              </a:extLst>
            </p:cNvPr>
            <p:cNvSpPr/>
            <p:nvPr/>
          </p:nvSpPr>
          <p:spPr>
            <a:xfrm>
              <a:off x="4191993" y="5740795"/>
              <a:ext cx="349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6579"/>
                <a:gd name="f4" fmla="val 84454"/>
                <a:gd name="f5" fmla="val 576307"/>
                <a:gd name="f6" fmla="val 84123"/>
                <a:gd name="f7" fmla="*/ f0 1 576579"/>
                <a:gd name="f8" fmla="*/ f1 1 84454"/>
                <a:gd name="f9" fmla="+- f4 0 f2"/>
                <a:gd name="f10" fmla="+- f3 0 f2"/>
                <a:gd name="f11" fmla="*/ f10 1 57657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7657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5" name="object 1045">
              <a:extLst>
                <a:ext uri="{FF2B5EF4-FFF2-40B4-BE49-F238E27FC236}">
                  <a16:creationId xmlns:a16="http://schemas.microsoft.com/office/drawing/2014/main" id="{C4DDB212-0A93-5255-CAA7-612A6B2E5D64}"/>
                </a:ext>
              </a:extLst>
            </p:cNvPr>
            <p:cNvSpPr/>
            <p:nvPr/>
          </p:nvSpPr>
          <p:spPr>
            <a:xfrm>
              <a:off x="4471434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6" name="object 1046">
              <a:extLst>
                <a:ext uri="{FF2B5EF4-FFF2-40B4-BE49-F238E27FC236}">
                  <a16:creationId xmlns:a16="http://schemas.microsoft.com/office/drawing/2014/main" id="{3FE3D7A7-C9FA-514C-2470-410676A09F9D}"/>
                </a:ext>
              </a:extLst>
            </p:cNvPr>
            <p:cNvSpPr/>
            <p:nvPr/>
          </p:nvSpPr>
          <p:spPr>
            <a:xfrm>
              <a:off x="4506455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7" name="object 1047">
              <a:extLst>
                <a:ext uri="{FF2B5EF4-FFF2-40B4-BE49-F238E27FC236}">
                  <a16:creationId xmlns:a16="http://schemas.microsoft.com/office/drawing/2014/main" id="{D638C23B-9CF7-2A9A-F31B-70C30AADF882}"/>
                </a:ext>
              </a:extLst>
            </p:cNvPr>
            <p:cNvSpPr/>
            <p:nvPr/>
          </p:nvSpPr>
          <p:spPr>
            <a:xfrm>
              <a:off x="4401391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8" name="object 1048">
              <a:extLst>
                <a:ext uri="{FF2B5EF4-FFF2-40B4-BE49-F238E27FC236}">
                  <a16:creationId xmlns:a16="http://schemas.microsoft.com/office/drawing/2014/main" id="{AED48B70-F652-B8E8-3D66-24A5A0C33A02}"/>
                </a:ext>
              </a:extLst>
            </p:cNvPr>
            <p:cNvSpPr/>
            <p:nvPr/>
          </p:nvSpPr>
          <p:spPr>
            <a:xfrm>
              <a:off x="4296317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49" name="object 1049">
              <a:extLst>
                <a:ext uri="{FF2B5EF4-FFF2-40B4-BE49-F238E27FC236}">
                  <a16:creationId xmlns:a16="http://schemas.microsoft.com/office/drawing/2014/main" id="{1453EDF9-444B-5FA9-96FF-23A66F31053B}"/>
                </a:ext>
              </a:extLst>
            </p:cNvPr>
            <p:cNvSpPr/>
            <p:nvPr/>
          </p:nvSpPr>
          <p:spPr>
            <a:xfrm>
              <a:off x="4331412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0" name="object 1050">
              <a:extLst>
                <a:ext uri="{FF2B5EF4-FFF2-40B4-BE49-F238E27FC236}">
                  <a16:creationId xmlns:a16="http://schemas.microsoft.com/office/drawing/2014/main" id="{D05F8E10-6481-7D4B-E812-A875E44D35E8}"/>
                </a:ext>
              </a:extLst>
            </p:cNvPr>
            <p:cNvSpPr/>
            <p:nvPr/>
          </p:nvSpPr>
          <p:spPr>
            <a:xfrm>
              <a:off x="4226274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1" name="object 1051">
              <a:extLst>
                <a:ext uri="{FF2B5EF4-FFF2-40B4-BE49-F238E27FC236}">
                  <a16:creationId xmlns:a16="http://schemas.microsoft.com/office/drawing/2014/main" id="{DEC05509-9839-1D8D-6C0E-7AA36A907757}"/>
                </a:ext>
              </a:extLst>
            </p:cNvPr>
            <p:cNvSpPr/>
            <p:nvPr/>
          </p:nvSpPr>
          <p:spPr>
            <a:xfrm>
              <a:off x="4436412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2" name="object 1052">
              <a:extLst>
                <a:ext uri="{FF2B5EF4-FFF2-40B4-BE49-F238E27FC236}">
                  <a16:creationId xmlns:a16="http://schemas.microsoft.com/office/drawing/2014/main" id="{9321F409-D90C-DC6A-8154-5243A74845D7}"/>
                </a:ext>
              </a:extLst>
            </p:cNvPr>
            <p:cNvSpPr/>
            <p:nvPr/>
          </p:nvSpPr>
          <p:spPr>
            <a:xfrm>
              <a:off x="4261296" y="575355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3" name="object 1053">
              <a:extLst>
                <a:ext uri="{FF2B5EF4-FFF2-40B4-BE49-F238E27FC236}">
                  <a16:creationId xmlns:a16="http://schemas.microsoft.com/office/drawing/2014/main" id="{0756D916-7F5E-12FD-D8EB-562BCF2DC435}"/>
                </a:ext>
              </a:extLst>
            </p:cNvPr>
            <p:cNvSpPr/>
            <p:nvPr/>
          </p:nvSpPr>
          <p:spPr>
            <a:xfrm>
              <a:off x="4541477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4" name="object 1054">
              <a:extLst>
                <a:ext uri="{FF2B5EF4-FFF2-40B4-BE49-F238E27FC236}">
                  <a16:creationId xmlns:a16="http://schemas.microsoft.com/office/drawing/2014/main" id="{BF428252-8725-C0BB-BF72-AFA0C4D8A1EF}"/>
                </a:ext>
              </a:extLst>
            </p:cNvPr>
            <p:cNvSpPr/>
            <p:nvPr/>
          </p:nvSpPr>
          <p:spPr>
            <a:xfrm>
              <a:off x="4366506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5" name="object 1055">
              <a:extLst>
                <a:ext uri="{FF2B5EF4-FFF2-40B4-BE49-F238E27FC236}">
                  <a16:creationId xmlns:a16="http://schemas.microsoft.com/office/drawing/2014/main" id="{F63D0338-3DD3-6489-2451-56767168B458}"/>
                </a:ext>
              </a:extLst>
            </p:cNvPr>
            <p:cNvSpPr/>
            <p:nvPr/>
          </p:nvSpPr>
          <p:spPr>
            <a:xfrm>
              <a:off x="4191536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6" name="object 1056">
              <a:extLst>
                <a:ext uri="{FF2B5EF4-FFF2-40B4-BE49-F238E27FC236}">
                  <a16:creationId xmlns:a16="http://schemas.microsoft.com/office/drawing/2014/main" id="{9158AB9C-E129-17EA-1199-3FA9E6EDE8A6}"/>
                </a:ext>
              </a:extLst>
            </p:cNvPr>
            <p:cNvSpPr/>
            <p:nvPr/>
          </p:nvSpPr>
          <p:spPr>
            <a:xfrm>
              <a:off x="4366506" y="574079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7" name="object 1057">
              <a:extLst>
                <a:ext uri="{FF2B5EF4-FFF2-40B4-BE49-F238E27FC236}">
                  <a16:creationId xmlns:a16="http://schemas.microsoft.com/office/drawing/2014/main" id="{A97E04A8-02B7-C815-EB90-18D009686CC5}"/>
                </a:ext>
              </a:extLst>
            </p:cNvPr>
            <p:cNvSpPr/>
            <p:nvPr/>
          </p:nvSpPr>
          <p:spPr>
            <a:xfrm>
              <a:off x="4191527" y="5766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8" name="object 1058">
              <a:extLst>
                <a:ext uri="{FF2B5EF4-FFF2-40B4-BE49-F238E27FC236}">
                  <a16:creationId xmlns:a16="http://schemas.microsoft.com/office/drawing/2014/main" id="{335478DA-ADBB-FE5E-1A1D-8B4C9E4AF995}"/>
                </a:ext>
              </a:extLst>
            </p:cNvPr>
            <p:cNvSpPr/>
            <p:nvPr/>
          </p:nvSpPr>
          <p:spPr>
            <a:xfrm>
              <a:off x="3369692" y="1084240"/>
              <a:ext cx="7701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7000"/>
                <a:gd name="f4" fmla="val 84455"/>
                <a:gd name="f5" fmla="val 126833"/>
                <a:gd name="f6" fmla="val 84112"/>
                <a:gd name="f7" fmla="*/ f0 1 127000"/>
                <a:gd name="f8" fmla="*/ f1 1 84455"/>
                <a:gd name="f9" fmla="+- f4 0 f2"/>
                <a:gd name="f10" fmla="+- f3 0 f2"/>
                <a:gd name="f11" fmla="*/ f10 1 12700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700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59" name="object 1059">
              <a:extLst>
                <a:ext uri="{FF2B5EF4-FFF2-40B4-BE49-F238E27FC236}">
                  <a16:creationId xmlns:a16="http://schemas.microsoft.com/office/drawing/2014/main" id="{75DC9DE3-9EC0-6665-0358-23BB2A1F2DCF}"/>
                </a:ext>
              </a:extLst>
            </p:cNvPr>
            <p:cNvSpPr/>
            <p:nvPr/>
          </p:nvSpPr>
          <p:spPr>
            <a:xfrm>
              <a:off x="3404439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0" name="object 1060">
              <a:extLst>
                <a:ext uri="{FF2B5EF4-FFF2-40B4-BE49-F238E27FC236}">
                  <a16:creationId xmlns:a16="http://schemas.microsoft.com/office/drawing/2014/main" id="{5E214E6D-DCDA-E55D-4051-B2E26A0ABCD9}"/>
                </a:ext>
              </a:extLst>
            </p:cNvPr>
            <p:cNvSpPr/>
            <p:nvPr/>
          </p:nvSpPr>
          <p:spPr>
            <a:xfrm>
              <a:off x="3439460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1" name="object 1061">
              <a:extLst>
                <a:ext uri="{FF2B5EF4-FFF2-40B4-BE49-F238E27FC236}">
                  <a16:creationId xmlns:a16="http://schemas.microsoft.com/office/drawing/2014/main" id="{33D0924A-7F70-60CC-A3BA-5354069AE1A1}"/>
                </a:ext>
              </a:extLst>
            </p:cNvPr>
            <p:cNvSpPr/>
            <p:nvPr/>
          </p:nvSpPr>
          <p:spPr>
            <a:xfrm>
              <a:off x="3369692" y="10842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2" name="object 1062">
              <a:extLst>
                <a:ext uri="{FF2B5EF4-FFF2-40B4-BE49-F238E27FC236}">
                  <a16:creationId xmlns:a16="http://schemas.microsoft.com/office/drawing/2014/main" id="{855AB4D5-3810-0F8E-873C-989E218F1DBF}"/>
                </a:ext>
              </a:extLst>
            </p:cNvPr>
            <p:cNvSpPr/>
            <p:nvPr/>
          </p:nvSpPr>
          <p:spPr>
            <a:xfrm>
              <a:off x="3649589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3" name="object 1063">
              <a:extLst>
                <a:ext uri="{FF2B5EF4-FFF2-40B4-BE49-F238E27FC236}">
                  <a16:creationId xmlns:a16="http://schemas.microsoft.com/office/drawing/2014/main" id="{A814BEC6-3BDB-FAB7-8DD9-E0ED83E5740D}"/>
                </a:ext>
              </a:extLst>
            </p:cNvPr>
            <p:cNvSpPr/>
            <p:nvPr/>
          </p:nvSpPr>
          <p:spPr>
            <a:xfrm>
              <a:off x="3684611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4" name="object 1064">
              <a:extLst>
                <a:ext uri="{FF2B5EF4-FFF2-40B4-BE49-F238E27FC236}">
                  <a16:creationId xmlns:a16="http://schemas.microsoft.com/office/drawing/2014/main" id="{8A8E364C-0D3B-8FC3-73B2-4464F0BD808C}"/>
                </a:ext>
              </a:extLst>
            </p:cNvPr>
            <p:cNvSpPr/>
            <p:nvPr/>
          </p:nvSpPr>
          <p:spPr>
            <a:xfrm>
              <a:off x="3579546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5" name="object 1065">
              <a:extLst>
                <a:ext uri="{FF2B5EF4-FFF2-40B4-BE49-F238E27FC236}">
                  <a16:creationId xmlns:a16="http://schemas.microsoft.com/office/drawing/2014/main" id="{186B572C-5DDF-0721-CFA5-7B51B014DA9A}"/>
                </a:ext>
              </a:extLst>
            </p:cNvPr>
            <p:cNvSpPr/>
            <p:nvPr/>
          </p:nvSpPr>
          <p:spPr>
            <a:xfrm>
              <a:off x="3474482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6" name="object 1066">
              <a:extLst>
                <a:ext uri="{FF2B5EF4-FFF2-40B4-BE49-F238E27FC236}">
                  <a16:creationId xmlns:a16="http://schemas.microsoft.com/office/drawing/2014/main" id="{40E5B43D-8F7C-3973-7D9B-AB5CD5F8518B}"/>
                </a:ext>
              </a:extLst>
            </p:cNvPr>
            <p:cNvSpPr/>
            <p:nvPr/>
          </p:nvSpPr>
          <p:spPr>
            <a:xfrm>
              <a:off x="3509576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7" name="object 1067">
              <a:extLst>
                <a:ext uri="{FF2B5EF4-FFF2-40B4-BE49-F238E27FC236}">
                  <a16:creationId xmlns:a16="http://schemas.microsoft.com/office/drawing/2014/main" id="{E3141729-6E64-481A-64D6-1215122DBF72}"/>
                </a:ext>
              </a:extLst>
            </p:cNvPr>
            <p:cNvSpPr/>
            <p:nvPr/>
          </p:nvSpPr>
          <p:spPr>
            <a:xfrm>
              <a:off x="3614568" y="10969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8" name="object 1068">
              <a:extLst>
                <a:ext uri="{FF2B5EF4-FFF2-40B4-BE49-F238E27FC236}">
                  <a16:creationId xmlns:a16="http://schemas.microsoft.com/office/drawing/2014/main" id="{7707094D-E45B-6747-CEB2-6B2D554528A6}"/>
                </a:ext>
              </a:extLst>
            </p:cNvPr>
            <p:cNvSpPr/>
            <p:nvPr/>
          </p:nvSpPr>
          <p:spPr>
            <a:xfrm>
              <a:off x="3719642" y="10842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69" name="object 1069">
              <a:extLst>
                <a:ext uri="{FF2B5EF4-FFF2-40B4-BE49-F238E27FC236}">
                  <a16:creationId xmlns:a16="http://schemas.microsoft.com/office/drawing/2014/main" id="{990B2753-B3DB-25F7-1A09-FCF39370E19F}"/>
                </a:ext>
              </a:extLst>
            </p:cNvPr>
            <p:cNvSpPr/>
            <p:nvPr/>
          </p:nvSpPr>
          <p:spPr>
            <a:xfrm>
              <a:off x="3544662" y="10842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0" name="object 1070">
              <a:extLst>
                <a:ext uri="{FF2B5EF4-FFF2-40B4-BE49-F238E27FC236}">
                  <a16:creationId xmlns:a16="http://schemas.microsoft.com/office/drawing/2014/main" id="{BFA464CA-2938-5E5C-1D00-F0EAFE8C1BDB}"/>
                </a:ext>
              </a:extLst>
            </p:cNvPr>
            <p:cNvSpPr/>
            <p:nvPr/>
          </p:nvSpPr>
          <p:spPr>
            <a:xfrm>
              <a:off x="3369692" y="110975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1" name="object 1071">
              <a:extLst>
                <a:ext uri="{FF2B5EF4-FFF2-40B4-BE49-F238E27FC236}">
                  <a16:creationId xmlns:a16="http://schemas.microsoft.com/office/drawing/2014/main" id="{FB5CCEE2-F6FF-77E5-7A5E-96884CDDF314}"/>
                </a:ext>
              </a:extLst>
            </p:cNvPr>
            <p:cNvSpPr/>
            <p:nvPr/>
          </p:nvSpPr>
          <p:spPr>
            <a:xfrm>
              <a:off x="3370158" y="1157273"/>
              <a:ext cx="13362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20345"/>
                <a:gd name="f4" fmla="val 84455"/>
                <a:gd name="f5" fmla="val 220286"/>
                <a:gd name="f6" fmla="val 84102"/>
                <a:gd name="f7" fmla="*/ f0 1 220345"/>
                <a:gd name="f8" fmla="*/ f1 1 84455"/>
                <a:gd name="f9" fmla="+- f4 0 f2"/>
                <a:gd name="f10" fmla="+- f3 0 f2"/>
                <a:gd name="f11" fmla="*/ f10 1 22034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2034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2" name="object 1072">
              <a:extLst>
                <a:ext uri="{FF2B5EF4-FFF2-40B4-BE49-F238E27FC236}">
                  <a16:creationId xmlns:a16="http://schemas.microsoft.com/office/drawing/2014/main" id="{26E4D13F-B6C9-D994-D1D3-017B74D86773}"/>
                </a:ext>
              </a:extLst>
            </p:cNvPr>
            <p:cNvSpPr/>
            <p:nvPr/>
          </p:nvSpPr>
          <p:spPr>
            <a:xfrm>
              <a:off x="3649589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3" name="object 1073">
              <a:extLst>
                <a:ext uri="{FF2B5EF4-FFF2-40B4-BE49-F238E27FC236}">
                  <a16:creationId xmlns:a16="http://schemas.microsoft.com/office/drawing/2014/main" id="{E1CCCBB8-2C10-B836-4E51-445C795C6967}"/>
                </a:ext>
              </a:extLst>
            </p:cNvPr>
            <p:cNvSpPr/>
            <p:nvPr/>
          </p:nvSpPr>
          <p:spPr>
            <a:xfrm>
              <a:off x="3684611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4" name="object 1074">
              <a:extLst>
                <a:ext uri="{FF2B5EF4-FFF2-40B4-BE49-F238E27FC236}">
                  <a16:creationId xmlns:a16="http://schemas.microsoft.com/office/drawing/2014/main" id="{7C9ACFFD-68E3-96B2-1EF0-6FD28BFFCAA2}"/>
                </a:ext>
              </a:extLst>
            </p:cNvPr>
            <p:cNvSpPr/>
            <p:nvPr/>
          </p:nvSpPr>
          <p:spPr>
            <a:xfrm>
              <a:off x="3579546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5" name="object 1075">
              <a:extLst>
                <a:ext uri="{FF2B5EF4-FFF2-40B4-BE49-F238E27FC236}">
                  <a16:creationId xmlns:a16="http://schemas.microsoft.com/office/drawing/2014/main" id="{7257A05D-E94D-C2DF-6024-6A687B0C7FFF}"/>
                </a:ext>
              </a:extLst>
            </p:cNvPr>
            <p:cNvSpPr/>
            <p:nvPr/>
          </p:nvSpPr>
          <p:spPr>
            <a:xfrm>
              <a:off x="3474482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6" name="object 1076">
              <a:extLst>
                <a:ext uri="{FF2B5EF4-FFF2-40B4-BE49-F238E27FC236}">
                  <a16:creationId xmlns:a16="http://schemas.microsoft.com/office/drawing/2014/main" id="{9C201E52-0565-9F76-FC9B-97F437AE6660}"/>
                </a:ext>
              </a:extLst>
            </p:cNvPr>
            <p:cNvSpPr/>
            <p:nvPr/>
          </p:nvSpPr>
          <p:spPr>
            <a:xfrm>
              <a:off x="3509576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7" name="object 1077">
              <a:extLst>
                <a:ext uri="{FF2B5EF4-FFF2-40B4-BE49-F238E27FC236}">
                  <a16:creationId xmlns:a16="http://schemas.microsoft.com/office/drawing/2014/main" id="{6DBFE5F8-11BE-1B29-1D31-D215CA37BC38}"/>
                </a:ext>
              </a:extLst>
            </p:cNvPr>
            <p:cNvSpPr/>
            <p:nvPr/>
          </p:nvSpPr>
          <p:spPr>
            <a:xfrm>
              <a:off x="3404439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8" name="object 1078">
              <a:extLst>
                <a:ext uri="{FF2B5EF4-FFF2-40B4-BE49-F238E27FC236}">
                  <a16:creationId xmlns:a16="http://schemas.microsoft.com/office/drawing/2014/main" id="{46DCC525-F1A3-78A7-0779-2B136CB47B7C}"/>
                </a:ext>
              </a:extLst>
            </p:cNvPr>
            <p:cNvSpPr/>
            <p:nvPr/>
          </p:nvSpPr>
          <p:spPr>
            <a:xfrm>
              <a:off x="3614568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79" name="object 1079">
              <a:extLst>
                <a:ext uri="{FF2B5EF4-FFF2-40B4-BE49-F238E27FC236}">
                  <a16:creationId xmlns:a16="http://schemas.microsoft.com/office/drawing/2014/main" id="{479E8C1E-18CC-590F-CD43-1B09147CED3F}"/>
                </a:ext>
              </a:extLst>
            </p:cNvPr>
            <p:cNvSpPr/>
            <p:nvPr/>
          </p:nvSpPr>
          <p:spPr>
            <a:xfrm>
              <a:off x="3439460" y="117002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0" name="object 1080">
              <a:extLst>
                <a:ext uri="{FF2B5EF4-FFF2-40B4-BE49-F238E27FC236}">
                  <a16:creationId xmlns:a16="http://schemas.microsoft.com/office/drawing/2014/main" id="{C0B48527-12A0-E0D1-2FBE-5031AD6F4AA6}"/>
                </a:ext>
              </a:extLst>
            </p:cNvPr>
            <p:cNvSpPr/>
            <p:nvPr/>
          </p:nvSpPr>
          <p:spPr>
            <a:xfrm>
              <a:off x="371964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1" name="object 1081">
              <a:extLst>
                <a:ext uri="{FF2B5EF4-FFF2-40B4-BE49-F238E27FC236}">
                  <a16:creationId xmlns:a16="http://schemas.microsoft.com/office/drawing/2014/main" id="{61C0CA9A-1ED3-40CA-1927-086D1C2F9350}"/>
                </a:ext>
              </a:extLst>
            </p:cNvPr>
            <p:cNvSpPr/>
            <p:nvPr/>
          </p:nvSpPr>
          <p:spPr>
            <a:xfrm>
              <a:off x="354466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2" name="object 1082">
              <a:extLst>
                <a:ext uri="{FF2B5EF4-FFF2-40B4-BE49-F238E27FC236}">
                  <a16:creationId xmlns:a16="http://schemas.microsoft.com/office/drawing/2014/main" id="{7CAFEABC-0ADA-31C8-7241-F4E6205D8BCB}"/>
                </a:ext>
              </a:extLst>
            </p:cNvPr>
            <p:cNvSpPr/>
            <p:nvPr/>
          </p:nvSpPr>
          <p:spPr>
            <a:xfrm>
              <a:off x="336969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3" name="object 1083">
              <a:extLst>
                <a:ext uri="{FF2B5EF4-FFF2-40B4-BE49-F238E27FC236}">
                  <a16:creationId xmlns:a16="http://schemas.microsoft.com/office/drawing/2014/main" id="{3F24C0DA-7A85-3D95-0BE5-44FBFD290827}"/>
                </a:ext>
              </a:extLst>
            </p:cNvPr>
            <p:cNvSpPr/>
            <p:nvPr/>
          </p:nvSpPr>
          <p:spPr>
            <a:xfrm>
              <a:off x="3544662" y="115726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84" name="object 1084">
              <a:extLst>
                <a:ext uri="{FF2B5EF4-FFF2-40B4-BE49-F238E27FC236}">
                  <a16:creationId xmlns:a16="http://schemas.microsoft.com/office/drawing/2014/main" id="{A6BB3625-2339-F5CB-160B-9D13FDEE8F85}"/>
                </a:ext>
              </a:extLst>
            </p:cNvPr>
            <p:cNvSpPr/>
            <p:nvPr/>
          </p:nvSpPr>
          <p:spPr>
            <a:xfrm>
              <a:off x="3369692" y="118277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85" name="object 1085">
              <a:extLst>
                <a:ext uri="{FF2B5EF4-FFF2-40B4-BE49-F238E27FC236}">
                  <a16:creationId xmlns:a16="http://schemas.microsoft.com/office/drawing/2014/main" id="{AC347458-B4B8-35FF-E199-2290928CA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3373404" y="570091"/>
              <a:ext cx="348048" cy="34804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86" name="object 1086">
              <a:extLst>
                <a:ext uri="{FF2B5EF4-FFF2-40B4-BE49-F238E27FC236}">
                  <a16:creationId xmlns:a16="http://schemas.microsoft.com/office/drawing/2014/main" id="{932D3996-565F-59EF-FCCE-58DE6035EA74}"/>
                </a:ext>
              </a:extLst>
            </p:cNvPr>
            <p:cNvSpPr/>
            <p:nvPr/>
          </p:nvSpPr>
          <p:spPr>
            <a:xfrm>
              <a:off x="3373404" y="570082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39"/>
                <a:gd name="f4" fmla="val 574040"/>
                <a:gd name="f5" fmla="val 286975"/>
                <a:gd name="f6" fmla="val 3755"/>
                <a:gd name="f7" fmla="val 333523"/>
                <a:gd name="f8" fmla="val 14629"/>
                <a:gd name="f9" fmla="val 377680"/>
                <a:gd name="f10" fmla="val 32030"/>
                <a:gd name="f11" fmla="val 418855"/>
                <a:gd name="f12" fmla="val 55368"/>
                <a:gd name="f13" fmla="val 456457"/>
                <a:gd name="f14" fmla="val 84051"/>
                <a:gd name="f15" fmla="val 489896"/>
                <a:gd name="f16" fmla="val 117489"/>
                <a:gd name="f17" fmla="val 518580"/>
                <a:gd name="f18" fmla="val 155091"/>
                <a:gd name="f19" fmla="val 541918"/>
                <a:gd name="f20" fmla="val 196266"/>
                <a:gd name="f21" fmla="val 559320"/>
                <a:gd name="f22" fmla="val 240425"/>
                <a:gd name="f23" fmla="val 570194"/>
                <a:gd name="f24" fmla="val 573951"/>
                <a:gd name="f25" fmla="val 333522"/>
                <a:gd name="f26" fmla="val 377679"/>
                <a:gd name="f27" fmla="val 418852"/>
                <a:gd name="f28" fmla="val 456453"/>
                <a:gd name="f29" fmla="val 489890"/>
                <a:gd name="f30" fmla="val 518573"/>
                <a:gd name="f31" fmla="val 541910"/>
                <a:gd name="f32" fmla="val 559311"/>
                <a:gd name="f33" fmla="val 570184"/>
                <a:gd name="f34" fmla="val 573940"/>
                <a:gd name="f35" fmla="val 240427"/>
                <a:gd name="f36" fmla="val 196270"/>
                <a:gd name="f37" fmla="val 155095"/>
                <a:gd name="f38" fmla="val 117493"/>
                <a:gd name="f39" fmla="val 84055"/>
                <a:gd name="f40" fmla="val 55371"/>
                <a:gd name="f41" fmla="val 32032"/>
                <a:gd name="f42" fmla="val 14630"/>
                <a:gd name="f43" fmla="val 3756"/>
                <a:gd name="f44" fmla="*/ f0 1 574039"/>
                <a:gd name="f45" fmla="*/ f1 1 574040"/>
                <a:gd name="f46" fmla="+- f4 0 f2"/>
                <a:gd name="f47" fmla="+- f3 0 f2"/>
                <a:gd name="f48" fmla="*/ f47 1 574039"/>
                <a:gd name="f49" fmla="*/ f46 1 574040"/>
                <a:gd name="f50" fmla="*/ f2 1 f48"/>
                <a:gd name="f51" fmla="*/ f3 1 f48"/>
                <a:gd name="f52" fmla="*/ f2 1 f49"/>
                <a:gd name="f53" fmla="*/ f4 1 f49"/>
                <a:gd name="f54" fmla="*/ f50 f44 1"/>
                <a:gd name="f55" fmla="*/ f51 f44 1"/>
                <a:gd name="f56" fmla="*/ f53 f45 1"/>
                <a:gd name="f57" fmla="*/ f52 f4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4" t="f57" r="f55" b="f56"/>
              <a:pathLst>
                <a:path w="574039" h="574040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4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33" y="f7"/>
                  </a:lnTo>
                  <a:lnTo>
                    <a:pt x="f34" y="f5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42"/>
                  </a:lnTo>
                  <a:lnTo>
                    <a:pt x="f25" y="f43"/>
                  </a:lnTo>
                  <a:lnTo>
                    <a:pt x="f5" y="f2"/>
                  </a:lnTo>
                  <a:lnTo>
                    <a:pt x="f22" y="f43"/>
                  </a:lnTo>
                  <a:lnTo>
                    <a:pt x="f20" y="f42"/>
                  </a:lnTo>
                  <a:lnTo>
                    <a:pt x="f18" y="f41"/>
                  </a:lnTo>
                  <a:lnTo>
                    <a:pt x="f16" y="f40"/>
                  </a:lnTo>
                  <a:lnTo>
                    <a:pt x="f14" y="f39"/>
                  </a:lnTo>
                  <a:lnTo>
                    <a:pt x="f12" y="f38"/>
                  </a:lnTo>
                  <a:lnTo>
                    <a:pt x="f10" y="f37"/>
                  </a:lnTo>
                  <a:lnTo>
                    <a:pt x="f8" y="f36"/>
                  </a:lnTo>
                  <a:lnTo>
                    <a:pt x="f6" y="f35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87" name="object 1087">
              <a:extLst>
                <a:ext uri="{FF2B5EF4-FFF2-40B4-BE49-F238E27FC236}">
                  <a16:creationId xmlns:a16="http://schemas.microsoft.com/office/drawing/2014/main" id="{B10BFEFE-3B1B-3AB7-6D36-994E3972A5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3373441" y="1334420"/>
              <a:ext cx="349940" cy="34498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88" name="object 1088">
              <a:extLst>
                <a:ext uri="{FF2B5EF4-FFF2-40B4-BE49-F238E27FC236}">
                  <a16:creationId xmlns:a16="http://schemas.microsoft.com/office/drawing/2014/main" id="{B334F628-E0D0-5C60-673A-B8458657BE64}"/>
                </a:ext>
              </a:extLst>
            </p:cNvPr>
            <p:cNvSpPr/>
            <p:nvPr/>
          </p:nvSpPr>
          <p:spPr>
            <a:xfrm>
              <a:off x="3373431" y="132961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89" name="object 1089">
              <a:extLst>
                <a:ext uri="{FF2B5EF4-FFF2-40B4-BE49-F238E27FC236}">
                  <a16:creationId xmlns:a16="http://schemas.microsoft.com/office/drawing/2014/main" id="{5DAA2C39-6884-5E11-7E8C-390801B8F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6656228" y="2852735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90" name="object 1090">
              <a:extLst>
                <a:ext uri="{FF2B5EF4-FFF2-40B4-BE49-F238E27FC236}">
                  <a16:creationId xmlns:a16="http://schemas.microsoft.com/office/drawing/2014/main" id="{C302C0DE-FD13-ED70-BFFD-8F30A634618F}"/>
                </a:ext>
              </a:extLst>
            </p:cNvPr>
            <p:cNvSpPr/>
            <p:nvPr/>
          </p:nvSpPr>
          <p:spPr>
            <a:xfrm>
              <a:off x="6656237" y="285273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91" name="object 1091">
              <a:extLst>
                <a:ext uri="{FF2B5EF4-FFF2-40B4-BE49-F238E27FC236}">
                  <a16:creationId xmlns:a16="http://schemas.microsoft.com/office/drawing/2014/main" id="{FADC2075-22CF-6C59-99DE-763937403A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5830781" y="286414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92" name="object 1092">
              <a:extLst>
                <a:ext uri="{FF2B5EF4-FFF2-40B4-BE49-F238E27FC236}">
                  <a16:creationId xmlns:a16="http://schemas.microsoft.com/office/drawing/2014/main" id="{9F5F4434-40A8-B2BA-DE6D-775592E37706}"/>
                </a:ext>
              </a:extLst>
            </p:cNvPr>
            <p:cNvSpPr/>
            <p:nvPr/>
          </p:nvSpPr>
          <p:spPr>
            <a:xfrm>
              <a:off x="5834987" y="286008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93" name="object 1093">
              <a:extLst>
                <a:ext uri="{FF2B5EF4-FFF2-40B4-BE49-F238E27FC236}">
                  <a16:creationId xmlns:a16="http://schemas.microsoft.com/office/drawing/2014/main" id="{DE229DA8-3D0A-25D6-A6C0-64CFA76097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5011241" y="287007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94" name="object 1094">
              <a:extLst>
                <a:ext uri="{FF2B5EF4-FFF2-40B4-BE49-F238E27FC236}">
                  <a16:creationId xmlns:a16="http://schemas.microsoft.com/office/drawing/2014/main" id="{C2705D97-33ED-2F97-DF47-5AE2F40DC480}"/>
                </a:ext>
              </a:extLst>
            </p:cNvPr>
            <p:cNvSpPr/>
            <p:nvPr/>
          </p:nvSpPr>
          <p:spPr>
            <a:xfrm>
              <a:off x="5011241" y="287007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095" name="object 1095">
              <a:extLst>
                <a:ext uri="{FF2B5EF4-FFF2-40B4-BE49-F238E27FC236}">
                  <a16:creationId xmlns:a16="http://schemas.microsoft.com/office/drawing/2014/main" id="{7A44BAD3-C33C-FF11-E4E9-FB8F9CEE9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5013106" y="2095420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096" name="object 1096">
              <a:extLst>
                <a:ext uri="{FF2B5EF4-FFF2-40B4-BE49-F238E27FC236}">
                  <a16:creationId xmlns:a16="http://schemas.microsoft.com/office/drawing/2014/main" id="{BF3550C3-361C-3EAD-9EE9-00C6556A6DB7}"/>
                </a:ext>
              </a:extLst>
            </p:cNvPr>
            <p:cNvSpPr/>
            <p:nvPr/>
          </p:nvSpPr>
          <p:spPr>
            <a:xfrm>
              <a:off x="5013106" y="209542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7" name="object 1097">
              <a:extLst>
                <a:ext uri="{FF2B5EF4-FFF2-40B4-BE49-F238E27FC236}">
                  <a16:creationId xmlns:a16="http://schemas.microsoft.com/office/drawing/2014/main" id="{70EA69A7-9574-F897-6970-A60A87AA1A7F}"/>
                </a:ext>
              </a:extLst>
            </p:cNvPr>
            <p:cNvSpPr/>
            <p:nvPr/>
          </p:nvSpPr>
          <p:spPr>
            <a:xfrm>
              <a:off x="529265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8" name="object 1098">
              <a:extLst>
                <a:ext uri="{FF2B5EF4-FFF2-40B4-BE49-F238E27FC236}">
                  <a16:creationId xmlns:a16="http://schemas.microsoft.com/office/drawing/2014/main" id="{7210E10F-7CD3-D720-F580-9761783E530F}"/>
                </a:ext>
              </a:extLst>
            </p:cNvPr>
            <p:cNvSpPr/>
            <p:nvPr/>
          </p:nvSpPr>
          <p:spPr>
            <a:xfrm>
              <a:off x="532767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099" name="object 1099">
              <a:extLst>
                <a:ext uri="{FF2B5EF4-FFF2-40B4-BE49-F238E27FC236}">
                  <a16:creationId xmlns:a16="http://schemas.microsoft.com/office/drawing/2014/main" id="{E3B6CD93-A0C3-7BD2-6725-BB39B8FAC364}"/>
                </a:ext>
              </a:extLst>
            </p:cNvPr>
            <p:cNvSpPr/>
            <p:nvPr/>
          </p:nvSpPr>
          <p:spPr>
            <a:xfrm>
              <a:off x="522261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0" name="object 1100">
              <a:extLst>
                <a:ext uri="{FF2B5EF4-FFF2-40B4-BE49-F238E27FC236}">
                  <a16:creationId xmlns:a16="http://schemas.microsoft.com/office/drawing/2014/main" id="{95EABB52-4453-068F-6D57-DD67B017902D}"/>
                </a:ext>
              </a:extLst>
            </p:cNvPr>
            <p:cNvSpPr/>
            <p:nvPr/>
          </p:nvSpPr>
          <p:spPr>
            <a:xfrm>
              <a:off x="511754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1" name="object 1101">
              <a:extLst>
                <a:ext uri="{FF2B5EF4-FFF2-40B4-BE49-F238E27FC236}">
                  <a16:creationId xmlns:a16="http://schemas.microsoft.com/office/drawing/2014/main" id="{86CF5412-E3F1-5E1B-58EC-673EC84CE6A3}"/>
                </a:ext>
              </a:extLst>
            </p:cNvPr>
            <p:cNvSpPr/>
            <p:nvPr/>
          </p:nvSpPr>
          <p:spPr>
            <a:xfrm>
              <a:off x="5152634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2" name="object 1102">
              <a:extLst>
                <a:ext uri="{FF2B5EF4-FFF2-40B4-BE49-F238E27FC236}">
                  <a16:creationId xmlns:a16="http://schemas.microsoft.com/office/drawing/2014/main" id="{BADCDDF2-C3CD-6018-6FDB-F023401B3629}"/>
                </a:ext>
              </a:extLst>
            </p:cNvPr>
            <p:cNvSpPr/>
            <p:nvPr/>
          </p:nvSpPr>
          <p:spPr>
            <a:xfrm>
              <a:off x="504750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3" name="object 1103">
              <a:extLst>
                <a:ext uri="{FF2B5EF4-FFF2-40B4-BE49-F238E27FC236}">
                  <a16:creationId xmlns:a16="http://schemas.microsoft.com/office/drawing/2014/main" id="{A1BE233D-E0AD-DDC6-BC26-8B9BF60BBD14}"/>
                </a:ext>
              </a:extLst>
            </p:cNvPr>
            <p:cNvSpPr/>
            <p:nvPr/>
          </p:nvSpPr>
          <p:spPr>
            <a:xfrm>
              <a:off x="525763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4" name="object 1104">
              <a:extLst>
                <a:ext uri="{FF2B5EF4-FFF2-40B4-BE49-F238E27FC236}">
                  <a16:creationId xmlns:a16="http://schemas.microsoft.com/office/drawing/2014/main" id="{5865D974-EF64-8E74-A7E9-26CBFDDF9682}"/>
                </a:ext>
              </a:extLst>
            </p:cNvPr>
            <p:cNvSpPr/>
            <p:nvPr/>
          </p:nvSpPr>
          <p:spPr>
            <a:xfrm>
              <a:off x="508252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5" name="object 1105">
              <a:extLst>
                <a:ext uri="{FF2B5EF4-FFF2-40B4-BE49-F238E27FC236}">
                  <a16:creationId xmlns:a16="http://schemas.microsoft.com/office/drawing/2014/main" id="{E200B2D9-CB65-7A4D-5EC1-6B8B0408384F}"/>
                </a:ext>
              </a:extLst>
            </p:cNvPr>
            <p:cNvSpPr/>
            <p:nvPr/>
          </p:nvSpPr>
          <p:spPr>
            <a:xfrm>
              <a:off x="536269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6" name="object 1106">
              <a:extLst>
                <a:ext uri="{FF2B5EF4-FFF2-40B4-BE49-F238E27FC236}">
                  <a16:creationId xmlns:a16="http://schemas.microsoft.com/office/drawing/2014/main" id="{13FAD6F0-913E-1EB2-B676-AEBDF606F662}"/>
                </a:ext>
              </a:extLst>
            </p:cNvPr>
            <p:cNvSpPr/>
            <p:nvPr/>
          </p:nvSpPr>
          <p:spPr>
            <a:xfrm>
              <a:off x="518772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7" name="object 1107">
              <a:extLst>
                <a:ext uri="{FF2B5EF4-FFF2-40B4-BE49-F238E27FC236}">
                  <a16:creationId xmlns:a16="http://schemas.microsoft.com/office/drawing/2014/main" id="{A8A9C55E-5AC2-EF77-6E72-F3366EB93D9E}"/>
                </a:ext>
              </a:extLst>
            </p:cNvPr>
            <p:cNvSpPr/>
            <p:nvPr/>
          </p:nvSpPr>
          <p:spPr>
            <a:xfrm>
              <a:off x="5012759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8" name="object 1108">
              <a:extLst>
                <a:ext uri="{FF2B5EF4-FFF2-40B4-BE49-F238E27FC236}">
                  <a16:creationId xmlns:a16="http://schemas.microsoft.com/office/drawing/2014/main" id="{D6E5BC58-A306-C50C-401B-93D11157CFE7}"/>
                </a:ext>
              </a:extLst>
            </p:cNvPr>
            <p:cNvSpPr/>
            <p:nvPr/>
          </p:nvSpPr>
          <p:spPr>
            <a:xfrm>
              <a:off x="5012759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09" name="object 1109">
              <a:extLst>
                <a:ext uri="{FF2B5EF4-FFF2-40B4-BE49-F238E27FC236}">
                  <a16:creationId xmlns:a16="http://schemas.microsoft.com/office/drawing/2014/main" id="{F935D0F7-664A-8A23-8135-13931E9ABC2A}"/>
                </a:ext>
              </a:extLst>
            </p:cNvPr>
            <p:cNvSpPr/>
            <p:nvPr/>
          </p:nvSpPr>
          <p:spPr>
            <a:xfrm>
              <a:off x="5012877" y="1085502"/>
              <a:ext cx="3157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2070"/>
                <a:gd name="f4" fmla="val 84455"/>
                <a:gd name="f5" fmla="val 51757"/>
                <a:gd name="f6" fmla="val 84123"/>
                <a:gd name="f7" fmla="*/ f0 1 52070"/>
                <a:gd name="f8" fmla="*/ f1 1 84455"/>
                <a:gd name="f9" fmla="+- f4 0 f2"/>
                <a:gd name="f10" fmla="+- f3 0 f2"/>
                <a:gd name="f11" fmla="*/ f10 1 52070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2070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0" name="object 1110">
              <a:extLst>
                <a:ext uri="{FF2B5EF4-FFF2-40B4-BE49-F238E27FC236}">
                  <a16:creationId xmlns:a16="http://schemas.microsoft.com/office/drawing/2014/main" id="{246EBCC3-2EC5-1C1E-0405-4589BEC125CA}"/>
                </a:ext>
              </a:extLst>
            </p:cNvPr>
            <p:cNvSpPr/>
            <p:nvPr/>
          </p:nvSpPr>
          <p:spPr>
            <a:xfrm>
              <a:off x="5012877" y="1157804"/>
              <a:ext cx="11975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7484"/>
                <a:gd name="f4" fmla="val 84455"/>
                <a:gd name="f5" fmla="val 197459"/>
                <a:gd name="f6" fmla="val 84112"/>
                <a:gd name="f7" fmla="*/ f0 1 197484"/>
                <a:gd name="f8" fmla="*/ f1 1 84455"/>
                <a:gd name="f9" fmla="+- f4 0 f2"/>
                <a:gd name="f10" fmla="+- f3 0 f2"/>
                <a:gd name="f11" fmla="*/ f10 1 19748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748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1" name="object 1111">
              <a:extLst>
                <a:ext uri="{FF2B5EF4-FFF2-40B4-BE49-F238E27FC236}">
                  <a16:creationId xmlns:a16="http://schemas.microsoft.com/office/drawing/2014/main" id="{59410305-9967-BB08-CDE4-30A78B649F8C}"/>
                </a:ext>
              </a:extLst>
            </p:cNvPr>
            <p:cNvSpPr/>
            <p:nvPr/>
          </p:nvSpPr>
          <p:spPr>
            <a:xfrm>
              <a:off x="529230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2" name="object 1112">
              <a:extLst>
                <a:ext uri="{FF2B5EF4-FFF2-40B4-BE49-F238E27FC236}">
                  <a16:creationId xmlns:a16="http://schemas.microsoft.com/office/drawing/2014/main" id="{548184FE-E10F-B54F-6EAA-F80995CF7772}"/>
                </a:ext>
              </a:extLst>
            </p:cNvPr>
            <p:cNvSpPr/>
            <p:nvPr/>
          </p:nvSpPr>
          <p:spPr>
            <a:xfrm>
              <a:off x="532733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3" name="object 1113">
              <a:extLst>
                <a:ext uri="{FF2B5EF4-FFF2-40B4-BE49-F238E27FC236}">
                  <a16:creationId xmlns:a16="http://schemas.microsoft.com/office/drawing/2014/main" id="{9C7F248D-63FB-AA2E-20D2-2E8A60747C13}"/>
                </a:ext>
              </a:extLst>
            </p:cNvPr>
            <p:cNvSpPr/>
            <p:nvPr/>
          </p:nvSpPr>
          <p:spPr>
            <a:xfrm>
              <a:off x="522226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4" name="object 1114">
              <a:extLst>
                <a:ext uri="{FF2B5EF4-FFF2-40B4-BE49-F238E27FC236}">
                  <a16:creationId xmlns:a16="http://schemas.microsoft.com/office/drawing/2014/main" id="{839D60E9-8D17-AD42-10F3-F8FD4A9EB9C2}"/>
                </a:ext>
              </a:extLst>
            </p:cNvPr>
            <p:cNvSpPr/>
            <p:nvPr/>
          </p:nvSpPr>
          <p:spPr>
            <a:xfrm>
              <a:off x="5117201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5" name="object 1115">
              <a:extLst>
                <a:ext uri="{FF2B5EF4-FFF2-40B4-BE49-F238E27FC236}">
                  <a16:creationId xmlns:a16="http://schemas.microsoft.com/office/drawing/2014/main" id="{D77D6D53-F100-53C1-03C3-A6DABE3E0769}"/>
                </a:ext>
              </a:extLst>
            </p:cNvPr>
            <p:cNvSpPr/>
            <p:nvPr/>
          </p:nvSpPr>
          <p:spPr>
            <a:xfrm>
              <a:off x="515229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6" name="object 1116">
              <a:extLst>
                <a:ext uri="{FF2B5EF4-FFF2-40B4-BE49-F238E27FC236}">
                  <a16:creationId xmlns:a16="http://schemas.microsoft.com/office/drawing/2014/main" id="{C03CAF4F-A2A8-4524-9C00-D012E01CEAB9}"/>
                </a:ext>
              </a:extLst>
            </p:cNvPr>
            <p:cNvSpPr/>
            <p:nvPr/>
          </p:nvSpPr>
          <p:spPr>
            <a:xfrm>
              <a:off x="504715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7" name="object 1117">
              <a:extLst>
                <a:ext uri="{FF2B5EF4-FFF2-40B4-BE49-F238E27FC236}">
                  <a16:creationId xmlns:a16="http://schemas.microsoft.com/office/drawing/2014/main" id="{2C572D8E-DE76-C76C-5CF8-9E1A5FD3F106}"/>
                </a:ext>
              </a:extLst>
            </p:cNvPr>
            <p:cNvSpPr/>
            <p:nvPr/>
          </p:nvSpPr>
          <p:spPr>
            <a:xfrm>
              <a:off x="525728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8" name="object 1118">
              <a:extLst>
                <a:ext uri="{FF2B5EF4-FFF2-40B4-BE49-F238E27FC236}">
                  <a16:creationId xmlns:a16="http://schemas.microsoft.com/office/drawing/2014/main" id="{38405069-0977-4523-276A-0DC6FD5C7BCA}"/>
                </a:ext>
              </a:extLst>
            </p:cNvPr>
            <p:cNvSpPr/>
            <p:nvPr/>
          </p:nvSpPr>
          <p:spPr>
            <a:xfrm>
              <a:off x="508218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19" name="object 1119">
              <a:extLst>
                <a:ext uri="{FF2B5EF4-FFF2-40B4-BE49-F238E27FC236}">
                  <a16:creationId xmlns:a16="http://schemas.microsoft.com/office/drawing/2014/main" id="{2CDB3B65-C90A-027A-6F92-1AA7C7755272}"/>
                </a:ext>
              </a:extLst>
            </p:cNvPr>
            <p:cNvSpPr/>
            <p:nvPr/>
          </p:nvSpPr>
          <p:spPr>
            <a:xfrm>
              <a:off x="5362352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0" name="object 1120">
              <a:extLst>
                <a:ext uri="{FF2B5EF4-FFF2-40B4-BE49-F238E27FC236}">
                  <a16:creationId xmlns:a16="http://schemas.microsoft.com/office/drawing/2014/main" id="{CEF44382-FCA7-288D-FE5E-EE55BBD7B993}"/>
                </a:ext>
              </a:extLst>
            </p:cNvPr>
            <p:cNvSpPr/>
            <p:nvPr/>
          </p:nvSpPr>
          <p:spPr>
            <a:xfrm>
              <a:off x="5187382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1" name="object 1121">
              <a:extLst>
                <a:ext uri="{FF2B5EF4-FFF2-40B4-BE49-F238E27FC236}">
                  <a16:creationId xmlns:a16="http://schemas.microsoft.com/office/drawing/2014/main" id="{47A3BACB-0D54-8660-A711-69D5D707A7F0}"/>
                </a:ext>
              </a:extLst>
            </p:cNvPr>
            <p:cNvSpPr/>
            <p:nvPr/>
          </p:nvSpPr>
          <p:spPr>
            <a:xfrm>
              <a:off x="5012411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2" name="object 1122">
              <a:extLst>
                <a:ext uri="{FF2B5EF4-FFF2-40B4-BE49-F238E27FC236}">
                  <a16:creationId xmlns:a16="http://schemas.microsoft.com/office/drawing/2014/main" id="{DE7B891D-58E8-9F19-05F9-7D2B2E54F2B5}"/>
                </a:ext>
              </a:extLst>
            </p:cNvPr>
            <p:cNvSpPr/>
            <p:nvPr/>
          </p:nvSpPr>
          <p:spPr>
            <a:xfrm>
              <a:off x="5187382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3" name="object 1123">
              <a:extLst>
                <a:ext uri="{FF2B5EF4-FFF2-40B4-BE49-F238E27FC236}">
                  <a16:creationId xmlns:a16="http://schemas.microsoft.com/office/drawing/2014/main" id="{DFADC680-B870-6C80-30A8-64DB4CB6F809}"/>
                </a:ext>
              </a:extLst>
            </p:cNvPr>
            <p:cNvSpPr/>
            <p:nvPr/>
          </p:nvSpPr>
          <p:spPr>
            <a:xfrm>
              <a:off x="5012411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124" name="object 1124">
              <a:extLst>
                <a:ext uri="{FF2B5EF4-FFF2-40B4-BE49-F238E27FC236}">
                  <a16:creationId xmlns:a16="http://schemas.microsoft.com/office/drawing/2014/main" id="{D9FF2321-C423-17EB-375D-9CEF3D2DFE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5012128" y="1329885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25" name="object 1125">
              <a:extLst>
                <a:ext uri="{FF2B5EF4-FFF2-40B4-BE49-F238E27FC236}">
                  <a16:creationId xmlns:a16="http://schemas.microsoft.com/office/drawing/2014/main" id="{E2CBC03F-E4E5-D33A-68FD-A933F7249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5007373" y="1325130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126" name="object 1126">
              <a:extLst>
                <a:ext uri="{FF2B5EF4-FFF2-40B4-BE49-F238E27FC236}">
                  <a16:creationId xmlns:a16="http://schemas.microsoft.com/office/drawing/2014/main" id="{748A60CE-8AA4-FBD2-CED1-6DD9A0C93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5007373" y="1325130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27" name="object 1127">
              <a:extLst>
                <a:ext uri="{FF2B5EF4-FFF2-40B4-BE49-F238E27FC236}">
                  <a16:creationId xmlns:a16="http://schemas.microsoft.com/office/drawing/2014/main" id="{1188C771-7B09-7A54-09B1-93E6053DAD77}"/>
                </a:ext>
              </a:extLst>
            </p:cNvPr>
            <p:cNvSpPr/>
            <p:nvPr/>
          </p:nvSpPr>
          <p:spPr>
            <a:xfrm>
              <a:off x="5012128" y="132988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8" name="object 1128">
              <a:extLst>
                <a:ext uri="{FF2B5EF4-FFF2-40B4-BE49-F238E27FC236}">
                  <a16:creationId xmlns:a16="http://schemas.microsoft.com/office/drawing/2014/main" id="{84E0CA33-7D3E-7C6C-37D2-5B996DC5F3E2}"/>
                </a:ext>
              </a:extLst>
            </p:cNvPr>
            <p:cNvSpPr/>
            <p:nvPr/>
          </p:nvSpPr>
          <p:spPr>
            <a:xfrm>
              <a:off x="611397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29" name="object 1129">
              <a:extLst>
                <a:ext uri="{FF2B5EF4-FFF2-40B4-BE49-F238E27FC236}">
                  <a16:creationId xmlns:a16="http://schemas.microsoft.com/office/drawing/2014/main" id="{16B4BB0F-5A04-DC56-4262-8FA945ECC33B}"/>
                </a:ext>
              </a:extLst>
            </p:cNvPr>
            <p:cNvSpPr/>
            <p:nvPr/>
          </p:nvSpPr>
          <p:spPr>
            <a:xfrm>
              <a:off x="6148992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0" name="object 1130">
              <a:extLst>
                <a:ext uri="{FF2B5EF4-FFF2-40B4-BE49-F238E27FC236}">
                  <a16:creationId xmlns:a16="http://schemas.microsoft.com/office/drawing/2014/main" id="{78879CF1-DF19-E82F-9127-389B08F13D11}"/>
                </a:ext>
              </a:extLst>
            </p:cNvPr>
            <p:cNvSpPr/>
            <p:nvPr/>
          </p:nvSpPr>
          <p:spPr>
            <a:xfrm>
              <a:off x="604392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1" name="object 1131">
              <a:extLst>
                <a:ext uri="{FF2B5EF4-FFF2-40B4-BE49-F238E27FC236}">
                  <a16:creationId xmlns:a16="http://schemas.microsoft.com/office/drawing/2014/main" id="{B0B5FA99-79D8-8968-6776-7DCFE9BFAC6D}"/>
                </a:ext>
              </a:extLst>
            </p:cNvPr>
            <p:cNvSpPr/>
            <p:nvPr/>
          </p:nvSpPr>
          <p:spPr>
            <a:xfrm>
              <a:off x="593886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2" name="object 1132">
              <a:extLst>
                <a:ext uri="{FF2B5EF4-FFF2-40B4-BE49-F238E27FC236}">
                  <a16:creationId xmlns:a16="http://schemas.microsoft.com/office/drawing/2014/main" id="{0267940F-89B2-7540-B33D-9AAC93B878BC}"/>
                </a:ext>
              </a:extLst>
            </p:cNvPr>
            <p:cNvSpPr/>
            <p:nvPr/>
          </p:nvSpPr>
          <p:spPr>
            <a:xfrm>
              <a:off x="597394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3" name="object 1133">
              <a:extLst>
                <a:ext uri="{FF2B5EF4-FFF2-40B4-BE49-F238E27FC236}">
                  <a16:creationId xmlns:a16="http://schemas.microsoft.com/office/drawing/2014/main" id="{506B02EF-D297-B256-BED6-999B034661A1}"/>
                </a:ext>
              </a:extLst>
            </p:cNvPr>
            <p:cNvSpPr/>
            <p:nvPr/>
          </p:nvSpPr>
          <p:spPr>
            <a:xfrm>
              <a:off x="5868820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4" name="object 1134">
              <a:extLst>
                <a:ext uri="{FF2B5EF4-FFF2-40B4-BE49-F238E27FC236}">
                  <a16:creationId xmlns:a16="http://schemas.microsoft.com/office/drawing/2014/main" id="{F6538BE2-302A-8ECB-F13E-BF3D1318426D}"/>
                </a:ext>
              </a:extLst>
            </p:cNvPr>
            <p:cNvSpPr/>
            <p:nvPr/>
          </p:nvSpPr>
          <p:spPr>
            <a:xfrm>
              <a:off x="607894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5" name="object 1135">
              <a:extLst>
                <a:ext uri="{FF2B5EF4-FFF2-40B4-BE49-F238E27FC236}">
                  <a16:creationId xmlns:a16="http://schemas.microsoft.com/office/drawing/2014/main" id="{CDEE5CE2-9C6B-974F-EFB2-18818AC0E62D}"/>
                </a:ext>
              </a:extLst>
            </p:cNvPr>
            <p:cNvSpPr/>
            <p:nvPr/>
          </p:nvSpPr>
          <p:spPr>
            <a:xfrm>
              <a:off x="590384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6" name="object 1136">
              <a:extLst>
                <a:ext uri="{FF2B5EF4-FFF2-40B4-BE49-F238E27FC236}">
                  <a16:creationId xmlns:a16="http://schemas.microsoft.com/office/drawing/2014/main" id="{FFE96289-5E55-224C-5D8F-2231B4553677}"/>
                </a:ext>
              </a:extLst>
            </p:cNvPr>
            <p:cNvSpPr/>
            <p:nvPr/>
          </p:nvSpPr>
          <p:spPr>
            <a:xfrm>
              <a:off x="6184014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7" name="object 1137">
              <a:extLst>
                <a:ext uri="{FF2B5EF4-FFF2-40B4-BE49-F238E27FC236}">
                  <a16:creationId xmlns:a16="http://schemas.microsoft.com/office/drawing/2014/main" id="{597F5818-8D57-4873-3327-1D1B8B75AD53}"/>
                </a:ext>
              </a:extLst>
            </p:cNvPr>
            <p:cNvSpPr/>
            <p:nvPr/>
          </p:nvSpPr>
          <p:spPr>
            <a:xfrm>
              <a:off x="6009043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8" name="object 1138">
              <a:extLst>
                <a:ext uri="{FF2B5EF4-FFF2-40B4-BE49-F238E27FC236}">
                  <a16:creationId xmlns:a16="http://schemas.microsoft.com/office/drawing/2014/main" id="{063CD3D6-1F45-1701-C30F-0211C1C4ACA1}"/>
                </a:ext>
              </a:extLst>
            </p:cNvPr>
            <p:cNvSpPr/>
            <p:nvPr/>
          </p:nvSpPr>
          <p:spPr>
            <a:xfrm>
              <a:off x="5834073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39" name="object 1139">
              <a:extLst>
                <a:ext uri="{FF2B5EF4-FFF2-40B4-BE49-F238E27FC236}">
                  <a16:creationId xmlns:a16="http://schemas.microsoft.com/office/drawing/2014/main" id="{5EE87ECF-D39D-6A54-A3B1-5D68ABD1DB3D}"/>
                </a:ext>
              </a:extLst>
            </p:cNvPr>
            <p:cNvSpPr/>
            <p:nvPr/>
          </p:nvSpPr>
          <p:spPr>
            <a:xfrm>
              <a:off x="5834073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0" name="object 1140">
              <a:extLst>
                <a:ext uri="{FF2B5EF4-FFF2-40B4-BE49-F238E27FC236}">
                  <a16:creationId xmlns:a16="http://schemas.microsoft.com/office/drawing/2014/main" id="{EEC8EE75-3A4C-206F-5D22-7B1E96891ADB}"/>
                </a:ext>
              </a:extLst>
            </p:cNvPr>
            <p:cNvSpPr/>
            <p:nvPr/>
          </p:nvSpPr>
          <p:spPr>
            <a:xfrm>
              <a:off x="5834192" y="1085502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5"/>
                <a:gd name="f5" fmla="val 241856"/>
                <a:gd name="f6" fmla="val 84123"/>
                <a:gd name="f7" fmla="*/ f0 1 241934"/>
                <a:gd name="f8" fmla="*/ f1 1 84455"/>
                <a:gd name="f9" fmla="+- f4 0 f2"/>
                <a:gd name="f10" fmla="+- f3 0 f2"/>
                <a:gd name="f11" fmla="*/ f10 1 241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1" name="object 1141">
              <a:extLst>
                <a:ext uri="{FF2B5EF4-FFF2-40B4-BE49-F238E27FC236}">
                  <a16:creationId xmlns:a16="http://schemas.microsoft.com/office/drawing/2014/main" id="{26F6FD06-A06F-4328-9645-4624C4BFB048}"/>
                </a:ext>
              </a:extLst>
            </p:cNvPr>
            <p:cNvSpPr/>
            <p:nvPr/>
          </p:nvSpPr>
          <p:spPr>
            <a:xfrm>
              <a:off x="5834192" y="1157804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5"/>
                <a:gd name="f5" fmla="val 291436"/>
                <a:gd name="f6" fmla="val 84112"/>
                <a:gd name="f7" fmla="*/ f0 1 291465"/>
                <a:gd name="f8" fmla="*/ f1 1 84455"/>
                <a:gd name="f9" fmla="+- f4 0 f2"/>
                <a:gd name="f10" fmla="+- f3 0 f2"/>
                <a:gd name="f11" fmla="*/ f10 1 29146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2" name="object 1142">
              <a:extLst>
                <a:ext uri="{FF2B5EF4-FFF2-40B4-BE49-F238E27FC236}">
                  <a16:creationId xmlns:a16="http://schemas.microsoft.com/office/drawing/2014/main" id="{BBCE413E-6D35-C23C-DAC3-7F0880B13943}"/>
                </a:ext>
              </a:extLst>
            </p:cNvPr>
            <p:cNvSpPr/>
            <p:nvPr/>
          </p:nvSpPr>
          <p:spPr>
            <a:xfrm>
              <a:off x="611362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3" name="object 1143">
              <a:extLst>
                <a:ext uri="{FF2B5EF4-FFF2-40B4-BE49-F238E27FC236}">
                  <a16:creationId xmlns:a16="http://schemas.microsoft.com/office/drawing/2014/main" id="{A17AE7FA-3C01-0074-58A5-2D61C035AD50}"/>
                </a:ext>
              </a:extLst>
            </p:cNvPr>
            <p:cNvSpPr/>
            <p:nvPr/>
          </p:nvSpPr>
          <p:spPr>
            <a:xfrm>
              <a:off x="614864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4" name="object 1144">
              <a:extLst>
                <a:ext uri="{FF2B5EF4-FFF2-40B4-BE49-F238E27FC236}">
                  <a16:creationId xmlns:a16="http://schemas.microsoft.com/office/drawing/2014/main" id="{9CEFBBDD-23C0-34FB-973B-3948F33879C9}"/>
                </a:ext>
              </a:extLst>
            </p:cNvPr>
            <p:cNvSpPr/>
            <p:nvPr/>
          </p:nvSpPr>
          <p:spPr>
            <a:xfrm>
              <a:off x="604358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5" name="object 1145">
              <a:extLst>
                <a:ext uri="{FF2B5EF4-FFF2-40B4-BE49-F238E27FC236}">
                  <a16:creationId xmlns:a16="http://schemas.microsoft.com/office/drawing/2014/main" id="{B6A6FA75-2690-78A7-9BC1-6832AEB91ACC}"/>
                </a:ext>
              </a:extLst>
            </p:cNvPr>
            <p:cNvSpPr/>
            <p:nvPr/>
          </p:nvSpPr>
          <p:spPr>
            <a:xfrm>
              <a:off x="5938515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6" name="object 1146">
              <a:extLst>
                <a:ext uri="{FF2B5EF4-FFF2-40B4-BE49-F238E27FC236}">
                  <a16:creationId xmlns:a16="http://schemas.microsoft.com/office/drawing/2014/main" id="{249386EB-6430-318F-DA12-D17C8F0C688B}"/>
                </a:ext>
              </a:extLst>
            </p:cNvPr>
            <p:cNvSpPr/>
            <p:nvPr/>
          </p:nvSpPr>
          <p:spPr>
            <a:xfrm>
              <a:off x="597361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7" name="object 1147">
              <a:extLst>
                <a:ext uri="{FF2B5EF4-FFF2-40B4-BE49-F238E27FC236}">
                  <a16:creationId xmlns:a16="http://schemas.microsoft.com/office/drawing/2014/main" id="{DE8CDC5E-94A2-188F-F30E-A775AC6676E8}"/>
                </a:ext>
              </a:extLst>
            </p:cNvPr>
            <p:cNvSpPr/>
            <p:nvPr/>
          </p:nvSpPr>
          <p:spPr>
            <a:xfrm>
              <a:off x="586847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8" name="object 1148">
              <a:extLst>
                <a:ext uri="{FF2B5EF4-FFF2-40B4-BE49-F238E27FC236}">
                  <a16:creationId xmlns:a16="http://schemas.microsoft.com/office/drawing/2014/main" id="{683C85C5-F914-DD87-8574-9F5279D284A8}"/>
                </a:ext>
              </a:extLst>
            </p:cNvPr>
            <p:cNvSpPr/>
            <p:nvPr/>
          </p:nvSpPr>
          <p:spPr>
            <a:xfrm>
              <a:off x="607860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49" name="object 1149">
              <a:extLst>
                <a:ext uri="{FF2B5EF4-FFF2-40B4-BE49-F238E27FC236}">
                  <a16:creationId xmlns:a16="http://schemas.microsoft.com/office/drawing/2014/main" id="{CF447599-9728-40B0-3F94-A71104033D78}"/>
                </a:ext>
              </a:extLst>
            </p:cNvPr>
            <p:cNvSpPr/>
            <p:nvPr/>
          </p:nvSpPr>
          <p:spPr>
            <a:xfrm>
              <a:off x="590349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0" name="object 1150">
              <a:extLst>
                <a:ext uri="{FF2B5EF4-FFF2-40B4-BE49-F238E27FC236}">
                  <a16:creationId xmlns:a16="http://schemas.microsoft.com/office/drawing/2014/main" id="{3485EB70-1899-0A27-04D9-ACE9DF3D4B89}"/>
                </a:ext>
              </a:extLst>
            </p:cNvPr>
            <p:cNvSpPr/>
            <p:nvPr/>
          </p:nvSpPr>
          <p:spPr>
            <a:xfrm>
              <a:off x="6183666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1" name="object 1151">
              <a:extLst>
                <a:ext uri="{FF2B5EF4-FFF2-40B4-BE49-F238E27FC236}">
                  <a16:creationId xmlns:a16="http://schemas.microsoft.com/office/drawing/2014/main" id="{3E29C361-3D05-B129-23E5-64FA4DDFB1F4}"/>
                </a:ext>
              </a:extLst>
            </p:cNvPr>
            <p:cNvSpPr/>
            <p:nvPr/>
          </p:nvSpPr>
          <p:spPr>
            <a:xfrm>
              <a:off x="6008696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2" name="object 1152">
              <a:extLst>
                <a:ext uri="{FF2B5EF4-FFF2-40B4-BE49-F238E27FC236}">
                  <a16:creationId xmlns:a16="http://schemas.microsoft.com/office/drawing/2014/main" id="{35056180-86F8-B090-9302-DAF7299013EC}"/>
                </a:ext>
              </a:extLst>
            </p:cNvPr>
            <p:cNvSpPr/>
            <p:nvPr/>
          </p:nvSpPr>
          <p:spPr>
            <a:xfrm>
              <a:off x="5833725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3" name="object 1153">
              <a:extLst>
                <a:ext uri="{FF2B5EF4-FFF2-40B4-BE49-F238E27FC236}">
                  <a16:creationId xmlns:a16="http://schemas.microsoft.com/office/drawing/2014/main" id="{D6141406-88A3-8AA1-6204-615E1FF0396C}"/>
                </a:ext>
              </a:extLst>
            </p:cNvPr>
            <p:cNvSpPr/>
            <p:nvPr/>
          </p:nvSpPr>
          <p:spPr>
            <a:xfrm>
              <a:off x="6008696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4" name="object 1154">
              <a:extLst>
                <a:ext uri="{FF2B5EF4-FFF2-40B4-BE49-F238E27FC236}">
                  <a16:creationId xmlns:a16="http://schemas.microsoft.com/office/drawing/2014/main" id="{9C6E1DB8-A6DF-B807-1CF2-67286C90442E}"/>
                </a:ext>
              </a:extLst>
            </p:cNvPr>
            <p:cNvSpPr/>
            <p:nvPr/>
          </p:nvSpPr>
          <p:spPr>
            <a:xfrm>
              <a:off x="5833725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5" name="object 1155">
              <a:extLst>
                <a:ext uri="{FF2B5EF4-FFF2-40B4-BE49-F238E27FC236}">
                  <a16:creationId xmlns:a16="http://schemas.microsoft.com/office/drawing/2014/main" id="{4629BDAA-7C6C-1C34-FFEC-32CFDB1B3001}"/>
                </a:ext>
              </a:extLst>
            </p:cNvPr>
            <p:cNvSpPr/>
            <p:nvPr/>
          </p:nvSpPr>
          <p:spPr>
            <a:xfrm>
              <a:off x="611397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6" name="object 1156">
              <a:extLst>
                <a:ext uri="{FF2B5EF4-FFF2-40B4-BE49-F238E27FC236}">
                  <a16:creationId xmlns:a16="http://schemas.microsoft.com/office/drawing/2014/main" id="{4B1D994C-54CE-E73F-EB9E-DD9EA6EE2EAB}"/>
                </a:ext>
              </a:extLst>
            </p:cNvPr>
            <p:cNvSpPr/>
            <p:nvPr/>
          </p:nvSpPr>
          <p:spPr>
            <a:xfrm>
              <a:off x="6148992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7" name="object 1157">
              <a:extLst>
                <a:ext uri="{FF2B5EF4-FFF2-40B4-BE49-F238E27FC236}">
                  <a16:creationId xmlns:a16="http://schemas.microsoft.com/office/drawing/2014/main" id="{4306C531-16EE-BE84-D73A-B7B0B23E908A}"/>
                </a:ext>
              </a:extLst>
            </p:cNvPr>
            <p:cNvSpPr/>
            <p:nvPr/>
          </p:nvSpPr>
          <p:spPr>
            <a:xfrm>
              <a:off x="604392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8" name="object 1158">
              <a:extLst>
                <a:ext uri="{FF2B5EF4-FFF2-40B4-BE49-F238E27FC236}">
                  <a16:creationId xmlns:a16="http://schemas.microsoft.com/office/drawing/2014/main" id="{9AF89A50-FBBA-D428-559F-701AF23F9A70}"/>
                </a:ext>
              </a:extLst>
            </p:cNvPr>
            <p:cNvSpPr/>
            <p:nvPr/>
          </p:nvSpPr>
          <p:spPr>
            <a:xfrm>
              <a:off x="593886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59" name="object 1159">
              <a:extLst>
                <a:ext uri="{FF2B5EF4-FFF2-40B4-BE49-F238E27FC236}">
                  <a16:creationId xmlns:a16="http://schemas.microsoft.com/office/drawing/2014/main" id="{5EC71805-B14D-9C58-D43D-D61595007DDA}"/>
                </a:ext>
              </a:extLst>
            </p:cNvPr>
            <p:cNvSpPr/>
            <p:nvPr/>
          </p:nvSpPr>
          <p:spPr>
            <a:xfrm>
              <a:off x="597394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0" name="object 1160">
              <a:extLst>
                <a:ext uri="{FF2B5EF4-FFF2-40B4-BE49-F238E27FC236}">
                  <a16:creationId xmlns:a16="http://schemas.microsoft.com/office/drawing/2014/main" id="{7BF115F8-664F-D60D-8C55-B0EF16C66253}"/>
                </a:ext>
              </a:extLst>
            </p:cNvPr>
            <p:cNvSpPr/>
            <p:nvPr/>
          </p:nvSpPr>
          <p:spPr>
            <a:xfrm>
              <a:off x="586882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1" name="object 1161">
              <a:extLst>
                <a:ext uri="{FF2B5EF4-FFF2-40B4-BE49-F238E27FC236}">
                  <a16:creationId xmlns:a16="http://schemas.microsoft.com/office/drawing/2014/main" id="{F485D182-BB06-330D-7A2D-DF972F9527CF}"/>
                </a:ext>
              </a:extLst>
            </p:cNvPr>
            <p:cNvSpPr/>
            <p:nvPr/>
          </p:nvSpPr>
          <p:spPr>
            <a:xfrm>
              <a:off x="607894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2" name="object 1162">
              <a:extLst>
                <a:ext uri="{FF2B5EF4-FFF2-40B4-BE49-F238E27FC236}">
                  <a16:creationId xmlns:a16="http://schemas.microsoft.com/office/drawing/2014/main" id="{0AC943C4-03D3-C2AE-D185-B1EE6276EDFF}"/>
                </a:ext>
              </a:extLst>
            </p:cNvPr>
            <p:cNvSpPr/>
            <p:nvPr/>
          </p:nvSpPr>
          <p:spPr>
            <a:xfrm>
              <a:off x="590384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3" name="object 1163">
              <a:extLst>
                <a:ext uri="{FF2B5EF4-FFF2-40B4-BE49-F238E27FC236}">
                  <a16:creationId xmlns:a16="http://schemas.microsoft.com/office/drawing/2014/main" id="{6FC93D36-3B3D-4B90-8FBF-FEBC2905B450}"/>
                </a:ext>
              </a:extLst>
            </p:cNvPr>
            <p:cNvSpPr/>
            <p:nvPr/>
          </p:nvSpPr>
          <p:spPr>
            <a:xfrm>
              <a:off x="6184014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4" name="object 1164">
              <a:extLst>
                <a:ext uri="{FF2B5EF4-FFF2-40B4-BE49-F238E27FC236}">
                  <a16:creationId xmlns:a16="http://schemas.microsoft.com/office/drawing/2014/main" id="{7888CC98-717A-6E7D-F1CF-F483F7127A14}"/>
                </a:ext>
              </a:extLst>
            </p:cNvPr>
            <p:cNvSpPr/>
            <p:nvPr/>
          </p:nvSpPr>
          <p:spPr>
            <a:xfrm>
              <a:off x="6009043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5" name="object 1165">
              <a:extLst>
                <a:ext uri="{FF2B5EF4-FFF2-40B4-BE49-F238E27FC236}">
                  <a16:creationId xmlns:a16="http://schemas.microsoft.com/office/drawing/2014/main" id="{018A782E-BBF5-4AC8-0D57-8EF4D564F4C8}"/>
                </a:ext>
              </a:extLst>
            </p:cNvPr>
            <p:cNvSpPr/>
            <p:nvPr/>
          </p:nvSpPr>
          <p:spPr>
            <a:xfrm>
              <a:off x="5834073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6" name="object 1166">
              <a:extLst>
                <a:ext uri="{FF2B5EF4-FFF2-40B4-BE49-F238E27FC236}">
                  <a16:creationId xmlns:a16="http://schemas.microsoft.com/office/drawing/2014/main" id="{DB033801-AE31-30B2-9DC9-DAE7C9292EB4}"/>
                </a:ext>
              </a:extLst>
            </p:cNvPr>
            <p:cNvSpPr/>
            <p:nvPr/>
          </p:nvSpPr>
          <p:spPr>
            <a:xfrm>
              <a:off x="5834073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7" name="object 1167">
              <a:extLst>
                <a:ext uri="{FF2B5EF4-FFF2-40B4-BE49-F238E27FC236}">
                  <a16:creationId xmlns:a16="http://schemas.microsoft.com/office/drawing/2014/main" id="{11B32FCC-4966-0F5F-7E2D-6C213D7FC37D}"/>
                </a:ext>
              </a:extLst>
            </p:cNvPr>
            <p:cNvSpPr/>
            <p:nvPr/>
          </p:nvSpPr>
          <p:spPr>
            <a:xfrm>
              <a:off x="5834192" y="1848916"/>
              <a:ext cx="13977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0504"/>
                <a:gd name="f4" fmla="val 84455"/>
                <a:gd name="f5" fmla="val 230474"/>
                <a:gd name="f6" fmla="val 84112"/>
                <a:gd name="f7" fmla="*/ f0 1 230504"/>
                <a:gd name="f8" fmla="*/ f1 1 84455"/>
                <a:gd name="f9" fmla="+- f4 0 f2"/>
                <a:gd name="f10" fmla="+- f3 0 f2"/>
                <a:gd name="f11" fmla="*/ f10 1 23050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050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8" name="object 1168">
              <a:extLst>
                <a:ext uri="{FF2B5EF4-FFF2-40B4-BE49-F238E27FC236}">
                  <a16:creationId xmlns:a16="http://schemas.microsoft.com/office/drawing/2014/main" id="{F64FD097-2AA2-CCE8-B572-77BBEABA7F7C}"/>
                </a:ext>
              </a:extLst>
            </p:cNvPr>
            <p:cNvSpPr/>
            <p:nvPr/>
          </p:nvSpPr>
          <p:spPr>
            <a:xfrm>
              <a:off x="5834192" y="1921227"/>
              <a:ext cx="17674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91465"/>
                <a:gd name="f4" fmla="val 84454"/>
                <a:gd name="f5" fmla="val 291436"/>
                <a:gd name="f6" fmla="val 84091"/>
                <a:gd name="f7" fmla="*/ f0 1 291465"/>
                <a:gd name="f8" fmla="*/ f1 1 84454"/>
                <a:gd name="f9" fmla="+- f4 0 f2"/>
                <a:gd name="f10" fmla="+- f3 0 f2"/>
                <a:gd name="f11" fmla="*/ f10 1 29146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9146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69" name="object 1169">
              <a:extLst>
                <a:ext uri="{FF2B5EF4-FFF2-40B4-BE49-F238E27FC236}">
                  <a16:creationId xmlns:a16="http://schemas.microsoft.com/office/drawing/2014/main" id="{A0D348D7-0685-8FD6-5848-7247803B0934}"/>
                </a:ext>
              </a:extLst>
            </p:cNvPr>
            <p:cNvSpPr/>
            <p:nvPr/>
          </p:nvSpPr>
          <p:spPr>
            <a:xfrm>
              <a:off x="611362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0" name="object 1170">
              <a:extLst>
                <a:ext uri="{FF2B5EF4-FFF2-40B4-BE49-F238E27FC236}">
                  <a16:creationId xmlns:a16="http://schemas.microsoft.com/office/drawing/2014/main" id="{2B10A9C6-D8B1-B86D-FCE3-DA43A4D83644}"/>
                </a:ext>
              </a:extLst>
            </p:cNvPr>
            <p:cNvSpPr/>
            <p:nvPr/>
          </p:nvSpPr>
          <p:spPr>
            <a:xfrm>
              <a:off x="614864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1" name="object 1171">
              <a:extLst>
                <a:ext uri="{FF2B5EF4-FFF2-40B4-BE49-F238E27FC236}">
                  <a16:creationId xmlns:a16="http://schemas.microsoft.com/office/drawing/2014/main" id="{90A3BB43-DB50-E8A2-225D-905F7792F6BD}"/>
                </a:ext>
              </a:extLst>
            </p:cNvPr>
            <p:cNvSpPr/>
            <p:nvPr/>
          </p:nvSpPr>
          <p:spPr>
            <a:xfrm>
              <a:off x="604358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2" name="object 1172">
              <a:extLst>
                <a:ext uri="{FF2B5EF4-FFF2-40B4-BE49-F238E27FC236}">
                  <a16:creationId xmlns:a16="http://schemas.microsoft.com/office/drawing/2014/main" id="{28255CD1-6D0C-3CB0-D0F3-8A0F2BA605A0}"/>
                </a:ext>
              </a:extLst>
            </p:cNvPr>
            <p:cNvSpPr/>
            <p:nvPr/>
          </p:nvSpPr>
          <p:spPr>
            <a:xfrm>
              <a:off x="593851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3" name="object 1173">
              <a:extLst>
                <a:ext uri="{FF2B5EF4-FFF2-40B4-BE49-F238E27FC236}">
                  <a16:creationId xmlns:a16="http://schemas.microsoft.com/office/drawing/2014/main" id="{D43DA06A-926F-C2F9-6D23-CF67E4DBCF3A}"/>
                </a:ext>
              </a:extLst>
            </p:cNvPr>
            <p:cNvSpPr/>
            <p:nvPr/>
          </p:nvSpPr>
          <p:spPr>
            <a:xfrm>
              <a:off x="597361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4" name="object 1174">
              <a:extLst>
                <a:ext uri="{FF2B5EF4-FFF2-40B4-BE49-F238E27FC236}">
                  <a16:creationId xmlns:a16="http://schemas.microsoft.com/office/drawing/2014/main" id="{FF4A0423-3BF8-110C-81F0-A4CABA81C4AC}"/>
                </a:ext>
              </a:extLst>
            </p:cNvPr>
            <p:cNvSpPr/>
            <p:nvPr/>
          </p:nvSpPr>
          <p:spPr>
            <a:xfrm>
              <a:off x="5868472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5" name="object 1175">
              <a:extLst>
                <a:ext uri="{FF2B5EF4-FFF2-40B4-BE49-F238E27FC236}">
                  <a16:creationId xmlns:a16="http://schemas.microsoft.com/office/drawing/2014/main" id="{AF6CC410-7B6E-2492-0589-77CAED36AE20}"/>
                </a:ext>
              </a:extLst>
            </p:cNvPr>
            <p:cNvSpPr/>
            <p:nvPr/>
          </p:nvSpPr>
          <p:spPr>
            <a:xfrm>
              <a:off x="6078602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6" name="object 1176">
              <a:extLst>
                <a:ext uri="{FF2B5EF4-FFF2-40B4-BE49-F238E27FC236}">
                  <a16:creationId xmlns:a16="http://schemas.microsoft.com/office/drawing/2014/main" id="{43E2B88A-51E8-8F60-9156-423B68E0258E}"/>
                </a:ext>
              </a:extLst>
            </p:cNvPr>
            <p:cNvSpPr/>
            <p:nvPr/>
          </p:nvSpPr>
          <p:spPr>
            <a:xfrm>
              <a:off x="590349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7" name="object 1177">
              <a:extLst>
                <a:ext uri="{FF2B5EF4-FFF2-40B4-BE49-F238E27FC236}">
                  <a16:creationId xmlns:a16="http://schemas.microsoft.com/office/drawing/2014/main" id="{4E5B6882-03AE-949F-9D5C-B4DCAFF8ACB0}"/>
                </a:ext>
              </a:extLst>
            </p:cNvPr>
            <p:cNvSpPr/>
            <p:nvPr/>
          </p:nvSpPr>
          <p:spPr>
            <a:xfrm>
              <a:off x="6183666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8" name="object 1178">
              <a:extLst>
                <a:ext uri="{FF2B5EF4-FFF2-40B4-BE49-F238E27FC236}">
                  <a16:creationId xmlns:a16="http://schemas.microsoft.com/office/drawing/2014/main" id="{E232C9D2-1160-0478-B2B7-9D52648F0DE2}"/>
                </a:ext>
              </a:extLst>
            </p:cNvPr>
            <p:cNvSpPr/>
            <p:nvPr/>
          </p:nvSpPr>
          <p:spPr>
            <a:xfrm>
              <a:off x="6008696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79" name="object 1179">
              <a:extLst>
                <a:ext uri="{FF2B5EF4-FFF2-40B4-BE49-F238E27FC236}">
                  <a16:creationId xmlns:a16="http://schemas.microsoft.com/office/drawing/2014/main" id="{32D4AE18-4972-FDB9-52E6-36AED74E7DAE}"/>
                </a:ext>
              </a:extLst>
            </p:cNvPr>
            <p:cNvSpPr/>
            <p:nvPr/>
          </p:nvSpPr>
          <p:spPr>
            <a:xfrm>
              <a:off x="5833725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0" name="object 1180">
              <a:extLst>
                <a:ext uri="{FF2B5EF4-FFF2-40B4-BE49-F238E27FC236}">
                  <a16:creationId xmlns:a16="http://schemas.microsoft.com/office/drawing/2014/main" id="{FF84311F-0D49-3AA6-BB2B-14BFD8ACDCF5}"/>
                </a:ext>
              </a:extLst>
            </p:cNvPr>
            <p:cNvSpPr/>
            <p:nvPr/>
          </p:nvSpPr>
          <p:spPr>
            <a:xfrm>
              <a:off x="6008696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1" name="object 1181">
              <a:extLst>
                <a:ext uri="{FF2B5EF4-FFF2-40B4-BE49-F238E27FC236}">
                  <a16:creationId xmlns:a16="http://schemas.microsoft.com/office/drawing/2014/main" id="{653A256C-9120-2155-FFE6-631E2533E50B}"/>
                </a:ext>
              </a:extLst>
            </p:cNvPr>
            <p:cNvSpPr/>
            <p:nvPr/>
          </p:nvSpPr>
          <p:spPr>
            <a:xfrm>
              <a:off x="5833725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2" name="object 1182">
              <a:extLst>
                <a:ext uri="{FF2B5EF4-FFF2-40B4-BE49-F238E27FC236}">
                  <a16:creationId xmlns:a16="http://schemas.microsoft.com/office/drawing/2014/main" id="{868E4E72-CD13-8CFF-0F8C-02BA3E36BB71}"/>
                </a:ext>
              </a:extLst>
            </p:cNvPr>
            <p:cNvSpPr/>
            <p:nvPr/>
          </p:nvSpPr>
          <p:spPr>
            <a:xfrm>
              <a:off x="611397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3" name="object 1183">
              <a:extLst>
                <a:ext uri="{FF2B5EF4-FFF2-40B4-BE49-F238E27FC236}">
                  <a16:creationId xmlns:a16="http://schemas.microsoft.com/office/drawing/2014/main" id="{8CC5C295-80D2-3526-AB05-F94545093793}"/>
                </a:ext>
              </a:extLst>
            </p:cNvPr>
            <p:cNvSpPr/>
            <p:nvPr/>
          </p:nvSpPr>
          <p:spPr>
            <a:xfrm>
              <a:off x="6148992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4" name="object 1184">
              <a:extLst>
                <a:ext uri="{FF2B5EF4-FFF2-40B4-BE49-F238E27FC236}">
                  <a16:creationId xmlns:a16="http://schemas.microsoft.com/office/drawing/2014/main" id="{927D43A5-08F3-B4D4-D2C0-3FBFB513F982}"/>
                </a:ext>
              </a:extLst>
            </p:cNvPr>
            <p:cNvSpPr/>
            <p:nvPr/>
          </p:nvSpPr>
          <p:spPr>
            <a:xfrm>
              <a:off x="604392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5" name="object 1185">
              <a:extLst>
                <a:ext uri="{FF2B5EF4-FFF2-40B4-BE49-F238E27FC236}">
                  <a16:creationId xmlns:a16="http://schemas.microsoft.com/office/drawing/2014/main" id="{46A009E2-1461-1A2D-6BFB-E1F74207EADE}"/>
                </a:ext>
              </a:extLst>
            </p:cNvPr>
            <p:cNvSpPr/>
            <p:nvPr/>
          </p:nvSpPr>
          <p:spPr>
            <a:xfrm>
              <a:off x="593886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6" name="object 1186">
              <a:extLst>
                <a:ext uri="{FF2B5EF4-FFF2-40B4-BE49-F238E27FC236}">
                  <a16:creationId xmlns:a16="http://schemas.microsoft.com/office/drawing/2014/main" id="{060984AD-760B-0D8D-9F4E-259154E6E075}"/>
                </a:ext>
              </a:extLst>
            </p:cNvPr>
            <p:cNvSpPr/>
            <p:nvPr/>
          </p:nvSpPr>
          <p:spPr>
            <a:xfrm>
              <a:off x="597394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7" name="object 1187">
              <a:extLst>
                <a:ext uri="{FF2B5EF4-FFF2-40B4-BE49-F238E27FC236}">
                  <a16:creationId xmlns:a16="http://schemas.microsoft.com/office/drawing/2014/main" id="{D97C44B5-2846-9327-A0AB-F8D364335E05}"/>
                </a:ext>
              </a:extLst>
            </p:cNvPr>
            <p:cNvSpPr/>
            <p:nvPr/>
          </p:nvSpPr>
          <p:spPr>
            <a:xfrm>
              <a:off x="586882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8" name="object 1188">
              <a:extLst>
                <a:ext uri="{FF2B5EF4-FFF2-40B4-BE49-F238E27FC236}">
                  <a16:creationId xmlns:a16="http://schemas.microsoft.com/office/drawing/2014/main" id="{FBACE63D-20B5-41E6-14A0-41A74CCD44D6}"/>
                </a:ext>
              </a:extLst>
            </p:cNvPr>
            <p:cNvSpPr/>
            <p:nvPr/>
          </p:nvSpPr>
          <p:spPr>
            <a:xfrm>
              <a:off x="607894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89" name="object 1189">
              <a:extLst>
                <a:ext uri="{FF2B5EF4-FFF2-40B4-BE49-F238E27FC236}">
                  <a16:creationId xmlns:a16="http://schemas.microsoft.com/office/drawing/2014/main" id="{FCAB4CA0-658D-C7C7-0295-55608B39ACBE}"/>
                </a:ext>
              </a:extLst>
            </p:cNvPr>
            <p:cNvSpPr/>
            <p:nvPr/>
          </p:nvSpPr>
          <p:spPr>
            <a:xfrm>
              <a:off x="590384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0" name="object 1190">
              <a:extLst>
                <a:ext uri="{FF2B5EF4-FFF2-40B4-BE49-F238E27FC236}">
                  <a16:creationId xmlns:a16="http://schemas.microsoft.com/office/drawing/2014/main" id="{0C2EC19F-27AA-E37F-D8D1-AAD491BA6590}"/>
                </a:ext>
              </a:extLst>
            </p:cNvPr>
            <p:cNvSpPr/>
            <p:nvPr/>
          </p:nvSpPr>
          <p:spPr>
            <a:xfrm>
              <a:off x="6184014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1" name="object 1191">
              <a:extLst>
                <a:ext uri="{FF2B5EF4-FFF2-40B4-BE49-F238E27FC236}">
                  <a16:creationId xmlns:a16="http://schemas.microsoft.com/office/drawing/2014/main" id="{C5319E9A-320A-E95D-072C-702D022C2C35}"/>
                </a:ext>
              </a:extLst>
            </p:cNvPr>
            <p:cNvSpPr/>
            <p:nvPr/>
          </p:nvSpPr>
          <p:spPr>
            <a:xfrm>
              <a:off x="6009043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2" name="object 1192">
              <a:extLst>
                <a:ext uri="{FF2B5EF4-FFF2-40B4-BE49-F238E27FC236}">
                  <a16:creationId xmlns:a16="http://schemas.microsoft.com/office/drawing/2014/main" id="{2A5C2DB4-E88A-7CEC-DAF2-2FC96B545153}"/>
                </a:ext>
              </a:extLst>
            </p:cNvPr>
            <p:cNvSpPr/>
            <p:nvPr/>
          </p:nvSpPr>
          <p:spPr>
            <a:xfrm>
              <a:off x="5834073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3" name="object 1193">
              <a:extLst>
                <a:ext uri="{FF2B5EF4-FFF2-40B4-BE49-F238E27FC236}">
                  <a16:creationId xmlns:a16="http://schemas.microsoft.com/office/drawing/2014/main" id="{72DD2E42-CD33-3781-40E2-6AC3447DEEA8}"/>
                </a:ext>
              </a:extLst>
            </p:cNvPr>
            <p:cNvSpPr/>
            <p:nvPr/>
          </p:nvSpPr>
          <p:spPr>
            <a:xfrm>
              <a:off x="5834073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4" name="object 1194">
              <a:extLst>
                <a:ext uri="{FF2B5EF4-FFF2-40B4-BE49-F238E27FC236}">
                  <a16:creationId xmlns:a16="http://schemas.microsoft.com/office/drawing/2014/main" id="{356A46CE-87E0-8E50-296E-BF3E5A7B6E13}"/>
                </a:ext>
              </a:extLst>
            </p:cNvPr>
            <p:cNvSpPr/>
            <p:nvPr/>
          </p:nvSpPr>
          <p:spPr>
            <a:xfrm>
              <a:off x="5834192" y="2613318"/>
              <a:ext cx="13207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17804"/>
                <a:gd name="f4" fmla="val 84454"/>
                <a:gd name="f5" fmla="val 217647"/>
                <a:gd name="f6" fmla="val 84102"/>
                <a:gd name="f7" fmla="*/ f0 1 217804"/>
                <a:gd name="f8" fmla="*/ f1 1 84454"/>
                <a:gd name="f9" fmla="+- f4 0 f2"/>
                <a:gd name="f10" fmla="+- f3 0 f2"/>
                <a:gd name="f11" fmla="*/ f10 1 2178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178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5" name="object 1195">
              <a:extLst>
                <a:ext uri="{FF2B5EF4-FFF2-40B4-BE49-F238E27FC236}">
                  <a16:creationId xmlns:a16="http://schemas.microsoft.com/office/drawing/2014/main" id="{5B338CCF-7475-7F56-26B8-A7662919D010}"/>
                </a:ext>
              </a:extLst>
            </p:cNvPr>
            <p:cNvSpPr/>
            <p:nvPr/>
          </p:nvSpPr>
          <p:spPr>
            <a:xfrm>
              <a:off x="5834192" y="2685629"/>
              <a:ext cx="2610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0529"/>
                <a:gd name="f4" fmla="val 84454"/>
                <a:gd name="f5" fmla="val 430206"/>
                <a:gd name="f6" fmla="val 84102"/>
                <a:gd name="f7" fmla="*/ f0 1 430529"/>
                <a:gd name="f8" fmla="*/ f1 1 84454"/>
                <a:gd name="f9" fmla="+- f4 0 f2"/>
                <a:gd name="f10" fmla="+- f3 0 f2"/>
                <a:gd name="f11" fmla="*/ f10 1 43052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052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6" name="object 1196">
              <a:extLst>
                <a:ext uri="{FF2B5EF4-FFF2-40B4-BE49-F238E27FC236}">
                  <a16:creationId xmlns:a16="http://schemas.microsoft.com/office/drawing/2014/main" id="{6667659B-E797-1A25-01D6-966FE2E3F607}"/>
                </a:ext>
              </a:extLst>
            </p:cNvPr>
            <p:cNvSpPr/>
            <p:nvPr/>
          </p:nvSpPr>
          <p:spPr>
            <a:xfrm>
              <a:off x="611362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7" name="object 1197">
              <a:extLst>
                <a:ext uri="{FF2B5EF4-FFF2-40B4-BE49-F238E27FC236}">
                  <a16:creationId xmlns:a16="http://schemas.microsoft.com/office/drawing/2014/main" id="{57857E0F-89CC-DB78-5886-0070DC6C4D71}"/>
                </a:ext>
              </a:extLst>
            </p:cNvPr>
            <p:cNvSpPr/>
            <p:nvPr/>
          </p:nvSpPr>
          <p:spPr>
            <a:xfrm>
              <a:off x="6148645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8" name="object 1198">
              <a:extLst>
                <a:ext uri="{FF2B5EF4-FFF2-40B4-BE49-F238E27FC236}">
                  <a16:creationId xmlns:a16="http://schemas.microsoft.com/office/drawing/2014/main" id="{B511EDDC-03E4-2ADD-4EE7-0E7C39DAC5DD}"/>
                </a:ext>
              </a:extLst>
            </p:cNvPr>
            <p:cNvSpPr/>
            <p:nvPr/>
          </p:nvSpPr>
          <p:spPr>
            <a:xfrm>
              <a:off x="604358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199" name="object 1199">
              <a:extLst>
                <a:ext uri="{FF2B5EF4-FFF2-40B4-BE49-F238E27FC236}">
                  <a16:creationId xmlns:a16="http://schemas.microsoft.com/office/drawing/2014/main" id="{6EB838C7-4E87-D1F0-9089-1136760384B1}"/>
                </a:ext>
              </a:extLst>
            </p:cNvPr>
            <p:cNvSpPr/>
            <p:nvPr/>
          </p:nvSpPr>
          <p:spPr>
            <a:xfrm>
              <a:off x="5938515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0" name="object 1200">
              <a:extLst>
                <a:ext uri="{FF2B5EF4-FFF2-40B4-BE49-F238E27FC236}">
                  <a16:creationId xmlns:a16="http://schemas.microsoft.com/office/drawing/2014/main" id="{F05142CE-38C3-C53E-57CC-3530833AADBE}"/>
                </a:ext>
              </a:extLst>
            </p:cNvPr>
            <p:cNvSpPr/>
            <p:nvPr/>
          </p:nvSpPr>
          <p:spPr>
            <a:xfrm>
              <a:off x="597361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1" name="object 1201">
              <a:extLst>
                <a:ext uri="{FF2B5EF4-FFF2-40B4-BE49-F238E27FC236}">
                  <a16:creationId xmlns:a16="http://schemas.microsoft.com/office/drawing/2014/main" id="{7ECFE1AF-4A2A-A09B-F2CA-6866DBAA2DE4}"/>
                </a:ext>
              </a:extLst>
            </p:cNvPr>
            <p:cNvSpPr/>
            <p:nvPr/>
          </p:nvSpPr>
          <p:spPr>
            <a:xfrm>
              <a:off x="586847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2" name="object 1202">
              <a:extLst>
                <a:ext uri="{FF2B5EF4-FFF2-40B4-BE49-F238E27FC236}">
                  <a16:creationId xmlns:a16="http://schemas.microsoft.com/office/drawing/2014/main" id="{DAF1BAB5-9C21-870C-4D16-3FB58AE986FE}"/>
                </a:ext>
              </a:extLst>
            </p:cNvPr>
            <p:cNvSpPr/>
            <p:nvPr/>
          </p:nvSpPr>
          <p:spPr>
            <a:xfrm>
              <a:off x="607860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3" name="object 1203">
              <a:extLst>
                <a:ext uri="{FF2B5EF4-FFF2-40B4-BE49-F238E27FC236}">
                  <a16:creationId xmlns:a16="http://schemas.microsoft.com/office/drawing/2014/main" id="{7F13E542-FBD0-27AF-F06E-F10AFEF230D4}"/>
                </a:ext>
              </a:extLst>
            </p:cNvPr>
            <p:cNvSpPr/>
            <p:nvPr/>
          </p:nvSpPr>
          <p:spPr>
            <a:xfrm>
              <a:off x="590349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4" name="object 1204">
              <a:extLst>
                <a:ext uri="{FF2B5EF4-FFF2-40B4-BE49-F238E27FC236}">
                  <a16:creationId xmlns:a16="http://schemas.microsoft.com/office/drawing/2014/main" id="{383005A4-7E49-B2CD-D0B0-D96EFECCCC82}"/>
                </a:ext>
              </a:extLst>
            </p:cNvPr>
            <p:cNvSpPr/>
            <p:nvPr/>
          </p:nvSpPr>
          <p:spPr>
            <a:xfrm>
              <a:off x="6183666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5" name="object 1205">
              <a:extLst>
                <a:ext uri="{FF2B5EF4-FFF2-40B4-BE49-F238E27FC236}">
                  <a16:creationId xmlns:a16="http://schemas.microsoft.com/office/drawing/2014/main" id="{F2688C57-9A0C-449B-B428-5F7E9C04007F}"/>
                </a:ext>
              </a:extLst>
            </p:cNvPr>
            <p:cNvSpPr/>
            <p:nvPr/>
          </p:nvSpPr>
          <p:spPr>
            <a:xfrm>
              <a:off x="6008696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6" name="object 1206">
              <a:extLst>
                <a:ext uri="{FF2B5EF4-FFF2-40B4-BE49-F238E27FC236}">
                  <a16:creationId xmlns:a16="http://schemas.microsoft.com/office/drawing/2014/main" id="{596C7FF5-B475-6462-D744-379B54DD2668}"/>
                </a:ext>
              </a:extLst>
            </p:cNvPr>
            <p:cNvSpPr/>
            <p:nvPr/>
          </p:nvSpPr>
          <p:spPr>
            <a:xfrm>
              <a:off x="5833725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7" name="object 1207">
              <a:extLst>
                <a:ext uri="{FF2B5EF4-FFF2-40B4-BE49-F238E27FC236}">
                  <a16:creationId xmlns:a16="http://schemas.microsoft.com/office/drawing/2014/main" id="{837E40DC-48EB-BBC1-A878-43244B2B6E45}"/>
                </a:ext>
              </a:extLst>
            </p:cNvPr>
            <p:cNvSpPr/>
            <p:nvPr/>
          </p:nvSpPr>
          <p:spPr>
            <a:xfrm>
              <a:off x="6008696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8" name="object 1208">
              <a:extLst>
                <a:ext uri="{FF2B5EF4-FFF2-40B4-BE49-F238E27FC236}">
                  <a16:creationId xmlns:a16="http://schemas.microsoft.com/office/drawing/2014/main" id="{ABC969DB-B8E9-4C31-AC49-6257FD66A47C}"/>
                </a:ext>
              </a:extLst>
            </p:cNvPr>
            <p:cNvSpPr/>
            <p:nvPr/>
          </p:nvSpPr>
          <p:spPr>
            <a:xfrm>
              <a:off x="5833725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09" name="object 1209">
              <a:extLst>
                <a:ext uri="{FF2B5EF4-FFF2-40B4-BE49-F238E27FC236}">
                  <a16:creationId xmlns:a16="http://schemas.microsoft.com/office/drawing/2014/main" id="{A3F93936-824E-F479-A2BC-4B62F3B9FA13}"/>
                </a:ext>
              </a:extLst>
            </p:cNvPr>
            <p:cNvSpPr/>
            <p:nvPr/>
          </p:nvSpPr>
          <p:spPr>
            <a:xfrm>
              <a:off x="529265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0" name="object 1210">
              <a:extLst>
                <a:ext uri="{FF2B5EF4-FFF2-40B4-BE49-F238E27FC236}">
                  <a16:creationId xmlns:a16="http://schemas.microsoft.com/office/drawing/2014/main" id="{ABCFB3F4-8761-59A5-33FF-C10286690CA7}"/>
                </a:ext>
              </a:extLst>
            </p:cNvPr>
            <p:cNvSpPr/>
            <p:nvPr/>
          </p:nvSpPr>
          <p:spPr>
            <a:xfrm>
              <a:off x="532767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1" name="object 1211">
              <a:extLst>
                <a:ext uri="{FF2B5EF4-FFF2-40B4-BE49-F238E27FC236}">
                  <a16:creationId xmlns:a16="http://schemas.microsoft.com/office/drawing/2014/main" id="{A83ADDBC-2C8C-329F-BBA6-DA16CD33DED8}"/>
                </a:ext>
              </a:extLst>
            </p:cNvPr>
            <p:cNvSpPr/>
            <p:nvPr/>
          </p:nvSpPr>
          <p:spPr>
            <a:xfrm>
              <a:off x="522261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2" name="object 1212">
              <a:extLst>
                <a:ext uri="{FF2B5EF4-FFF2-40B4-BE49-F238E27FC236}">
                  <a16:creationId xmlns:a16="http://schemas.microsoft.com/office/drawing/2014/main" id="{126C5A9A-56AF-72D9-C1A1-C62E87E50923}"/>
                </a:ext>
              </a:extLst>
            </p:cNvPr>
            <p:cNvSpPr/>
            <p:nvPr/>
          </p:nvSpPr>
          <p:spPr>
            <a:xfrm>
              <a:off x="511754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3" name="object 1213">
              <a:extLst>
                <a:ext uri="{FF2B5EF4-FFF2-40B4-BE49-F238E27FC236}">
                  <a16:creationId xmlns:a16="http://schemas.microsoft.com/office/drawing/2014/main" id="{6F151816-29A5-343F-D620-2A154CCEF75D}"/>
                </a:ext>
              </a:extLst>
            </p:cNvPr>
            <p:cNvSpPr/>
            <p:nvPr/>
          </p:nvSpPr>
          <p:spPr>
            <a:xfrm>
              <a:off x="5152634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4" name="object 1214">
              <a:extLst>
                <a:ext uri="{FF2B5EF4-FFF2-40B4-BE49-F238E27FC236}">
                  <a16:creationId xmlns:a16="http://schemas.microsoft.com/office/drawing/2014/main" id="{D33EEB99-5733-EEC7-3A93-E8629D7B6B55}"/>
                </a:ext>
              </a:extLst>
            </p:cNvPr>
            <p:cNvSpPr/>
            <p:nvPr/>
          </p:nvSpPr>
          <p:spPr>
            <a:xfrm>
              <a:off x="504750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5" name="object 1215">
              <a:extLst>
                <a:ext uri="{FF2B5EF4-FFF2-40B4-BE49-F238E27FC236}">
                  <a16:creationId xmlns:a16="http://schemas.microsoft.com/office/drawing/2014/main" id="{7AFC1FD5-5463-8D70-2DAC-6D17AB0C6429}"/>
                </a:ext>
              </a:extLst>
            </p:cNvPr>
            <p:cNvSpPr/>
            <p:nvPr/>
          </p:nvSpPr>
          <p:spPr>
            <a:xfrm>
              <a:off x="525763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6" name="object 1216">
              <a:extLst>
                <a:ext uri="{FF2B5EF4-FFF2-40B4-BE49-F238E27FC236}">
                  <a16:creationId xmlns:a16="http://schemas.microsoft.com/office/drawing/2014/main" id="{F624A85C-3ED3-9249-91F5-EA3443B2E658}"/>
                </a:ext>
              </a:extLst>
            </p:cNvPr>
            <p:cNvSpPr/>
            <p:nvPr/>
          </p:nvSpPr>
          <p:spPr>
            <a:xfrm>
              <a:off x="508252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7" name="object 1217">
              <a:extLst>
                <a:ext uri="{FF2B5EF4-FFF2-40B4-BE49-F238E27FC236}">
                  <a16:creationId xmlns:a16="http://schemas.microsoft.com/office/drawing/2014/main" id="{67A38C88-7BC2-1887-EEA6-C2F330DBDDB8}"/>
                </a:ext>
              </a:extLst>
            </p:cNvPr>
            <p:cNvSpPr/>
            <p:nvPr/>
          </p:nvSpPr>
          <p:spPr>
            <a:xfrm>
              <a:off x="536269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8" name="object 1218">
              <a:extLst>
                <a:ext uri="{FF2B5EF4-FFF2-40B4-BE49-F238E27FC236}">
                  <a16:creationId xmlns:a16="http://schemas.microsoft.com/office/drawing/2014/main" id="{8973FE3F-D57E-941C-CA7A-907917971919}"/>
                </a:ext>
              </a:extLst>
            </p:cNvPr>
            <p:cNvSpPr/>
            <p:nvPr/>
          </p:nvSpPr>
          <p:spPr>
            <a:xfrm>
              <a:off x="518772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19" name="object 1219">
              <a:extLst>
                <a:ext uri="{FF2B5EF4-FFF2-40B4-BE49-F238E27FC236}">
                  <a16:creationId xmlns:a16="http://schemas.microsoft.com/office/drawing/2014/main" id="{2C6DC4CC-DC7A-EF51-8D4B-AB804EC0E22A}"/>
                </a:ext>
              </a:extLst>
            </p:cNvPr>
            <p:cNvSpPr/>
            <p:nvPr/>
          </p:nvSpPr>
          <p:spPr>
            <a:xfrm>
              <a:off x="501275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0" name="object 1220">
              <a:extLst>
                <a:ext uri="{FF2B5EF4-FFF2-40B4-BE49-F238E27FC236}">
                  <a16:creationId xmlns:a16="http://schemas.microsoft.com/office/drawing/2014/main" id="{9741EE80-6B8B-738E-0858-CAC871F44A76}"/>
                </a:ext>
              </a:extLst>
            </p:cNvPr>
            <p:cNvSpPr/>
            <p:nvPr/>
          </p:nvSpPr>
          <p:spPr>
            <a:xfrm>
              <a:off x="5012759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1" name="object 1221">
              <a:extLst>
                <a:ext uri="{FF2B5EF4-FFF2-40B4-BE49-F238E27FC236}">
                  <a16:creationId xmlns:a16="http://schemas.microsoft.com/office/drawing/2014/main" id="{C5B5C078-01F4-688D-5771-2422D950761A}"/>
                </a:ext>
              </a:extLst>
            </p:cNvPr>
            <p:cNvSpPr/>
            <p:nvPr/>
          </p:nvSpPr>
          <p:spPr>
            <a:xfrm>
              <a:off x="5012877" y="1848916"/>
              <a:ext cx="19946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8929"/>
                <a:gd name="f4" fmla="val 84455"/>
                <a:gd name="f5" fmla="val 328450"/>
                <a:gd name="f6" fmla="val 84112"/>
                <a:gd name="f7" fmla="*/ f0 1 328929"/>
                <a:gd name="f8" fmla="*/ f1 1 84455"/>
                <a:gd name="f9" fmla="+- f4 0 f2"/>
                <a:gd name="f10" fmla="+- f3 0 f2"/>
                <a:gd name="f11" fmla="*/ f10 1 32892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2892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2" name="object 1222">
              <a:extLst>
                <a:ext uri="{FF2B5EF4-FFF2-40B4-BE49-F238E27FC236}">
                  <a16:creationId xmlns:a16="http://schemas.microsoft.com/office/drawing/2014/main" id="{60804476-D55F-0F71-2290-C379802FD1CE}"/>
                </a:ext>
              </a:extLst>
            </p:cNvPr>
            <p:cNvSpPr/>
            <p:nvPr/>
          </p:nvSpPr>
          <p:spPr>
            <a:xfrm>
              <a:off x="5012877" y="1921227"/>
              <a:ext cx="16557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73050"/>
                <a:gd name="f4" fmla="val 84454"/>
                <a:gd name="f5" fmla="val 272850"/>
                <a:gd name="f6" fmla="val 84091"/>
                <a:gd name="f7" fmla="*/ f0 1 273050"/>
                <a:gd name="f8" fmla="*/ f1 1 84454"/>
                <a:gd name="f9" fmla="+- f4 0 f2"/>
                <a:gd name="f10" fmla="+- f3 0 f2"/>
                <a:gd name="f11" fmla="*/ f10 1 27305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7305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3" name="object 1223">
              <a:extLst>
                <a:ext uri="{FF2B5EF4-FFF2-40B4-BE49-F238E27FC236}">
                  <a16:creationId xmlns:a16="http://schemas.microsoft.com/office/drawing/2014/main" id="{1FF5580C-A754-F128-8FC5-DF3DE5703AC6}"/>
                </a:ext>
              </a:extLst>
            </p:cNvPr>
            <p:cNvSpPr/>
            <p:nvPr/>
          </p:nvSpPr>
          <p:spPr>
            <a:xfrm>
              <a:off x="529230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4" name="object 1224">
              <a:extLst>
                <a:ext uri="{FF2B5EF4-FFF2-40B4-BE49-F238E27FC236}">
                  <a16:creationId xmlns:a16="http://schemas.microsoft.com/office/drawing/2014/main" id="{7208ABEF-71F2-8C41-F768-30F4FFD94982}"/>
                </a:ext>
              </a:extLst>
            </p:cNvPr>
            <p:cNvSpPr/>
            <p:nvPr/>
          </p:nvSpPr>
          <p:spPr>
            <a:xfrm>
              <a:off x="532733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5" name="object 1225">
              <a:extLst>
                <a:ext uri="{FF2B5EF4-FFF2-40B4-BE49-F238E27FC236}">
                  <a16:creationId xmlns:a16="http://schemas.microsoft.com/office/drawing/2014/main" id="{CDF37348-0D38-0D7C-F81C-EFDA5FCF64A7}"/>
                </a:ext>
              </a:extLst>
            </p:cNvPr>
            <p:cNvSpPr/>
            <p:nvPr/>
          </p:nvSpPr>
          <p:spPr>
            <a:xfrm>
              <a:off x="522226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6" name="object 1226">
              <a:extLst>
                <a:ext uri="{FF2B5EF4-FFF2-40B4-BE49-F238E27FC236}">
                  <a16:creationId xmlns:a16="http://schemas.microsoft.com/office/drawing/2014/main" id="{CA535E33-5BA1-7C7E-F522-DD1F1F17F924}"/>
                </a:ext>
              </a:extLst>
            </p:cNvPr>
            <p:cNvSpPr/>
            <p:nvPr/>
          </p:nvSpPr>
          <p:spPr>
            <a:xfrm>
              <a:off x="511720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7" name="object 1227">
              <a:extLst>
                <a:ext uri="{FF2B5EF4-FFF2-40B4-BE49-F238E27FC236}">
                  <a16:creationId xmlns:a16="http://schemas.microsoft.com/office/drawing/2014/main" id="{C8157018-A487-B62A-B0E2-973AD943CE0B}"/>
                </a:ext>
              </a:extLst>
            </p:cNvPr>
            <p:cNvSpPr/>
            <p:nvPr/>
          </p:nvSpPr>
          <p:spPr>
            <a:xfrm>
              <a:off x="515229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8" name="object 1228">
              <a:extLst>
                <a:ext uri="{FF2B5EF4-FFF2-40B4-BE49-F238E27FC236}">
                  <a16:creationId xmlns:a16="http://schemas.microsoft.com/office/drawing/2014/main" id="{9BB64383-BAC7-D166-827F-A81DBE3DECFE}"/>
                </a:ext>
              </a:extLst>
            </p:cNvPr>
            <p:cNvSpPr/>
            <p:nvPr/>
          </p:nvSpPr>
          <p:spPr>
            <a:xfrm>
              <a:off x="504715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29" name="object 1229">
              <a:extLst>
                <a:ext uri="{FF2B5EF4-FFF2-40B4-BE49-F238E27FC236}">
                  <a16:creationId xmlns:a16="http://schemas.microsoft.com/office/drawing/2014/main" id="{83294837-9284-329C-6D3A-1D2D93DECEDE}"/>
                </a:ext>
              </a:extLst>
            </p:cNvPr>
            <p:cNvSpPr/>
            <p:nvPr/>
          </p:nvSpPr>
          <p:spPr>
            <a:xfrm>
              <a:off x="5257287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0" name="object 1230">
              <a:extLst>
                <a:ext uri="{FF2B5EF4-FFF2-40B4-BE49-F238E27FC236}">
                  <a16:creationId xmlns:a16="http://schemas.microsoft.com/office/drawing/2014/main" id="{9FA01FB3-C784-ED6E-719C-213AE12DCE8F}"/>
                </a:ext>
              </a:extLst>
            </p:cNvPr>
            <p:cNvSpPr/>
            <p:nvPr/>
          </p:nvSpPr>
          <p:spPr>
            <a:xfrm>
              <a:off x="508218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1" name="object 1231">
              <a:extLst>
                <a:ext uri="{FF2B5EF4-FFF2-40B4-BE49-F238E27FC236}">
                  <a16:creationId xmlns:a16="http://schemas.microsoft.com/office/drawing/2014/main" id="{0219E610-A22D-3C2A-C83C-07C972B2197D}"/>
                </a:ext>
              </a:extLst>
            </p:cNvPr>
            <p:cNvSpPr/>
            <p:nvPr/>
          </p:nvSpPr>
          <p:spPr>
            <a:xfrm>
              <a:off x="5362352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2" name="object 1232">
              <a:extLst>
                <a:ext uri="{FF2B5EF4-FFF2-40B4-BE49-F238E27FC236}">
                  <a16:creationId xmlns:a16="http://schemas.microsoft.com/office/drawing/2014/main" id="{86ACF5FB-39B9-2696-6579-2E6B4B1DD2BB}"/>
                </a:ext>
              </a:extLst>
            </p:cNvPr>
            <p:cNvSpPr/>
            <p:nvPr/>
          </p:nvSpPr>
          <p:spPr>
            <a:xfrm>
              <a:off x="5187382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3" name="object 1233">
              <a:extLst>
                <a:ext uri="{FF2B5EF4-FFF2-40B4-BE49-F238E27FC236}">
                  <a16:creationId xmlns:a16="http://schemas.microsoft.com/office/drawing/2014/main" id="{954AD1F9-3A80-1E8A-29C8-0447E2ADA695}"/>
                </a:ext>
              </a:extLst>
            </p:cNvPr>
            <p:cNvSpPr/>
            <p:nvPr/>
          </p:nvSpPr>
          <p:spPr>
            <a:xfrm>
              <a:off x="501241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4" name="object 1234">
              <a:extLst>
                <a:ext uri="{FF2B5EF4-FFF2-40B4-BE49-F238E27FC236}">
                  <a16:creationId xmlns:a16="http://schemas.microsoft.com/office/drawing/2014/main" id="{A1C193B6-93D8-5449-3C96-AE0AEA165ECE}"/>
                </a:ext>
              </a:extLst>
            </p:cNvPr>
            <p:cNvSpPr/>
            <p:nvPr/>
          </p:nvSpPr>
          <p:spPr>
            <a:xfrm>
              <a:off x="5187382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5" name="object 1235">
              <a:extLst>
                <a:ext uri="{FF2B5EF4-FFF2-40B4-BE49-F238E27FC236}">
                  <a16:creationId xmlns:a16="http://schemas.microsoft.com/office/drawing/2014/main" id="{4DB6AFDF-0CEB-07BE-3DE4-5B71344F094C}"/>
                </a:ext>
              </a:extLst>
            </p:cNvPr>
            <p:cNvSpPr/>
            <p:nvPr/>
          </p:nvSpPr>
          <p:spPr>
            <a:xfrm>
              <a:off x="5012411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6" name="object 1236">
              <a:extLst>
                <a:ext uri="{FF2B5EF4-FFF2-40B4-BE49-F238E27FC236}">
                  <a16:creationId xmlns:a16="http://schemas.microsoft.com/office/drawing/2014/main" id="{6A2728EC-C0FE-8BD8-291E-90C7502DBF69}"/>
                </a:ext>
              </a:extLst>
            </p:cNvPr>
            <p:cNvSpPr/>
            <p:nvPr/>
          </p:nvSpPr>
          <p:spPr>
            <a:xfrm>
              <a:off x="529265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7" name="object 1237">
              <a:extLst>
                <a:ext uri="{FF2B5EF4-FFF2-40B4-BE49-F238E27FC236}">
                  <a16:creationId xmlns:a16="http://schemas.microsoft.com/office/drawing/2014/main" id="{EB35C6F8-14D4-6B6F-1825-1AA848D4CD23}"/>
                </a:ext>
              </a:extLst>
            </p:cNvPr>
            <p:cNvSpPr/>
            <p:nvPr/>
          </p:nvSpPr>
          <p:spPr>
            <a:xfrm>
              <a:off x="532767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8" name="object 1238">
              <a:extLst>
                <a:ext uri="{FF2B5EF4-FFF2-40B4-BE49-F238E27FC236}">
                  <a16:creationId xmlns:a16="http://schemas.microsoft.com/office/drawing/2014/main" id="{440BEFCE-2132-2610-77E3-852C31B0AE08}"/>
                </a:ext>
              </a:extLst>
            </p:cNvPr>
            <p:cNvSpPr/>
            <p:nvPr/>
          </p:nvSpPr>
          <p:spPr>
            <a:xfrm>
              <a:off x="522261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39" name="object 1239">
              <a:extLst>
                <a:ext uri="{FF2B5EF4-FFF2-40B4-BE49-F238E27FC236}">
                  <a16:creationId xmlns:a16="http://schemas.microsoft.com/office/drawing/2014/main" id="{BEE9B07C-6BF7-EA5B-3E3C-1E255EA97071}"/>
                </a:ext>
              </a:extLst>
            </p:cNvPr>
            <p:cNvSpPr/>
            <p:nvPr/>
          </p:nvSpPr>
          <p:spPr>
            <a:xfrm>
              <a:off x="511754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0" name="object 1240">
              <a:extLst>
                <a:ext uri="{FF2B5EF4-FFF2-40B4-BE49-F238E27FC236}">
                  <a16:creationId xmlns:a16="http://schemas.microsoft.com/office/drawing/2014/main" id="{2F410BA4-5A9E-DC5F-1181-211A39E2C74A}"/>
                </a:ext>
              </a:extLst>
            </p:cNvPr>
            <p:cNvSpPr/>
            <p:nvPr/>
          </p:nvSpPr>
          <p:spPr>
            <a:xfrm>
              <a:off x="5152634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1" name="object 1241">
              <a:extLst>
                <a:ext uri="{FF2B5EF4-FFF2-40B4-BE49-F238E27FC236}">
                  <a16:creationId xmlns:a16="http://schemas.microsoft.com/office/drawing/2014/main" id="{A157A727-95FC-10F6-F575-B5771505D6ED}"/>
                </a:ext>
              </a:extLst>
            </p:cNvPr>
            <p:cNvSpPr/>
            <p:nvPr/>
          </p:nvSpPr>
          <p:spPr>
            <a:xfrm>
              <a:off x="504750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2" name="object 1242">
              <a:extLst>
                <a:ext uri="{FF2B5EF4-FFF2-40B4-BE49-F238E27FC236}">
                  <a16:creationId xmlns:a16="http://schemas.microsoft.com/office/drawing/2014/main" id="{4DF5CB79-CCD9-F8F8-5B14-B384274C1908}"/>
                </a:ext>
              </a:extLst>
            </p:cNvPr>
            <p:cNvSpPr/>
            <p:nvPr/>
          </p:nvSpPr>
          <p:spPr>
            <a:xfrm>
              <a:off x="525763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3" name="object 1243">
              <a:extLst>
                <a:ext uri="{FF2B5EF4-FFF2-40B4-BE49-F238E27FC236}">
                  <a16:creationId xmlns:a16="http://schemas.microsoft.com/office/drawing/2014/main" id="{E5730F24-B76C-2378-4A26-C70F8A6C1EFC}"/>
                </a:ext>
              </a:extLst>
            </p:cNvPr>
            <p:cNvSpPr/>
            <p:nvPr/>
          </p:nvSpPr>
          <p:spPr>
            <a:xfrm>
              <a:off x="508252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4" name="object 1244">
              <a:extLst>
                <a:ext uri="{FF2B5EF4-FFF2-40B4-BE49-F238E27FC236}">
                  <a16:creationId xmlns:a16="http://schemas.microsoft.com/office/drawing/2014/main" id="{49316A65-BAAF-2894-9412-5359DDF32903}"/>
                </a:ext>
              </a:extLst>
            </p:cNvPr>
            <p:cNvSpPr/>
            <p:nvPr/>
          </p:nvSpPr>
          <p:spPr>
            <a:xfrm>
              <a:off x="5362699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5" name="object 1245">
              <a:extLst>
                <a:ext uri="{FF2B5EF4-FFF2-40B4-BE49-F238E27FC236}">
                  <a16:creationId xmlns:a16="http://schemas.microsoft.com/office/drawing/2014/main" id="{DAAB8122-C4D1-EA5B-1B18-7B9989E51BEA}"/>
                </a:ext>
              </a:extLst>
            </p:cNvPr>
            <p:cNvSpPr/>
            <p:nvPr/>
          </p:nvSpPr>
          <p:spPr>
            <a:xfrm>
              <a:off x="5187729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6" name="object 1246">
              <a:extLst>
                <a:ext uri="{FF2B5EF4-FFF2-40B4-BE49-F238E27FC236}">
                  <a16:creationId xmlns:a16="http://schemas.microsoft.com/office/drawing/2014/main" id="{B3408CB2-B7AC-E085-6105-8E5C8919EF5B}"/>
                </a:ext>
              </a:extLst>
            </p:cNvPr>
            <p:cNvSpPr/>
            <p:nvPr/>
          </p:nvSpPr>
          <p:spPr>
            <a:xfrm>
              <a:off x="5012759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7" name="object 1247">
              <a:extLst>
                <a:ext uri="{FF2B5EF4-FFF2-40B4-BE49-F238E27FC236}">
                  <a16:creationId xmlns:a16="http://schemas.microsoft.com/office/drawing/2014/main" id="{01B80B5D-256C-D42C-E7F8-60C70BBB3258}"/>
                </a:ext>
              </a:extLst>
            </p:cNvPr>
            <p:cNvSpPr/>
            <p:nvPr/>
          </p:nvSpPr>
          <p:spPr>
            <a:xfrm>
              <a:off x="5012759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8" name="object 1248">
              <a:extLst>
                <a:ext uri="{FF2B5EF4-FFF2-40B4-BE49-F238E27FC236}">
                  <a16:creationId xmlns:a16="http://schemas.microsoft.com/office/drawing/2014/main" id="{F351357C-FEB5-D794-858E-DEAB49DCD50B}"/>
                </a:ext>
              </a:extLst>
            </p:cNvPr>
            <p:cNvSpPr/>
            <p:nvPr/>
          </p:nvSpPr>
          <p:spPr>
            <a:xfrm>
              <a:off x="5012877" y="2613318"/>
              <a:ext cx="8047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715"/>
                <a:gd name="f4" fmla="val 84454"/>
                <a:gd name="f5" fmla="val 132582"/>
                <a:gd name="f6" fmla="val 84102"/>
                <a:gd name="f7" fmla="*/ f0 1 132715"/>
                <a:gd name="f8" fmla="*/ f1 1 84454"/>
                <a:gd name="f9" fmla="+- f4 0 f2"/>
                <a:gd name="f10" fmla="+- f3 0 f2"/>
                <a:gd name="f11" fmla="*/ f10 1 13271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271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49" name="object 1249">
              <a:extLst>
                <a:ext uri="{FF2B5EF4-FFF2-40B4-BE49-F238E27FC236}">
                  <a16:creationId xmlns:a16="http://schemas.microsoft.com/office/drawing/2014/main" id="{5E5E252A-0EE4-E8FD-A6BB-596AB792EE8B}"/>
                </a:ext>
              </a:extLst>
            </p:cNvPr>
            <p:cNvSpPr/>
            <p:nvPr/>
          </p:nvSpPr>
          <p:spPr>
            <a:xfrm>
              <a:off x="5012877" y="2685629"/>
              <a:ext cx="17481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8290"/>
                <a:gd name="f4" fmla="val 84454"/>
                <a:gd name="f5" fmla="val 287760"/>
                <a:gd name="f6" fmla="val 84102"/>
                <a:gd name="f7" fmla="*/ f0 1 288290"/>
                <a:gd name="f8" fmla="*/ f1 1 84454"/>
                <a:gd name="f9" fmla="+- f4 0 f2"/>
                <a:gd name="f10" fmla="+- f3 0 f2"/>
                <a:gd name="f11" fmla="*/ f10 1 28829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8829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0" name="object 1250">
              <a:extLst>
                <a:ext uri="{FF2B5EF4-FFF2-40B4-BE49-F238E27FC236}">
                  <a16:creationId xmlns:a16="http://schemas.microsoft.com/office/drawing/2014/main" id="{422350B8-D67A-CD1D-B079-A29C2EA1AB0C}"/>
                </a:ext>
              </a:extLst>
            </p:cNvPr>
            <p:cNvSpPr/>
            <p:nvPr/>
          </p:nvSpPr>
          <p:spPr>
            <a:xfrm>
              <a:off x="5292309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1" name="object 1251">
              <a:extLst>
                <a:ext uri="{FF2B5EF4-FFF2-40B4-BE49-F238E27FC236}">
                  <a16:creationId xmlns:a16="http://schemas.microsoft.com/office/drawing/2014/main" id="{B917D2E0-F378-FD92-2D9B-0EE84232B1F0}"/>
                </a:ext>
              </a:extLst>
            </p:cNvPr>
            <p:cNvSpPr/>
            <p:nvPr/>
          </p:nvSpPr>
          <p:spPr>
            <a:xfrm>
              <a:off x="532733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2" name="object 1252">
              <a:extLst>
                <a:ext uri="{FF2B5EF4-FFF2-40B4-BE49-F238E27FC236}">
                  <a16:creationId xmlns:a16="http://schemas.microsoft.com/office/drawing/2014/main" id="{3DD315EE-C429-AA0C-67F1-ED52F0484AD5}"/>
                </a:ext>
              </a:extLst>
            </p:cNvPr>
            <p:cNvSpPr/>
            <p:nvPr/>
          </p:nvSpPr>
          <p:spPr>
            <a:xfrm>
              <a:off x="522226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3" name="object 1253">
              <a:extLst>
                <a:ext uri="{FF2B5EF4-FFF2-40B4-BE49-F238E27FC236}">
                  <a16:creationId xmlns:a16="http://schemas.microsoft.com/office/drawing/2014/main" id="{C564F3A8-D0E9-D629-435E-1054A3023C67}"/>
                </a:ext>
              </a:extLst>
            </p:cNvPr>
            <p:cNvSpPr/>
            <p:nvPr/>
          </p:nvSpPr>
          <p:spPr>
            <a:xfrm>
              <a:off x="511720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4" name="object 1254">
              <a:extLst>
                <a:ext uri="{FF2B5EF4-FFF2-40B4-BE49-F238E27FC236}">
                  <a16:creationId xmlns:a16="http://schemas.microsoft.com/office/drawing/2014/main" id="{8F2A8F28-935E-20AE-EB0C-35B1931BDB2B}"/>
                </a:ext>
              </a:extLst>
            </p:cNvPr>
            <p:cNvSpPr/>
            <p:nvPr/>
          </p:nvSpPr>
          <p:spPr>
            <a:xfrm>
              <a:off x="515229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5" name="object 1255">
              <a:extLst>
                <a:ext uri="{FF2B5EF4-FFF2-40B4-BE49-F238E27FC236}">
                  <a16:creationId xmlns:a16="http://schemas.microsoft.com/office/drawing/2014/main" id="{004C76CD-44BA-05C5-199A-BDCA50BBA8E6}"/>
                </a:ext>
              </a:extLst>
            </p:cNvPr>
            <p:cNvSpPr/>
            <p:nvPr/>
          </p:nvSpPr>
          <p:spPr>
            <a:xfrm>
              <a:off x="504715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6" name="object 1256">
              <a:extLst>
                <a:ext uri="{FF2B5EF4-FFF2-40B4-BE49-F238E27FC236}">
                  <a16:creationId xmlns:a16="http://schemas.microsoft.com/office/drawing/2014/main" id="{5B3ED3BE-0441-7010-F47F-DD2145F00911}"/>
                </a:ext>
              </a:extLst>
            </p:cNvPr>
            <p:cNvSpPr/>
            <p:nvPr/>
          </p:nvSpPr>
          <p:spPr>
            <a:xfrm>
              <a:off x="5257287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7" name="object 1257">
              <a:extLst>
                <a:ext uri="{FF2B5EF4-FFF2-40B4-BE49-F238E27FC236}">
                  <a16:creationId xmlns:a16="http://schemas.microsoft.com/office/drawing/2014/main" id="{418B8057-C74F-578F-E371-510F08EB2E32}"/>
                </a:ext>
              </a:extLst>
            </p:cNvPr>
            <p:cNvSpPr/>
            <p:nvPr/>
          </p:nvSpPr>
          <p:spPr>
            <a:xfrm>
              <a:off x="508218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8" name="object 1258">
              <a:extLst>
                <a:ext uri="{FF2B5EF4-FFF2-40B4-BE49-F238E27FC236}">
                  <a16:creationId xmlns:a16="http://schemas.microsoft.com/office/drawing/2014/main" id="{452857D3-F39E-9B23-03AA-BE528164DD5B}"/>
                </a:ext>
              </a:extLst>
            </p:cNvPr>
            <p:cNvSpPr/>
            <p:nvPr/>
          </p:nvSpPr>
          <p:spPr>
            <a:xfrm>
              <a:off x="5362352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59" name="object 1259">
              <a:extLst>
                <a:ext uri="{FF2B5EF4-FFF2-40B4-BE49-F238E27FC236}">
                  <a16:creationId xmlns:a16="http://schemas.microsoft.com/office/drawing/2014/main" id="{CD28219F-3987-1D55-D8D1-5EFE3D74F10D}"/>
                </a:ext>
              </a:extLst>
            </p:cNvPr>
            <p:cNvSpPr/>
            <p:nvPr/>
          </p:nvSpPr>
          <p:spPr>
            <a:xfrm>
              <a:off x="5187382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0" name="object 1260">
              <a:extLst>
                <a:ext uri="{FF2B5EF4-FFF2-40B4-BE49-F238E27FC236}">
                  <a16:creationId xmlns:a16="http://schemas.microsoft.com/office/drawing/2014/main" id="{2A350742-6C59-02B8-AAA3-0FEF60C92FEF}"/>
                </a:ext>
              </a:extLst>
            </p:cNvPr>
            <p:cNvSpPr/>
            <p:nvPr/>
          </p:nvSpPr>
          <p:spPr>
            <a:xfrm>
              <a:off x="5012411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1" name="object 1261">
              <a:extLst>
                <a:ext uri="{FF2B5EF4-FFF2-40B4-BE49-F238E27FC236}">
                  <a16:creationId xmlns:a16="http://schemas.microsoft.com/office/drawing/2014/main" id="{7CDC9AED-491D-D53F-31C0-565454C7EAB4}"/>
                </a:ext>
              </a:extLst>
            </p:cNvPr>
            <p:cNvSpPr/>
            <p:nvPr/>
          </p:nvSpPr>
          <p:spPr>
            <a:xfrm>
              <a:off x="5187382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62" name="object 1262">
              <a:extLst>
                <a:ext uri="{FF2B5EF4-FFF2-40B4-BE49-F238E27FC236}">
                  <a16:creationId xmlns:a16="http://schemas.microsoft.com/office/drawing/2014/main" id="{D4D3A627-9922-7E1D-0141-9D7769BC2F2C}"/>
                </a:ext>
              </a:extLst>
            </p:cNvPr>
            <p:cNvSpPr/>
            <p:nvPr/>
          </p:nvSpPr>
          <p:spPr>
            <a:xfrm>
              <a:off x="5012411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63" name="object 1263">
              <a:extLst>
                <a:ext uri="{FF2B5EF4-FFF2-40B4-BE49-F238E27FC236}">
                  <a16:creationId xmlns:a16="http://schemas.microsoft.com/office/drawing/2014/main" id="{2280AD08-9BE9-93B3-CD91-A7DF3862C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5830781" y="209816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64" name="object 1264">
              <a:extLst>
                <a:ext uri="{FF2B5EF4-FFF2-40B4-BE49-F238E27FC236}">
                  <a16:creationId xmlns:a16="http://schemas.microsoft.com/office/drawing/2014/main" id="{CF29C0D7-C546-4850-23D2-DFC4930BEE26}"/>
                </a:ext>
              </a:extLst>
            </p:cNvPr>
            <p:cNvSpPr/>
            <p:nvPr/>
          </p:nvSpPr>
          <p:spPr>
            <a:xfrm>
              <a:off x="5834987" y="209703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65" name="object 1265">
              <a:extLst>
                <a:ext uri="{FF2B5EF4-FFF2-40B4-BE49-F238E27FC236}">
                  <a16:creationId xmlns:a16="http://schemas.microsoft.com/office/drawing/2014/main" id="{52BC2830-E406-CE2E-4394-DB8065DC4898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5830781" y="557738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66" name="object 1266">
              <a:extLst>
                <a:ext uri="{FF2B5EF4-FFF2-40B4-BE49-F238E27FC236}">
                  <a16:creationId xmlns:a16="http://schemas.microsoft.com/office/drawing/2014/main" id="{1A7B9699-0EE5-C099-D4A0-F4777F17FB53}"/>
                </a:ext>
              </a:extLst>
            </p:cNvPr>
            <p:cNvSpPr/>
            <p:nvPr/>
          </p:nvSpPr>
          <p:spPr>
            <a:xfrm>
              <a:off x="5830781" y="55774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67" name="object 1267">
              <a:extLst>
                <a:ext uri="{FF2B5EF4-FFF2-40B4-BE49-F238E27FC236}">
                  <a16:creationId xmlns:a16="http://schemas.microsoft.com/office/drawing/2014/main" id="{545BAF5D-9AFE-B491-2074-09229813E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5830781" y="1324837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68" name="object 1268">
              <a:extLst>
                <a:ext uri="{FF2B5EF4-FFF2-40B4-BE49-F238E27FC236}">
                  <a16:creationId xmlns:a16="http://schemas.microsoft.com/office/drawing/2014/main" id="{4EE0F5EF-D919-BF32-BF83-BE7886FD3647}"/>
                </a:ext>
              </a:extLst>
            </p:cNvPr>
            <p:cNvSpPr/>
            <p:nvPr/>
          </p:nvSpPr>
          <p:spPr>
            <a:xfrm>
              <a:off x="5830781" y="132484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69" name="object 1269">
              <a:extLst>
                <a:ext uri="{FF2B5EF4-FFF2-40B4-BE49-F238E27FC236}">
                  <a16:creationId xmlns:a16="http://schemas.microsoft.com/office/drawing/2014/main" id="{F3FAEFED-DF4D-0C48-E9CA-0E0525E7AA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5012393" y="568345"/>
              <a:ext cx="34995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70" name="object 1270">
              <a:extLst>
                <a:ext uri="{FF2B5EF4-FFF2-40B4-BE49-F238E27FC236}">
                  <a16:creationId xmlns:a16="http://schemas.microsoft.com/office/drawing/2014/main" id="{12095D1E-CD32-166F-F670-A2A8E377E2B1}"/>
                </a:ext>
              </a:extLst>
            </p:cNvPr>
            <p:cNvSpPr/>
            <p:nvPr/>
          </p:nvSpPr>
          <p:spPr>
            <a:xfrm>
              <a:off x="5012402" y="56835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71" name="object 1271">
              <a:extLst>
                <a:ext uri="{FF2B5EF4-FFF2-40B4-BE49-F238E27FC236}">
                  <a16:creationId xmlns:a16="http://schemas.microsoft.com/office/drawing/2014/main" id="{B0C9F1EF-FAC0-905D-A7B4-540877191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6654820" y="2100340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72" name="object 1272">
              <a:extLst>
                <a:ext uri="{FF2B5EF4-FFF2-40B4-BE49-F238E27FC236}">
                  <a16:creationId xmlns:a16="http://schemas.microsoft.com/office/drawing/2014/main" id="{71181800-CD26-F9F0-9D89-42D92306E41B}"/>
                </a:ext>
              </a:extLst>
            </p:cNvPr>
            <p:cNvSpPr/>
            <p:nvPr/>
          </p:nvSpPr>
          <p:spPr>
            <a:xfrm>
              <a:off x="6654820" y="210034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273" name="object 1273">
              <a:extLst>
                <a:ext uri="{FF2B5EF4-FFF2-40B4-BE49-F238E27FC236}">
                  <a16:creationId xmlns:a16="http://schemas.microsoft.com/office/drawing/2014/main" id="{E5470601-035E-D4B9-3239-1D6A7E2338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7481465" y="210041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74" name="object 1274">
              <a:extLst>
                <a:ext uri="{FF2B5EF4-FFF2-40B4-BE49-F238E27FC236}">
                  <a16:creationId xmlns:a16="http://schemas.microsoft.com/office/drawing/2014/main" id="{CF2596CA-CA34-D303-1E30-0669CA5C8F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7476710" y="2095658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1275" name="object 1275">
              <a:extLst>
                <a:ext uri="{FF2B5EF4-FFF2-40B4-BE49-F238E27FC236}">
                  <a16:creationId xmlns:a16="http://schemas.microsoft.com/office/drawing/2014/main" id="{63AD1347-0DCC-1431-6F6B-885297583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7476710" y="2095658"/>
              <a:ext cx="359468" cy="3594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276" name="object 1276">
              <a:extLst>
                <a:ext uri="{FF2B5EF4-FFF2-40B4-BE49-F238E27FC236}">
                  <a16:creationId xmlns:a16="http://schemas.microsoft.com/office/drawing/2014/main" id="{CFD45099-2D80-5885-89B6-667B923A5CD0}"/>
                </a:ext>
              </a:extLst>
            </p:cNvPr>
            <p:cNvSpPr/>
            <p:nvPr/>
          </p:nvSpPr>
          <p:spPr>
            <a:xfrm>
              <a:off x="7481465" y="210042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7" name="object 1277">
              <a:extLst>
                <a:ext uri="{FF2B5EF4-FFF2-40B4-BE49-F238E27FC236}">
                  <a16:creationId xmlns:a16="http://schemas.microsoft.com/office/drawing/2014/main" id="{D9CE280C-1CF5-C18A-87CE-E034E1565D4A}"/>
                </a:ext>
              </a:extLst>
            </p:cNvPr>
            <p:cNvSpPr/>
            <p:nvPr/>
          </p:nvSpPr>
          <p:spPr>
            <a:xfrm>
              <a:off x="775819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8" name="object 1278">
              <a:extLst>
                <a:ext uri="{FF2B5EF4-FFF2-40B4-BE49-F238E27FC236}">
                  <a16:creationId xmlns:a16="http://schemas.microsoft.com/office/drawing/2014/main" id="{1C95826E-8B83-EC47-DB3B-60FD9D63C81E}"/>
                </a:ext>
              </a:extLst>
            </p:cNvPr>
            <p:cNvSpPr/>
            <p:nvPr/>
          </p:nvSpPr>
          <p:spPr>
            <a:xfrm>
              <a:off x="779322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79" name="object 1279">
              <a:extLst>
                <a:ext uri="{FF2B5EF4-FFF2-40B4-BE49-F238E27FC236}">
                  <a16:creationId xmlns:a16="http://schemas.microsoft.com/office/drawing/2014/main" id="{0CE516F4-6E60-DD10-5AE3-9112D5022B3A}"/>
                </a:ext>
              </a:extLst>
            </p:cNvPr>
            <p:cNvSpPr/>
            <p:nvPr/>
          </p:nvSpPr>
          <p:spPr>
            <a:xfrm>
              <a:off x="768815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0" name="object 1280">
              <a:extLst>
                <a:ext uri="{FF2B5EF4-FFF2-40B4-BE49-F238E27FC236}">
                  <a16:creationId xmlns:a16="http://schemas.microsoft.com/office/drawing/2014/main" id="{5C0C5FAC-1C31-20A9-A02A-A05F3BCBD13C}"/>
                </a:ext>
              </a:extLst>
            </p:cNvPr>
            <p:cNvSpPr/>
            <p:nvPr/>
          </p:nvSpPr>
          <p:spPr>
            <a:xfrm>
              <a:off x="758309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1" name="object 1281">
              <a:extLst>
                <a:ext uri="{FF2B5EF4-FFF2-40B4-BE49-F238E27FC236}">
                  <a16:creationId xmlns:a16="http://schemas.microsoft.com/office/drawing/2014/main" id="{B9EBC78E-09A0-C4A4-AE82-392747C21CE2}"/>
                </a:ext>
              </a:extLst>
            </p:cNvPr>
            <p:cNvSpPr/>
            <p:nvPr/>
          </p:nvSpPr>
          <p:spPr>
            <a:xfrm>
              <a:off x="761818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2" name="object 1282">
              <a:extLst>
                <a:ext uri="{FF2B5EF4-FFF2-40B4-BE49-F238E27FC236}">
                  <a16:creationId xmlns:a16="http://schemas.microsoft.com/office/drawing/2014/main" id="{A944AC61-7160-DC5C-82F8-9565B1F42249}"/>
                </a:ext>
              </a:extLst>
            </p:cNvPr>
            <p:cNvSpPr/>
            <p:nvPr/>
          </p:nvSpPr>
          <p:spPr>
            <a:xfrm>
              <a:off x="751304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3" name="object 1283">
              <a:extLst>
                <a:ext uri="{FF2B5EF4-FFF2-40B4-BE49-F238E27FC236}">
                  <a16:creationId xmlns:a16="http://schemas.microsoft.com/office/drawing/2014/main" id="{660FD6DE-2F57-E375-A6AE-CE9BE4315203}"/>
                </a:ext>
              </a:extLst>
            </p:cNvPr>
            <p:cNvSpPr/>
            <p:nvPr/>
          </p:nvSpPr>
          <p:spPr>
            <a:xfrm>
              <a:off x="772317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4" name="object 1284">
              <a:extLst>
                <a:ext uri="{FF2B5EF4-FFF2-40B4-BE49-F238E27FC236}">
                  <a16:creationId xmlns:a16="http://schemas.microsoft.com/office/drawing/2014/main" id="{F7569FFD-DFF3-ED4A-2537-EEB784010422}"/>
                </a:ext>
              </a:extLst>
            </p:cNvPr>
            <p:cNvSpPr/>
            <p:nvPr/>
          </p:nvSpPr>
          <p:spPr>
            <a:xfrm>
              <a:off x="754807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5" name="object 1285">
              <a:extLst>
                <a:ext uri="{FF2B5EF4-FFF2-40B4-BE49-F238E27FC236}">
                  <a16:creationId xmlns:a16="http://schemas.microsoft.com/office/drawing/2014/main" id="{195DDD03-7721-E9B1-9438-4067E2B5EC23}"/>
                </a:ext>
              </a:extLst>
            </p:cNvPr>
            <p:cNvSpPr/>
            <p:nvPr/>
          </p:nvSpPr>
          <p:spPr>
            <a:xfrm>
              <a:off x="782824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6" name="object 1286">
              <a:extLst>
                <a:ext uri="{FF2B5EF4-FFF2-40B4-BE49-F238E27FC236}">
                  <a16:creationId xmlns:a16="http://schemas.microsoft.com/office/drawing/2014/main" id="{D68DC81D-B916-8ED6-263E-F977CA4B9D7B}"/>
                </a:ext>
              </a:extLst>
            </p:cNvPr>
            <p:cNvSpPr/>
            <p:nvPr/>
          </p:nvSpPr>
          <p:spPr>
            <a:xfrm>
              <a:off x="765327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7" name="object 1287">
              <a:extLst>
                <a:ext uri="{FF2B5EF4-FFF2-40B4-BE49-F238E27FC236}">
                  <a16:creationId xmlns:a16="http://schemas.microsoft.com/office/drawing/2014/main" id="{6C68FD93-AF14-DD37-70E7-960EC1E5B6FB}"/>
                </a:ext>
              </a:extLst>
            </p:cNvPr>
            <p:cNvSpPr/>
            <p:nvPr/>
          </p:nvSpPr>
          <p:spPr>
            <a:xfrm>
              <a:off x="747830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8" name="object 1288">
              <a:extLst>
                <a:ext uri="{FF2B5EF4-FFF2-40B4-BE49-F238E27FC236}">
                  <a16:creationId xmlns:a16="http://schemas.microsoft.com/office/drawing/2014/main" id="{3918DD4C-DA56-8460-57EB-58052C1054C4}"/>
                </a:ext>
              </a:extLst>
            </p:cNvPr>
            <p:cNvSpPr/>
            <p:nvPr/>
          </p:nvSpPr>
          <p:spPr>
            <a:xfrm>
              <a:off x="7478301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89" name="object 1289">
              <a:extLst>
                <a:ext uri="{FF2B5EF4-FFF2-40B4-BE49-F238E27FC236}">
                  <a16:creationId xmlns:a16="http://schemas.microsoft.com/office/drawing/2014/main" id="{85160F14-70E8-0FCE-F73B-E4B59B9D77AE}"/>
                </a:ext>
              </a:extLst>
            </p:cNvPr>
            <p:cNvSpPr/>
            <p:nvPr/>
          </p:nvSpPr>
          <p:spPr>
            <a:xfrm>
              <a:off x="7478429" y="2613318"/>
              <a:ext cx="34232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64515"/>
                <a:gd name="f4" fmla="val 84454"/>
                <a:gd name="f5" fmla="val 564359"/>
                <a:gd name="f6" fmla="val 84102"/>
                <a:gd name="f7" fmla="*/ f0 1 564515"/>
                <a:gd name="f8" fmla="*/ f1 1 84454"/>
                <a:gd name="f9" fmla="+- f4 0 f2"/>
                <a:gd name="f10" fmla="+- f3 0 f2"/>
                <a:gd name="f11" fmla="*/ f10 1 56451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6451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0" name="object 1290">
              <a:extLst>
                <a:ext uri="{FF2B5EF4-FFF2-40B4-BE49-F238E27FC236}">
                  <a16:creationId xmlns:a16="http://schemas.microsoft.com/office/drawing/2014/main" id="{BF97BAAE-93A9-215A-1FCA-BDECF32FAC7E}"/>
                </a:ext>
              </a:extLst>
            </p:cNvPr>
            <p:cNvSpPr/>
            <p:nvPr/>
          </p:nvSpPr>
          <p:spPr>
            <a:xfrm>
              <a:off x="782789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1" name="object 1291">
              <a:extLst>
                <a:ext uri="{FF2B5EF4-FFF2-40B4-BE49-F238E27FC236}">
                  <a16:creationId xmlns:a16="http://schemas.microsoft.com/office/drawing/2014/main" id="{FEEEE0B7-6602-0B66-654C-DF7DDC9F4847}"/>
                </a:ext>
              </a:extLst>
            </p:cNvPr>
            <p:cNvSpPr/>
            <p:nvPr/>
          </p:nvSpPr>
          <p:spPr>
            <a:xfrm>
              <a:off x="765292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2" name="object 1292">
              <a:extLst>
                <a:ext uri="{FF2B5EF4-FFF2-40B4-BE49-F238E27FC236}">
                  <a16:creationId xmlns:a16="http://schemas.microsoft.com/office/drawing/2014/main" id="{D570FB98-0A2D-98F9-DA4F-5E9A7E26E7D0}"/>
                </a:ext>
              </a:extLst>
            </p:cNvPr>
            <p:cNvSpPr/>
            <p:nvPr/>
          </p:nvSpPr>
          <p:spPr>
            <a:xfrm>
              <a:off x="747795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3" name="object 1293">
              <a:extLst>
                <a:ext uri="{FF2B5EF4-FFF2-40B4-BE49-F238E27FC236}">
                  <a16:creationId xmlns:a16="http://schemas.microsoft.com/office/drawing/2014/main" id="{7CEE019F-69A8-1F05-C884-541E597EA232}"/>
                </a:ext>
              </a:extLst>
            </p:cNvPr>
            <p:cNvSpPr/>
            <p:nvPr/>
          </p:nvSpPr>
          <p:spPr>
            <a:xfrm>
              <a:off x="765292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4" name="object 1294">
              <a:extLst>
                <a:ext uri="{FF2B5EF4-FFF2-40B4-BE49-F238E27FC236}">
                  <a16:creationId xmlns:a16="http://schemas.microsoft.com/office/drawing/2014/main" id="{7BA09427-96F0-449D-2D4F-657915A7838E}"/>
                </a:ext>
              </a:extLst>
            </p:cNvPr>
            <p:cNvSpPr/>
            <p:nvPr/>
          </p:nvSpPr>
          <p:spPr>
            <a:xfrm>
              <a:off x="775785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5" name="object 1295">
              <a:extLst>
                <a:ext uri="{FF2B5EF4-FFF2-40B4-BE49-F238E27FC236}">
                  <a16:creationId xmlns:a16="http://schemas.microsoft.com/office/drawing/2014/main" id="{47B5A3DB-687B-3674-6E04-AB4BC3DA616A}"/>
                </a:ext>
              </a:extLst>
            </p:cNvPr>
            <p:cNvSpPr/>
            <p:nvPr/>
          </p:nvSpPr>
          <p:spPr>
            <a:xfrm>
              <a:off x="779287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6" name="object 1296">
              <a:extLst>
                <a:ext uri="{FF2B5EF4-FFF2-40B4-BE49-F238E27FC236}">
                  <a16:creationId xmlns:a16="http://schemas.microsoft.com/office/drawing/2014/main" id="{439A473F-D65B-FD60-09F9-8A0E6D3DB0BE}"/>
                </a:ext>
              </a:extLst>
            </p:cNvPr>
            <p:cNvSpPr/>
            <p:nvPr/>
          </p:nvSpPr>
          <p:spPr>
            <a:xfrm>
              <a:off x="768780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7" name="object 1297">
              <a:extLst>
                <a:ext uri="{FF2B5EF4-FFF2-40B4-BE49-F238E27FC236}">
                  <a16:creationId xmlns:a16="http://schemas.microsoft.com/office/drawing/2014/main" id="{659336E9-79D9-482B-1B41-218D848B2058}"/>
                </a:ext>
              </a:extLst>
            </p:cNvPr>
            <p:cNvSpPr/>
            <p:nvPr/>
          </p:nvSpPr>
          <p:spPr>
            <a:xfrm>
              <a:off x="758274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8" name="object 1298">
              <a:extLst>
                <a:ext uri="{FF2B5EF4-FFF2-40B4-BE49-F238E27FC236}">
                  <a16:creationId xmlns:a16="http://schemas.microsoft.com/office/drawing/2014/main" id="{E3943810-9AA5-FA5C-D41B-CE673A95738C}"/>
                </a:ext>
              </a:extLst>
            </p:cNvPr>
            <p:cNvSpPr/>
            <p:nvPr/>
          </p:nvSpPr>
          <p:spPr>
            <a:xfrm>
              <a:off x="761783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99" name="object 1299">
              <a:extLst>
                <a:ext uri="{FF2B5EF4-FFF2-40B4-BE49-F238E27FC236}">
                  <a16:creationId xmlns:a16="http://schemas.microsoft.com/office/drawing/2014/main" id="{93664B7F-79AA-ECFE-4D1C-5FA1FD7668B2}"/>
                </a:ext>
              </a:extLst>
            </p:cNvPr>
            <p:cNvSpPr/>
            <p:nvPr/>
          </p:nvSpPr>
          <p:spPr>
            <a:xfrm>
              <a:off x="751270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0" name="object 1300">
              <a:extLst>
                <a:ext uri="{FF2B5EF4-FFF2-40B4-BE49-F238E27FC236}">
                  <a16:creationId xmlns:a16="http://schemas.microsoft.com/office/drawing/2014/main" id="{97D8D70F-927A-72CD-31F6-C1D1506319DD}"/>
                </a:ext>
              </a:extLst>
            </p:cNvPr>
            <p:cNvSpPr/>
            <p:nvPr/>
          </p:nvSpPr>
          <p:spPr>
            <a:xfrm>
              <a:off x="772283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1" name="object 1301">
              <a:extLst>
                <a:ext uri="{FF2B5EF4-FFF2-40B4-BE49-F238E27FC236}">
                  <a16:creationId xmlns:a16="http://schemas.microsoft.com/office/drawing/2014/main" id="{052FB8D6-725A-1D2C-4DD9-4AD3EF95D9AB}"/>
                </a:ext>
              </a:extLst>
            </p:cNvPr>
            <p:cNvSpPr/>
            <p:nvPr/>
          </p:nvSpPr>
          <p:spPr>
            <a:xfrm>
              <a:off x="754772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2" name="object 1302">
              <a:extLst>
                <a:ext uri="{FF2B5EF4-FFF2-40B4-BE49-F238E27FC236}">
                  <a16:creationId xmlns:a16="http://schemas.microsoft.com/office/drawing/2014/main" id="{D32D4157-8287-7A1E-2A9A-A6D14B5B4503}"/>
                </a:ext>
              </a:extLst>
            </p:cNvPr>
            <p:cNvSpPr/>
            <p:nvPr/>
          </p:nvSpPr>
          <p:spPr>
            <a:xfrm>
              <a:off x="7477954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3" name="object 1303">
              <a:extLst>
                <a:ext uri="{FF2B5EF4-FFF2-40B4-BE49-F238E27FC236}">
                  <a16:creationId xmlns:a16="http://schemas.microsoft.com/office/drawing/2014/main" id="{EB24C063-91E8-4F4C-90A0-0ABD73F965C0}"/>
                </a:ext>
              </a:extLst>
            </p:cNvPr>
            <p:cNvSpPr/>
            <p:nvPr/>
          </p:nvSpPr>
          <p:spPr>
            <a:xfrm>
              <a:off x="693630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4" name="object 1304">
              <a:extLst>
                <a:ext uri="{FF2B5EF4-FFF2-40B4-BE49-F238E27FC236}">
                  <a16:creationId xmlns:a16="http://schemas.microsoft.com/office/drawing/2014/main" id="{52D670DD-1DBC-8066-A7D5-A9416F7280AF}"/>
                </a:ext>
              </a:extLst>
            </p:cNvPr>
            <p:cNvSpPr/>
            <p:nvPr/>
          </p:nvSpPr>
          <p:spPr>
            <a:xfrm>
              <a:off x="697133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5" name="object 1305">
              <a:extLst>
                <a:ext uri="{FF2B5EF4-FFF2-40B4-BE49-F238E27FC236}">
                  <a16:creationId xmlns:a16="http://schemas.microsoft.com/office/drawing/2014/main" id="{C55A214C-E765-7804-C797-3957E9640700}"/>
                </a:ext>
              </a:extLst>
            </p:cNvPr>
            <p:cNvSpPr/>
            <p:nvPr/>
          </p:nvSpPr>
          <p:spPr>
            <a:xfrm>
              <a:off x="686626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6" name="object 1306">
              <a:extLst>
                <a:ext uri="{FF2B5EF4-FFF2-40B4-BE49-F238E27FC236}">
                  <a16:creationId xmlns:a16="http://schemas.microsoft.com/office/drawing/2014/main" id="{660E2A9C-62DD-36CB-3BAE-2655E39A7E70}"/>
                </a:ext>
              </a:extLst>
            </p:cNvPr>
            <p:cNvSpPr/>
            <p:nvPr/>
          </p:nvSpPr>
          <p:spPr>
            <a:xfrm>
              <a:off x="6761192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7" name="object 1307">
              <a:extLst>
                <a:ext uri="{FF2B5EF4-FFF2-40B4-BE49-F238E27FC236}">
                  <a16:creationId xmlns:a16="http://schemas.microsoft.com/office/drawing/2014/main" id="{4025AE77-BFC9-2C73-60A4-7A3D8383B4E2}"/>
                </a:ext>
              </a:extLst>
            </p:cNvPr>
            <p:cNvSpPr/>
            <p:nvPr/>
          </p:nvSpPr>
          <p:spPr>
            <a:xfrm>
              <a:off x="679628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8" name="object 1308">
              <a:extLst>
                <a:ext uri="{FF2B5EF4-FFF2-40B4-BE49-F238E27FC236}">
                  <a16:creationId xmlns:a16="http://schemas.microsoft.com/office/drawing/2014/main" id="{ECAABB31-9973-9C97-BEC5-EF20CD0C2D9F}"/>
                </a:ext>
              </a:extLst>
            </p:cNvPr>
            <p:cNvSpPr/>
            <p:nvPr/>
          </p:nvSpPr>
          <p:spPr>
            <a:xfrm>
              <a:off x="669114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09" name="object 1309">
              <a:extLst>
                <a:ext uri="{FF2B5EF4-FFF2-40B4-BE49-F238E27FC236}">
                  <a16:creationId xmlns:a16="http://schemas.microsoft.com/office/drawing/2014/main" id="{A850439F-F3A9-8DF9-C862-03AEC97CE046}"/>
                </a:ext>
              </a:extLst>
            </p:cNvPr>
            <p:cNvSpPr/>
            <p:nvPr/>
          </p:nvSpPr>
          <p:spPr>
            <a:xfrm>
              <a:off x="690128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0" name="object 1310">
              <a:extLst>
                <a:ext uri="{FF2B5EF4-FFF2-40B4-BE49-F238E27FC236}">
                  <a16:creationId xmlns:a16="http://schemas.microsoft.com/office/drawing/2014/main" id="{23491406-F481-4DD7-D4FB-A2FBA912CEA5}"/>
                </a:ext>
              </a:extLst>
            </p:cNvPr>
            <p:cNvSpPr/>
            <p:nvPr/>
          </p:nvSpPr>
          <p:spPr>
            <a:xfrm>
              <a:off x="6726170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1" name="object 1311">
              <a:extLst>
                <a:ext uri="{FF2B5EF4-FFF2-40B4-BE49-F238E27FC236}">
                  <a16:creationId xmlns:a16="http://schemas.microsoft.com/office/drawing/2014/main" id="{F61BC6DD-2DC1-1618-E096-88D12EC72815}"/>
                </a:ext>
              </a:extLst>
            </p:cNvPr>
            <p:cNvSpPr/>
            <p:nvPr/>
          </p:nvSpPr>
          <p:spPr>
            <a:xfrm>
              <a:off x="700635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2" name="object 1312">
              <a:extLst>
                <a:ext uri="{FF2B5EF4-FFF2-40B4-BE49-F238E27FC236}">
                  <a16:creationId xmlns:a16="http://schemas.microsoft.com/office/drawing/2014/main" id="{B57BDC63-96FA-AB6C-C060-92AF7EB406A0}"/>
                </a:ext>
              </a:extLst>
            </p:cNvPr>
            <p:cNvSpPr/>
            <p:nvPr/>
          </p:nvSpPr>
          <p:spPr>
            <a:xfrm>
              <a:off x="683138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3" name="object 1313">
              <a:extLst>
                <a:ext uri="{FF2B5EF4-FFF2-40B4-BE49-F238E27FC236}">
                  <a16:creationId xmlns:a16="http://schemas.microsoft.com/office/drawing/2014/main" id="{AAC00F94-1CBA-9609-2967-260BA947CE38}"/>
                </a:ext>
              </a:extLst>
            </p:cNvPr>
            <p:cNvSpPr/>
            <p:nvPr/>
          </p:nvSpPr>
          <p:spPr>
            <a:xfrm>
              <a:off x="6656402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4" name="object 1314">
              <a:extLst>
                <a:ext uri="{FF2B5EF4-FFF2-40B4-BE49-F238E27FC236}">
                  <a16:creationId xmlns:a16="http://schemas.microsoft.com/office/drawing/2014/main" id="{E464D7B0-915A-3070-D11C-AA787681B7D8}"/>
                </a:ext>
              </a:extLst>
            </p:cNvPr>
            <p:cNvSpPr/>
            <p:nvPr/>
          </p:nvSpPr>
          <p:spPr>
            <a:xfrm>
              <a:off x="6656402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5" name="object 1315">
              <a:extLst>
                <a:ext uri="{FF2B5EF4-FFF2-40B4-BE49-F238E27FC236}">
                  <a16:creationId xmlns:a16="http://schemas.microsoft.com/office/drawing/2014/main" id="{86BA4CE5-FE01-3F12-C01A-2E4EE4E14860}"/>
                </a:ext>
              </a:extLst>
            </p:cNvPr>
            <p:cNvSpPr/>
            <p:nvPr/>
          </p:nvSpPr>
          <p:spPr>
            <a:xfrm>
              <a:off x="6656539" y="2613318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20"/>
                <a:gd name="f4" fmla="val 84454"/>
                <a:gd name="f5" fmla="val 172560"/>
                <a:gd name="f6" fmla="val 84102"/>
                <a:gd name="f7" fmla="*/ f0 1 172720"/>
                <a:gd name="f8" fmla="*/ f1 1 84454"/>
                <a:gd name="f9" fmla="+- f4 0 f2"/>
                <a:gd name="f10" fmla="+- f3 0 f2"/>
                <a:gd name="f11" fmla="*/ f10 1 1727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6" name="object 1316">
              <a:extLst>
                <a:ext uri="{FF2B5EF4-FFF2-40B4-BE49-F238E27FC236}">
                  <a16:creationId xmlns:a16="http://schemas.microsoft.com/office/drawing/2014/main" id="{FD4B4672-B76C-F214-1B2F-1A7070E291C4}"/>
                </a:ext>
              </a:extLst>
            </p:cNvPr>
            <p:cNvSpPr/>
            <p:nvPr/>
          </p:nvSpPr>
          <p:spPr>
            <a:xfrm>
              <a:off x="6656539" y="2685629"/>
              <a:ext cx="26184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31800"/>
                <a:gd name="f4" fmla="val 84454"/>
                <a:gd name="f5" fmla="val 431285"/>
                <a:gd name="f6" fmla="val 84102"/>
                <a:gd name="f7" fmla="*/ f0 1 431800"/>
                <a:gd name="f8" fmla="*/ f1 1 84454"/>
                <a:gd name="f9" fmla="+- f4 0 f2"/>
                <a:gd name="f10" fmla="+- f3 0 f2"/>
                <a:gd name="f11" fmla="*/ f10 1 43180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3180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7" name="object 1317">
              <a:extLst>
                <a:ext uri="{FF2B5EF4-FFF2-40B4-BE49-F238E27FC236}">
                  <a16:creationId xmlns:a16="http://schemas.microsoft.com/office/drawing/2014/main" id="{364903F4-710E-A24D-B2EE-B27BB6FEEBBF}"/>
                </a:ext>
              </a:extLst>
            </p:cNvPr>
            <p:cNvSpPr/>
            <p:nvPr/>
          </p:nvSpPr>
          <p:spPr>
            <a:xfrm>
              <a:off x="693596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8" name="object 1318">
              <a:extLst>
                <a:ext uri="{FF2B5EF4-FFF2-40B4-BE49-F238E27FC236}">
                  <a16:creationId xmlns:a16="http://schemas.microsoft.com/office/drawing/2014/main" id="{4C171675-2704-65DD-19E6-882B88320549}"/>
                </a:ext>
              </a:extLst>
            </p:cNvPr>
            <p:cNvSpPr/>
            <p:nvPr/>
          </p:nvSpPr>
          <p:spPr>
            <a:xfrm>
              <a:off x="697098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19" name="object 1319">
              <a:extLst>
                <a:ext uri="{FF2B5EF4-FFF2-40B4-BE49-F238E27FC236}">
                  <a16:creationId xmlns:a16="http://schemas.microsoft.com/office/drawing/2014/main" id="{26265606-5F0B-29FE-B8DF-FFA497E23BB2}"/>
                </a:ext>
              </a:extLst>
            </p:cNvPr>
            <p:cNvSpPr/>
            <p:nvPr/>
          </p:nvSpPr>
          <p:spPr>
            <a:xfrm>
              <a:off x="686591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0" name="object 1320">
              <a:extLst>
                <a:ext uri="{FF2B5EF4-FFF2-40B4-BE49-F238E27FC236}">
                  <a16:creationId xmlns:a16="http://schemas.microsoft.com/office/drawing/2014/main" id="{37C6FBC9-276A-EDCE-AA16-3D122D4A27F4}"/>
                </a:ext>
              </a:extLst>
            </p:cNvPr>
            <p:cNvSpPr/>
            <p:nvPr/>
          </p:nvSpPr>
          <p:spPr>
            <a:xfrm>
              <a:off x="6760845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1" name="object 1321">
              <a:extLst>
                <a:ext uri="{FF2B5EF4-FFF2-40B4-BE49-F238E27FC236}">
                  <a16:creationId xmlns:a16="http://schemas.microsoft.com/office/drawing/2014/main" id="{B020F13A-F6BB-4700-BD15-BD0D38577F8F}"/>
                </a:ext>
              </a:extLst>
            </p:cNvPr>
            <p:cNvSpPr/>
            <p:nvPr/>
          </p:nvSpPr>
          <p:spPr>
            <a:xfrm>
              <a:off x="6795939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2" name="object 1322">
              <a:extLst>
                <a:ext uri="{FF2B5EF4-FFF2-40B4-BE49-F238E27FC236}">
                  <a16:creationId xmlns:a16="http://schemas.microsoft.com/office/drawing/2014/main" id="{0BB77F6D-BB9E-67F3-CCB6-5C2B3921584F}"/>
                </a:ext>
              </a:extLst>
            </p:cNvPr>
            <p:cNvSpPr/>
            <p:nvPr/>
          </p:nvSpPr>
          <p:spPr>
            <a:xfrm>
              <a:off x="6690801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3" name="object 1323">
              <a:extLst>
                <a:ext uri="{FF2B5EF4-FFF2-40B4-BE49-F238E27FC236}">
                  <a16:creationId xmlns:a16="http://schemas.microsoft.com/office/drawing/2014/main" id="{A48DD691-8300-03CA-14AA-886D232A0D2B}"/>
                </a:ext>
              </a:extLst>
            </p:cNvPr>
            <p:cNvSpPr/>
            <p:nvPr/>
          </p:nvSpPr>
          <p:spPr>
            <a:xfrm>
              <a:off x="690094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4" name="object 1324">
              <a:extLst>
                <a:ext uri="{FF2B5EF4-FFF2-40B4-BE49-F238E27FC236}">
                  <a16:creationId xmlns:a16="http://schemas.microsoft.com/office/drawing/2014/main" id="{6631FD20-DA62-DDC4-5470-1B8552845B65}"/>
                </a:ext>
              </a:extLst>
            </p:cNvPr>
            <p:cNvSpPr/>
            <p:nvPr/>
          </p:nvSpPr>
          <p:spPr>
            <a:xfrm>
              <a:off x="672582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5" name="object 1325">
              <a:extLst>
                <a:ext uri="{FF2B5EF4-FFF2-40B4-BE49-F238E27FC236}">
                  <a16:creationId xmlns:a16="http://schemas.microsoft.com/office/drawing/2014/main" id="{49F61800-9A2A-4764-7BB4-21870AC63913}"/>
                </a:ext>
              </a:extLst>
            </p:cNvPr>
            <p:cNvSpPr/>
            <p:nvPr/>
          </p:nvSpPr>
          <p:spPr>
            <a:xfrm>
              <a:off x="700600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6" name="object 1326">
              <a:extLst>
                <a:ext uri="{FF2B5EF4-FFF2-40B4-BE49-F238E27FC236}">
                  <a16:creationId xmlns:a16="http://schemas.microsoft.com/office/drawing/2014/main" id="{DC24C002-4C81-3C96-B6EC-4346983A3CF8}"/>
                </a:ext>
              </a:extLst>
            </p:cNvPr>
            <p:cNvSpPr/>
            <p:nvPr/>
          </p:nvSpPr>
          <p:spPr>
            <a:xfrm>
              <a:off x="683103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7" name="object 1327">
              <a:extLst>
                <a:ext uri="{FF2B5EF4-FFF2-40B4-BE49-F238E27FC236}">
                  <a16:creationId xmlns:a16="http://schemas.microsoft.com/office/drawing/2014/main" id="{B8FB06B6-AA84-393F-6E9D-303B40B3C9AB}"/>
                </a:ext>
              </a:extLst>
            </p:cNvPr>
            <p:cNvSpPr/>
            <p:nvPr/>
          </p:nvSpPr>
          <p:spPr>
            <a:xfrm>
              <a:off x="665606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8" name="object 1328">
              <a:extLst>
                <a:ext uri="{FF2B5EF4-FFF2-40B4-BE49-F238E27FC236}">
                  <a16:creationId xmlns:a16="http://schemas.microsoft.com/office/drawing/2014/main" id="{FDDE767D-5D5F-D468-43FE-5DD329BF3282}"/>
                </a:ext>
              </a:extLst>
            </p:cNvPr>
            <p:cNvSpPr/>
            <p:nvPr/>
          </p:nvSpPr>
          <p:spPr>
            <a:xfrm>
              <a:off x="6831034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29" name="object 1329">
              <a:extLst>
                <a:ext uri="{FF2B5EF4-FFF2-40B4-BE49-F238E27FC236}">
                  <a16:creationId xmlns:a16="http://schemas.microsoft.com/office/drawing/2014/main" id="{F54434B1-8BCF-6449-D1EF-7576AE0972FE}"/>
                </a:ext>
              </a:extLst>
            </p:cNvPr>
            <p:cNvSpPr/>
            <p:nvPr/>
          </p:nvSpPr>
          <p:spPr>
            <a:xfrm>
              <a:off x="6656054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330" name="object 1330">
              <a:extLst>
                <a:ext uri="{FF2B5EF4-FFF2-40B4-BE49-F238E27FC236}">
                  <a16:creationId xmlns:a16="http://schemas.microsoft.com/office/drawing/2014/main" id="{E71E67C3-926E-506D-7FD9-6DDD50E192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8301014" y="1325642"/>
              <a:ext cx="347956" cy="34796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31" name="object 1331">
              <a:extLst>
                <a:ext uri="{FF2B5EF4-FFF2-40B4-BE49-F238E27FC236}">
                  <a16:creationId xmlns:a16="http://schemas.microsoft.com/office/drawing/2014/main" id="{5962215B-8249-5EAD-B5F7-250A812A51A8}"/>
                </a:ext>
              </a:extLst>
            </p:cNvPr>
            <p:cNvSpPr/>
            <p:nvPr/>
          </p:nvSpPr>
          <p:spPr>
            <a:xfrm>
              <a:off x="8301014" y="1325633"/>
              <a:ext cx="348093" cy="34809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4040"/>
                <a:gd name="f4" fmla="val 574039"/>
                <a:gd name="f5" fmla="val 286912"/>
                <a:gd name="f6" fmla="val 3754"/>
                <a:gd name="f7" fmla="val 333451"/>
                <a:gd name="f8" fmla="val 14626"/>
                <a:gd name="f9" fmla="val 377599"/>
                <a:gd name="f10" fmla="val 32023"/>
                <a:gd name="f11" fmla="val 418767"/>
                <a:gd name="f12" fmla="val 55354"/>
                <a:gd name="f13" fmla="val 456362"/>
                <a:gd name="f14" fmla="val 84031"/>
                <a:gd name="f15" fmla="val 489795"/>
                <a:gd name="f16" fmla="val 117461"/>
                <a:gd name="f17" fmla="val 518474"/>
                <a:gd name="f18" fmla="val 155055"/>
                <a:gd name="f19" fmla="val 541808"/>
                <a:gd name="f20" fmla="val 196222"/>
                <a:gd name="f21" fmla="val 559207"/>
                <a:gd name="f22" fmla="val 240371"/>
                <a:gd name="f23" fmla="val 570080"/>
                <a:gd name="f24" fmla="val 573835"/>
                <a:gd name="f25" fmla="val 377598"/>
                <a:gd name="f26" fmla="val 418764"/>
                <a:gd name="f27" fmla="val 456358"/>
                <a:gd name="f28" fmla="val 489790"/>
                <a:gd name="f29" fmla="val 518467"/>
                <a:gd name="f30" fmla="val 541800"/>
                <a:gd name="f31" fmla="val 559198"/>
                <a:gd name="f32" fmla="val 570070"/>
                <a:gd name="f33" fmla="val 573825"/>
                <a:gd name="f34" fmla="val 240374"/>
                <a:gd name="f35" fmla="val 196226"/>
                <a:gd name="f36" fmla="val 155060"/>
                <a:gd name="f37" fmla="val 117466"/>
                <a:gd name="f38" fmla="val 84035"/>
                <a:gd name="f39" fmla="val 55357"/>
                <a:gd name="f40" fmla="val 32024"/>
                <a:gd name="f41" fmla="val 14627"/>
                <a:gd name="f42" fmla="val 3755"/>
                <a:gd name="f43" fmla="*/ f0 1 574040"/>
                <a:gd name="f44" fmla="*/ f1 1 574039"/>
                <a:gd name="f45" fmla="+- f4 0 f2"/>
                <a:gd name="f46" fmla="+- f3 0 f2"/>
                <a:gd name="f47" fmla="*/ f46 1 574040"/>
                <a:gd name="f48" fmla="*/ f45 1 574039"/>
                <a:gd name="f49" fmla="*/ f2 1 f47"/>
                <a:gd name="f50" fmla="*/ f3 1 f47"/>
                <a:gd name="f51" fmla="*/ f2 1 f48"/>
                <a:gd name="f52" fmla="*/ f4 1 f48"/>
                <a:gd name="f53" fmla="*/ f49 f43 1"/>
                <a:gd name="f54" fmla="*/ f50 f43 1"/>
                <a:gd name="f55" fmla="*/ f52 f44 1"/>
                <a:gd name="f56" fmla="*/ f51 f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3" t="f56" r="f54" b="f55"/>
              <a:pathLst>
                <a:path w="574040" h="574039">
                  <a:moveTo>
                    <a:pt x="f2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4"/>
                  </a:lnTo>
                  <a:lnTo>
                    <a:pt x="f7" y="f23"/>
                  </a:lnTo>
                  <a:lnTo>
                    <a:pt x="f25" y="f21"/>
                  </a:lnTo>
                  <a:lnTo>
                    <a:pt x="f26" y="f19"/>
                  </a:lnTo>
                  <a:lnTo>
                    <a:pt x="f27" y="f17"/>
                  </a:lnTo>
                  <a:lnTo>
                    <a:pt x="f28" y="f15"/>
                  </a:lnTo>
                  <a:lnTo>
                    <a:pt x="f29" y="f13"/>
                  </a:lnTo>
                  <a:lnTo>
                    <a:pt x="f30" y="f11"/>
                  </a:lnTo>
                  <a:lnTo>
                    <a:pt x="f31" y="f9"/>
                  </a:lnTo>
                  <a:lnTo>
                    <a:pt x="f32" y="f7"/>
                  </a:lnTo>
                  <a:lnTo>
                    <a:pt x="f33" y="f5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41"/>
                  </a:lnTo>
                  <a:lnTo>
                    <a:pt x="f7" y="f42"/>
                  </a:lnTo>
                  <a:lnTo>
                    <a:pt x="f5" y="f2"/>
                  </a:lnTo>
                  <a:lnTo>
                    <a:pt x="f22" y="f42"/>
                  </a:lnTo>
                  <a:lnTo>
                    <a:pt x="f20" y="f41"/>
                  </a:lnTo>
                  <a:lnTo>
                    <a:pt x="f18" y="f40"/>
                  </a:lnTo>
                  <a:lnTo>
                    <a:pt x="f16" y="f39"/>
                  </a:lnTo>
                  <a:lnTo>
                    <a:pt x="f14" y="f38"/>
                  </a:lnTo>
                  <a:lnTo>
                    <a:pt x="f12" y="f37"/>
                  </a:lnTo>
                  <a:lnTo>
                    <a:pt x="f10" y="f36"/>
                  </a:lnTo>
                  <a:lnTo>
                    <a:pt x="f8" y="f35"/>
                  </a:lnTo>
                  <a:lnTo>
                    <a:pt x="f6" y="f34"/>
                  </a:lnTo>
                  <a:lnTo>
                    <a:pt x="f2" y="f5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332" name="object 1332">
              <a:extLst>
                <a:ext uri="{FF2B5EF4-FFF2-40B4-BE49-F238E27FC236}">
                  <a16:creationId xmlns:a16="http://schemas.microsoft.com/office/drawing/2014/main" id="{FBCB451A-8E84-079D-0EDC-82C466E4A7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7471809" y="1323420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33" name="object 1333">
              <a:extLst>
                <a:ext uri="{FF2B5EF4-FFF2-40B4-BE49-F238E27FC236}">
                  <a16:creationId xmlns:a16="http://schemas.microsoft.com/office/drawing/2014/main" id="{CEE8BDA9-C8A9-0DE9-1ED5-E218AD13CBBC}"/>
                </a:ext>
              </a:extLst>
            </p:cNvPr>
            <p:cNvSpPr/>
            <p:nvPr/>
          </p:nvSpPr>
          <p:spPr>
            <a:xfrm>
              <a:off x="7471809" y="132342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4" name="object 1334">
              <a:extLst>
                <a:ext uri="{FF2B5EF4-FFF2-40B4-BE49-F238E27FC236}">
                  <a16:creationId xmlns:a16="http://schemas.microsoft.com/office/drawing/2014/main" id="{120886D7-D8A8-0EF4-6994-56F422E68E6C}"/>
                </a:ext>
              </a:extLst>
            </p:cNvPr>
            <p:cNvSpPr/>
            <p:nvPr/>
          </p:nvSpPr>
          <p:spPr>
            <a:xfrm>
              <a:off x="857937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5" name="object 1335">
              <a:extLst>
                <a:ext uri="{FF2B5EF4-FFF2-40B4-BE49-F238E27FC236}">
                  <a16:creationId xmlns:a16="http://schemas.microsoft.com/office/drawing/2014/main" id="{F8AECC2D-5485-46D1-E3FD-5A199DCE7C85}"/>
                </a:ext>
              </a:extLst>
            </p:cNvPr>
            <p:cNvSpPr/>
            <p:nvPr/>
          </p:nvSpPr>
          <p:spPr>
            <a:xfrm>
              <a:off x="861439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6" name="object 1336">
              <a:extLst>
                <a:ext uri="{FF2B5EF4-FFF2-40B4-BE49-F238E27FC236}">
                  <a16:creationId xmlns:a16="http://schemas.microsoft.com/office/drawing/2014/main" id="{90873CE0-445E-9BBC-AF93-C3F5771F18B9}"/>
                </a:ext>
              </a:extLst>
            </p:cNvPr>
            <p:cNvSpPr/>
            <p:nvPr/>
          </p:nvSpPr>
          <p:spPr>
            <a:xfrm>
              <a:off x="850933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7" name="object 1337">
              <a:extLst>
                <a:ext uri="{FF2B5EF4-FFF2-40B4-BE49-F238E27FC236}">
                  <a16:creationId xmlns:a16="http://schemas.microsoft.com/office/drawing/2014/main" id="{D1AF64F9-082E-51BA-7706-9F2C1DB4797F}"/>
                </a:ext>
              </a:extLst>
            </p:cNvPr>
            <p:cNvSpPr/>
            <p:nvPr/>
          </p:nvSpPr>
          <p:spPr>
            <a:xfrm>
              <a:off x="840426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8" name="object 1338">
              <a:extLst>
                <a:ext uri="{FF2B5EF4-FFF2-40B4-BE49-F238E27FC236}">
                  <a16:creationId xmlns:a16="http://schemas.microsoft.com/office/drawing/2014/main" id="{F4BD5D2D-F72D-55E9-AFDA-D4D89EB3AAA2}"/>
                </a:ext>
              </a:extLst>
            </p:cNvPr>
            <p:cNvSpPr/>
            <p:nvPr/>
          </p:nvSpPr>
          <p:spPr>
            <a:xfrm>
              <a:off x="843936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39" name="object 1339">
              <a:extLst>
                <a:ext uri="{FF2B5EF4-FFF2-40B4-BE49-F238E27FC236}">
                  <a16:creationId xmlns:a16="http://schemas.microsoft.com/office/drawing/2014/main" id="{C3150861-6C3C-597A-DCB1-352EC3C3C696}"/>
                </a:ext>
              </a:extLst>
            </p:cNvPr>
            <p:cNvSpPr/>
            <p:nvPr/>
          </p:nvSpPr>
          <p:spPr>
            <a:xfrm>
              <a:off x="833422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0" name="object 1340">
              <a:extLst>
                <a:ext uri="{FF2B5EF4-FFF2-40B4-BE49-F238E27FC236}">
                  <a16:creationId xmlns:a16="http://schemas.microsoft.com/office/drawing/2014/main" id="{E5146D69-EDC4-84BB-3CF3-0662478CDF98}"/>
                </a:ext>
              </a:extLst>
            </p:cNvPr>
            <p:cNvSpPr/>
            <p:nvPr/>
          </p:nvSpPr>
          <p:spPr>
            <a:xfrm>
              <a:off x="8544354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1" name="object 1341">
              <a:extLst>
                <a:ext uri="{FF2B5EF4-FFF2-40B4-BE49-F238E27FC236}">
                  <a16:creationId xmlns:a16="http://schemas.microsoft.com/office/drawing/2014/main" id="{69B35A8A-F7CD-2320-F3A4-D917EEDF9FA0}"/>
                </a:ext>
              </a:extLst>
            </p:cNvPr>
            <p:cNvSpPr/>
            <p:nvPr/>
          </p:nvSpPr>
          <p:spPr>
            <a:xfrm>
              <a:off x="836924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2" name="object 1342">
              <a:extLst>
                <a:ext uri="{FF2B5EF4-FFF2-40B4-BE49-F238E27FC236}">
                  <a16:creationId xmlns:a16="http://schemas.microsoft.com/office/drawing/2014/main" id="{907C4F35-0A4F-76F8-8144-832F21913C52}"/>
                </a:ext>
              </a:extLst>
            </p:cNvPr>
            <p:cNvSpPr/>
            <p:nvPr/>
          </p:nvSpPr>
          <p:spPr>
            <a:xfrm>
              <a:off x="8649419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3" name="object 1343">
              <a:extLst>
                <a:ext uri="{FF2B5EF4-FFF2-40B4-BE49-F238E27FC236}">
                  <a16:creationId xmlns:a16="http://schemas.microsoft.com/office/drawing/2014/main" id="{E7096EB5-06A6-FE15-70C5-C6E968022301}"/>
                </a:ext>
              </a:extLst>
            </p:cNvPr>
            <p:cNvSpPr/>
            <p:nvPr/>
          </p:nvSpPr>
          <p:spPr>
            <a:xfrm>
              <a:off x="8474448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4" name="object 1344">
              <a:extLst>
                <a:ext uri="{FF2B5EF4-FFF2-40B4-BE49-F238E27FC236}">
                  <a16:creationId xmlns:a16="http://schemas.microsoft.com/office/drawing/2014/main" id="{47134959-482F-977D-9748-031816D69314}"/>
                </a:ext>
              </a:extLst>
            </p:cNvPr>
            <p:cNvSpPr/>
            <p:nvPr/>
          </p:nvSpPr>
          <p:spPr>
            <a:xfrm>
              <a:off x="8299478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5" name="object 1345">
              <a:extLst>
                <a:ext uri="{FF2B5EF4-FFF2-40B4-BE49-F238E27FC236}">
                  <a16:creationId xmlns:a16="http://schemas.microsoft.com/office/drawing/2014/main" id="{F84E9447-39F5-1298-4DE4-B9A059C37411}"/>
                </a:ext>
              </a:extLst>
            </p:cNvPr>
            <p:cNvSpPr/>
            <p:nvPr/>
          </p:nvSpPr>
          <p:spPr>
            <a:xfrm>
              <a:off x="8299478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6" name="object 1346">
              <a:extLst>
                <a:ext uri="{FF2B5EF4-FFF2-40B4-BE49-F238E27FC236}">
                  <a16:creationId xmlns:a16="http://schemas.microsoft.com/office/drawing/2014/main" id="{77B8A6A2-5CE0-EE26-C657-7E732403945E}"/>
                </a:ext>
              </a:extLst>
            </p:cNvPr>
            <p:cNvSpPr/>
            <p:nvPr/>
          </p:nvSpPr>
          <p:spPr>
            <a:xfrm>
              <a:off x="8299597" y="1848916"/>
              <a:ext cx="11513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9865"/>
                <a:gd name="f4" fmla="val 84455"/>
                <a:gd name="f5" fmla="val 189585"/>
                <a:gd name="f6" fmla="val 84112"/>
                <a:gd name="f7" fmla="*/ f0 1 189865"/>
                <a:gd name="f8" fmla="*/ f1 1 84455"/>
                <a:gd name="f9" fmla="+- f4 0 f2"/>
                <a:gd name="f10" fmla="+- f3 0 f2"/>
                <a:gd name="f11" fmla="*/ f10 1 18986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986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7" name="object 1347">
              <a:extLst>
                <a:ext uri="{FF2B5EF4-FFF2-40B4-BE49-F238E27FC236}">
                  <a16:creationId xmlns:a16="http://schemas.microsoft.com/office/drawing/2014/main" id="{4C9A6768-D8AC-775A-4934-FD2430184285}"/>
                </a:ext>
              </a:extLst>
            </p:cNvPr>
            <p:cNvSpPr/>
            <p:nvPr/>
          </p:nvSpPr>
          <p:spPr>
            <a:xfrm>
              <a:off x="8299597" y="1921227"/>
              <a:ext cx="951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56844"/>
                <a:gd name="f4" fmla="val 84454"/>
                <a:gd name="f5" fmla="val 156675"/>
                <a:gd name="f6" fmla="val 84091"/>
                <a:gd name="f7" fmla="*/ f0 1 156844"/>
                <a:gd name="f8" fmla="*/ f1 1 84454"/>
                <a:gd name="f9" fmla="+- f4 0 f2"/>
                <a:gd name="f10" fmla="+- f3 0 f2"/>
                <a:gd name="f11" fmla="*/ f10 1 15684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5684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8" name="object 1348">
              <a:extLst>
                <a:ext uri="{FF2B5EF4-FFF2-40B4-BE49-F238E27FC236}">
                  <a16:creationId xmlns:a16="http://schemas.microsoft.com/office/drawing/2014/main" id="{D0C9776B-EA5F-5EAD-1423-9E31DC1DDB09}"/>
                </a:ext>
              </a:extLst>
            </p:cNvPr>
            <p:cNvSpPr/>
            <p:nvPr/>
          </p:nvSpPr>
          <p:spPr>
            <a:xfrm>
              <a:off x="857902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49" name="object 1349">
              <a:extLst>
                <a:ext uri="{FF2B5EF4-FFF2-40B4-BE49-F238E27FC236}">
                  <a16:creationId xmlns:a16="http://schemas.microsoft.com/office/drawing/2014/main" id="{1754594D-3B14-48CE-1B2B-155224522C5B}"/>
                </a:ext>
              </a:extLst>
            </p:cNvPr>
            <p:cNvSpPr/>
            <p:nvPr/>
          </p:nvSpPr>
          <p:spPr>
            <a:xfrm>
              <a:off x="861405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0" name="object 1350">
              <a:extLst>
                <a:ext uri="{FF2B5EF4-FFF2-40B4-BE49-F238E27FC236}">
                  <a16:creationId xmlns:a16="http://schemas.microsoft.com/office/drawing/2014/main" id="{169BD6D9-74EC-635A-7C07-2E2B8F837C97}"/>
                </a:ext>
              </a:extLst>
            </p:cNvPr>
            <p:cNvSpPr/>
            <p:nvPr/>
          </p:nvSpPr>
          <p:spPr>
            <a:xfrm>
              <a:off x="850898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1" name="object 1351">
              <a:extLst>
                <a:ext uri="{FF2B5EF4-FFF2-40B4-BE49-F238E27FC236}">
                  <a16:creationId xmlns:a16="http://schemas.microsoft.com/office/drawing/2014/main" id="{A7460439-046A-D7F7-9B80-76863BD7D36A}"/>
                </a:ext>
              </a:extLst>
            </p:cNvPr>
            <p:cNvSpPr/>
            <p:nvPr/>
          </p:nvSpPr>
          <p:spPr>
            <a:xfrm>
              <a:off x="840392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2" name="object 1352">
              <a:extLst>
                <a:ext uri="{FF2B5EF4-FFF2-40B4-BE49-F238E27FC236}">
                  <a16:creationId xmlns:a16="http://schemas.microsoft.com/office/drawing/2014/main" id="{C0633395-9906-484D-88B1-2DCB7E3CACA1}"/>
                </a:ext>
              </a:extLst>
            </p:cNvPr>
            <p:cNvSpPr/>
            <p:nvPr/>
          </p:nvSpPr>
          <p:spPr>
            <a:xfrm>
              <a:off x="8439015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3" name="object 1353">
              <a:extLst>
                <a:ext uri="{FF2B5EF4-FFF2-40B4-BE49-F238E27FC236}">
                  <a16:creationId xmlns:a16="http://schemas.microsoft.com/office/drawing/2014/main" id="{C2F8513C-E917-81A4-8724-E66CBC4C5AA2}"/>
                </a:ext>
              </a:extLst>
            </p:cNvPr>
            <p:cNvSpPr/>
            <p:nvPr/>
          </p:nvSpPr>
          <p:spPr>
            <a:xfrm>
              <a:off x="833387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4" name="object 1354">
              <a:extLst>
                <a:ext uri="{FF2B5EF4-FFF2-40B4-BE49-F238E27FC236}">
                  <a16:creationId xmlns:a16="http://schemas.microsoft.com/office/drawing/2014/main" id="{42DFE45F-D5DD-F67C-3C69-4BF9085E4E52}"/>
                </a:ext>
              </a:extLst>
            </p:cNvPr>
            <p:cNvSpPr/>
            <p:nvPr/>
          </p:nvSpPr>
          <p:spPr>
            <a:xfrm>
              <a:off x="8544007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5" name="object 1355">
              <a:extLst>
                <a:ext uri="{FF2B5EF4-FFF2-40B4-BE49-F238E27FC236}">
                  <a16:creationId xmlns:a16="http://schemas.microsoft.com/office/drawing/2014/main" id="{D198A94C-DD29-8322-7796-3EBBE6E223E8}"/>
                </a:ext>
              </a:extLst>
            </p:cNvPr>
            <p:cNvSpPr/>
            <p:nvPr/>
          </p:nvSpPr>
          <p:spPr>
            <a:xfrm>
              <a:off x="836889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6" name="object 1356">
              <a:extLst>
                <a:ext uri="{FF2B5EF4-FFF2-40B4-BE49-F238E27FC236}">
                  <a16:creationId xmlns:a16="http://schemas.microsoft.com/office/drawing/2014/main" id="{BE471919-DDF2-7D43-8F03-23C1E2BD39E8}"/>
                </a:ext>
              </a:extLst>
            </p:cNvPr>
            <p:cNvSpPr/>
            <p:nvPr/>
          </p:nvSpPr>
          <p:spPr>
            <a:xfrm>
              <a:off x="864907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7" name="object 1357">
              <a:extLst>
                <a:ext uri="{FF2B5EF4-FFF2-40B4-BE49-F238E27FC236}">
                  <a16:creationId xmlns:a16="http://schemas.microsoft.com/office/drawing/2014/main" id="{A1FA4D89-2293-B63B-BD11-ED449DA9F052}"/>
                </a:ext>
              </a:extLst>
            </p:cNvPr>
            <p:cNvSpPr/>
            <p:nvPr/>
          </p:nvSpPr>
          <p:spPr>
            <a:xfrm>
              <a:off x="847410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8" name="object 1358">
              <a:extLst>
                <a:ext uri="{FF2B5EF4-FFF2-40B4-BE49-F238E27FC236}">
                  <a16:creationId xmlns:a16="http://schemas.microsoft.com/office/drawing/2014/main" id="{76FC61C0-E4CD-580D-5880-44A316CCF39C}"/>
                </a:ext>
              </a:extLst>
            </p:cNvPr>
            <p:cNvSpPr/>
            <p:nvPr/>
          </p:nvSpPr>
          <p:spPr>
            <a:xfrm>
              <a:off x="8299130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59" name="object 1359">
              <a:extLst>
                <a:ext uri="{FF2B5EF4-FFF2-40B4-BE49-F238E27FC236}">
                  <a16:creationId xmlns:a16="http://schemas.microsoft.com/office/drawing/2014/main" id="{1194C825-8EA8-E859-D337-EB7A29246F84}"/>
                </a:ext>
              </a:extLst>
            </p:cNvPr>
            <p:cNvSpPr/>
            <p:nvPr/>
          </p:nvSpPr>
          <p:spPr>
            <a:xfrm>
              <a:off x="8474101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0" name="object 1360">
              <a:extLst>
                <a:ext uri="{FF2B5EF4-FFF2-40B4-BE49-F238E27FC236}">
                  <a16:creationId xmlns:a16="http://schemas.microsoft.com/office/drawing/2014/main" id="{39CDBB2E-E6D5-CF01-0A7E-77F533B9E38F}"/>
                </a:ext>
              </a:extLst>
            </p:cNvPr>
            <p:cNvSpPr/>
            <p:nvPr/>
          </p:nvSpPr>
          <p:spPr>
            <a:xfrm>
              <a:off x="8299130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1" name="object 1361">
              <a:extLst>
                <a:ext uri="{FF2B5EF4-FFF2-40B4-BE49-F238E27FC236}">
                  <a16:creationId xmlns:a16="http://schemas.microsoft.com/office/drawing/2014/main" id="{753787DD-B9EF-CC16-B075-F09EF734C48A}"/>
                </a:ext>
              </a:extLst>
            </p:cNvPr>
            <p:cNvSpPr/>
            <p:nvPr/>
          </p:nvSpPr>
          <p:spPr>
            <a:xfrm>
              <a:off x="7758199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2" name="object 1362">
              <a:extLst>
                <a:ext uri="{FF2B5EF4-FFF2-40B4-BE49-F238E27FC236}">
                  <a16:creationId xmlns:a16="http://schemas.microsoft.com/office/drawing/2014/main" id="{BA44E609-A340-C2E4-8257-96DB5D778AC9}"/>
                </a:ext>
              </a:extLst>
            </p:cNvPr>
            <p:cNvSpPr/>
            <p:nvPr/>
          </p:nvSpPr>
          <p:spPr>
            <a:xfrm>
              <a:off x="779322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3" name="object 1363">
              <a:extLst>
                <a:ext uri="{FF2B5EF4-FFF2-40B4-BE49-F238E27FC236}">
                  <a16:creationId xmlns:a16="http://schemas.microsoft.com/office/drawing/2014/main" id="{72DE8910-01AB-D125-8505-409B88CD650B}"/>
                </a:ext>
              </a:extLst>
            </p:cNvPr>
            <p:cNvSpPr/>
            <p:nvPr/>
          </p:nvSpPr>
          <p:spPr>
            <a:xfrm>
              <a:off x="768815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4" name="object 1364">
              <a:extLst>
                <a:ext uri="{FF2B5EF4-FFF2-40B4-BE49-F238E27FC236}">
                  <a16:creationId xmlns:a16="http://schemas.microsoft.com/office/drawing/2014/main" id="{914CCB32-A992-828F-CE90-EF73569B3D4A}"/>
                </a:ext>
              </a:extLst>
            </p:cNvPr>
            <p:cNvSpPr/>
            <p:nvPr/>
          </p:nvSpPr>
          <p:spPr>
            <a:xfrm>
              <a:off x="758309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5" name="object 1365">
              <a:extLst>
                <a:ext uri="{FF2B5EF4-FFF2-40B4-BE49-F238E27FC236}">
                  <a16:creationId xmlns:a16="http://schemas.microsoft.com/office/drawing/2014/main" id="{E490C9C3-E7CC-AF15-B768-B107029E3644}"/>
                </a:ext>
              </a:extLst>
            </p:cNvPr>
            <p:cNvSpPr/>
            <p:nvPr/>
          </p:nvSpPr>
          <p:spPr>
            <a:xfrm>
              <a:off x="7618186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6" name="object 1366">
              <a:extLst>
                <a:ext uri="{FF2B5EF4-FFF2-40B4-BE49-F238E27FC236}">
                  <a16:creationId xmlns:a16="http://schemas.microsoft.com/office/drawing/2014/main" id="{F558B83A-9302-EA9C-A95A-9DBBC8589747}"/>
                </a:ext>
              </a:extLst>
            </p:cNvPr>
            <p:cNvSpPr/>
            <p:nvPr/>
          </p:nvSpPr>
          <p:spPr>
            <a:xfrm>
              <a:off x="7513048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7" name="object 1367">
              <a:extLst>
                <a:ext uri="{FF2B5EF4-FFF2-40B4-BE49-F238E27FC236}">
                  <a16:creationId xmlns:a16="http://schemas.microsoft.com/office/drawing/2014/main" id="{E9A133B8-2C66-2270-9065-701D4ED56E8A}"/>
                </a:ext>
              </a:extLst>
            </p:cNvPr>
            <p:cNvSpPr/>
            <p:nvPr/>
          </p:nvSpPr>
          <p:spPr>
            <a:xfrm>
              <a:off x="772317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8" name="object 1368">
              <a:extLst>
                <a:ext uri="{FF2B5EF4-FFF2-40B4-BE49-F238E27FC236}">
                  <a16:creationId xmlns:a16="http://schemas.microsoft.com/office/drawing/2014/main" id="{20295171-AB4F-309F-5A76-31C50E2A682F}"/>
                </a:ext>
              </a:extLst>
            </p:cNvPr>
            <p:cNvSpPr/>
            <p:nvPr/>
          </p:nvSpPr>
          <p:spPr>
            <a:xfrm>
              <a:off x="7548070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69" name="object 1369">
              <a:extLst>
                <a:ext uri="{FF2B5EF4-FFF2-40B4-BE49-F238E27FC236}">
                  <a16:creationId xmlns:a16="http://schemas.microsoft.com/office/drawing/2014/main" id="{094E17C5-97CE-FC16-5ED2-37DB44450EB1}"/>
                </a:ext>
              </a:extLst>
            </p:cNvPr>
            <p:cNvSpPr/>
            <p:nvPr/>
          </p:nvSpPr>
          <p:spPr>
            <a:xfrm>
              <a:off x="7828242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0" name="object 1370">
              <a:extLst>
                <a:ext uri="{FF2B5EF4-FFF2-40B4-BE49-F238E27FC236}">
                  <a16:creationId xmlns:a16="http://schemas.microsoft.com/office/drawing/2014/main" id="{3ADBD91B-3C98-EB68-EF3F-1BD6893DE785}"/>
                </a:ext>
              </a:extLst>
            </p:cNvPr>
            <p:cNvSpPr/>
            <p:nvPr/>
          </p:nvSpPr>
          <p:spPr>
            <a:xfrm>
              <a:off x="7653271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1" name="object 1371">
              <a:extLst>
                <a:ext uri="{FF2B5EF4-FFF2-40B4-BE49-F238E27FC236}">
                  <a16:creationId xmlns:a16="http://schemas.microsoft.com/office/drawing/2014/main" id="{58DF1F74-25B2-3293-369F-D4E56C40EB18}"/>
                </a:ext>
              </a:extLst>
            </p:cNvPr>
            <p:cNvSpPr/>
            <p:nvPr/>
          </p:nvSpPr>
          <p:spPr>
            <a:xfrm>
              <a:off x="7478301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2" name="object 1372">
              <a:extLst>
                <a:ext uri="{FF2B5EF4-FFF2-40B4-BE49-F238E27FC236}">
                  <a16:creationId xmlns:a16="http://schemas.microsoft.com/office/drawing/2014/main" id="{54B41F1C-59EE-7D92-175C-5FF92B4B9DD9}"/>
                </a:ext>
              </a:extLst>
            </p:cNvPr>
            <p:cNvSpPr/>
            <p:nvPr/>
          </p:nvSpPr>
          <p:spPr>
            <a:xfrm>
              <a:off x="7478301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3" name="object 1373">
              <a:extLst>
                <a:ext uri="{FF2B5EF4-FFF2-40B4-BE49-F238E27FC236}">
                  <a16:creationId xmlns:a16="http://schemas.microsoft.com/office/drawing/2014/main" id="{385CB24C-750A-6026-9A42-87238B6E3775}"/>
                </a:ext>
              </a:extLst>
            </p:cNvPr>
            <p:cNvSpPr/>
            <p:nvPr/>
          </p:nvSpPr>
          <p:spPr>
            <a:xfrm>
              <a:off x="7478429" y="1848916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4"/>
                <a:gd name="f4" fmla="val 84455"/>
                <a:gd name="f5" fmla="val 241594"/>
                <a:gd name="f6" fmla="val 84112"/>
                <a:gd name="f7" fmla="*/ f0 1 241934"/>
                <a:gd name="f8" fmla="*/ f1 1 84455"/>
                <a:gd name="f9" fmla="+- f4 0 f2"/>
                <a:gd name="f10" fmla="+- f3 0 f2"/>
                <a:gd name="f11" fmla="*/ f10 1 241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4" name="object 1374">
              <a:extLst>
                <a:ext uri="{FF2B5EF4-FFF2-40B4-BE49-F238E27FC236}">
                  <a16:creationId xmlns:a16="http://schemas.microsoft.com/office/drawing/2014/main" id="{FFE1792B-5AF4-A0EE-718B-07EE29A70A82}"/>
                </a:ext>
              </a:extLst>
            </p:cNvPr>
            <p:cNvSpPr/>
            <p:nvPr/>
          </p:nvSpPr>
          <p:spPr>
            <a:xfrm>
              <a:off x="7478429" y="1921227"/>
              <a:ext cx="29727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90220"/>
                <a:gd name="f4" fmla="val 84454"/>
                <a:gd name="f5" fmla="val 489618"/>
                <a:gd name="f6" fmla="val 84091"/>
                <a:gd name="f7" fmla="*/ f0 1 490220"/>
                <a:gd name="f8" fmla="*/ f1 1 84454"/>
                <a:gd name="f9" fmla="+- f4 0 f2"/>
                <a:gd name="f10" fmla="+- f3 0 f2"/>
                <a:gd name="f11" fmla="*/ f10 1 49022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9022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5" name="object 1375">
              <a:extLst>
                <a:ext uri="{FF2B5EF4-FFF2-40B4-BE49-F238E27FC236}">
                  <a16:creationId xmlns:a16="http://schemas.microsoft.com/office/drawing/2014/main" id="{BFFAE0D2-75E0-8E9B-4C45-AC81800C6EA2}"/>
                </a:ext>
              </a:extLst>
            </p:cNvPr>
            <p:cNvSpPr/>
            <p:nvPr/>
          </p:nvSpPr>
          <p:spPr>
            <a:xfrm>
              <a:off x="775785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6" name="object 1376">
              <a:extLst>
                <a:ext uri="{FF2B5EF4-FFF2-40B4-BE49-F238E27FC236}">
                  <a16:creationId xmlns:a16="http://schemas.microsoft.com/office/drawing/2014/main" id="{116C3E9F-E2F5-FFEF-4960-76F1080193FA}"/>
                </a:ext>
              </a:extLst>
            </p:cNvPr>
            <p:cNvSpPr/>
            <p:nvPr/>
          </p:nvSpPr>
          <p:spPr>
            <a:xfrm>
              <a:off x="779287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7" name="object 1377">
              <a:extLst>
                <a:ext uri="{FF2B5EF4-FFF2-40B4-BE49-F238E27FC236}">
                  <a16:creationId xmlns:a16="http://schemas.microsoft.com/office/drawing/2014/main" id="{FC3A1787-E4B6-BC87-488B-8FC34542C3C9}"/>
                </a:ext>
              </a:extLst>
            </p:cNvPr>
            <p:cNvSpPr/>
            <p:nvPr/>
          </p:nvSpPr>
          <p:spPr>
            <a:xfrm>
              <a:off x="768780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8" name="object 1378">
              <a:extLst>
                <a:ext uri="{FF2B5EF4-FFF2-40B4-BE49-F238E27FC236}">
                  <a16:creationId xmlns:a16="http://schemas.microsoft.com/office/drawing/2014/main" id="{039D4C52-5740-5572-36D7-FBA72E20857C}"/>
                </a:ext>
              </a:extLst>
            </p:cNvPr>
            <p:cNvSpPr/>
            <p:nvPr/>
          </p:nvSpPr>
          <p:spPr>
            <a:xfrm>
              <a:off x="758274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79" name="object 1379">
              <a:extLst>
                <a:ext uri="{FF2B5EF4-FFF2-40B4-BE49-F238E27FC236}">
                  <a16:creationId xmlns:a16="http://schemas.microsoft.com/office/drawing/2014/main" id="{12B3E69E-0340-7EE1-1BE6-45CD424D3AF3}"/>
                </a:ext>
              </a:extLst>
            </p:cNvPr>
            <p:cNvSpPr/>
            <p:nvPr/>
          </p:nvSpPr>
          <p:spPr>
            <a:xfrm>
              <a:off x="761783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0" name="object 1380">
              <a:extLst>
                <a:ext uri="{FF2B5EF4-FFF2-40B4-BE49-F238E27FC236}">
                  <a16:creationId xmlns:a16="http://schemas.microsoft.com/office/drawing/2014/main" id="{DD1C200F-97D1-85C0-3AAF-3AC4FD902BBB}"/>
                </a:ext>
              </a:extLst>
            </p:cNvPr>
            <p:cNvSpPr/>
            <p:nvPr/>
          </p:nvSpPr>
          <p:spPr>
            <a:xfrm>
              <a:off x="7512701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1" name="object 1381">
              <a:extLst>
                <a:ext uri="{FF2B5EF4-FFF2-40B4-BE49-F238E27FC236}">
                  <a16:creationId xmlns:a16="http://schemas.microsoft.com/office/drawing/2014/main" id="{8047BE65-214C-9BE1-8F19-50DC7467DE22}"/>
                </a:ext>
              </a:extLst>
            </p:cNvPr>
            <p:cNvSpPr/>
            <p:nvPr/>
          </p:nvSpPr>
          <p:spPr>
            <a:xfrm>
              <a:off x="7722830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2" name="object 1382">
              <a:extLst>
                <a:ext uri="{FF2B5EF4-FFF2-40B4-BE49-F238E27FC236}">
                  <a16:creationId xmlns:a16="http://schemas.microsoft.com/office/drawing/2014/main" id="{F481F012-4C0F-98DC-F785-3A10E555BBB4}"/>
                </a:ext>
              </a:extLst>
            </p:cNvPr>
            <p:cNvSpPr/>
            <p:nvPr/>
          </p:nvSpPr>
          <p:spPr>
            <a:xfrm>
              <a:off x="7547722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3" name="object 1383">
              <a:extLst>
                <a:ext uri="{FF2B5EF4-FFF2-40B4-BE49-F238E27FC236}">
                  <a16:creationId xmlns:a16="http://schemas.microsoft.com/office/drawing/2014/main" id="{38907BB2-C3C7-E509-C670-1523AF2CA277}"/>
                </a:ext>
              </a:extLst>
            </p:cNvPr>
            <p:cNvSpPr/>
            <p:nvPr/>
          </p:nvSpPr>
          <p:spPr>
            <a:xfrm>
              <a:off x="782789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4" name="object 1384">
              <a:extLst>
                <a:ext uri="{FF2B5EF4-FFF2-40B4-BE49-F238E27FC236}">
                  <a16:creationId xmlns:a16="http://schemas.microsoft.com/office/drawing/2014/main" id="{482FA86F-B452-435E-41EC-7284406A8BB8}"/>
                </a:ext>
              </a:extLst>
            </p:cNvPr>
            <p:cNvSpPr/>
            <p:nvPr/>
          </p:nvSpPr>
          <p:spPr>
            <a:xfrm>
              <a:off x="765292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5" name="object 1385">
              <a:extLst>
                <a:ext uri="{FF2B5EF4-FFF2-40B4-BE49-F238E27FC236}">
                  <a16:creationId xmlns:a16="http://schemas.microsoft.com/office/drawing/2014/main" id="{DAE643B8-88C0-1155-294D-BD0BF30FCC7C}"/>
                </a:ext>
              </a:extLst>
            </p:cNvPr>
            <p:cNvSpPr/>
            <p:nvPr/>
          </p:nvSpPr>
          <p:spPr>
            <a:xfrm>
              <a:off x="747795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6" name="object 1386">
              <a:extLst>
                <a:ext uri="{FF2B5EF4-FFF2-40B4-BE49-F238E27FC236}">
                  <a16:creationId xmlns:a16="http://schemas.microsoft.com/office/drawing/2014/main" id="{09C8F774-57D4-F2FC-D7D7-5034A8AA6222}"/>
                </a:ext>
              </a:extLst>
            </p:cNvPr>
            <p:cNvSpPr/>
            <p:nvPr/>
          </p:nvSpPr>
          <p:spPr>
            <a:xfrm>
              <a:off x="7652924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87" name="object 1387">
              <a:extLst>
                <a:ext uri="{FF2B5EF4-FFF2-40B4-BE49-F238E27FC236}">
                  <a16:creationId xmlns:a16="http://schemas.microsoft.com/office/drawing/2014/main" id="{065939B0-BF67-C897-A50C-7200A706BD3F}"/>
                </a:ext>
              </a:extLst>
            </p:cNvPr>
            <p:cNvSpPr/>
            <p:nvPr/>
          </p:nvSpPr>
          <p:spPr>
            <a:xfrm>
              <a:off x="7477954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388" name="object 1388">
              <a:extLst>
                <a:ext uri="{FF2B5EF4-FFF2-40B4-BE49-F238E27FC236}">
                  <a16:creationId xmlns:a16="http://schemas.microsoft.com/office/drawing/2014/main" id="{E9343F81-42EF-E9E9-60CC-6F9820683F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8294193" y="2100413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389" name="object 1389">
              <a:extLst>
                <a:ext uri="{FF2B5EF4-FFF2-40B4-BE49-F238E27FC236}">
                  <a16:creationId xmlns:a16="http://schemas.microsoft.com/office/drawing/2014/main" id="{4E6E9F78-840C-F1ED-7483-80955AADC6D4}"/>
                </a:ext>
              </a:extLst>
            </p:cNvPr>
            <p:cNvSpPr/>
            <p:nvPr/>
          </p:nvSpPr>
          <p:spPr>
            <a:xfrm>
              <a:off x="8294193" y="210042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0"/>
                <a:gd name="f27" fmla="val 197340"/>
                <a:gd name="f28" fmla="val 155939"/>
                <a:gd name="f29" fmla="val 118131"/>
                <a:gd name="f30" fmla="val 84510"/>
                <a:gd name="f31" fmla="val 55670"/>
                <a:gd name="f32" fmla="val 335338"/>
                <a:gd name="f33" fmla="val 379737"/>
                <a:gd name="f34" fmla="val 421137"/>
                <a:gd name="f35" fmla="val 458945"/>
                <a:gd name="f36" fmla="val 492567"/>
                <a:gd name="f37" fmla="val 521408"/>
                <a:gd name="f38" fmla="val 544874"/>
                <a:gd name="f39" fmla="val 562371"/>
                <a:gd name="f40" fmla="*/ f0 1 577215"/>
                <a:gd name="f41" fmla="*/ f1 1 577214"/>
                <a:gd name="f42" fmla="+- f4 0 f2"/>
                <a:gd name="f43" fmla="+- f3 0 f2"/>
                <a:gd name="f44" fmla="*/ f43 1 577215"/>
                <a:gd name="f45" fmla="*/ f42 1 577214"/>
                <a:gd name="f46" fmla="*/ f2 1 f44"/>
                <a:gd name="f47" fmla="*/ f3 1 f44"/>
                <a:gd name="f48" fmla="*/ f2 1 f45"/>
                <a:gd name="f49" fmla="*/ f4 1 f45"/>
                <a:gd name="f50" fmla="*/ f46 f40 1"/>
                <a:gd name="f51" fmla="*/ f47 f40 1"/>
                <a:gd name="f52" fmla="*/ f49 f41 1"/>
                <a:gd name="f53" fmla="*/ f48 f4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0" t="f53" r="f51" b="f52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2"/>
                  </a:lnTo>
                  <a:lnTo>
                    <a:pt x="f22" y="f33"/>
                  </a:lnTo>
                  <a:lnTo>
                    <a:pt x="f20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39"/>
                  </a:lnTo>
                  <a:lnTo>
                    <a:pt x="f19" y="f38"/>
                  </a:lnTo>
                  <a:lnTo>
                    <a:pt x="f17" y="f37"/>
                  </a:lnTo>
                  <a:lnTo>
                    <a:pt x="f15" y="f36"/>
                  </a:lnTo>
                  <a:lnTo>
                    <a:pt x="f13" y="f35"/>
                  </a:lnTo>
                  <a:lnTo>
                    <a:pt x="f11" y="f34"/>
                  </a:lnTo>
                  <a:lnTo>
                    <a:pt x="f9" y="f33"/>
                  </a:lnTo>
                  <a:lnTo>
                    <a:pt x="f7" y="f3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0" name="object 1390">
              <a:extLst>
                <a:ext uri="{FF2B5EF4-FFF2-40B4-BE49-F238E27FC236}">
                  <a16:creationId xmlns:a16="http://schemas.microsoft.com/office/drawing/2014/main" id="{606A8E61-5271-35AF-5031-8EE3CD5D197C}"/>
                </a:ext>
              </a:extLst>
            </p:cNvPr>
            <p:cNvSpPr/>
            <p:nvPr/>
          </p:nvSpPr>
          <p:spPr>
            <a:xfrm>
              <a:off x="3369692" y="1847609"/>
              <a:ext cx="14670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41935"/>
                <a:gd name="f4" fmla="val 84455"/>
                <a:gd name="f5" fmla="val 241406"/>
                <a:gd name="f6" fmla="val 84123"/>
                <a:gd name="f7" fmla="*/ f0 1 241935"/>
                <a:gd name="f8" fmla="*/ f1 1 84455"/>
                <a:gd name="f9" fmla="+- f4 0 f2"/>
                <a:gd name="f10" fmla="+- f3 0 f2"/>
                <a:gd name="f11" fmla="*/ f10 1 24193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4193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1" name="object 1391">
              <a:extLst>
                <a:ext uri="{FF2B5EF4-FFF2-40B4-BE49-F238E27FC236}">
                  <a16:creationId xmlns:a16="http://schemas.microsoft.com/office/drawing/2014/main" id="{8C95826E-0B54-9ED6-3239-A45EF35BE130}"/>
                </a:ext>
              </a:extLst>
            </p:cNvPr>
            <p:cNvSpPr/>
            <p:nvPr/>
          </p:nvSpPr>
          <p:spPr>
            <a:xfrm>
              <a:off x="3474482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2" name="object 1392">
              <a:extLst>
                <a:ext uri="{FF2B5EF4-FFF2-40B4-BE49-F238E27FC236}">
                  <a16:creationId xmlns:a16="http://schemas.microsoft.com/office/drawing/2014/main" id="{43D2CED8-1169-0FA6-84DC-A50493FEE57F}"/>
                </a:ext>
              </a:extLst>
            </p:cNvPr>
            <p:cNvSpPr/>
            <p:nvPr/>
          </p:nvSpPr>
          <p:spPr>
            <a:xfrm>
              <a:off x="3509576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3" name="object 1393">
              <a:extLst>
                <a:ext uri="{FF2B5EF4-FFF2-40B4-BE49-F238E27FC236}">
                  <a16:creationId xmlns:a16="http://schemas.microsoft.com/office/drawing/2014/main" id="{C859C280-1172-DFE1-BF40-ADFC0427A7CD}"/>
                </a:ext>
              </a:extLst>
            </p:cNvPr>
            <p:cNvSpPr/>
            <p:nvPr/>
          </p:nvSpPr>
          <p:spPr>
            <a:xfrm>
              <a:off x="3404439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4" name="object 1394">
              <a:extLst>
                <a:ext uri="{FF2B5EF4-FFF2-40B4-BE49-F238E27FC236}">
                  <a16:creationId xmlns:a16="http://schemas.microsoft.com/office/drawing/2014/main" id="{C89EB86C-9A40-03D8-D15B-59D604C076C7}"/>
                </a:ext>
              </a:extLst>
            </p:cNvPr>
            <p:cNvSpPr/>
            <p:nvPr/>
          </p:nvSpPr>
          <p:spPr>
            <a:xfrm>
              <a:off x="3439460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5" name="object 1395">
              <a:extLst>
                <a:ext uri="{FF2B5EF4-FFF2-40B4-BE49-F238E27FC236}">
                  <a16:creationId xmlns:a16="http://schemas.microsoft.com/office/drawing/2014/main" id="{20407378-8E3E-195F-E3E0-F6F629E0FFF2}"/>
                </a:ext>
              </a:extLst>
            </p:cNvPr>
            <p:cNvSpPr/>
            <p:nvPr/>
          </p:nvSpPr>
          <p:spPr>
            <a:xfrm>
              <a:off x="3369692" y="184760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6" name="object 1396">
              <a:extLst>
                <a:ext uri="{FF2B5EF4-FFF2-40B4-BE49-F238E27FC236}">
                  <a16:creationId xmlns:a16="http://schemas.microsoft.com/office/drawing/2014/main" id="{FD323A29-7609-B7C2-4BCC-778257B7B26E}"/>
                </a:ext>
              </a:extLst>
            </p:cNvPr>
            <p:cNvSpPr/>
            <p:nvPr/>
          </p:nvSpPr>
          <p:spPr>
            <a:xfrm>
              <a:off x="3649589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7" name="object 1397">
              <a:extLst>
                <a:ext uri="{FF2B5EF4-FFF2-40B4-BE49-F238E27FC236}">
                  <a16:creationId xmlns:a16="http://schemas.microsoft.com/office/drawing/2014/main" id="{631FEBFD-CAFE-0730-95DA-CCBEB6A83522}"/>
                </a:ext>
              </a:extLst>
            </p:cNvPr>
            <p:cNvSpPr/>
            <p:nvPr/>
          </p:nvSpPr>
          <p:spPr>
            <a:xfrm>
              <a:off x="3684611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8" name="object 1398">
              <a:extLst>
                <a:ext uri="{FF2B5EF4-FFF2-40B4-BE49-F238E27FC236}">
                  <a16:creationId xmlns:a16="http://schemas.microsoft.com/office/drawing/2014/main" id="{DAA1EB59-2273-7AFE-96D5-048E13BDD3BF}"/>
                </a:ext>
              </a:extLst>
            </p:cNvPr>
            <p:cNvSpPr/>
            <p:nvPr/>
          </p:nvSpPr>
          <p:spPr>
            <a:xfrm>
              <a:off x="3579546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99" name="object 1399">
              <a:extLst>
                <a:ext uri="{FF2B5EF4-FFF2-40B4-BE49-F238E27FC236}">
                  <a16:creationId xmlns:a16="http://schemas.microsoft.com/office/drawing/2014/main" id="{0F1F59FC-7E02-939F-F5CD-2042FEC57620}"/>
                </a:ext>
              </a:extLst>
            </p:cNvPr>
            <p:cNvSpPr/>
            <p:nvPr/>
          </p:nvSpPr>
          <p:spPr>
            <a:xfrm>
              <a:off x="3614568" y="18603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0" name="object 1400">
              <a:extLst>
                <a:ext uri="{FF2B5EF4-FFF2-40B4-BE49-F238E27FC236}">
                  <a16:creationId xmlns:a16="http://schemas.microsoft.com/office/drawing/2014/main" id="{560FB7F6-3B0A-EF43-815C-B23D48C42B61}"/>
                </a:ext>
              </a:extLst>
            </p:cNvPr>
            <p:cNvSpPr/>
            <p:nvPr/>
          </p:nvSpPr>
          <p:spPr>
            <a:xfrm>
              <a:off x="3719642" y="184760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1" name="object 1401">
              <a:extLst>
                <a:ext uri="{FF2B5EF4-FFF2-40B4-BE49-F238E27FC236}">
                  <a16:creationId xmlns:a16="http://schemas.microsoft.com/office/drawing/2014/main" id="{D973C8E8-A25E-E6BE-C6B4-93E70503BE23}"/>
                </a:ext>
              </a:extLst>
            </p:cNvPr>
            <p:cNvSpPr/>
            <p:nvPr/>
          </p:nvSpPr>
          <p:spPr>
            <a:xfrm>
              <a:off x="3544662" y="184760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2" name="object 1402">
              <a:extLst>
                <a:ext uri="{FF2B5EF4-FFF2-40B4-BE49-F238E27FC236}">
                  <a16:creationId xmlns:a16="http://schemas.microsoft.com/office/drawing/2014/main" id="{CCAC2221-5318-D44D-60B5-B27AED929CAE}"/>
                </a:ext>
              </a:extLst>
            </p:cNvPr>
            <p:cNvSpPr/>
            <p:nvPr/>
          </p:nvSpPr>
          <p:spPr>
            <a:xfrm>
              <a:off x="3369692" y="187311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3" name="object 1403">
              <a:extLst>
                <a:ext uri="{FF2B5EF4-FFF2-40B4-BE49-F238E27FC236}">
                  <a16:creationId xmlns:a16="http://schemas.microsoft.com/office/drawing/2014/main" id="{04AAF8C6-3C85-DEB6-B728-08541A2381CD}"/>
                </a:ext>
              </a:extLst>
            </p:cNvPr>
            <p:cNvSpPr/>
            <p:nvPr/>
          </p:nvSpPr>
          <p:spPr>
            <a:xfrm>
              <a:off x="3370158" y="1920624"/>
              <a:ext cx="6507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7314"/>
                <a:gd name="f4" fmla="val 84454"/>
                <a:gd name="f5" fmla="val 106834"/>
                <a:gd name="f6" fmla="val 84123"/>
                <a:gd name="f7" fmla="*/ f0 1 107314"/>
                <a:gd name="f8" fmla="*/ f1 1 84454"/>
                <a:gd name="f9" fmla="+- f4 0 f2"/>
                <a:gd name="f10" fmla="+- f3 0 f2"/>
                <a:gd name="f11" fmla="*/ f10 1 10731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731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4" name="object 1404">
              <a:extLst>
                <a:ext uri="{FF2B5EF4-FFF2-40B4-BE49-F238E27FC236}">
                  <a16:creationId xmlns:a16="http://schemas.microsoft.com/office/drawing/2014/main" id="{ABC4D5B7-577C-B4FD-AB5C-09B82F5E72DA}"/>
                </a:ext>
              </a:extLst>
            </p:cNvPr>
            <p:cNvSpPr/>
            <p:nvPr/>
          </p:nvSpPr>
          <p:spPr>
            <a:xfrm>
              <a:off x="3649589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5" name="object 1405">
              <a:extLst>
                <a:ext uri="{FF2B5EF4-FFF2-40B4-BE49-F238E27FC236}">
                  <a16:creationId xmlns:a16="http://schemas.microsoft.com/office/drawing/2014/main" id="{AF36B48C-B27B-B73E-5E63-B5C05615FA69}"/>
                </a:ext>
              </a:extLst>
            </p:cNvPr>
            <p:cNvSpPr/>
            <p:nvPr/>
          </p:nvSpPr>
          <p:spPr>
            <a:xfrm>
              <a:off x="3684611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6" name="object 1406">
              <a:extLst>
                <a:ext uri="{FF2B5EF4-FFF2-40B4-BE49-F238E27FC236}">
                  <a16:creationId xmlns:a16="http://schemas.microsoft.com/office/drawing/2014/main" id="{B60B1BEA-DD86-5279-E61D-090969DD3F52}"/>
                </a:ext>
              </a:extLst>
            </p:cNvPr>
            <p:cNvSpPr/>
            <p:nvPr/>
          </p:nvSpPr>
          <p:spPr>
            <a:xfrm>
              <a:off x="3579546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7" name="object 1407">
              <a:extLst>
                <a:ext uri="{FF2B5EF4-FFF2-40B4-BE49-F238E27FC236}">
                  <a16:creationId xmlns:a16="http://schemas.microsoft.com/office/drawing/2014/main" id="{B7D01B72-3641-4599-CA28-EAC9680CE055}"/>
                </a:ext>
              </a:extLst>
            </p:cNvPr>
            <p:cNvSpPr/>
            <p:nvPr/>
          </p:nvSpPr>
          <p:spPr>
            <a:xfrm>
              <a:off x="3474482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8" name="object 1408">
              <a:extLst>
                <a:ext uri="{FF2B5EF4-FFF2-40B4-BE49-F238E27FC236}">
                  <a16:creationId xmlns:a16="http://schemas.microsoft.com/office/drawing/2014/main" id="{872F144E-0D91-DD74-F693-FA16FEB262CF}"/>
                </a:ext>
              </a:extLst>
            </p:cNvPr>
            <p:cNvSpPr/>
            <p:nvPr/>
          </p:nvSpPr>
          <p:spPr>
            <a:xfrm>
              <a:off x="3509576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09" name="object 1409">
              <a:extLst>
                <a:ext uri="{FF2B5EF4-FFF2-40B4-BE49-F238E27FC236}">
                  <a16:creationId xmlns:a16="http://schemas.microsoft.com/office/drawing/2014/main" id="{8F94755C-B4DA-105C-4343-9BE022B16344}"/>
                </a:ext>
              </a:extLst>
            </p:cNvPr>
            <p:cNvSpPr/>
            <p:nvPr/>
          </p:nvSpPr>
          <p:spPr>
            <a:xfrm>
              <a:off x="3404439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0" name="object 1410">
              <a:extLst>
                <a:ext uri="{FF2B5EF4-FFF2-40B4-BE49-F238E27FC236}">
                  <a16:creationId xmlns:a16="http://schemas.microsoft.com/office/drawing/2014/main" id="{D79F8E74-CE9F-E8B9-F192-DF943EE521A2}"/>
                </a:ext>
              </a:extLst>
            </p:cNvPr>
            <p:cNvSpPr/>
            <p:nvPr/>
          </p:nvSpPr>
          <p:spPr>
            <a:xfrm>
              <a:off x="3614568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1" name="object 1411">
              <a:extLst>
                <a:ext uri="{FF2B5EF4-FFF2-40B4-BE49-F238E27FC236}">
                  <a16:creationId xmlns:a16="http://schemas.microsoft.com/office/drawing/2014/main" id="{CC4160B1-7221-BE98-A7BE-404789892CB2}"/>
                </a:ext>
              </a:extLst>
            </p:cNvPr>
            <p:cNvSpPr/>
            <p:nvPr/>
          </p:nvSpPr>
          <p:spPr>
            <a:xfrm>
              <a:off x="3439460" y="193337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2" name="object 1412">
              <a:extLst>
                <a:ext uri="{FF2B5EF4-FFF2-40B4-BE49-F238E27FC236}">
                  <a16:creationId xmlns:a16="http://schemas.microsoft.com/office/drawing/2014/main" id="{E6FE43F1-E7FA-E51F-2FE6-B9BDBF19763F}"/>
                </a:ext>
              </a:extLst>
            </p:cNvPr>
            <p:cNvSpPr/>
            <p:nvPr/>
          </p:nvSpPr>
          <p:spPr>
            <a:xfrm>
              <a:off x="371964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3" name="object 1413">
              <a:extLst>
                <a:ext uri="{FF2B5EF4-FFF2-40B4-BE49-F238E27FC236}">
                  <a16:creationId xmlns:a16="http://schemas.microsoft.com/office/drawing/2014/main" id="{0B80C415-EA20-6E67-B1FF-6DDDCB896860}"/>
                </a:ext>
              </a:extLst>
            </p:cNvPr>
            <p:cNvSpPr/>
            <p:nvPr/>
          </p:nvSpPr>
          <p:spPr>
            <a:xfrm>
              <a:off x="354466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4" name="object 1414">
              <a:extLst>
                <a:ext uri="{FF2B5EF4-FFF2-40B4-BE49-F238E27FC236}">
                  <a16:creationId xmlns:a16="http://schemas.microsoft.com/office/drawing/2014/main" id="{0C5A36C5-693A-7A17-E54D-C191023267B1}"/>
                </a:ext>
              </a:extLst>
            </p:cNvPr>
            <p:cNvSpPr/>
            <p:nvPr/>
          </p:nvSpPr>
          <p:spPr>
            <a:xfrm>
              <a:off x="336969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5" name="object 1415">
              <a:extLst>
                <a:ext uri="{FF2B5EF4-FFF2-40B4-BE49-F238E27FC236}">
                  <a16:creationId xmlns:a16="http://schemas.microsoft.com/office/drawing/2014/main" id="{522E2573-FD68-E47C-2728-10B52EEFC285}"/>
                </a:ext>
              </a:extLst>
            </p:cNvPr>
            <p:cNvSpPr/>
            <p:nvPr/>
          </p:nvSpPr>
          <p:spPr>
            <a:xfrm>
              <a:off x="3544662" y="192062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6" name="object 1416">
              <a:extLst>
                <a:ext uri="{FF2B5EF4-FFF2-40B4-BE49-F238E27FC236}">
                  <a16:creationId xmlns:a16="http://schemas.microsoft.com/office/drawing/2014/main" id="{D0F5B9B3-D08A-FE49-4BD8-0E74AE4DBE2A}"/>
                </a:ext>
              </a:extLst>
            </p:cNvPr>
            <p:cNvSpPr/>
            <p:nvPr/>
          </p:nvSpPr>
          <p:spPr>
            <a:xfrm>
              <a:off x="3369692" y="194612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7" name="object 1417">
              <a:extLst>
                <a:ext uri="{FF2B5EF4-FFF2-40B4-BE49-F238E27FC236}">
                  <a16:creationId xmlns:a16="http://schemas.microsoft.com/office/drawing/2014/main" id="{629A015C-76D0-3A8E-210F-F366D01AC21B}"/>
                </a:ext>
              </a:extLst>
            </p:cNvPr>
            <p:cNvSpPr/>
            <p:nvPr/>
          </p:nvSpPr>
          <p:spPr>
            <a:xfrm>
              <a:off x="2827736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8" name="object 1418">
              <a:extLst>
                <a:ext uri="{FF2B5EF4-FFF2-40B4-BE49-F238E27FC236}">
                  <a16:creationId xmlns:a16="http://schemas.microsoft.com/office/drawing/2014/main" id="{62EC1673-4F1F-F8B4-FCE3-47B39CEE4240}"/>
                </a:ext>
              </a:extLst>
            </p:cNvPr>
            <p:cNvSpPr/>
            <p:nvPr/>
          </p:nvSpPr>
          <p:spPr>
            <a:xfrm>
              <a:off x="2862757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19" name="object 1419">
              <a:extLst>
                <a:ext uri="{FF2B5EF4-FFF2-40B4-BE49-F238E27FC236}">
                  <a16:creationId xmlns:a16="http://schemas.microsoft.com/office/drawing/2014/main" id="{9A5ED4C1-2F7E-086F-9017-4F6C4AC24A16}"/>
                </a:ext>
              </a:extLst>
            </p:cNvPr>
            <p:cNvSpPr/>
            <p:nvPr/>
          </p:nvSpPr>
          <p:spPr>
            <a:xfrm>
              <a:off x="2757693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0" name="object 1420">
              <a:extLst>
                <a:ext uri="{FF2B5EF4-FFF2-40B4-BE49-F238E27FC236}">
                  <a16:creationId xmlns:a16="http://schemas.microsoft.com/office/drawing/2014/main" id="{D45B5832-B0DD-519F-9E56-C214A6680365}"/>
                </a:ext>
              </a:extLst>
            </p:cNvPr>
            <p:cNvSpPr/>
            <p:nvPr/>
          </p:nvSpPr>
          <p:spPr>
            <a:xfrm>
              <a:off x="2652619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1" name="object 1421">
              <a:extLst>
                <a:ext uri="{FF2B5EF4-FFF2-40B4-BE49-F238E27FC236}">
                  <a16:creationId xmlns:a16="http://schemas.microsoft.com/office/drawing/2014/main" id="{B54735AE-7BAB-0B91-DA2C-886A8F47A094}"/>
                </a:ext>
              </a:extLst>
            </p:cNvPr>
            <p:cNvSpPr/>
            <p:nvPr/>
          </p:nvSpPr>
          <p:spPr>
            <a:xfrm>
              <a:off x="2687714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2" name="object 1422">
              <a:extLst>
                <a:ext uri="{FF2B5EF4-FFF2-40B4-BE49-F238E27FC236}">
                  <a16:creationId xmlns:a16="http://schemas.microsoft.com/office/drawing/2014/main" id="{AC4D7D84-5A11-8950-3E0B-BB62CB95360D}"/>
                </a:ext>
              </a:extLst>
            </p:cNvPr>
            <p:cNvSpPr/>
            <p:nvPr/>
          </p:nvSpPr>
          <p:spPr>
            <a:xfrm>
              <a:off x="2582576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3" name="object 1423">
              <a:extLst>
                <a:ext uri="{FF2B5EF4-FFF2-40B4-BE49-F238E27FC236}">
                  <a16:creationId xmlns:a16="http://schemas.microsoft.com/office/drawing/2014/main" id="{C98753ED-3A26-7068-D767-F4CAAB38601A}"/>
                </a:ext>
              </a:extLst>
            </p:cNvPr>
            <p:cNvSpPr/>
            <p:nvPr/>
          </p:nvSpPr>
          <p:spPr>
            <a:xfrm>
              <a:off x="2792714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4" name="object 1424">
              <a:extLst>
                <a:ext uri="{FF2B5EF4-FFF2-40B4-BE49-F238E27FC236}">
                  <a16:creationId xmlns:a16="http://schemas.microsoft.com/office/drawing/2014/main" id="{4F00A0D6-0FAB-01BE-D72B-3CC8D5B91F39}"/>
                </a:ext>
              </a:extLst>
            </p:cNvPr>
            <p:cNvSpPr/>
            <p:nvPr/>
          </p:nvSpPr>
          <p:spPr>
            <a:xfrm>
              <a:off x="2617598" y="109753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5" name="object 1425">
              <a:extLst>
                <a:ext uri="{FF2B5EF4-FFF2-40B4-BE49-F238E27FC236}">
                  <a16:creationId xmlns:a16="http://schemas.microsoft.com/office/drawing/2014/main" id="{714474CC-690F-6FD8-23A8-47E382A974B0}"/>
                </a:ext>
              </a:extLst>
            </p:cNvPr>
            <p:cNvSpPr/>
            <p:nvPr/>
          </p:nvSpPr>
          <p:spPr>
            <a:xfrm>
              <a:off x="2897779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6" name="object 1426">
              <a:extLst>
                <a:ext uri="{FF2B5EF4-FFF2-40B4-BE49-F238E27FC236}">
                  <a16:creationId xmlns:a16="http://schemas.microsoft.com/office/drawing/2014/main" id="{A0293B44-832A-E716-4EA9-19189F22606D}"/>
                </a:ext>
              </a:extLst>
            </p:cNvPr>
            <p:cNvSpPr/>
            <p:nvPr/>
          </p:nvSpPr>
          <p:spPr>
            <a:xfrm>
              <a:off x="2722808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7" name="object 1427">
              <a:extLst>
                <a:ext uri="{FF2B5EF4-FFF2-40B4-BE49-F238E27FC236}">
                  <a16:creationId xmlns:a16="http://schemas.microsoft.com/office/drawing/2014/main" id="{16110798-40BA-9A32-1366-B0226EB8947F}"/>
                </a:ext>
              </a:extLst>
            </p:cNvPr>
            <p:cNvSpPr/>
            <p:nvPr/>
          </p:nvSpPr>
          <p:spPr>
            <a:xfrm>
              <a:off x="2547838" y="108478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8" name="object 1428">
              <a:extLst>
                <a:ext uri="{FF2B5EF4-FFF2-40B4-BE49-F238E27FC236}">
                  <a16:creationId xmlns:a16="http://schemas.microsoft.com/office/drawing/2014/main" id="{65340107-2A3D-10B5-996A-9CF92AEF3695}"/>
                </a:ext>
              </a:extLst>
            </p:cNvPr>
            <p:cNvSpPr/>
            <p:nvPr/>
          </p:nvSpPr>
          <p:spPr>
            <a:xfrm>
              <a:off x="2547829" y="111029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29" name="object 1429">
              <a:extLst>
                <a:ext uri="{FF2B5EF4-FFF2-40B4-BE49-F238E27FC236}">
                  <a16:creationId xmlns:a16="http://schemas.microsoft.com/office/drawing/2014/main" id="{C53ECCB9-9120-799C-1243-6A298450D2B5}"/>
                </a:ext>
              </a:extLst>
            </p:cNvPr>
            <p:cNvSpPr/>
            <p:nvPr/>
          </p:nvSpPr>
          <p:spPr>
            <a:xfrm>
              <a:off x="2547838" y="1084780"/>
              <a:ext cx="14401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7489"/>
                <a:gd name="f4" fmla="val 84455"/>
                <a:gd name="f5" fmla="val 236924"/>
                <a:gd name="f6" fmla="val 84112"/>
                <a:gd name="f7" fmla="*/ f0 1 237489"/>
                <a:gd name="f8" fmla="*/ f1 1 84455"/>
                <a:gd name="f9" fmla="+- f4 0 f2"/>
                <a:gd name="f10" fmla="+- f3 0 f2"/>
                <a:gd name="f11" fmla="*/ f10 1 23748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748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0" name="object 1430">
              <a:extLst>
                <a:ext uri="{FF2B5EF4-FFF2-40B4-BE49-F238E27FC236}">
                  <a16:creationId xmlns:a16="http://schemas.microsoft.com/office/drawing/2014/main" id="{69A24FA2-A3FF-21ED-0837-38F69068BD91}"/>
                </a:ext>
              </a:extLst>
            </p:cNvPr>
            <p:cNvSpPr/>
            <p:nvPr/>
          </p:nvSpPr>
          <p:spPr>
            <a:xfrm>
              <a:off x="289777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1" name="object 1431">
              <a:extLst>
                <a:ext uri="{FF2B5EF4-FFF2-40B4-BE49-F238E27FC236}">
                  <a16:creationId xmlns:a16="http://schemas.microsoft.com/office/drawing/2014/main" id="{DA1AB588-D6AB-7554-2425-C7F291FE7862}"/>
                </a:ext>
              </a:extLst>
            </p:cNvPr>
            <p:cNvSpPr/>
            <p:nvPr/>
          </p:nvSpPr>
          <p:spPr>
            <a:xfrm>
              <a:off x="272280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2" name="object 1432">
              <a:extLst>
                <a:ext uri="{FF2B5EF4-FFF2-40B4-BE49-F238E27FC236}">
                  <a16:creationId xmlns:a16="http://schemas.microsoft.com/office/drawing/2014/main" id="{B49630E2-BF02-7B19-AE4F-9F9F41155C13}"/>
                </a:ext>
              </a:extLst>
            </p:cNvPr>
            <p:cNvSpPr/>
            <p:nvPr/>
          </p:nvSpPr>
          <p:spPr>
            <a:xfrm>
              <a:off x="254783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3" name="object 1433">
              <a:extLst>
                <a:ext uri="{FF2B5EF4-FFF2-40B4-BE49-F238E27FC236}">
                  <a16:creationId xmlns:a16="http://schemas.microsoft.com/office/drawing/2014/main" id="{6B2DEBB9-1B4E-5A4B-2F2A-2C5A8A288EB5}"/>
                </a:ext>
              </a:extLst>
            </p:cNvPr>
            <p:cNvSpPr/>
            <p:nvPr/>
          </p:nvSpPr>
          <p:spPr>
            <a:xfrm>
              <a:off x="272280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4" name="object 1434">
              <a:extLst>
                <a:ext uri="{FF2B5EF4-FFF2-40B4-BE49-F238E27FC236}">
                  <a16:creationId xmlns:a16="http://schemas.microsoft.com/office/drawing/2014/main" id="{A7F8D141-ACC2-99E9-7C88-2497016F2824}"/>
                </a:ext>
              </a:extLst>
            </p:cNvPr>
            <p:cNvSpPr/>
            <p:nvPr/>
          </p:nvSpPr>
          <p:spPr>
            <a:xfrm>
              <a:off x="282773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5" name="object 1435">
              <a:extLst>
                <a:ext uri="{FF2B5EF4-FFF2-40B4-BE49-F238E27FC236}">
                  <a16:creationId xmlns:a16="http://schemas.microsoft.com/office/drawing/2014/main" id="{F89DFA2D-9209-F0C0-1AD2-AC58EF97E9FB}"/>
                </a:ext>
              </a:extLst>
            </p:cNvPr>
            <p:cNvSpPr/>
            <p:nvPr/>
          </p:nvSpPr>
          <p:spPr>
            <a:xfrm>
              <a:off x="286275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6" name="object 1436">
              <a:extLst>
                <a:ext uri="{FF2B5EF4-FFF2-40B4-BE49-F238E27FC236}">
                  <a16:creationId xmlns:a16="http://schemas.microsoft.com/office/drawing/2014/main" id="{8A2A78FE-C785-8CF9-8A35-3D8DA34F8304}"/>
                </a:ext>
              </a:extLst>
            </p:cNvPr>
            <p:cNvSpPr/>
            <p:nvPr/>
          </p:nvSpPr>
          <p:spPr>
            <a:xfrm>
              <a:off x="275769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7" name="object 1437">
              <a:extLst>
                <a:ext uri="{FF2B5EF4-FFF2-40B4-BE49-F238E27FC236}">
                  <a16:creationId xmlns:a16="http://schemas.microsoft.com/office/drawing/2014/main" id="{67C4114C-A71E-2E25-E0B6-9D5FA41DE678}"/>
                </a:ext>
              </a:extLst>
            </p:cNvPr>
            <p:cNvSpPr/>
            <p:nvPr/>
          </p:nvSpPr>
          <p:spPr>
            <a:xfrm>
              <a:off x="265261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8" name="object 1438">
              <a:extLst>
                <a:ext uri="{FF2B5EF4-FFF2-40B4-BE49-F238E27FC236}">
                  <a16:creationId xmlns:a16="http://schemas.microsoft.com/office/drawing/2014/main" id="{EA9A80C6-090B-330F-4533-DFFF72767AB1}"/>
                </a:ext>
              </a:extLst>
            </p:cNvPr>
            <p:cNvSpPr/>
            <p:nvPr/>
          </p:nvSpPr>
          <p:spPr>
            <a:xfrm>
              <a:off x="268771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39" name="object 1439">
              <a:extLst>
                <a:ext uri="{FF2B5EF4-FFF2-40B4-BE49-F238E27FC236}">
                  <a16:creationId xmlns:a16="http://schemas.microsoft.com/office/drawing/2014/main" id="{1A94CE31-FE97-20D0-570C-C21C37CD79D7}"/>
                </a:ext>
              </a:extLst>
            </p:cNvPr>
            <p:cNvSpPr/>
            <p:nvPr/>
          </p:nvSpPr>
          <p:spPr>
            <a:xfrm>
              <a:off x="258257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0" name="object 1440">
              <a:extLst>
                <a:ext uri="{FF2B5EF4-FFF2-40B4-BE49-F238E27FC236}">
                  <a16:creationId xmlns:a16="http://schemas.microsoft.com/office/drawing/2014/main" id="{D28E51E2-A552-2AC2-0BE0-02B23890EFAD}"/>
                </a:ext>
              </a:extLst>
            </p:cNvPr>
            <p:cNvSpPr/>
            <p:nvPr/>
          </p:nvSpPr>
          <p:spPr>
            <a:xfrm>
              <a:off x="279271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1" name="object 1441">
              <a:extLst>
                <a:ext uri="{FF2B5EF4-FFF2-40B4-BE49-F238E27FC236}">
                  <a16:creationId xmlns:a16="http://schemas.microsoft.com/office/drawing/2014/main" id="{506E1085-EFEC-58A1-96D1-416C0FB1540C}"/>
                </a:ext>
              </a:extLst>
            </p:cNvPr>
            <p:cNvSpPr/>
            <p:nvPr/>
          </p:nvSpPr>
          <p:spPr>
            <a:xfrm>
              <a:off x="261759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2" name="object 1442">
              <a:extLst>
                <a:ext uri="{FF2B5EF4-FFF2-40B4-BE49-F238E27FC236}">
                  <a16:creationId xmlns:a16="http://schemas.microsoft.com/office/drawing/2014/main" id="{A1BD00E4-C94B-0374-EB95-FA5177390AB7}"/>
                </a:ext>
              </a:extLst>
            </p:cNvPr>
            <p:cNvSpPr/>
            <p:nvPr/>
          </p:nvSpPr>
          <p:spPr>
            <a:xfrm>
              <a:off x="2547829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43" name="object 1443">
              <a:extLst>
                <a:ext uri="{FF2B5EF4-FFF2-40B4-BE49-F238E27FC236}">
                  <a16:creationId xmlns:a16="http://schemas.microsoft.com/office/drawing/2014/main" id="{31DB3A34-E4A1-7A20-746C-974CA62C47E1}"/>
                </a:ext>
              </a:extLst>
            </p:cNvPr>
            <p:cNvSpPr/>
            <p:nvPr/>
          </p:nvSpPr>
          <p:spPr>
            <a:xfrm>
              <a:off x="2547838" y="1157804"/>
              <a:ext cx="7662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6364"/>
                <a:gd name="f4" fmla="val 84455"/>
                <a:gd name="f5" fmla="val 125818"/>
                <a:gd name="f6" fmla="val 84112"/>
                <a:gd name="f7" fmla="*/ f0 1 126364"/>
                <a:gd name="f8" fmla="*/ f1 1 84455"/>
                <a:gd name="f9" fmla="+- f4 0 f2"/>
                <a:gd name="f10" fmla="+- f3 0 f2"/>
                <a:gd name="f11" fmla="*/ f10 1 12636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636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44" name="object 1444">
              <a:extLst>
                <a:ext uri="{FF2B5EF4-FFF2-40B4-BE49-F238E27FC236}">
                  <a16:creationId xmlns:a16="http://schemas.microsoft.com/office/drawing/2014/main" id="{F6029C70-D835-4772-E897-2B21BF9AF4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/>
            <a:stretch>
              <a:fillRect/>
            </a:stretch>
          </p:blipFill>
          <p:spPr>
            <a:xfrm>
              <a:off x="2545707" y="2103376"/>
              <a:ext cx="349959" cy="349959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45" name="object 1445">
              <a:extLst>
                <a:ext uri="{FF2B5EF4-FFF2-40B4-BE49-F238E27FC236}">
                  <a16:creationId xmlns:a16="http://schemas.microsoft.com/office/drawing/2014/main" id="{50D2DEA7-4401-8C8A-7437-6BFF5EC9F0A8}"/>
                </a:ext>
              </a:extLst>
            </p:cNvPr>
            <p:cNvSpPr/>
            <p:nvPr/>
          </p:nvSpPr>
          <p:spPr>
            <a:xfrm>
              <a:off x="2545707" y="210337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288546"/>
                <a:gd name="f5" fmla="val 3776"/>
                <a:gd name="f6" fmla="val 335351"/>
                <a:gd name="f7" fmla="val 14710"/>
                <a:gd name="f8" fmla="val 379752"/>
                <a:gd name="f9" fmla="val 32207"/>
                <a:gd name="f10" fmla="val 421155"/>
                <a:gd name="f11" fmla="val 55674"/>
                <a:gd name="f12" fmla="val 458964"/>
                <a:gd name="f13" fmla="val 84515"/>
                <a:gd name="f14" fmla="val 492587"/>
                <a:gd name="f15" fmla="val 118138"/>
                <a:gd name="f16" fmla="val 521428"/>
                <a:gd name="f17" fmla="val 155947"/>
                <a:gd name="f18" fmla="val 544894"/>
                <a:gd name="f19" fmla="val 197349"/>
                <a:gd name="f20" fmla="val 562392"/>
                <a:gd name="f21" fmla="val 241750"/>
                <a:gd name="f22" fmla="val 573326"/>
                <a:gd name="f23" fmla="val 288556"/>
                <a:gd name="f24" fmla="val 577102"/>
                <a:gd name="f25" fmla="val 335359"/>
                <a:gd name="f26" fmla="val 379758"/>
                <a:gd name="f27" fmla="val 421158"/>
                <a:gd name="f28" fmla="val 458966"/>
                <a:gd name="f29" fmla="val 492588"/>
                <a:gd name="f30" fmla="val 521429"/>
                <a:gd name="f31" fmla="val 544895"/>
                <a:gd name="f32" fmla="val 241743"/>
                <a:gd name="f33" fmla="val 197344"/>
                <a:gd name="f34" fmla="val 155944"/>
                <a:gd name="f35" fmla="val 118135"/>
                <a:gd name="f36" fmla="val 84514"/>
                <a:gd name="f37" fmla="val 55673"/>
                <a:gd name="f38" fmla="*/ f0 1 577214"/>
                <a:gd name="f39" fmla="*/ f1 1 577214"/>
                <a:gd name="f40" fmla="+- f3 0 f2"/>
                <a:gd name="f41" fmla="*/ f40 1 577214"/>
                <a:gd name="f42" fmla="*/ f2 1 f41"/>
                <a:gd name="f43" fmla="*/ f3 1 f41"/>
                <a:gd name="f44" fmla="*/ f42 f38 1"/>
                <a:gd name="f45" fmla="*/ f43 f38 1"/>
                <a:gd name="f46" fmla="*/ f43 f39 1"/>
                <a:gd name="f47" fmla="*/ f42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4" t="f47" r="f45" b="f46"/>
              <a:pathLst>
                <a:path w="577214" h="577214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2"/>
                  </a:lnTo>
                  <a:lnTo>
                    <a:pt x="f26" y="f20"/>
                  </a:lnTo>
                  <a:lnTo>
                    <a:pt x="f27" y="f18"/>
                  </a:lnTo>
                  <a:lnTo>
                    <a:pt x="f28" y="f16"/>
                  </a:lnTo>
                  <a:lnTo>
                    <a:pt x="f29" y="f14"/>
                  </a:lnTo>
                  <a:lnTo>
                    <a:pt x="f30" y="f12"/>
                  </a:lnTo>
                  <a:lnTo>
                    <a:pt x="f31" y="f10"/>
                  </a:lnTo>
                  <a:lnTo>
                    <a:pt x="f20" y="f8"/>
                  </a:lnTo>
                  <a:lnTo>
                    <a:pt x="f22" y="f6"/>
                  </a:lnTo>
                  <a:lnTo>
                    <a:pt x="f24" y="f4"/>
                  </a:lnTo>
                  <a:lnTo>
                    <a:pt x="f22" y="f32"/>
                  </a:lnTo>
                  <a:lnTo>
                    <a:pt x="f20" y="f33"/>
                  </a:lnTo>
                  <a:lnTo>
                    <a:pt x="f31" y="f34"/>
                  </a:lnTo>
                  <a:lnTo>
                    <a:pt x="f30" y="f35"/>
                  </a:lnTo>
                  <a:lnTo>
                    <a:pt x="f29" y="f36"/>
                  </a:lnTo>
                  <a:lnTo>
                    <a:pt x="f28" y="f37"/>
                  </a:lnTo>
                  <a:lnTo>
                    <a:pt x="f27" y="f9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2"/>
                  </a:lnTo>
                  <a:lnTo>
                    <a:pt x="f21" y="f5"/>
                  </a:lnTo>
                  <a:lnTo>
                    <a:pt x="f19" y="f7"/>
                  </a:lnTo>
                  <a:lnTo>
                    <a:pt x="f17" y="f9"/>
                  </a:lnTo>
                  <a:lnTo>
                    <a:pt x="f15" y="f37"/>
                  </a:lnTo>
                  <a:lnTo>
                    <a:pt x="f13" y="f36"/>
                  </a:lnTo>
                  <a:lnTo>
                    <a:pt x="f11" y="f35"/>
                  </a:lnTo>
                  <a:lnTo>
                    <a:pt x="f9" y="f34"/>
                  </a:lnTo>
                  <a:lnTo>
                    <a:pt x="f7" y="f33"/>
                  </a:lnTo>
                  <a:lnTo>
                    <a:pt x="f5" y="f32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46" name="object 1446">
              <a:extLst>
                <a:ext uri="{FF2B5EF4-FFF2-40B4-BE49-F238E27FC236}">
                  <a16:creationId xmlns:a16="http://schemas.microsoft.com/office/drawing/2014/main" id="{0620D41E-4CD1-05CE-10BB-F8A14AD7AB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2548890" y="1329967"/>
              <a:ext cx="34995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47" name="object 1447">
              <a:extLst>
                <a:ext uri="{FF2B5EF4-FFF2-40B4-BE49-F238E27FC236}">
                  <a16:creationId xmlns:a16="http://schemas.microsoft.com/office/drawing/2014/main" id="{839205FB-E201-5A4B-C63D-4D7963E276A2}"/>
                </a:ext>
              </a:extLst>
            </p:cNvPr>
            <p:cNvSpPr/>
            <p:nvPr/>
          </p:nvSpPr>
          <p:spPr>
            <a:xfrm>
              <a:off x="2548890" y="132996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48" name="object 1448">
              <a:extLst>
                <a:ext uri="{FF2B5EF4-FFF2-40B4-BE49-F238E27FC236}">
                  <a16:creationId xmlns:a16="http://schemas.microsoft.com/office/drawing/2014/main" id="{4A64DE94-F59D-4BA7-C858-76A83F40C7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/>
            <a:stretch>
              <a:fillRect/>
            </a:stretch>
          </p:blipFill>
          <p:spPr>
            <a:xfrm>
              <a:off x="3373441" y="2102150"/>
              <a:ext cx="349940" cy="34978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49" name="object 1449">
              <a:extLst>
                <a:ext uri="{FF2B5EF4-FFF2-40B4-BE49-F238E27FC236}">
                  <a16:creationId xmlns:a16="http://schemas.microsoft.com/office/drawing/2014/main" id="{2703D63C-CBC0-9601-6C6B-22946D1B06D7}"/>
                </a:ext>
              </a:extLst>
            </p:cNvPr>
            <p:cNvSpPr/>
            <p:nvPr/>
          </p:nvSpPr>
          <p:spPr>
            <a:xfrm>
              <a:off x="3373431" y="21021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0" name="object 1450">
              <a:extLst>
                <a:ext uri="{FF2B5EF4-FFF2-40B4-BE49-F238E27FC236}">
                  <a16:creationId xmlns:a16="http://schemas.microsoft.com/office/drawing/2014/main" id="{7003438F-6355-26EF-6566-9EB1E08E56A4}"/>
                </a:ext>
              </a:extLst>
            </p:cNvPr>
            <p:cNvSpPr/>
            <p:nvPr/>
          </p:nvSpPr>
          <p:spPr>
            <a:xfrm>
              <a:off x="2827736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1" name="object 1451">
              <a:extLst>
                <a:ext uri="{FF2B5EF4-FFF2-40B4-BE49-F238E27FC236}">
                  <a16:creationId xmlns:a16="http://schemas.microsoft.com/office/drawing/2014/main" id="{EC8100B6-B626-5D18-437A-FFBF6BFAE2E5}"/>
                </a:ext>
              </a:extLst>
            </p:cNvPr>
            <p:cNvSpPr/>
            <p:nvPr/>
          </p:nvSpPr>
          <p:spPr>
            <a:xfrm>
              <a:off x="2862757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2" name="object 1452">
              <a:extLst>
                <a:ext uri="{FF2B5EF4-FFF2-40B4-BE49-F238E27FC236}">
                  <a16:creationId xmlns:a16="http://schemas.microsoft.com/office/drawing/2014/main" id="{56B4D7C8-9097-5C8E-8362-8A81C0A7F563}"/>
                </a:ext>
              </a:extLst>
            </p:cNvPr>
            <p:cNvSpPr/>
            <p:nvPr/>
          </p:nvSpPr>
          <p:spPr>
            <a:xfrm>
              <a:off x="2757693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3" name="object 1453">
              <a:extLst>
                <a:ext uri="{FF2B5EF4-FFF2-40B4-BE49-F238E27FC236}">
                  <a16:creationId xmlns:a16="http://schemas.microsoft.com/office/drawing/2014/main" id="{0B114505-07A1-D7E6-D551-4DD32F5DA7E7}"/>
                </a:ext>
              </a:extLst>
            </p:cNvPr>
            <p:cNvSpPr/>
            <p:nvPr/>
          </p:nvSpPr>
          <p:spPr>
            <a:xfrm>
              <a:off x="2652619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4" name="object 1454">
              <a:extLst>
                <a:ext uri="{FF2B5EF4-FFF2-40B4-BE49-F238E27FC236}">
                  <a16:creationId xmlns:a16="http://schemas.microsoft.com/office/drawing/2014/main" id="{5ACBA963-7D6D-B951-E96E-A9D3382C30CB}"/>
                </a:ext>
              </a:extLst>
            </p:cNvPr>
            <p:cNvSpPr/>
            <p:nvPr/>
          </p:nvSpPr>
          <p:spPr>
            <a:xfrm>
              <a:off x="2687714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5" name="object 1455">
              <a:extLst>
                <a:ext uri="{FF2B5EF4-FFF2-40B4-BE49-F238E27FC236}">
                  <a16:creationId xmlns:a16="http://schemas.microsoft.com/office/drawing/2014/main" id="{FD5325E5-048C-AB5D-6E19-487FE870E740}"/>
                </a:ext>
              </a:extLst>
            </p:cNvPr>
            <p:cNvSpPr/>
            <p:nvPr/>
          </p:nvSpPr>
          <p:spPr>
            <a:xfrm>
              <a:off x="2582576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6" name="object 1456">
              <a:extLst>
                <a:ext uri="{FF2B5EF4-FFF2-40B4-BE49-F238E27FC236}">
                  <a16:creationId xmlns:a16="http://schemas.microsoft.com/office/drawing/2014/main" id="{9A94D18E-742A-4273-B772-57BBD91B31C5}"/>
                </a:ext>
              </a:extLst>
            </p:cNvPr>
            <p:cNvSpPr/>
            <p:nvPr/>
          </p:nvSpPr>
          <p:spPr>
            <a:xfrm>
              <a:off x="2792714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7" name="object 1457">
              <a:extLst>
                <a:ext uri="{FF2B5EF4-FFF2-40B4-BE49-F238E27FC236}">
                  <a16:creationId xmlns:a16="http://schemas.microsoft.com/office/drawing/2014/main" id="{DD24CD97-0A26-2AC1-CDA5-5336CDDEF518}"/>
                </a:ext>
              </a:extLst>
            </p:cNvPr>
            <p:cNvSpPr/>
            <p:nvPr/>
          </p:nvSpPr>
          <p:spPr>
            <a:xfrm>
              <a:off x="2617598" y="186125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8" name="object 1458">
              <a:extLst>
                <a:ext uri="{FF2B5EF4-FFF2-40B4-BE49-F238E27FC236}">
                  <a16:creationId xmlns:a16="http://schemas.microsoft.com/office/drawing/2014/main" id="{0AD0E4C7-EB96-F8CB-966B-86C5CF45A394}"/>
                </a:ext>
              </a:extLst>
            </p:cNvPr>
            <p:cNvSpPr/>
            <p:nvPr/>
          </p:nvSpPr>
          <p:spPr>
            <a:xfrm>
              <a:off x="2897779" y="1848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59" name="object 1459">
              <a:extLst>
                <a:ext uri="{FF2B5EF4-FFF2-40B4-BE49-F238E27FC236}">
                  <a16:creationId xmlns:a16="http://schemas.microsoft.com/office/drawing/2014/main" id="{D2C989B4-D214-4819-731C-9E1701DABB31}"/>
                </a:ext>
              </a:extLst>
            </p:cNvPr>
            <p:cNvSpPr/>
            <p:nvPr/>
          </p:nvSpPr>
          <p:spPr>
            <a:xfrm>
              <a:off x="2722808" y="1848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0" name="object 1460">
              <a:extLst>
                <a:ext uri="{FF2B5EF4-FFF2-40B4-BE49-F238E27FC236}">
                  <a16:creationId xmlns:a16="http://schemas.microsoft.com/office/drawing/2014/main" id="{1637F5BC-8DB5-9711-B016-27E093A40793}"/>
                </a:ext>
              </a:extLst>
            </p:cNvPr>
            <p:cNvSpPr/>
            <p:nvPr/>
          </p:nvSpPr>
          <p:spPr>
            <a:xfrm>
              <a:off x="2547838" y="184849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1" name="object 1461">
              <a:extLst>
                <a:ext uri="{FF2B5EF4-FFF2-40B4-BE49-F238E27FC236}">
                  <a16:creationId xmlns:a16="http://schemas.microsoft.com/office/drawing/2014/main" id="{B9545F73-8092-EE35-A5EA-5E517F6B444E}"/>
                </a:ext>
              </a:extLst>
            </p:cNvPr>
            <p:cNvSpPr/>
            <p:nvPr/>
          </p:nvSpPr>
          <p:spPr>
            <a:xfrm>
              <a:off x="2547829" y="187399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2" name="object 1462">
              <a:extLst>
                <a:ext uri="{FF2B5EF4-FFF2-40B4-BE49-F238E27FC236}">
                  <a16:creationId xmlns:a16="http://schemas.microsoft.com/office/drawing/2014/main" id="{7444289F-7D62-D2A6-2424-E7B134AA6AD2}"/>
                </a:ext>
              </a:extLst>
            </p:cNvPr>
            <p:cNvSpPr/>
            <p:nvPr/>
          </p:nvSpPr>
          <p:spPr>
            <a:xfrm>
              <a:off x="2547838" y="1848496"/>
              <a:ext cx="11898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6214"/>
                <a:gd name="f4" fmla="val 84455"/>
                <a:gd name="f5" fmla="val 195617"/>
                <a:gd name="f6" fmla="val 84123"/>
                <a:gd name="f7" fmla="*/ f0 1 196214"/>
                <a:gd name="f8" fmla="*/ f1 1 84455"/>
                <a:gd name="f9" fmla="+- f4 0 f2"/>
                <a:gd name="f10" fmla="+- f3 0 f2"/>
                <a:gd name="f11" fmla="*/ f10 1 19621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621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3" name="object 1463">
              <a:extLst>
                <a:ext uri="{FF2B5EF4-FFF2-40B4-BE49-F238E27FC236}">
                  <a16:creationId xmlns:a16="http://schemas.microsoft.com/office/drawing/2014/main" id="{314DC6EF-632F-BECD-384E-3FD65BDF05C3}"/>
                </a:ext>
              </a:extLst>
            </p:cNvPr>
            <p:cNvSpPr/>
            <p:nvPr/>
          </p:nvSpPr>
          <p:spPr>
            <a:xfrm>
              <a:off x="2897779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4" name="object 1464">
              <a:extLst>
                <a:ext uri="{FF2B5EF4-FFF2-40B4-BE49-F238E27FC236}">
                  <a16:creationId xmlns:a16="http://schemas.microsoft.com/office/drawing/2014/main" id="{CFD33B40-8C8B-FC0E-93C5-3DB2EE48F20E}"/>
                </a:ext>
              </a:extLst>
            </p:cNvPr>
            <p:cNvSpPr/>
            <p:nvPr/>
          </p:nvSpPr>
          <p:spPr>
            <a:xfrm>
              <a:off x="2722808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5" name="object 1465">
              <a:extLst>
                <a:ext uri="{FF2B5EF4-FFF2-40B4-BE49-F238E27FC236}">
                  <a16:creationId xmlns:a16="http://schemas.microsoft.com/office/drawing/2014/main" id="{986B31EA-907C-BDEE-FD59-BDBE3B77EAE3}"/>
                </a:ext>
              </a:extLst>
            </p:cNvPr>
            <p:cNvSpPr/>
            <p:nvPr/>
          </p:nvSpPr>
          <p:spPr>
            <a:xfrm>
              <a:off x="2547838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6" name="object 1466">
              <a:extLst>
                <a:ext uri="{FF2B5EF4-FFF2-40B4-BE49-F238E27FC236}">
                  <a16:creationId xmlns:a16="http://schemas.microsoft.com/office/drawing/2014/main" id="{C221FF9C-612F-316A-3516-F7B61A321BED}"/>
                </a:ext>
              </a:extLst>
            </p:cNvPr>
            <p:cNvSpPr/>
            <p:nvPr/>
          </p:nvSpPr>
          <p:spPr>
            <a:xfrm>
              <a:off x="2722808" y="19215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7" name="object 1467">
              <a:extLst>
                <a:ext uri="{FF2B5EF4-FFF2-40B4-BE49-F238E27FC236}">
                  <a16:creationId xmlns:a16="http://schemas.microsoft.com/office/drawing/2014/main" id="{EF9D4AC2-99F2-7C33-0919-A9F2297092CC}"/>
                </a:ext>
              </a:extLst>
            </p:cNvPr>
            <p:cNvSpPr/>
            <p:nvPr/>
          </p:nvSpPr>
          <p:spPr>
            <a:xfrm>
              <a:off x="2827736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8" name="object 1468">
              <a:extLst>
                <a:ext uri="{FF2B5EF4-FFF2-40B4-BE49-F238E27FC236}">
                  <a16:creationId xmlns:a16="http://schemas.microsoft.com/office/drawing/2014/main" id="{998CFE72-0883-8FEF-BF22-B40ABD8600F1}"/>
                </a:ext>
              </a:extLst>
            </p:cNvPr>
            <p:cNvSpPr/>
            <p:nvPr/>
          </p:nvSpPr>
          <p:spPr>
            <a:xfrm>
              <a:off x="2862757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69" name="object 1469">
              <a:extLst>
                <a:ext uri="{FF2B5EF4-FFF2-40B4-BE49-F238E27FC236}">
                  <a16:creationId xmlns:a16="http://schemas.microsoft.com/office/drawing/2014/main" id="{DB1AF582-71BE-CC7A-C573-734C60BA460C}"/>
                </a:ext>
              </a:extLst>
            </p:cNvPr>
            <p:cNvSpPr/>
            <p:nvPr/>
          </p:nvSpPr>
          <p:spPr>
            <a:xfrm>
              <a:off x="2757693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0" name="object 1470">
              <a:extLst>
                <a:ext uri="{FF2B5EF4-FFF2-40B4-BE49-F238E27FC236}">
                  <a16:creationId xmlns:a16="http://schemas.microsoft.com/office/drawing/2014/main" id="{9904E5BD-3935-CB82-6404-6AAA153C9782}"/>
                </a:ext>
              </a:extLst>
            </p:cNvPr>
            <p:cNvSpPr/>
            <p:nvPr/>
          </p:nvSpPr>
          <p:spPr>
            <a:xfrm>
              <a:off x="2652619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1" name="object 1471">
              <a:extLst>
                <a:ext uri="{FF2B5EF4-FFF2-40B4-BE49-F238E27FC236}">
                  <a16:creationId xmlns:a16="http://schemas.microsoft.com/office/drawing/2014/main" id="{830CDEFA-6CF9-A3F0-8610-DB90616A0A14}"/>
                </a:ext>
              </a:extLst>
            </p:cNvPr>
            <p:cNvSpPr/>
            <p:nvPr/>
          </p:nvSpPr>
          <p:spPr>
            <a:xfrm>
              <a:off x="2687714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2" name="object 1472">
              <a:extLst>
                <a:ext uri="{FF2B5EF4-FFF2-40B4-BE49-F238E27FC236}">
                  <a16:creationId xmlns:a16="http://schemas.microsoft.com/office/drawing/2014/main" id="{695B41EC-B7DB-E5CC-39DE-4DF9FEE3724E}"/>
                </a:ext>
              </a:extLst>
            </p:cNvPr>
            <p:cNvSpPr/>
            <p:nvPr/>
          </p:nvSpPr>
          <p:spPr>
            <a:xfrm>
              <a:off x="2582576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3" name="object 1473">
              <a:extLst>
                <a:ext uri="{FF2B5EF4-FFF2-40B4-BE49-F238E27FC236}">
                  <a16:creationId xmlns:a16="http://schemas.microsoft.com/office/drawing/2014/main" id="{F9B2E262-D4CE-12F7-822D-D02DEE8A36C5}"/>
                </a:ext>
              </a:extLst>
            </p:cNvPr>
            <p:cNvSpPr/>
            <p:nvPr/>
          </p:nvSpPr>
          <p:spPr>
            <a:xfrm>
              <a:off x="2792714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4" name="object 1474">
              <a:extLst>
                <a:ext uri="{FF2B5EF4-FFF2-40B4-BE49-F238E27FC236}">
                  <a16:creationId xmlns:a16="http://schemas.microsoft.com/office/drawing/2014/main" id="{7EE30846-C5EA-C1BA-4F3A-D3AB0D463050}"/>
                </a:ext>
              </a:extLst>
            </p:cNvPr>
            <p:cNvSpPr/>
            <p:nvPr/>
          </p:nvSpPr>
          <p:spPr>
            <a:xfrm>
              <a:off x="2617598" y="19342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5" name="object 1475">
              <a:extLst>
                <a:ext uri="{FF2B5EF4-FFF2-40B4-BE49-F238E27FC236}">
                  <a16:creationId xmlns:a16="http://schemas.microsoft.com/office/drawing/2014/main" id="{146F206E-4A49-7E98-A08F-63280961303E}"/>
                </a:ext>
              </a:extLst>
            </p:cNvPr>
            <p:cNvSpPr/>
            <p:nvPr/>
          </p:nvSpPr>
          <p:spPr>
            <a:xfrm>
              <a:off x="2547829" y="194702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6" name="object 1476">
              <a:extLst>
                <a:ext uri="{FF2B5EF4-FFF2-40B4-BE49-F238E27FC236}">
                  <a16:creationId xmlns:a16="http://schemas.microsoft.com/office/drawing/2014/main" id="{9B7404A4-9D83-8875-DC2F-61E757486E0E}"/>
                </a:ext>
              </a:extLst>
            </p:cNvPr>
            <p:cNvSpPr/>
            <p:nvPr/>
          </p:nvSpPr>
          <p:spPr>
            <a:xfrm>
              <a:off x="2547838" y="1921511"/>
              <a:ext cx="8355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7795"/>
                <a:gd name="f4" fmla="val 84454"/>
                <a:gd name="f5" fmla="val 137440"/>
                <a:gd name="f6" fmla="val 84133"/>
                <a:gd name="f7" fmla="*/ f0 1 137795"/>
                <a:gd name="f8" fmla="*/ f1 1 84454"/>
                <a:gd name="f9" fmla="+- f4 0 f2"/>
                <a:gd name="f10" fmla="+- f3 0 f2"/>
                <a:gd name="f11" fmla="*/ f10 1 13779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779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477" name="object 1477">
              <a:extLst>
                <a:ext uri="{FF2B5EF4-FFF2-40B4-BE49-F238E27FC236}">
                  <a16:creationId xmlns:a16="http://schemas.microsoft.com/office/drawing/2014/main" id="{6AC66975-46EE-3144-D8CA-1A5EACB76F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2546192" y="565547"/>
              <a:ext cx="348989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478" name="object 1478">
              <a:extLst>
                <a:ext uri="{FF2B5EF4-FFF2-40B4-BE49-F238E27FC236}">
                  <a16:creationId xmlns:a16="http://schemas.microsoft.com/office/drawing/2014/main" id="{A8B35953-D369-C9F9-1A65-FAB302652D1F}"/>
                </a:ext>
              </a:extLst>
            </p:cNvPr>
            <p:cNvSpPr/>
            <p:nvPr/>
          </p:nvSpPr>
          <p:spPr>
            <a:xfrm>
              <a:off x="2545241" y="56555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79" name="object 1479">
              <a:extLst>
                <a:ext uri="{FF2B5EF4-FFF2-40B4-BE49-F238E27FC236}">
                  <a16:creationId xmlns:a16="http://schemas.microsoft.com/office/drawing/2014/main" id="{591D9374-F0BE-F9E1-3AA6-CD82CC162B9F}"/>
                </a:ext>
              </a:extLst>
            </p:cNvPr>
            <p:cNvSpPr/>
            <p:nvPr/>
          </p:nvSpPr>
          <p:spPr>
            <a:xfrm>
              <a:off x="2546201" y="56555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0" name="object 1480">
              <a:extLst>
                <a:ext uri="{FF2B5EF4-FFF2-40B4-BE49-F238E27FC236}">
                  <a16:creationId xmlns:a16="http://schemas.microsoft.com/office/drawing/2014/main" id="{8998C0C8-CA95-EE32-CA58-877CDC01C771}"/>
                </a:ext>
              </a:extLst>
            </p:cNvPr>
            <p:cNvSpPr/>
            <p:nvPr/>
          </p:nvSpPr>
          <p:spPr>
            <a:xfrm>
              <a:off x="940199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1" name="object 1481">
              <a:extLst>
                <a:ext uri="{FF2B5EF4-FFF2-40B4-BE49-F238E27FC236}">
                  <a16:creationId xmlns:a16="http://schemas.microsoft.com/office/drawing/2014/main" id="{7302A002-44D4-DF1D-02D8-D9832E075919}"/>
                </a:ext>
              </a:extLst>
            </p:cNvPr>
            <p:cNvSpPr/>
            <p:nvPr/>
          </p:nvSpPr>
          <p:spPr>
            <a:xfrm>
              <a:off x="943701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2" name="object 1482">
              <a:extLst>
                <a:ext uri="{FF2B5EF4-FFF2-40B4-BE49-F238E27FC236}">
                  <a16:creationId xmlns:a16="http://schemas.microsoft.com/office/drawing/2014/main" id="{E495239E-4382-CA5A-755E-4D952B917251}"/>
                </a:ext>
              </a:extLst>
            </p:cNvPr>
            <p:cNvSpPr/>
            <p:nvPr/>
          </p:nvSpPr>
          <p:spPr>
            <a:xfrm>
              <a:off x="9331954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3" name="object 1483">
              <a:extLst>
                <a:ext uri="{FF2B5EF4-FFF2-40B4-BE49-F238E27FC236}">
                  <a16:creationId xmlns:a16="http://schemas.microsoft.com/office/drawing/2014/main" id="{BFF56617-46EB-DCF3-485F-21A3CDF2230F}"/>
                </a:ext>
              </a:extLst>
            </p:cNvPr>
            <p:cNvSpPr/>
            <p:nvPr/>
          </p:nvSpPr>
          <p:spPr>
            <a:xfrm>
              <a:off x="922688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4" name="object 1484">
              <a:extLst>
                <a:ext uri="{FF2B5EF4-FFF2-40B4-BE49-F238E27FC236}">
                  <a16:creationId xmlns:a16="http://schemas.microsoft.com/office/drawing/2014/main" id="{0E5F582A-5FD3-CA0C-6714-46F93EB3F162}"/>
                </a:ext>
              </a:extLst>
            </p:cNvPr>
            <p:cNvSpPr/>
            <p:nvPr/>
          </p:nvSpPr>
          <p:spPr>
            <a:xfrm>
              <a:off x="926197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5" name="object 1485">
              <a:extLst>
                <a:ext uri="{FF2B5EF4-FFF2-40B4-BE49-F238E27FC236}">
                  <a16:creationId xmlns:a16="http://schemas.microsoft.com/office/drawing/2014/main" id="{DB1A00FD-498A-43FB-793F-920DBAA3D05A}"/>
                </a:ext>
              </a:extLst>
            </p:cNvPr>
            <p:cNvSpPr/>
            <p:nvPr/>
          </p:nvSpPr>
          <p:spPr>
            <a:xfrm>
              <a:off x="9156838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6" name="object 1486">
              <a:extLst>
                <a:ext uri="{FF2B5EF4-FFF2-40B4-BE49-F238E27FC236}">
                  <a16:creationId xmlns:a16="http://schemas.microsoft.com/office/drawing/2014/main" id="{8BE791FA-1D43-569E-EA00-56FF8656D03E}"/>
                </a:ext>
              </a:extLst>
            </p:cNvPr>
            <p:cNvSpPr/>
            <p:nvPr/>
          </p:nvSpPr>
          <p:spPr>
            <a:xfrm>
              <a:off x="9366976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7" name="object 1487">
              <a:extLst>
                <a:ext uri="{FF2B5EF4-FFF2-40B4-BE49-F238E27FC236}">
                  <a16:creationId xmlns:a16="http://schemas.microsoft.com/office/drawing/2014/main" id="{E07D6005-9194-E660-5FEC-60B51CA1414B}"/>
                </a:ext>
              </a:extLst>
            </p:cNvPr>
            <p:cNvSpPr/>
            <p:nvPr/>
          </p:nvSpPr>
          <p:spPr>
            <a:xfrm>
              <a:off x="9191859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8" name="object 1488">
              <a:extLst>
                <a:ext uri="{FF2B5EF4-FFF2-40B4-BE49-F238E27FC236}">
                  <a16:creationId xmlns:a16="http://schemas.microsoft.com/office/drawing/2014/main" id="{B17955AD-F0FE-6AF7-26F9-6A828CD4279D}"/>
                </a:ext>
              </a:extLst>
            </p:cNvPr>
            <p:cNvSpPr/>
            <p:nvPr/>
          </p:nvSpPr>
          <p:spPr>
            <a:xfrm>
              <a:off x="9472041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89" name="object 1489">
              <a:extLst>
                <a:ext uri="{FF2B5EF4-FFF2-40B4-BE49-F238E27FC236}">
                  <a16:creationId xmlns:a16="http://schemas.microsoft.com/office/drawing/2014/main" id="{F12F3124-EC84-C3BA-C2FB-E555F2280719}"/>
                </a:ext>
              </a:extLst>
            </p:cNvPr>
            <p:cNvSpPr/>
            <p:nvPr/>
          </p:nvSpPr>
          <p:spPr>
            <a:xfrm>
              <a:off x="9297070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0" name="object 1490">
              <a:extLst>
                <a:ext uri="{FF2B5EF4-FFF2-40B4-BE49-F238E27FC236}">
                  <a16:creationId xmlns:a16="http://schemas.microsoft.com/office/drawing/2014/main" id="{5002822A-EBB6-27FC-DED9-41AC9D2F124B}"/>
                </a:ext>
              </a:extLst>
            </p:cNvPr>
            <p:cNvSpPr/>
            <p:nvPr/>
          </p:nvSpPr>
          <p:spPr>
            <a:xfrm>
              <a:off x="9122090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1" name="object 1491">
              <a:extLst>
                <a:ext uri="{FF2B5EF4-FFF2-40B4-BE49-F238E27FC236}">
                  <a16:creationId xmlns:a16="http://schemas.microsoft.com/office/drawing/2014/main" id="{2379B7A4-2054-524F-1932-AD2A786E3F5E}"/>
                </a:ext>
              </a:extLst>
            </p:cNvPr>
            <p:cNvSpPr/>
            <p:nvPr/>
          </p:nvSpPr>
          <p:spPr>
            <a:xfrm>
              <a:off x="9122090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2" name="object 1492">
              <a:extLst>
                <a:ext uri="{FF2B5EF4-FFF2-40B4-BE49-F238E27FC236}">
                  <a16:creationId xmlns:a16="http://schemas.microsoft.com/office/drawing/2014/main" id="{445D7237-039F-47CF-3054-3608F08F8CEF}"/>
                </a:ext>
              </a:extLst>
            </p:cNvPr>
            <p:cNvSpPr/>
            <p:nvPr/>
          </p:nvSpPr>
          <p:spPr>
            <a:xfrm>
              <a:off x="9122228" y="1085502"/>
              <a:ext cx="26838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42594"/>
                <a:gd name="f4" fmla="val 84455"/>
                <a:gd name="f5" fmla="val 442593"/>
                <a:gd name="f6" fmla="val 84123"/>
                <a:gd name="f7" fmla="*/ f0 1 442594"/>
                <a:gd name="f8" fmla="*/ f1 1 84455"/>
                <a:gd name="f9" fmla="+- f4 0 f2"/>
                <a:gd name="f10" fmla="+- f3 0 f2"/>
                <a:gd name="f11" fmla="*/ f10 1 44259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4259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3" name="object 1493">
              <a:extLst>
                <a:ext uri="{FF2B5EF4-FFF2-40B4-BE49-F238E27FC236}">
                  <a16:creationId xmlns:a16="http://schemas.microsoft.com/office/drawing/2014/main" id="{21AD8E0F-85D4-85BD-F7EF-68C9B06CCBAC}"/>
                </a:ext>
              </a:extLst>
            </p:cNvPr>
            <p:cNvSpPr/>
            <p:nvPr/>
          </p:nvSpPr>
          <p:spPr>
            <a:xfrm>
              <a:off x="9122228" y="1157804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19"/>
                <a:gd name="f4" fmla="val 84455"/>
                <a:gd name="f5" fmla="val 172560"/>
                <a:gd name="f6" fmla="val 84112"/>
                <a:gd name="f7" fmla="*/ f0 1 172719"/>
                <a:gd name="f8" fmla="*/ f1 1 84455"/>
                <a:gd name="f9" fmla="+- f4 0 f2"/>
                <a:gd name="f10" fmla="+- f3 0 f2"/>
                <a:gd name="f11" fmla="*/ f10 1 17271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1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4" name="object 1494">
              <a:extLst>
                <a:ext uri="{FF2B5EF4-FFF2-40B4-BE49-F238E27FC236}">
                  <a16:creationId xmlns:a16="http://schemas.microsoft.com/office/drawing/2014/main" id="{D3480D9F-B0DF-4D1D-7CD5-6C75D9F80D3A}"/>
                </a:ext>
              </a:extLst>
            </p:cNvPr>
            <p:cNvSpPr/>
            <p:nvPr/>
          </p:nvSpPr>
          <p:spPr>
            <a:xfrm>
              <a:off x="940165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5" name="object 1495">
              <a:extLst>
                <a:ext uri="{FF2B5EF4-FFF2-40B4-BE49-F238E27FC236}">
                  <a16:creationId xmlns:a16="http://schemas.microsoft.com/office/drawing/2014/main" id="{AF435057-BC7E-9280-19EA-987B8E6CD3BC}"/>
                </a:ext>
              </a:extLst>
            </p:cNvPr>
            <p:cNvSpPr/>
            <p:nvPr/>
          </p:nvSpPr>
          <p:spPr>
            <a:xfrm>
              <a:off x="943667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6" name="object 1496">
              <a:extLst>
                <a:ext uri="{FF2B5EF4-FFF2-40B4-BE49-F238E27FC236}">
                  <a16:creationId xmlns:a16="http://schemas.microsoft.com/office/drawing/2014/main" id="{2083CB5C-2D2A-9606-82A2-052C8858A63D}"/>
                </a:ext>
              </a:extLst>
            </p:cNvPr>
            <p:cNvSpPr/>
            <p:nvPr/>
          </p:nvSpPr>
          <p:spPr>
            <a:xfrm>
              <a:off x="933160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7" name="object 1497">
              <a:extLst>
                <a:ext uri="{FF2B5EF4-FFF2-40B4-BE49-F238E27FC236}">
                  <a16:creationId xmlns:a16="http://schemas.microsoft.com/office/drawing/2014/main" id="{59198AF0-B363-1101-0890-3E2D817C8A21}"/>
                </a:ext>
              </a:extLst>
            </p:cNvPr>
            <p:cNvSpPr/>
            <p:nvPr/>
          </p:nvSpPr>
          <p:spPr>
            <a:xfrm>
              <a:off x="922653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8" name="object 1498">
              <a:extLst>
                <a:ext uri="{FF2B5EF4-FFF2-40B4-BE49-F238E27FC236}">
                  <a16:creationId xmlns:a16="http://schemas.microsoft.com/office/drawing/2014/main" id="{333012E6-A6C2-256E-4210-14577BC239B4}"/>
                </a:ext>
              </a:extLst>
            </p:cNvPr>
            <p:cNvSpPr/>
            <p:nvPr/>
          </p:nvSpPr>
          <p:spPr>
            <a:xfrm>
              <a:off x="92616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99" name="object 1499">
              <a:extLst>
                <a:ext uri="{FF2B5EF4-FFF2-40B4-BE49-F238E27FC236}">
                  <a16:creationId xmlns:a16="http://schemas.microsoft.com/office/drawing/2014/main" id="{A2647C5E-A9BD-BC4C-4DFA-446610349D9F}"/>
                </a:ext>
              </a:extLst>
            </p:cNvPr>
            <p:cNvSpPr/>
            <p:nvPr/>
          </p:nvSpPr>
          <p:spPr>
            <a:xfrm>
              <a:off x="9156490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0" name="object 1500">
              <a:extLst>
                <a:ext uri="{FF2B5EF4-FFF2-40B4-BE49-F238E27FC236}">
                  <a16:creationId xmlns:a16="http://schemas.microsoft.com/office/drawing/2014/main" id="{62BBFC0D-61D1-FADA-A57F-F106E0D5EDCA}"/>
                </a:ext>
              </a:extLst>
            </p:cNvPr>
            <p:cNvSpPr/>
            <p:nvPr/>
          </p:nvSpPr>
          <p:spPr>
            <a:xfrm>
              <a:off x="936662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1" name="object 1501">
              <a:extLst>
                <a:ext uri="{FF2B5EF4-FFF2-40B4-BE49-F238E27FC236}">
                  <a16:creationId xmlns:a16="http://schemas.microsoft.com/office/drawing/2014/main" id="{2DA350E2-B12B-163B-6DEC-BC791E125973}"/>
                </a:ext>
              </a:extLst>
            </p:cNvPr>
            <p:cNvSpPr/>
            <p:nvPr/>
          </p:nvSpPr>
          <p:spPr>
            <a:xfrm>
              <a:off x="9191512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2" name="object 1502">
              <a:extLst>
                <a:ext uri="{FF2B5EF4-FFF2-40B4-BE49-F238E27FC236}">
                  <a16:creationId xmlns:a16="http://schemas.microsoft.com/office/drawing/2014/main" id="{C664E5DF-66CC-E2E4-58C6-E5AAEA4E5C5D}"/>
                </a:ext>
              </a:extLst>
            </p:cNvPr>
            <p:cNvSpPr/>
            <p:nvPr/>
          </p:nvSpPr>
          <p:spPr>
            <a:xfrm>
              <a:off x="947169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3" name="object 1503">
              <a:extLst>
                <a:ext uri="{FF2B5EF4-FFF2-40B4-BE49-F238E27FC236}">
                  <a16:creationId xmlns:a16="http://schemas.microsoft.com/office/drawing/2014/main" id="{70CD9D6E-600C-DB37-627E-68AAB2C9EE31}"/>
                </a:ext>
              </a:extLst>
            </p:cNvPr>
            <p:cNvSpPr/>
            <p:nvPr/>
          </p:nvSpPr>
          <p:spPr>
            <a:xfrm>
              <a:off x="929672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4" name="object 1504">
              <a:extLst>
                <a:ext uri="{FF2B5EF4-FFF2-40B4-BE49-F238E27FC236}">
                  <a16:creationId xmlns:a16="http://schemas.microsoft.com/office/drawing/2014/main" id="{FF15AA4D-1F2B-A1F0-B991-617A2EAC45D7}"/>
                </a:ext>
              </a:extLst>
            </p:cNvPr>
            <p:cNvSpPr/>
            <p:nvPr/>
          </p:nvSpPr>
          <p:spPr>
            <a:xfrm>
              <a:off x="912174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5" name="object 1505">
              <a:extLst>
                <a:ext uri="{FF2B5EF4-FFF2-40B4-BE49-F238E27FC236}">
                  <a16:creationId xmlns:a16="http://schemas.microsoft.com/office/drawing/2014/main" id="{CB2C41FB-C013-CAFD-C8B7-538A2489EEB1}"/>
                </a:ext>
              </a:extLst>
            </p:cNvPr>
            <p:cNvSpPr/>
            <p:nvPr/>
          </p:nvSpPr>
          <p:spPr>
            <a:xfrm>
              <a:off x="9296723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6" name="object 1506">
              <a:extLst>
                <a:ext uri="{FF2B5EF4-FFF2-40B4-BE49-F238E27FC236}">
                  <a16:creationId xmlns:a16="http://schemas.microsoft.com/office/drawing/2014/main" id="{002321DA-4A70-EA65-7FCC-C88A05431757}"/>
                </a:ext>
              </a:extLst>
            </p:cNvPr>
            <p:cNvSpPr/>
            <p:nvPr/>
          </p:nvSpPr>
          <p:spPr>
            <a:xfrm>
              <a:off x="9121743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7" name="object 1507">
              <a:extLst>
                <a:ext uri="{FF2B5EF4-FFF2-40B4-BE49-F238E27FC236}">
                  <a16:creationId xmlns:a16="http://schemas.microsoft.com/office/drawing/2014/main" id="{FF65B59F-E3CD-669F-E111-EE5FE20F84CA}"/>
                </a:ext>
              </a:extLst>
            </p:cNvPr>
            <p:cNvSpPr/>
            <p:nvPr/>
          </p:nvSpPr>
          <p:spPr>
            <a:xfrm>
              <a:off x="1022329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8" name="object 1508">
              <a:extLst>
                <a:ext uri="{FF2B5EF4-FFF2-40B4-BE49-F238E27FC236}">
                  <a16:creationId xmlns:a16="http://schemas.microsoft.com/office/drawing/2014/main" id="{9B16618E-2C9D-5118-CE21-56FC83F11950}"/>
                </a:ext>
              </a:extLst>
            </p:cNvPr>
            <p:cNvSpPr/>
            <p:nvPr/>
          </p:nvSpPr>
          <p:spPr>
            <a:xfrm>
              <a:off x="1025831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09" name="object 1509">
              <a:extLst>
                <a:ext uri="{FF2B5EF4-FFF2-40B4-BE49-F238E27FC236}">
                  <a16:creationId xmlns:a16="http://schemas.microsoft.com/office/drawing/2014/main" id="{97A51CC4-EBC8-B109-B540-124ABE4F0211}"/>
                </a:ext>
              </a:extLst>
            </p:cNvPr>
            <p:cNvSpPr/>
            <p:nvPr/>
          </p:nvSpPr>
          <p:spPr>
            <a:xfrm>
              <a:off x="1015324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0" name="object 1510">
              <a:extLst>
                <a:ext uri="{FF2B5EF4-FFF2-40B4-BE49-F238E27FC236}">
                  <a16:creationId xmlns:a16="http://schemas.microsoft.com/office/drawing/2014/main" id="{0DEFB1A5-E72D-B437-0EEC-03A29DEF522F}"/>
                </a:ext>
              </a:extLst>
            </p:cNvPr>
            <p:cNvSpPr/>
            <p:nvPr/>
          </p:nvSpPr>
          <p:spPr>
            <a:xfrm>
              <a:off x="10048177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1" name="object 1511">
              <a:extLst>
                <a:ext uri="{FF2B5EF4-FFF2-40B4-BE49-F238E27FC236}">
                  <a16:creationId xmlns:a16="http://schemas.microsoft.com/office/drawing/2014/main" id="{897F2BE9-6C2A-C84C-D984-C54662DAFE8C}"/>
                </a:ext>
              </a:extLst>
            </p:cNvPr>
            <p:cNvSpPr/>
            <p:nvPr/>
          </p:nvSpPr>
          <p:spPr>
            <a:xfrm>
              <a:off x="10083271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2" name="object 1512">
              <a:extLst>
                <a:ext uri="{FF2B5EF4-FFF2-40B4-BE49-F238E27FC236}">
                  <a16:creationId xmlns:a16="http://schemas.microsoft.com/office/drawing/2014/main" id="{5A0065A0-88E1-3301-9D85-A96F0459B664}"/>
                </a:ext>
              </a:extLst>
            </p:cNvPr>
            <p:cNvSpPr/>
            <p:nvPr/>
          </p:nvSpPr>
          <p:spPr>
            <a:xfrm>
              <a:off x="9978133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3" name="object 1513">
              <a:extLst>
                <a:ext uri="{FF2B5EF4-FFF2-40B4-BE49-F238E27FC236}">
                  <a16:creationId xmlns:a16="http://schemas.microsoft.com/office/drawing/2014/main" id="{CE17B58A-82E0-DF41-35E7-B561EB4CA775}"/>
                </a:ext>
              </a:extLst>
            </p:cNvPr>
            <p:cNvSpPr/>
            <p:nvPr/>
          </p:nvSpPr>
          <p:spPr>
            <a:xfrm>
              <a:off x="10188272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4" name="object 1514">
              <a:extLst>
                <a:ext uri="{FF2B5EF4-FFF2-40B4-BE49-F238E27FC236}">
                  <a16:creationId xmlns:a16="http://schemas.microsoft.com/office/drawing/2014/main" id="{193F127D-AB53-95B8-63A6-B8D9BAECE8A5}"/>
                </a:ext>
              </a:extLst>
            </p:cNvPr>
            <p:cNvSpPr/>
            <p:nvPr/>
          </p:nvSpPr>
          <p:spPr>
            <a:xfrm>
              <a:off x="10013155" y="109826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5" name="object 1515">
              <a:extLst>
                <a:ext uri="{FF2B5EF4-FFF2-40B4-BE49-F238E27FC236}">
                  <a16:creationId xmlns:a16="http://schemas.microsoft.com/office/drawing/2014/main" id="{D8776769-B92C-3B15-3C7B-84B66B75FF88}"/>
                </a:ext>
              </a:extLst>
            </p:cNvPr>
            <p:cNvSpPr/>
            <p:nvPr/>
          </p:nvSpPr>
          <p:spPr>
            <a:xfrm>
              <a:off x="10293336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6" name="object 1516">
              <a:extLst>
                <a:ext uri="{FF2B5EF4-FFF2-40B4-BE49-F238E27FC236}">
                  <a16:creationId xmlns:a16="http://schemas.microsoft.com/office/drawing/2014/main" id="{B12950AB-A0BD-9B4B-4E33-29906D6480E6}"/>
                </a:ext>
              </a:extLst>
            </p:cNvPr>
            <p:cNvSpPr/>
            <p:nvPr/>
          </p:nvSpPr>
          <p:spPr>
            <a:xfrm>
              <a:off x="10118366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7" name="object 1517">
              <a:extLst>
                <a:ext uri="{FF2B5EF4-FFF2-40B4-BE49-F238E27FC236}">
                  <a16:creationId xmlns:a16="http://schemas.microsoft.com/office/drawing/2014/main" id="{931434DC-3712-3EF1-C268-CF71516B3442}"/>
                </a:ext>
              </a:extLst>
            </p:cNvPr>
            <p:cNvSpPr/>
            <p:nvPr/>
          </p:nvSpPr>
          <p:spPr>
            <a:xfrm>
              <a:off x="9943386" y="108550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8" name="object 1518">
              <a:extLst>
                <a:ext uri="{FF2B5EF4-FFF2-40B4-BE49-F238E27FC236}">
                  <a16:creationId xmlns:a16="http://schemas.microsoft.com/office/drawing/2014/main" id="{0B5BDA31-E493-B42E-C43F-B240EFFCE0C9}"/>
                </a:ext>
              </a:extLst>
            </p:cNvPr>
            <p:cNvSpPr/>
            <p:nvPr/>
          </p:nvSpPr>
          <p:spPr>
            <a:xfrm>
              <a:off x="9943395" y="111101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19" name="object 1519">
              <a:extLst>
                <a:ext uri="{FF2B5EF4-FFF2-40B4-BE49-F238E27FC236}">
                  <a16:creationId xmlns:a16="http://schemas.microsoft.com/office/drawing/2014/main" id="{5DB1634C-0611-A968-7393-4924250D652E}"/>
                </a:ext>
              </a:extLst>
            </p:cNvPr>
            <p:cNvSpPr/>
            <p:nvPr/>
          </p:nvSpPr>
          <p:spPr>
            <a:xfrm>
              <a:off x="9943514" y="1085502"/>
              <a:ext cx="6969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4934"/>
                <a:gd name="f4" fmla="val 84455"/>
                <a:gd name="f5" fmla="val 114844"/>
                <a:gd name="f6" fmla="val 84123"/>
                <a:gd name="f7" fmla="*/ f0 1 114934"/>
                <a:gd name="f8" fmla="*/ f1 1 84455"/>
                <a:gd name="f9" fmla="+- f4 0 f2"/>
                <a:gd name="f10" fmla="+- f3 0 f2"/>
                <a:gd name="f11" fmla="*/ f10 1 11493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1493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0" name="object 1520">
              <a:extLst>
                <a:ext uri="{FF2B5EF4-FFF2-40B4-BE49-F238E27FC236}">
                  <a16:creationId xmlns:a16="http://schemas.microsoft.com/office/drawing/2014/main" id="{18E23C56-AC23-FA77-3B5F-E001483CDE53}"/>
                </a:ext>
              </a:extLst>
            </p:cNvPr>
            <p:cNvSpPr/>
            <p:nvPr/>
          </p:nvSpPr>
          <p:spPr>
            <a:xfrm>
              <a:off x="10292989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1" name="object 1521">
              <a:extLst>
                <a:ext uri="{FF2B5EF4-FFF2-40B4-BE49-F238E27FC236}">
                  <a16:creationId xmlns:a16="http://schemas.microsoft.com/office/drawing/2014/main" id="{0835F192-3FB2-1653-83E2-A9C538AC6815}"/>
                </a:ext>
              </a:extLst>
            </p:cNvPr>
            <p:cNvSpPr/>
            <p:nvPr/>
          </p:nvSpPr>
          <p:spPr>
            <a:xfrm>
              <a:off x="1011801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2" name="object 1522">
              <a:extLst>
                <a:ext uri="{FF2B5EF4-FFF2-40B4-BE49-F238E27FC236}">
                  <a16:creationId xmlns:a16="http://schemas.microsoft.com/office/drawing/2014/main" id="{38F37F89-AE87-4BD4-7EAD-FD8D72B60EF5}"/>
                </a:ext>
              </a:extLst>
            </p:cNvPr>
            <p:cNvSpPr/>
            <p:nvPr/>
          </p:nvSpPr>
          <p:spPr>
            <a:xfrm>
              <a:off x="994304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3" name="object 1523">
              <a:extLst>
                <a:ext uri="{FF2B5EF4-FFF2-40B4-BE49-F238E27FC236}">
                  <a16:creationId xmlns:a16="http://schemas.microsoft.com/office/drawing/2014/main" id="{754023D6-5EFF-7419-33A2-CE421FC20BB4}"/>
                </a:ext>
              </a:extLst>
            </p:cNvPr>
            <p:cNvSpPr/>
            <p:nvPr/>
          </p:nvSpPr>
          <p:spPr>
            <a:xfrm>
              <a:off x="10118018" y="115780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4" name="object 1524">
              <a:extLst>
                <a:ext uri="{FF2B5EF4-FFF2-40B4-BE49-F238E27FC236}">
                  <a16:creationId xmlns:a16="http://schemas.microsoft.com/office/drawing/2014/main" id="{C450EF72-0456-BFA7-E191-1F5A0D86F8F5}"/>
                </a:ext>
              </a:extLst>
            </p:cNvPr>
            <p:cNvSpPr/>
            <p:nvPr/>
          </p:nvSpPr>
          <p:spPr>
            <a:xfrm>
              <a:off x="1022294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5" name="object 1525">
              <a:extLst>
                <a:ext uri="{FF2B5EF4-FFF2-40B4-BE49-F238E27FC236}">
                  <a16:creationId xmlns:a16="http://schemas.microsoft.com/office/drawing/2014/main" id="{61D9A38B-1765-B879-7F2E-19681FE88682}"/>
                </a:ext>
              </a:extLst>
            </p:cNvPr>
            <p:cNvSpPr/>
            <p:nvPr/>
          </p:nvSpPr>
          <p:spPr>
            <a:xfrm>
              <a:off x="10257967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6" name="object 1526">
              <a:extLst>
                <a:ext uri="{FF2B5EF4-FFF2-40B4-BE49-F238E27FC236}">
                  <a16:creationId xmlns:a16="http://schemas.microsoft.com/office/drawing/2014/main" id="{EAE332FE-C086-9CF8-DB5E-B946F4EF29E1}"/>
                </a:ext>
              </a:extLst>
            </p:cNvPr>
            <p:cNvSpPr/>
            <p:nvPr/>
          </p:nvSpPr>
          <p:spPr>
            <a:xfrm>
              <a:off x="10152903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7" name="object 1527">
              <a:extLst>
                <a:ext uri="{FF2B5EF4-FFF2-40B4-BE49-F238E27FC236}">
                  <a16:creationId xmlns:a16="http://schemas.microsoft.com/office/drawing/2014/main" id="{7D8BF033-6285-5A39-0D22-DBD01F98F717}"/>
                </a:ext>
              </a:extLst>
            </p:cNvPr>
            <p:cNvSpPr/>
            <p:nvPr/>
          </p:nvSpPr>
          <p:spPr>
            <a:xfrm>
              <a:off x="10047829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8" name="object 1528">
              <a:extLst>
                <a:ext uri="{FF2B5EF4-FFF2-40B4-BE49-F238E27FC236}">
                  <a16:creationId xmlns:a16="http://schemas.microsoft.com/office/drawing/2014/main" id="{E15AD18D-0F68-420E-251C-B823D96EE1C4}"/>
                </a:ext>
              </a:extLst>
            </p:cNvPr>
            <p:cNvSpPr/>
            <p:nvPr/>
          </p:nvSpPr>
          <p:spPr>
            <a:xfrm>
              <a:off x="1008292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29" name="object 1529">
              <a:extLst>
                <a:ext uri="{FF2B5EF4-FFF2-40B4-BE49-F238E27FC236}">
                  <a16:creationId xmlns:a16="http://schemas.microsoft.com/office/drawing/2014/main" id="{DFE8D35F-7469-F9C2-1901-B2816FE95853}"/>
                </a:ext>
              </a:extLst>
            </p:cNvPr>
            <p:cNvSpPr/>
            <p:nvPr/>
          </p:nvSpPr>
          <p:spPr>
            <a:xfrm>
              <a:off x="9977786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0" name="object 1530">
              <a:extLst>
                <a:ext uri="{FF2B5EF4-FFF2-40B4-BE49-F238E27FC236}">
                  <a16:creationId xmlns:a16="http://schemas.microsoft.com/office/drawing/2014/main" id="{0EFB93B7-138F-77E4-B38E-4DC2D9E984AA}"/>
                </a:ext>
              </a:extLst>
            </p:cNvPr>
            <p:cNvSpPr/>
            <p:nvPr/>
          </p:nvSpPr>
          <p:spPr>
            <a:xfrm>
              <a:off x="10187924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1" name="object 1531">
              <a:extLst>
                <a:ext uri="{FF2B5EF4-FFF2-40B4-BE49-F238E27FC236}">
                  <a16:creationId xmlns:a16="http://schemas.microsoft.com/office/drawing/2014/main" id="{674E67A3-8833-DC87-0925-00A107D522A9}"/>
                </a:ext>
              </a:extLst>
            </p:cNvPr>
            <p:cNvSpPr/>
            <p:nvPr/>
          </p:nvSpPr>
          <p:spPr>
            <a:xfrm>
              <a:off x="10012808" y="117056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2" name="object 1532">
              <a:extLst>
                <a:ext uri="{FF2B5EF4-FFF2-40B4-BE49-F238E27FC236}">
                  <a16:creationId xmlns:a16="http://schemas.microsoft.com/office/drawing/2014/main" id="{BD56D673-E8D5-1E67-C801-1849FD78C107}"/>
                </a:ext>
              </a:extLst>
            </p:cNvPr>
            <p:cNvSpPr/>
            <p:nvPr/>
          </p:nvSpPr>
          <p:spPr>
            <a:xfrm>
              <a:off x="9943048" y="11833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3" name="object 1533">
              <a:extLst>
                <a:ext uri="{FF2B5EF4-FFF2-40B4-BE49-F238E27FC236}">
                  <a16:creationId xmlns:a16="http://schemas.microsoft.com/office/drawing/2014/main" id="{C8B5585C-A760-4FB2-9DCA-32F70A35BF17}"/>
                </a:ext>
              </a:extLst>
            </p:cNvPr>
            <p:cNvSpPr/>
            <p:nvPr/>
          </p:nvSpPr>
          <p:spPr>
            <a:xfrm>
              <a:off x="1022329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4" name="object 1534">
              <a:extLst>
                <a:ext uri="{FF2B5EF4-FFF2-40B4-BE49-F238E27FC236}">
                  <a16:creationId xmlns:a16="http://schemas.microsoft.com/office/drawing/2014/main" id="{98A49C9E-92E2-18E9-4149-4E38F1AE0EDE}"/>
                </a:ext>
              </a:extLst>
            </p:cNvPr>
            <p:cNvSpPr/>
            <p:nvPr/>
          </p:nvSpPr>
          <p:spPr>
            <a:xfrm>
              <a:off x="1025831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5" name="object 1535">
              <a:extLst>
                <a:ext uri="{FF2B5EF4-FFF2-40B4-BE49-F238E27FC236}">
                  <a16:creationId xmlns:a16="http://schemas.microsoft.com/office/drawing/2014/main" id="{8E2ACF3B-803C-0D54-EAD1-19B304F5D0C8}"/>
                </a:ext>
              </a:extLst>
            </p:cNvPr>
            <p:cNvSpPr/>
            <p:nvPr/>
          </p:nvSpPr>
          <p:spPr>
            <a:xfrm>
              <a:off x="1015324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6" name="object 1536">
              <a:extLst>
                <a:ext uri="{FF2B5EF4-FFF2-40B4-BE49-F238E27FC236}">
                  <a16:creationId xmlns:a16="http://schemas.microsoft.com/office/drawing/2014/main" id="{2D417F5F-F9CC-3FC9-AAF6-6A236336A154}"/>
                </a:ext>
              </a:extLst>
            </p:cNvPr>
            <p:cNvSpPr/>
            <p:nvPr/>
          </p:nvSpPr>
          <p:spPr>
            <a:xfrm>
              <a:off x="10048177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7" name="object 1537">
              <a:extLst>
                <a:ext uri="{FF2B5EF4-FFF2-40B4-BE49-F238E27FC236}">
                  <a16:creationId xmlns:a16="http://schemas.microsoft.com/office/drawing/2014/main" id="{6952E291-22C4-7130-8AF4-A4DEC47B2FCB}"/>
                </a:ext>
              </a:extLst>
            </p:cNvPr>
            <p:cNvSpPr/>
            <p:nvPr/>
          </p:nvSpPr>
          <p:spPr>
            <a:xfrm>
              <a:off x="10083271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8" name="object 1538">
              <a:extLst>
                <a:ext uri="{FF2B5EF4-FFF2-40B4-BE49-F238E27FC236}">
                  <a16:creationId xmlns:a16="http://schemas.microsoft.com/office/drawing/2014/main" id="{DAC25B78-CB58-B1BD-EAD6-382BCCEB9E28}"/>
                </a:ext>
              </a:extLst>
            </p:cNvPr>
            <p:cNvSpPr/>
            <p:nvPr/>
          </p:nvSpPr>
          <p:spPr>
            <a:xfrm>
              <a:off x="9978133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39" name="object 1539">
              <a:extLst>
                <a:ext uri="{FF2B5EF4-FFF2-40B4-BE49-F238E27FC236}">
                  <a16:creationId xmlns:a16="http://schemas.microsoft.com/office/drawing/2014/main" id="{0D8ADE50-6CE4-506B-BCF1-98FCE5E14AB7}"/>
                </a:ext>
              </a:extLst>
            </p:cNvPr>
            <p:cNvSpPr/>
            <p:nvPr/>
          </p:nvSpPr>
          <p:spPr>
            <a:xfrm>
              <a:off x="10188272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0" name="object 1540">
              <a:extLst>
                <a:ext uri="{FF2B5EF4-FFF2-40B4-BE49-F238E27FC236}">
                  <a16:creationId xmlns:a16="http://schemas.microsoft.com/office/drawing/2014/main" id="{F8622D3E-1635-E9B0-C9F2-CAC1BEAA9096}"/>
                </a:ext>
              </a:extLst>
            </p:cNvPr>
            <p:cNvSpPr/>
            <p:nvPr/>
          </p:nvSpPr>
          <p:spPr>
            <a:xfrm>
              <a:off x="10013155" y="186167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1" name="object 1541">
              <a:extLst>
                <a:ext uri="{FF2B5EF4-FFF2-40B4-BE49-F238E27FC236}">
                  <a16:creationId xmlns:a16="http://schemas.microsoft.com/office/drawing/2014/main" id="{1E3387CB-9B58-7EA5-DEDA-D103D0E02988}"/>
                </a:ext>
              </a:extLst>
            </p:cNvPr>
            <p:cNvSpPr/>
            <p:nvPr/>
          </p:nvSpPr>
          <p:spPr>
            <a:xfrm>
              <a:off x="10293336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2" name="object 1542">
              <a:extLst>
                <a:ext uri="{FF2B5EF4-FFF2-40B4-BE49-F238E27FC236}">
                  <a16:creationId xmlns:a16="http://schemas.microsoft.com/office/drawing/2014/main" id="{C8E1E035-8DE5-4412-0279-008C0BD9451E}"/>
                </a:ext>
              </a:extLst>
            </p:cNvPr>
            <p:cNvSpPr/>
            <p:nvPr/>
          </p:nvSpPr>
          <p:spPr>
            <a:xfrm>
              <a:off x="10118366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3" name="object 1543">
              <a:extLst>
                <a:ext uri="{FF2B5EF4-FFF2-40B4-BE49-F238E27FC236}">
                  <a16:creationId xmlns:a16="http://schemas.microsoft.com/office/drawing/2014/main" id="{328D19D7-C94E-1EC1-018B-DEAF4D42C66F}"/>
                </a:ext>
              </a:extLst>
            </p:cNvPr>
            <p:cNvSpPr/>
            <p:nvPr/>
          </p:nvSpPr>
          <p:spPr>
            <a:xfrm>
              <a:off x="9943386" y="184891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4" name="object 1544">
              <a:extLst>
                <a:ext uri="{FF2B5EF4-FFF2-40B4-BE49-F238E27FC236}">
                  <a16:creationId xmlns:a16="http://schemas.microsoft.com/office/drawing/2014/main" id="{12095F68-0C29-3FB5-E3EE-6C8B5E21839E}"/>
                </a:ext>
              </a:extLst>
            </p:cNvPr>
            <p:cNvSpPr/>
            <p:nvPr/>
          </p:nvSpPr>
          <p:spPr>
            <a:xfrm>
              <a:off x="9943395" y="187442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5" name="object 1545">
              <a:extLst>
                <a:ext uri="{FF2B5EF4-FFF2-40B4-BE49-F238E27FC236}">
                  <a16:creationId xmlns:a16="http://schemas.microsoft.com/office/drawing/2014/main" id="{FA1E2265-80ED-E013-D2CD-8C81F0A33005}"/>
                </a:ext>
              </a:extLst>
            </p:cNvPr>
            <p:cNvSpPr/>
            <p:nvPr/>
          </p:nvSpPr>
          <p:spPr>
            <a:xfrm>
              <a:off x="9943514" y="1848916"/>
              <a:ext cx="419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9215"/>
                <a:gd name="f4" fmla="val 84455"/>
                <a:gd name="f5" fmla="val 68689"/>
                <a:gd name="f6" fmla="val 84112"/>
                <a:gd name="f7" fmla="*/ f0 1 69215"/>
                <a:gd name="f8" fmla="*/ f1 1 84455"/>
                <a:gd name="f9" fmla="+- f4 0 f2"/>
                <a:gd name="f10" fmla="+- f3 0 f2"/>
                <a:gd name="f11" fmla="*/ f10 1 69215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9215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6" name="object 1546">
              <a:extLst>
                <a:ext uri="{FF2B5EF4-FFF2-40B4-BE49-F238E27FC236}">
                  <a16:creationId xmlns:a16="http://schemas.microsoft.com/office/drawing/2014/main" id="{B4E23236-B335-7938-2CCD-FD3A6FCD8BD8}"/>
                </a:ext>
              </a:extLst>
            </p:cNvPr>
            <p:cNvSpPr/>
            <p:nvPr/>
          </p:nvSpPr>
          <p:spPr>
            <a:xfrm>
              <a:off x="10292989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7" name="object 1547">
              <a:extLst>
                <a:ext uri="{FF2B5EF4-FFF2-40B4-BE49-F238E27FC236}">
                  <a16:creationId xmlns:a16="http://schemas.microsoft.com/office/drawing/2014/main" id="{8E1D1074-575A-BD50-F842-97029251DC0B}"/>
                </a:ext>
              </a:extLst>
            </p:cNvPr>
            <p:cNvSpPr/>
            <p:nvPr/>
          </p:nvSpPr>
          <p:spPr>
            <a:xfrm>
              <a:off x="10118018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8" name="object 1548">
              <a:extLst>
                <a:ext uri="{FF2B5EF4-FFF2-40B4-BE49-F238E27FC236}">
                  <a16:creationId xmlns:a16="http://schemas.microsoft.com/office/drawing/2014/main" id="{16BFB2A5-7557-DDCA-FC7A-1C27D9E322CC}"/>
                </a:ext>
              </a:extLst>
            </p:cNvPr>
            <p:cNvSpPr/>
            <p:nvPr/>
          </p:nvSpPr>
          <p:spPr>
            <a:xfrm>
              <a:off x="9943048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49" name="object 1549">
              <a:extLst>
                <a:ext uri="{FF2B5EF4-FFF2-40B4-BE49-F238E27FC236}">
                  <a16:creationId xmlns:a16="http://schemas.microsoft.com/office/drawing/2014/main" id="{16EA8CFC-6295-AC2F-2A0D-AB00D4D1FB04}"/>
                </a:ext>
              </a:extLst>
            </p:cNvPr>
            <p:cNvSpPr/>
            <p:nvPr/>
          </p:nvSpPr>
          <p:spPr>
            <a:xfrm>
              <a:off x="10118018" y="19212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0" name="object 1550">
              <a:extLst>
                <a:ext uri="{FF2B5EF4-FFF2-40B4-BE49-F238E27FC236}">
                  <a16:creationId xmlns:a16="http://schemas.microsoft.com/office/drawing/2014/main" id="{3E23AEF8-8203-08CC-35A5-3617A198237B}"/>
                </a:ext>
              </a:extLst>
            </p:cNvPr>
            <p:cNvSpPr/>
            <p:nvPr/>
          </p:nvSpPr>
          <p:spPr>
            <a:xfrm>
              <a:off x="1022294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1" name="object 1551">
              <a:extLst>
                <a:ext uri="{FF2B5EF4-FFF2-40B4-BE49-F238E27FC236}">
                  <a16:creationId xmlns:a16="http://schemas.microsoft.com/office/drawing/2014/main" id="{FCBE405C-FC8E-D759-842A-31439F0FB851}"/>
                </a:ext>
              </a:extLst>
            </p:cNvPr>
            <p:cNvSpPr/>
            <p:nvPr/>
          </p:nvSpPr>
          <p:spPr>
            <a:xfrm>
              <a:off x="10257967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2" name="object 1552">
              <a:extLst>
                <a:ext uri="{FF2B5EF4-FFF2-40B4-BE49-F238E27FC236}">
                  <a16:creationId xmlns:a16="http://schemas.microsoft.com/office/drawing/2014/main" id="{B421A894-45F6-E57E-5177-6869129D413A}"/>
                </a:ext>
              </a:extLst>
            </p:cNvPr>
            <p:cNvSpPr/>
            <p:nvPr/>
          </p:nvSpPr>
          <p:spPr>
            <a:xfrm>
              <a:off x="10152903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3" name="object 1553">
              <a:extLst>
                <a:ext uri="{FF2B5EF4-FFF2-40B4-BE49-F238E27FC236}">
                  <a16:creationId xmlns:a16="http://schemas.microsoft.com/office/drawing/2014/main" id="{85B034E7-AD0C-A546-3C33-C55183795F1E}"/>
                </a:ext>
              </a:extLst>
            </p:cNvPr>
            <p:cNvSpPr/>
            <p:nvPr/>
          </p:nvSpPr>
          <p:spPr>
            <a:xfrm>
              <a:off x="10047829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4" name="object 1554">
              <a:extLst>
                <a:ext uri="{FF2B5EF4-FFF2-40B4-BE49-F238E27FC236}">
                  <a16:creationId xmlns:a16="http://schemas.microsoft.com/office/drawing/2014/main" id="{E3F20E06-D332-0298-AF37-AC78B069DAA5}"/>
                </a:ext>
              </a:extLst>
            </p:cNvPr>
            <p:cNvSpPr/>
            <p:nvPr/>
          </p:nvSpPr>
          <p:spPr>
            <a:xfrm>
              <a:off x="1008292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5" name="object 1555">
              <a:extLst>
                <a:ext uri="{FF2B5EF4-FFF2-40B4-BE49-F238E27FC236}">
                  <a16:creationId xmlns:a16="http://schemas.microsoft.com/office/drawing/2014/main" id="{8F834661-1585-5D41-6692-93D8E4F8309C}"/>
                </a:ext>
              </a:extLst>
            </p:cNvPr>
            <p:cNvSpPr/>
            <p:nvPr/>
          </p:nvSpPr>
          <p:spPr>
            <a:xfrm>
              <a:off x="9977786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6" name="object 1556">
              <a:extLst>
                <a:ext uri="{FF2B5EF4-FFF2-40B4-BE49-F238E27FC236}">
                  <a16:creationId xmlns:a16="http://schemas.microsoft.com/office/drawing/2014/main" id="{2FF451FD-0C20-F353-901C-630C71489474}"/>
                </a:ext>
              </a:extLst>
            </p:cNvPr>
            <p:cNvSpPr/>
            <p:nvPr/>
          </p:nvSpPr>
          <p:spPr>
            <a:xfrm>
              <a:off x="10187924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7" name="object 1557">
              <a:extLst>
                <a:ext uri="{FF2B5EF4-FFF2-40B4-BE49-F238E27FC236}">
                  <a16:creationId xmlns:a16="http://schemas.microsoft.com/office/drawing/2014/main" id="{19423977-7CB5-677E-D6DC-F1E9A94C538C}"/>
                </a:ext>
              </a:extLst>
            </p:cNvPr>
            <p:cNvSpPr/>
            <p:nvPr/>
          </p:nvSpPr>
          <p:spPr>
            <a:xfrm>
              <a:off x="10012808" y="19339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8" name="object 1558">
              <a:extLst>
                <a:ext uri="{FF2B5EF4-FFF2-40B4-BE49-F238E27FC236}">
                  <a16:creationId xmlns:a16="http://schemas.microsoft.com/office/drawing/2014/main" id="{55C1DB79-4967-F328-C120-3D6EC612F61F}"/>
                </a:ext>
              </a:extLst>
            </p:cNvPr>
            <p:cNvSpPr/>
            <p:nvPr/>
          </p:nvSpPr>
          <p:spPr>
            <a:xfrm>
              <a:off x="9943048" y="19467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59" name="object 1559">
              <a:extLst>
                <a:ext uri="{FF2B5EF4-FFF2-40B4-BE49-F238E27FC236}">
                  <a16:creationId xmlns:a16="http://schemas.microsoft.com/office/drawing/2014/main" id="{F495B900-F62F-1938-3B8F-6ABA110C8332}"/>
                </a:ext>
              </a:extLst>
            </p:cNvPr>
            <p:cNvSpPr/>
            <p:nvPr/>
          </p:nvSpPr>
          <p:spPr>
            <a:xfrm>
              <a:off x="9401997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0" name="object 1560">
              <a:extLst>
                <a:ext uri="{FF2B5EF4-FFF2-40B4-BE49-F238E27FC236}">
                  <a16:creationId xmlns:a16="http://schemas.microsoft.com/office/drawing/2014/main" id="{18ED989B-A7E4-6012-1C48-2E6B8E768A3F}"/>
                </a:ext>
              </a:extLst>
            </p:cNvPr>
            <p:cNvSpPr/>
            <p:nvPr/>
          </p:nvSpPr>
          <p:spPr>
            <a:xfrm>
              <a:off x="9437019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1" name="object 1561">
              <a:extLst>
                <a:ext uri="{FF2B5EF4-FFF2-40B4-BE49-F238E27FC236}">
                  <a16:creationId xmlns:a16="http://schemas.microsoft.com/office/drawing/2014/main" id="{F6339AE2-9B3F-4EB2-65B2-8565D4FFDAD9}"/>
                </a:ext>
              </a:extLst>
            </p:cNvPr>
            <p:cNvSpPr/>
            <p:nvPr/>
          </p:nvSpPr>
          <p:spPr>
            <a:xfrm>
              <a:off x="9331954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2" name="object 1562">
              <a:extLst>
                <a:ext uri="{FF2B5EF4-FFF2-40B4-BE49-F238E27FC236}">
                  <a16:creationId xmlns:a16="http://schemas.microsoft.com/office/drawing/2014/main" id="{6A93C590-E44B-2922-7E7C-42502670CA79}"/>
                </a:ext>
              </a:extLst>
            </p:cNvPr>
            <p:cNvSpPr/>
            <p:nvPr/>
          </p:nvSpPr>
          <p:spPr>
            <a:xfrm>
              <a:off x="9226881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3" name="object 1563">
              <a:extLst>
                <a:ext uri="{FF2B5EF4-FFF2-40B4-BE49-F238E27FC236}">
                  <a16:creationId xmlns:a16="http://schemas.microsoft.com/office/drawing/2014/main" id="{695D10D8-19D9-F257-F462-EC0C10ADA941}"/>
                </a:ext>
              </a:extLst>
            </p:cNvPr>
            <p:cNvSpPr/>
            <p:nvPr/>
          </p:nvSpPr>
          <p:spPr>
            <a:xfrm>
              <a:off x="9261975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4" name="object 1564">
              <a:extLst>
                <a:ext uri="{FF2B5EF4-FFF2-40B4-BE49-F238E27FC236}">
                  <a16:creationId xmlns:a16="http://schemas.microsoft.com/office/drawing/2014/main" id="{EEE71EC3-2810-8B65-489A-DA9822669021}"/>
                </a:ext>
              </a:extLst>
            </p:cNvPr>
            <p:cNvSpPr/>
            <p:nvPr/>
          </p:nvSpPr>
          <p:spPr>
            <a:xfrm>
              <a:off x="9156838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5" name="object 1565">
              <a:extLst>
                <a:ext uri="{FF2B5EF4-FFF2-40B4-BE49-F238E27FC236}">
                  <a16:creationId xmlns:a16="http://schemas.microsoft.com/office/drawing/2014/main" id="{D64F864B-19B9-1AEF-0E8F-47936890C2D7}"/>
                </a:ext>
              </a:extLst>
            </p:cNvPr>
            <p:cNvSpPr/>
            <p:nvPr/>
          </p:nvSpPr>
          <p:spPr>
            <a:xfrm>
              <a:off x="9366976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6" name="object 1566">
              <a:extLst>
                <a:ext uri="{FF2B5EF4-FFF2-40B4-BE49-F238E27FC236}">
                  <a16:creationId xmlns:a16="http://schemas.microsoft.com/office/drawing/2014/main" id="{1FB7A1E8-348B-55E6-8D4B-8D99D09C57FC}"/>
                </a:ext>
              </a:extLst>
            </p:cNvPr>
            <p:cNvSpPr/>
            <p:nvPr/>
          </p:nvSpPr>
          <p:spPr>
            <a:xfrm>
              <a:off x="9191859" y="18598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7" name="object 1567">
              <a:extLst>
                <a:ext uri="{FF2B5EF4-FFF2-40B4-BE49-F238E27FC236}">
                  <a16:creationId xmlns:a16="http://schemas.microsoft.com/office/drawing/2014/main" id="{0E060828-F4BD-AEA7-826D-6D13B105FEA3}"/>
                </a:ext>
              </a:extLst>
            </p:cNvPr>
            <p:cNvSpPr/>
            <p:nvPr/>
          </p:nvSpPr>
          <p:spPr>
            <a:xfrm>
              <a:off x="9472041" y="18471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8" name="object 1568">
              <a:extLst>
                <a:ext uri="{FF2B5EF4-FFF2-40B4-BE49-F238E27FC236}">
                  <a16:creationId xmlns:a16="http://schemas.microsoft.com/office/drawing/2014/main" id="{01383DEB-2E7B-7999-C17A-CA1042B1C446}"/>
                </a:ext>
              </a:extLst>
            </p:cNvPr>
            <p:cNvSpPr/>
            <p:nvPr/>
          </p:nvSpPr>
          <p:spPr>
            <a:xfrm>
              <a:off x="9297070" y="18471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69" name="object 1569">
              <a:extLst>
                <a:ext uri="{FF2B5EF4-FFF2-40B4-BE49-F238E27FC236}">
                  <a16:creationId xmlns:a16="http://schemas.microsoft.com/office/drawing/2014/main" id="{3DEF3BF2-9D36-6E9A-40E1-C48C3B5D63DB}"/>
                </a:ext>
              </a:extLst>
            </p:cNvPr>
            <p:cNvSpPr/>
            <p:nvPr/>
          </p:nvSpPr>
          <p:spPr>
            <a:xfrm>
              <a:off x="9122090" y="18471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0" name="object 1570">
              <a:extLst>
                <a:ext uri="{FF2B5EF4-FFF2-40B4-BE49-F238E27FC236}">
                  <a16:creationId xmlns:a16="http://schemas.microsoft.com/office/drawing/2014/main" id="{6FFBCCD7-2B4B-2FD6-A764-D4C9603CEA55}"/>
                </a:ext>
              </a:extLst>
            </p:cNvPr>
            <p:cNvSpPr/>
            <p:nvPr/>
          </p:nvSpPr>
          <p:spPr>
            <a:xfrm>
              <a:off x="9122090" y="187264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1" name="object 1571">
              <a:extLst>
                <a:ext uri="{FF2B5EF4-FFF2-40B4-BE49-F238E27FC236}">
                  <a16:creationId xmlns:a16="http://schemas.microsoft.com/office/drawing/2014/main" id="{363DD34D-8862-8F04-9120-F2FE5DAB640B}"/>
                </a:ext>
              </a:extLst>
            </p:cNvPr>
            <p:cNvSpPr/>
            <p:nvPr/>
          </p:nvSpPr>
          <p:spPr>
            <a:xfrm>
              <a:off x="9122228" y="1847133"/>
              <a:ext cx="1952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1944"/>
                <a:gd name="f4" fmla="val 84455"/>
                <a:gd name="f5" fmla="val 321592"/>
                <a:gd name="f6" fmla="val 84123"/>
                <a:gd name="f7" fmla="*/ f0 1 321944"/>
                <a:gd name="f8" fmla="*/ f1 1 84455"/>
                <a:gd name="f9" fmla="+- f4 0 f2"/>
                <a:gd name="f10" fmla="+- f3 0 f2"/>
                <a:gd name="f11" fmla="*/ f10 1 321944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21944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2" name="object 1572">
              <a:extLst>
                <a:ext uri="{FF2B5EF4-FFF2-40B4-BE49-F238E27FC236}">
                  <a16:creationId xmlns:a16="http://schemas.microsoft.com/office/drawing/2014/main" id="{AE8B4195-49A4-25FF-5E0C-28918E8D4F53}"/>
                </a:ext>
              </a:extLst>
            </p:cNvPr>
            <p:cNvSpPr/>
            <p:nvPr/>
          </p:nvSpPr>
          <p:spPr>
            <a:xfrm>
              <a:off x="9122228" y="1919426"/>
              <a:ext cx="104735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72719"/>
                <a:gd name="f4" fmla="val 84455"/>
                <a:gd name="f5" fmla="val 172560"/>
                <a:gd name="f6" fmla="val 84123"/>
                <a:gd name="f7" fmla="*/ f0 1 172719"/>
                <a:gd name="f8" fmla="*/ f1 1 84455"/>
                <a:gd name="f9" fmla="+- f4 0 f2"/>
                <a:gd name="f10" fmla="+- f3 0 f2"/>
                <a:gd name="f11" fmla="*/ f10 1 172719"/>
                <a:gd name="f12" fmla="*/ f9 1 8445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72719" h="8445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3" name="object 1573">
              <a:extLst>
                <a:ext uri="{FF2B5EF4-FFF2-40B4-BE49-F238E27FC236}">
                  <a16:creationId xmlns:a16="http://schemas.microsoft.com/office/drawing/2014/main" id="{EC6E5E9E-E7D6-298F-2AB0-77E0D18D29F1}"/>
                </a:ext>
              </a:extLst>
            </p:cNvPr>
            <p:cNvSpPr/>
            <p:nvPr/>
          </p:nvSpPr>
          <p:spPr>
            <a:xfrm>
              <a:off x="9401650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4" name="object 1574">
              <a:extLst>
                <a:ext uri="{FF2B5EF4-FFF2-40B4-BE49-F238E27FC236}">
                  <a16:creationId xmlns:a16="http://schemas.microsoft.com/office/drawing/2014/main" id="{1E113521-28F3-5484-4A0B-316C5953BFC0}"/>
                </a:ext>
              </a:extLst>
            </p:cNvPr>
            <p:cNvSpPr/>
            <p:nvPr/>
          </p:nvSpPr>
          <p:spPr>
            <a:xfrm>
              <a:off x="9436672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5" name="object 1575">
              <a:extLst>
                <a:ext uri="{FF2B5EF4-FFF2-40B4-BE49-F238E27FC236}">
                  <a16:creationId xmlns:a16="http://schemas.microsoft.com/office/drawing/2014/main" id="{F9F7BDEC-26A1-FE51-83D4-AB8623A46730}"/>
                </a:ext>
              </a:extLst>
            </p:cNvPr>
            <p:cNvSpPr/>
            <p:nvPr/>
          </p:nvSpPr>
          <p:spPr>
            <a:xfrm>
              <a:off x="9331607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6" name="object 1576">
              <a:extLst>
                <a:ext uri="{FF2B5EF4-FFF2-40B4-BE49-F238E27FC236}">
                  <a16:creationId xmlns:a16="http://schemas.microsoft.com/office/drawing/2014/main" id="{2D62F6FE-7782-5600-C110-BBF60BC4BA08}"/>
                </a:ext>
              </a:extLst>
            </p:cNvPr>
            <p:cNvSpPr/>
            <p:nvPr/>
          </p:nvSpPr>
          <p:spPr>
            <a:xfrm>
              <a:off x="9226533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7" name="object 1577">
              <a:extLst>
                <a:ext uri="{FF2B5EF4-FFF2-40B4-BE49-F238E27FC236}">
                  <a16:creationId xmlns:a16="http://schemas.microsoft.com/office/drawing/2014/main" id="{942519DA-D4C3-D70A-8579-58E921FC3911}"/>
                </a:ext>
              </a:extLst>
            </p:cNvPr>
            <p:cNvSpPr/>
            <p:nvPr/>
          </p:nvSpPr>
          <p:spPr>
            <a:xfrm>
              <a:off x="9261628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8" name="object 1578">
              <a:extLst>
                <a:ext uri="{FF2B5EF4-FFF2-40B4-BE49-F238E27FC236}">
                  <a16:creationId xmlns:a16="http://schemas.microsoft.com/office/drawing/2014/main" id="{987E328F-6E8E-12BF-4371-02511F1D7BF0}"/>
                </a:ext>
              </a:extLst>
            </p:cNvPr>
            <p:cNvSpPr/>
            <p:nvPr/>
          </p:nvSpPr>
          <p:spPr>
            <a:xfrm>
              <a:off x="9156490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79" name="object 1579">
              <a:extLst>
                <a:ext uri="{FF2B5EF4-FFF2-40B4-BE49-F238E27FC236}">
                  <a16:creationId xmlns:a16="http://schemas.microsoft.com/office/drawing/2014/main" id="{90F87A80-8D8B-1C88-171C-2F23C342B2E6}"/>
                </a:ext>
              </a:extLst>
            </p:cNvPr>
            <p:cNvSpPr/>
            <p:nvPr/>
          </p:nvSpPr>
          <p:spPr>
            <a:xfrm>
              <a:off x="9366628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0" name="object 1580">
              <a:extLst>
                <a:ext uri="{FF2B5EF4-FFF2-40B4-BE49-F238E27FC236}">
                  <a16:creationId xmlns:a16="http://schemas.microsoft.com/office/drawing/2014/main" id="{BC11409F-C2EE-1DAD-0630-C5C96486EB7F}"/>
                </a:ext>
              </a:extLst>
            </p:cNvPr>
            <p:cNvSpPr/>
            <p:nvPr/>
          </p:nvSpPr>
          <p:spPr>
            <a:xfrm>
              <a:off x="9191512" y="193218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1" name="object 1581">
              <a:extLst>
                <a:ext uri="{FF2B5EF4-FFF2-40B4-BE49-F238E27FC236}">
                  <a16:creationId xmlns:a16="http://schemas.microsoft.com/office/drawing/2014/main" id="{C8CEAB13-C1BB-73E7-DAB6-A358A4820AAC}"/>
                </a:ext>
              </a:extLst>
            </p:cNvPr>
            <p:cNvSpPr/>
            <p:nvPr/>
          </p:nvSpPr>
          <p:spPr>
            <a:xfrm>
              <a:off x="947169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2" name="object 1582">
              <a:extLst>
                <a:ext uri="{FF2B5EF4-FFF2-40B4-BE49-F238E27FC236}">
                  <a16:creationId xmlns:a16="http://schemas.microsoft.com/office/drawing/2014/main" id="{E83DFDE4-FA95-517E-F7DF-60F4563B2D3B}"/>
                </a:ext>
              </a:extLst>
            </p:cNvPr>
            <p:cNvSpPr/>
            <p:nvPr/>
          </p:nvSpPr>
          <p:spPr>
            <a:xfrm>
              <a:off x="929672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3" name="object 1583">
              <a:extLst>
                <a:ext uri="{FF2B5EF4-FFF2-40B4-BE49-F238E27FC236}">
                  <a16:creationId xmlns:a16="http://schemas.microsoft.com/office/drawing/2014/main" id="{B7263FA5-D7CC-BC6A-CC18-BD5E3872466A}"/>
                </a:ext>
              </a:extLst>
            </p:cNvPr>
            <p:cNvSpPr/>
            <p:nvPr/>
          </p:nvSpPr>
          <p:spPr>
            <a:xfrm>
              <a:off x="912174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4" name="object 1584">
              <a:extLst>
                <a:ext uri="{FF2B5EF4-FFF2-40B4-BE49-F238E27FC236}">
                  <a16:creationId xmlns:a16="http://schemas.microsoft.com/office/drawing/2014/main" id="{549D2065-92B8-DB08-96C4-9D39440BF3CA}"/>
                </a:ext>
              </a:extLst>
            </p:cNvPr>
            <p:cNvSpPr/>
            <p:nvPr/>
          </p:nvSpPr>
          <p:spPr>
            <a:xfrm>
              <a:off x="9296723" y="191942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5" name="object 1585">
              <a:extLst>
                <a:ext uri="{FF2B5EF4-FFF2-40B4-BE49-F238E27FC236}">
                  <a16:creationId xmlns:a16="http://schemas.microsoft.com/office/drawing/2014/main" id="{55AAE2DE-B8E1-ED97-468E-B59823A62DF9}"/>
                </a:ext>
              </a:extLst>
            </p:cNvPr>
            <p:cNvSpPr/>
            <p:nvPr/>
          </p:nvSpPr>
          <p:spPr>
            <a:xfrm>
              <a:off x="9121743" y="194493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6" name="object 1586">
              <a:extLst>
                <a:ext uri="{FF2B5EF4-FFF2-40B4-BE49-F238E27FC236}">
                  <a16:creationId xmlns:a16="http://schemas.microsoft.com/office/drawing/2014/main" id="{EAA9D534-961C-AEA7-204C-FB94D489E079}"/>
                </a:ext>
              </a:extLst>
            </p:cNvPr>
            <p:cNvSpPr/>
            <p:nvPr/>
          </p:nvSpPr>
          <p:spPr>
            <a:xfrm>
              <a:off x="940199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7" name="object 1587">
              <a:extLst>
                <a:ext uri="{FF2B5EF4-FFF2-40B4-BE49-F238E27FC236}">
                  <a16:creationId xmlns:a16="http://schemas.microsoft.com/office/drawing/2014/main" id="{3AE9F333-11F9-0AB3-8354-6BDF373D77BD}"/>
                </a:ext>
              </a:extLst>
            </p:cNvPr>
            <p:cNvSpPr/>
            <p:nvPr/>
          </p:nvSpPr>
          <p:spPr>
            <a:xfrm>
              <a:off x="943701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8" name="object 1588">
              <a:extLst>
                <a:ext uri="{FF2B5EF4-FFF2-40B4-BE49-F238E27FC236}">
                  <a16:creationId xmlns:a16="http://schemas.microsoft.com/office/drawing/2014/main" id="{2BA98AAC-AD1A-1227-68A3-5B23793F843D}"/>
                </a:ext>
              </a:extLst>
            </p:cNvPr>
            <p:cNvSpPr/>
            <p:nvPr/>
          </p:nvSpPr>
          <p:spPr>
            <a:xfrm>
              <a:off x="9331954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89" name="object 1589">
              <a:extLst>
                <a:ext uri="{FF2B5EF4-FFF2-40B4-BE49-F238E27FC236}">
                  <a16:creationId xmlns:a16="http://schemas.microsoft.com/office/drawing/2014/main" id="{48FC4CC2-ECD2-1B3D-BB05-6D93AAA0CF46}"/>
                </a:ext>
              </a:extLst>
            </p:cNvPr>
            <p:cNvSpPr/>
            <p:nvPr/>
          </p:nvSpPr>
          <p:spPr>
            <a:xfrm>
              <a:off x="922688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0" name="object 1590">
              <a:extLst>
                <a:ext uri="{FF2B5EF4-FFF2-40B4-BE49-F238E27FC236}">
                  <a16:creationId xmlns:a16="http://schemas.microsoft.com/office/drawing/2014/main" id="{47290E6B-1446-8FD2-11F8-0561D0AF009C}"/>
                </a:ext>
              </a:extLst>
            </p:cNvPr>
            <p:cNvSpPr/>
            <p:nvPr/>
          </p:nvSpPr>
          <p:spPr>
            <a:xfrm>
              <a:off x="926197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1" name="object 1591">
              <a:extLst>
                <a:ext uri="{FF2B5EF4-FFF2-40B4-BE49-F238E27FC236}">
                  <a16:creationId xmlns:a16="http://schemas.microsoft.com/office/drawing/2014/main" id="{C2EF7A2E-38E3-9A0E-7C1A-3C0A006812B0}"/>
                </a:ext>
              </a:extLst>
            </p:cNvPr>
            <p:cNvSpPr/>
            <p:nvPr/>
          </p:nvSpPr>
          <p:spPr>
            <a:xfrm>
              <a:off x="9156838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2" name="object 1592">
              <a:extLst>
                <a:ext uri="{FF2B5EF4-FFF2-40B4-BE49-F238E27FC236}">
                  <a16:creationId xmlns:a16="http://schemas.microsoft.com/office/drawing/2014/main" id="{48EA1F78-9623-4AAF-0B99-8C20E9D450D5}"/>
                </a:ext>
              </a:extLst>
            </p:cNvPr>
            <p:cNvSpPr/>
            <p:nvPr/>
          </p:nvSpPr>
          <p:spPr>
            <a:xfrm>
              <a:off x="9366976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3" name="object 1593">
              <a:extLst>
                <a:ext uri="{FF2B5EF4-FFF2-40B4-BE49-F238E27FC236}">
                  <a16:creationId xmlns:a16="http://schemas.microsoft.com/office/drawing/2014/main" id="{C2EC08A9-2390-1D24-D872-ACA773C8BB50}"/>
                </a:ext>
              </a:extLst>
            </p:cNvPr>
            <p:cNvSpPr/>
            <p:nvPr/>
          </p:nvSpPr>
          <p:spPr>
            <a:xfrm>
              <a:off x="9191859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4" name="object 1594">
              <a:extLst>
                <a:ext uri="{FF2B5EF4-FFF2-40B4-BE49-F238E27FC236}">
                  <a16:creationId xmlns:a16="http://schemas.microsoft.com/office/drawing/2014/main" id="{6F448048-603C-24B6-DA6A-D686D114F40C}"/>
                </a:ext>
              </a:extLst>
            </p:cNvPr>
            <p:cNvSpPr/>
            <p:nvPr/>
          </p:nvSpPr>
          <p:spPr>
            <a:xfrm>
              <a:off x="9472041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5" name="object 1595">
              <a:extLst>
                <a:ext uri="{FF2B5EF4-FFF2-40B4-BE49-F238E27FC236}">
                  <a16:creationId xmlns:a16="http://schemas.microsoft.com/office/drawing/2014/main" id="{09E8AE23-4681-E1DE-A0FB-BB0E7730B836}"/>
                </a:ext>
              </a:extLst>
            </p:cNvPr>
            <p:cNvSpPr/>
            <p:nvPr/>
          </p:nvSpPr>
          <p:spPr>
            <a:xfrm>
              <a:off x="9297070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6" name="object 1596">
              <a:extLst>
                <a:ext uri="{FF2B5EF4-FFF2-40B4-BE49-F238E27FC236}">
                  <a16:creationId xmlns:a16="http://schemas.microsoft.com/office/drawing/2014/main" id="{60BC25C0-2855-523A-C34A-23D064BE2024}"/>
                </a:ext>
              </a:extLst>
            </p:cNvPr>
            <p:cNvSpPr/>
            <p:nvPr/>
          </p:nvSpPr>
          <p:spPr>
            <a:xfrm>
              <a:off x="9122090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7" name="object 1597">
              <a:extLst>
                <a:ext uri="{FF2B5EF4-FFF2-40B4-BE49-F238E27FC236}">
                  <a16:creationId xmlns:a16="http://schemas.microsoft.com/office/drawing/2014/main" id="{E01ADE4F-0964-79A4-FCA7-8CEF938B5E1E}"/>
                </a:ext>
              </a:extLst>
            </p:cNvPr>
            <p:cNvSpPr/>
            <p:nvPr/>
          </p:nvSpPr>
          <p:spPr>
            <a:xfrm>
              <a:off x="9122090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8" name="object 1598">
              <a:extLst>
                <a:ext uri="{FF2B5EF4-FFF2-40B4-BE49-F238E27FC236}">
                  <a16:creationId xmlns:a16="http://schemas.microsoft.com/office/drawing/2014/main" id="{1BDE3CCD-BE26-F221-3E9F-69B838B82708}"/>
                </a:ext>
              </a:extLst>
            </p:cNvPr>
            <p:cNvSpPr/>
            <p:nvPr/>
          </p:nvSpPr>
          <p:spPr>
            <a:xfrm>
              <a:off x="9122228" y="2613318"/>
              <a:ext cx="35657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88009"/>
                <a:gd name="f4" fmla="val 84454"/>
                <a:gd name="f5" fmla="val 587887"/>
                <a:gd name="f6" fmla="val 84102"/>
                <a:gd name="f7" fmla="*/ f0 1 588009"/>
                <a:gd name="f8" fmla="*/ f1 1 84454"/>
                <a:gd name="f9" fmla="+- f4 0 f2"/>
                <a:gd name="f10" fmla="+- f3 0 f2"/>
                <a:gd name="f11" fmla="*/ f10 1 58800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8800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599" name="object 1599">
              <a:extLst>
                <a:ext uri="{FF2B5EF4-FFF2-40B4-BE49-F238E27FC236}">
                  <a16:creationId xmlns:a16="http://schemas.microsoft.com/office/drawing/2014/main" id="{27DB8E25-C4ED-AC05-386C-ACCCBD0F6AEB}"/>
                </a:ext>
              </a:extLst>
            </p:cNvPr>
            <p:cNvSpPr/>
            <p:nvPr/>
          </p:nvSpPr>
          <p:spPr>
            <a:xfrm>
              <a:off x="9122228" y="2685629"/>
              <a:ext cx="12014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8119"/>
                <a:gd name="f4" fmla="val 84454"/>
                <a:gd name="f5" fmla="val 197993"/>
                <a:gd name="f6" fmla="val 84102"/>
                <a:gd name="f7" fmla="*/ f0 1 198119"/>
                <a:gd name="f8" fmla="*/ f1 1 84454"/>
                <a:gd name="f9" fmla="+- f4 0 f2"/>
                <a:gd name="f10" fmla="+- f3 0 f2"/>
                <a:gd name="f11" fmla="*/ f10 1 1981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81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0" name="object 1600">
              <a:extLst>
                <a:ext uri="{FF2B5EF4-FFF2-40B4-BE49-F238E27FC236}">
                  <a16:creationId xmlns:a16="http://schemas.microsoft.com/office/drawing/2014/main" id="{26450F47-4126-7C42-8EF0-DCEB3C7947A5}"/>
                </a:ext>
              </a:extLst>
            </p:cNvPr>
            <p:cNvSpPr/>
            <p:nvPr/>
          </p:nvSpPr>
          <p:spPr>
            <a:xfrm>
              <a:off x="940165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1" name="object 1601">
              <a:extLst>
                <a:ext uri="{FF2B5EF4-FFF2-40B4-BE49-F238E27FC236}">
                  <a16:creationId xmlns:a16="http://schemas.microsoft.com/office/drawing/2014/main" id="{FBAF9ED2-6EEA-6F3E-37A6-F6CD43462A30}"/>
                </a:ext>
              </a:extLst>
            </p:cNvPr>
            <p:cNvSpPr/>
            <p:nvPr/>
          </p:nvSpPr>
          <p:spPr>
            <a:xfrm>
              <a:off x="943667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2" name="object 1602">
              <a:extLst>
                <a:ext uri="{FF2B5EF4-FFF2-40B4-BE49-F238E27FC236}">
                  <a16:creationId xmlns:a16="http://schemas.microsoft.com/office/drawing/2014/main" id="{B7B15A79-750C-46E3-1D29-FFDC87CDE333}"/>
                </a:ext>
              </a:extLst>
            </p:cNvPr>
            <p:cNvSpPr/>
            <p:nvPr/>
          </p:nvSpPr>
          <p:spPr>
            <a:xfrm>
              <a:off x="9331607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3" name="object 1603">
              <a:extLst>
                <a:ext uri="{FF2B5EF4-FFF2-40B4-BE49-F238E27FC236}">
                  <a16:creationId xmlns:a16="http://schemas.microsoft.com/office/drawing/2014/main" id="{E2DD7C8B-085B-8DD4-ED87-C8833BE84BB7}"/>
                </a:ext>
              </a:extLst>
            </p:cNvPr>
            <p:cNvSpPr/>
            <p:nvPr/>
          </p:nvSpPr>
          <p:spPr>
            <a:xfrm>
              <a:off x="922653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4" name="object 1604">
              <a:extLst>
                <a:ext uri="{FF2B5EF4-FFF2-40B4-BE49-F238E27FC236}">
                  <a16:creationId xmlns:a16="http://schemas.microsoft.com/office/drawing/2014/main" id="{D8C60C76-42A6-7E7B-D35D-5D716A6F8839}"/>
                </a:ext>
              </a:extLst>
            </p:cNvPr>
            <p:cNvSpPr/>
            <p:nvPr/>
          </p:nvSpPr>
          <p:spPr>
            <a:xfrm>
              <a:off x="926162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5" name="object 1605">
              <a:extLst>
                <a:ext uri="{FF2B5EF4-FFF2-40B4-BE49-F238E27FC236}">
                  <a16:creationId xmlns:a16="http://schemas.microsoft.com/office/drawing/2014/main" id="{221D219E-9860-8B36-56AE-70F062305C5E}"/>
                </a:ext>
              </a:extLst>
            </p:cNvPr>
            <p:cNvSpPr/>
            <p:nvPr/>
          </p:nvSpPr>
          <p:spPr>
            <a:xfrm>
              <a:off x="9156490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6" name="object 1606">
              <a:extLst>
                <a:ext uri="{FF2B5EF4-FFF2-40B4-BE49-F238E27FC236}">
                  <a16:creationId xmlns:a16="http://schemas.microsoft.com/office/drawing/2014/main" id="{D676D417-0E5E-EC68-F520-D13AD07D46EA}"/>
                </a:ext>
              </a:extLst>
            </p:cNvPr>
            <p:cNvSpPr/>
            <p:nvPr/>
          </p:nvSpPr>
          <p:spPr>
            <a:xfrm>
              <a:off x="936662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7" name="object 1607">
              <a:extLst>
                <a:ext uri="{FF2B5EF4-FFF2-40B4-BE49-F238E27FC236}">
                  <a16:creationId xmlns:a16="http://schemas.microsoft.com/office/drawing/2014/main" id="{72942357-D14D-2BEA-434F-11803C2C1A00}"/>
                </a:ext>
              </a:extLst>
            </p:cNvPr>
            <p:cNvSpPr/>
            <p:nvPr/>
          </p:nvSpPr>
          <p:spPr>
            <a:xfrm>
              <a:off x="9191512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8" name="object 1608">
              <a:extLst>
                <a:ext uri="{FF2B5EF4-FFF2-40B4-BE49-F238E27FC236}">
                  <a16:creationId xmlns:a16="http://schemas.microsoft.com/office/drawing/2014/main" id="{E260E7F8-7D28-8BB1-527F-724FDBCAE6C4}"/>
                </a:ext>
              </a:extLst>
            </p:cNvPr>
            <p:cNvSpPr/>
            <p:nvPr/>
          </p:nvSpPr>
          <p:spPr>
            <a:xfrm>
              <a:off x="947169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09" name="object 1609">
              <a:extLst>
                <a:ext uri="{FF2B5EF4-FFF2-40B4-BE49-F238E27FC236}">
                  <a16:creationId xmlns:a16="http://schemas.microsoft.com/office/drawing/2014/main" id="{04BF71A5-643A-5E0C-4B24-DC552A5C9D0C}"/>
                </a:ext>
              </a:extLst>
            </p:cNvPr>
            <p:cNvSpPr/>
            <p:nvPr/>
          </p:nvSpPr>
          <p:spPr>
            <a:xfrm>
              <a:off x="929672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0" name="object 1610">
              <a:extLst>
                <a:ext uri="{FF2B5EF4-FFF2-40B4-BE49-F238E27FC236}">
                  <a16:creationId xmlns:a16="http://schemas.microsoft.com/office/drawing/2014/main" id="{DE51C18C-71F0-C150-8F94-AB506E38BF6D}"/>
                </a:ext>
              </a:extLst>
            </p:cNvPr>
            <p:cNvSpPr/>
            <p:nvPr/>
          </p:nvSpPr>
          <p:spPr>
            <a:xfrm>
              <a:off x="912174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1" name="object 1611">
              <a:extLst>
                <a:ext uri="{FF2B5EF4-FFF2-40B4-BE49-F238E27FC236}">
                  <a16:creationId xmlns:a16="http://schemas.microsoft.com/office/drawing/2014/main" id="{2A82E7B8-6022-948E-D0BD-006408A7077E}"/>
                </a:ext>
              </a:extLst>
            </p:cNvPr>
            <p:cNvSpPr/>
            <p:nvPr/>
          </p:nvSpPr>
          <p:spPr>
            <a:xfrm>
              <a:off x="9296723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2" name="object 1612">
              <a:extLst>
                <a:ext uri="{FF2B5EF4-FFF2-40B4-BE49-F238E27FC236}">
                  <a16:creationId xmlns:a16="http://schemas.microsoft.com/office/drawing/2014/main" id="{E3C7EA20-7B60-A2F2-FFF5-EDE97BD2DD88}"/>
                </a:ext>
              </a:extLst>
            </p:cNvPr>
            <p:cNvSpPr/>
            <p:nvPr/>
          </p:nvSpPr>
          <p:spPr>
            <a:xfrm>
              <a:off x="9121743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3" name="object 1613">
              <a:extLst>
                <a:ext uri="{FF2B5EF4-FFF2-40B4-BE49-F238E27FC236}">
                  <a16:creationId xmlns:a16="http://schemas.microsoft.com/office/drawing/2014/main" id="{340EE388-2066-3F72-D2B5-560E9418D6A0}"/>
                </a:ext>
              </a:extLst>
            </p:cNvPr>
            <p:cNvSpPr/>
            <p:nvPr/>
          </p:nvSpPr>
          <p:spPr>
            <a:xfrm>
              <a:off x="9401997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4" name="object 1614">
              <a:extLst>
                <a:ext uri="{FF2B5EF4-FFF2-40B4-BE49-F238E27FC236}">
                  <a16:creationId xmlns:a16="http://schemas.microsoft.com/office/drawing/2014/main" id="{94745090-F562-C59F-4AD7-15F7A9FBB2B2}"/>
                </a:ext>
              </a:extLst>
            </p:cNvPr>
            <p:cNvSpPr/>
            <p:nvPr/>
          </p:nvSpPr>
          <p:spPr>
            <a:xfrm>
              <a:off x="943701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5" name="object 1615">
              <a:extLst>
                <a:ext uri="{FF2B5EF4-FFF2-40B4-BE49-F238E27FC236}">
                  <a16:creationId xmlns:a16="http://schemas.microsoft.com/office/drawing/2014/main" id="{D8230419-500C-8923-73F3-FA508BEA54B5}"/>
                </a:ext>
              </a:extLst>
            </p:cNvPr>
            <p:cNvSpPr/>
            <p:nvPr/>
          </p:nvSpPr>
          <p:spPr>
            <a:xfrm>
              <a:off x="9331954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6" name="object 1616">
              <a:extLst>
                <a:ext uri="{FF2B5EF4-FFF2-40B4-BE49-F238E27FC236}">
                  <a16:creationId xmlns:a16="http://schemas.microsoft.com/office/drawing/2014/main" id="{42AE8A66-7D0C-F09A-721A-F60E0A7F7BD8}"/>
                </a:ext>
              </a:extLst>
            </p:cNvPr>
            <p:cNvSpPr/>
            <p:nvPr/>
          </p:nvSpPr>
          <p:spPr>
            <a:xfrm>
              <a:off x="9226881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7" name="object 1617">
              <a:extLst>
                <a:ext uri="{FF2B5EF4-FFF2-40B4-BE49-F238E27FC236}">
                  <a16:creationId xmlns:a16="http://schemas.microsoft.com/office/drawing/2014/main" id="{25C8073A-4E25-76F2-A3E1-9D96E1790E68}"/>
                </a:ext>
              </a:extLst>
            </p:cNvPr>
            <p:cNvSpPr/>
            <p:nvPr/>
          </p:nvSpPr>
          <p:spPr>
            <a:xfrm>
              <a:off x="9261975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8" name="object 1618">
              <a:extLst>
                <a:ext uri="{FF2B5EF4-FFF2-40B4-BE49-F238E27FC236}">
                  <a16:creationId xmlns:a16="http://schemas.microsoft.com/office/drawing/2014/main" id="{0161B5FE-A266-6D8F-BFBF-F99BB1D11C9B}"/>
                </a:ext>
              </a:extLst>
            </p:cNvPr>
            <p:cNvSpPr/>
            <p:nvPr/>
          </p:nvSpPr>
          <p:spPr>
            <a:xfrm>
              <a:off x="9156838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19" name="object 1619">
              <a:extLst>
                <a:ext uri="{FF2B5EF4-FFF2-40B4-BE49-F238E27FC236}">
                  <a16:creationId xmlns:a16="http://schemas.microsoft.com/office/drawing/2014/main" id="{831EB17B-2112-0942-30F7-D444E0594529}"/>
                </a:ext>
              </a:extLst>
            </p:cNvPr>
            <p:cNvSpPr/>
            <p:nvPr/>
          </p:nvSpPr>
          <p:spPr>
            <a:xfrm>
              <a:off x="9366976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0" name="object 1620">
              <a:extLst>
                <a:ext uri="{FF2B5EF4-FFF2-40B4-BE49-F238E27FC236}">
                  <a16:creationId xmlns:a16="http://schemas.microsoft.com/office/drawing/2014/main" id="{7EBCA4AA-F0D2-B2D8-03C8-E0298BC4C26C}"/>
                </a:ext>
              </a:extLst>
            </p:cNvPr>
            <p:cNvSpPr/>
            <p:nvPr/>
          </p:nvSpPr>
          <p:spPr>
            <a:xfrm>
              <a:off x="9191859" y="3390832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1" name="object 1621">
              <a:extLst>
                <a:ext uri="{FF2B5EF4-FFF2-40B4-BE49-F238E27FC236}">
                  <a16:creationId xmlns:a16="http://schemas.microsoft.com/office/drawing/2014/main" id="{230FEA19-30DF-C773-0626-60A6797E6D5A}"/>
                </a:ext>
              </a:extLst>
            </p:cNvPr>
            <p:cNvSpPr/>
            <p:nvPr/>
          </p:nvSpPr>
          <p:spPr>
            <a:xfrm>
              <a:off x="9472041" y="337808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2" name="object 1622">
              <a:extLst>
                <a:ext uri="{FF2B5EF4-FFF2-40B4-BE49-F238E27FC236}">
                  <a16:creationId xmlns:a16="http://schemas.microsoft.com/office/drawing/2014/main" id="{5B435139-98B2-C9A1-C10B-8689D50A3FAF}"/>
                </a:ext>
              </a:extLst>
            </p:cNvPr>
            <p:cNvSpPr/>
            <p:nvPr/>
          </p:nvSpPr>
          <p:spPr>
            <a:xfrm>
              <a:off x="9297070" y="337808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3" name="object 1623">
              <a:extLst>
                <a:ext uri="{FF2B5EF4-FFF2-40B4-BE49-F238E27FC236}">
                  <a16:creationId xmlns:a16="http://schemas.microsoft.com/office/drawing/2014/main" id="{D21C9C72-AF15-F26B-B72A-A4619BF1A4FE}"/>
                </a:ext>
              </a:extLst>
            </p:cNvPr>
            <p:cNvSpPr/>
            <p:nvPr/>
          </p:nvSpPr>
          <p:spPr>
            <a:xfrm>
              <a:off x="9122090" y="3378086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4" name="object 1624">
              <a:extLst>
                <a:ext uri="{FF2B5EF4-FFF2-40B4-BE49-F238E27FC236}">
                  <a16:creationId xmlns:a16="http://schemas.microsoft.com/office/drawing/2014/main" id="{5C70E399-B5CF-4EC8-DCD1-BC7741F0DAEA}"/>
                </a:ext>
              </a:extLst>
            </p:cNvPr>
            <p:cNvSpPr/>
            <p:nvPr/>
          </p:nvSpPr>
          <p:spPr>
            <a:xfrm>
              <a:off x="9122090" y="3403588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5" name="object 1625">
              <a:extLst>
                <a:ext uri="{FF2B5EF4-FFF2-40B4-BE49-F238E27FC236}">
                  <a16:creationId xmlns:a16="http://schemas.microsoft.com/office/drawing/2014/main" id="{9AD41DB3-E7AD-F703-8E5F-2CFD17B1E2F0}"/>
                </a:ext>
              </a:extLst>
            </p:cNvPr>
            <p:cNvSpPr/>
            <p:nvPr/>
          </p:nvSpPr>
          <p:spPr>
            <a:xfrm>
              <a:off x="9122228" y="3378086"/>
              <a:ext cx="22026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63219"/>
                <a:gd name="f4" fmla="val 84454"/>
                <a:gd name="f5" fmla="val 362816"/>
                <a:gd name="f6" fmla="val 84112"/>
                <a:gd name="f7" fmla="*/ f0 1 363219"/>
                <a:gd name="f8" fmla="*/ f1 1 84454"/>
                <a:gd name="f9" fmla="+- f4 0 f2"/>
                <a:gd name="f10" fmla="+- f3 0 f2"/>
                <a:gd name="f11" fmla="*/ f10 1 3632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632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6" name="object 1626">
              <a:extLst>
                <a:ext uri="{FF2B5EF4-FFF2-40B4-BE49-F238E27FC236}">
                  <a16:creationId xmlns:a16="http://schemas.microsoft.com/office/drawing/2014/main" id="{EA5BFEFC-FC9A-4A34-B413-6F44C9E8FA1A}"/>
                </a:ext>
              </a:extLst>
            </p:cNvPr>
            <p:cNvSpPr/>
            <p:nvPr/>
          </p:nvSpPr>
          <p:spPr>
            <a:xfrm>
              <a:off x="9122228" y="3450387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12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7" name="object 1627">
              <a:extLst>
                <a:ext uri="{FF2B5EF4-FFF2-40B4-BE49-F238E27FC236}">
                  <a16:creationId xmlns:a16="http://schemas.microsoft.com/office/drawing/2014/main" id="{18AB735E-9428-F60D-36ED-E667D6A3B8E8}"/>
                </a:ext>
              </a:extLst>
            </p:cNvPr>
            <p:cNvSpPr/>
            <p:nvPr/>
          </p:nvSpPr>
          <p:spPr>
            <a:xfrm>
              <a:off x="940165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8" name="object 1628">
              <a:extLst>
                <a:ext uri="{FF2B5EF4-FFF2-40B4-BE49-F238E27FC236}">
                  <a16:creationId xmlns:a16="http://schemas.microsoft.com/office/drawing/2014/main" id="{06AA7BDB-AD0E-C77F-F053-6C07AADEC0BB}"/>
                </a:ext>
              </a:extLst>
            </p:cNvPr>
            <p:cNvSpPr/>
            <p:nvPr/>
          </p:nvSpPr>
          <p:spPr>
            <a:xfrm>
              <a:off x="943667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29" name="object 1629">
              <a:extLst>
                <a:ext uri="{FF2B5EF4-FFF2-40B4-BE49-F238E27FC236}">
                  <a16:creationId xmlns:a16="http://schemas.microsoft.com/office/drawing/2014/main" id="{5B9CA24A-A968-B785-8227-0F165A972CD6}"/>
                </a:ext>
              </a:extLst>
            </p:cNvPr>
            <p:cNvSpPr/>
            <p:nvPr/>
          </p:nvSpPr>
          <p:spPr>
            <a:xfrm>
              <a:off x="9331607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0" name="object 1630">
              <a:extLst>
                <a:ext uri="{FF2B5EF4-FFF2-40B4-BE49-F238E27FC236}">
                  <a16:creationId xmlns:a16="http://schemas.microsoft.com/office/drawing/2014/main" id="{846DE825-8FD3-0B5C-3592-8DCD7ADFF4E3}"/>
                </a:ext>
              </a:extLst>
            </p:cNvPr>
            <p:cNvSpPr/>
            <p:nvPr/>
          </p:nvSpPr>
          <p:spPr>
            <a:xfrm>
              <a:off x="9226533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1" name="object 1631">
              <a:extLst>
                <a:ext uri="{FF2B5EF4-FFF2-40B4-BE49-F238E27FC236}">
                  <a16:creationId xmlns:a16="http://schemas.microsoft.com/office/drawing/2014/main" id="{DFD33173-A70E-C910-F646-C5E08AC75497}"/>
                </a:ext>
              </a:extLst>
            </p:cNvPr>
            <p:cNvSpPr/>
            <p:nvPr/>
          </p:nvSpPr>
          <p:spPr>
            <a:xfrm>
              <a:off x="926162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2" name="object 1632">
              <a:extLst>
                <a:ext uri="{FF2B5EF4-FFF2-40B4-BE49-F238E27FC236}">
                  <a16:creationId xmlns:a16="http://schemas.microsoft.com/office/drawing/2014/main" id="{4EED96EB-EF3E-4FDD-3DD0-EC12F0EA6FEB}"/>
                </a:ext>
              </a:extLst>
            </p:cNvPr>
            <p:cNvSpPr/>
            <p:nvPr/>
          </p:nvSpPr>
          <p:spPr>
            <a:xfrm>
              <a:off x="9156490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3" name="object 1633">
              <a:extLst>
                <a:ext uri="{FF2B5EF4-FFF2-40B4-BE49-F238E27FC236}">
                  <a16:creationId xmlns:a16="http://schemas.microsoft.com/office/drawing/2014/main" id="{9A28A8A6-6BED-8B3D-51BA-287DC70042BB}"/>
                </a:ext>
              </a:extLst>
            </p:cNvPr>
            <p:cNvSpPr/>
            <p:nvPr/>
          </p:nvSpPr>
          <p:spPr>
            <a:xfrm>
              <a:off x="9366628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4" name="object 1634">
              <a:extLst>
                <a:ext uri="{FF2B5EF4-FFF2-40B4-BE49-F238E27FC236}">
                  <a16:creationId xmlns:a16="http://schemas.microsoft.com/office/drawing/2014/main" id="{0CEFFB39-71A9-1FF0-67B3-4ECD3C6DE944}"/>
                </a:ext>
              </a:extLst>
            </p:cNvPr>
            <p:cNvSpPr/>
            <p:nvPr/>
          </p:nvSpPr>
          <p:spPr>
            <a:xfrm>
              <a:off x="9191512" y="346313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5" name="object 1635">
              <a:extLst>
                <a:ext uri="{FF2B5EF4-FFF2-40B4-BE49-F238E27FC236}">
                  <a16:creationId xmlns:a16="http://schemas.microsoft.com/office/drawing/2014/main" id="{3BBC88E1-EBFC-3F5E-3B0A-06D5CEACC35E}"/>
                </a:ext>
              </a:extLst>
            </p:cNvPr>
            <p:cNvSpPr/>
            <p:nvPr/>
          </p:nvSpPr>
          <p:spPr>
            <a:xfrm>
              <a:off x="947169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6" name="object 1636">
              <a:extLst>
                <a:ext uri="{FF2B5EF4-FFF2-40B4-BE49-F238E27FC236}">
                  <a16:creationId xmlns:a16="http://schemas.microsoft.com/office/drawing/2014/main" id="{EF30CD1A-C9D5-3918-27C1-BCDFD1C311E8}"/>
                </a:ext>
              </a:extLst>
            </p:cNvPr>
            <p:cNvSpPr/>
            <p:nvPr/>
          </p:nvSpPr>
          <p:spPr>
            <a:xfrm>
              <a:off x="929672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7" name="object 1637">
              <a:extLst>
                <a:ext uri="{FF2B5EF4-FFF2-40B4-BE49-F238E27FC236}">
                  <a16:creationId xmlns:a16="http://schemas.microsoft.com/office/drawing/2014/main" id="{6EC21B0B-634B-73D1-3BAA-DB02AB3B20E0}"/>
                </a:ext>
              </a:extLst>
            </p:cNvPr>
            <p:cNvSpPr/>
            <p:nvPr/>
          </p:nvSpPr>
          <p:spPr>
            <a:xfrm>
              <a:off x="912174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8" name="object 1638">
              <a:extLst>
                <a:ext uri="{FF2B5EF4-FFF2-40B4-BE49-F238E27FC236}">
                  <a16:creationId xmlns:a16="http://schemas.microsoft.com/office/drawing/2014/main" id="{DC0ACEAF-C478-49C3-49C4-5CC8ECD4F18B}"/>
                </a:ext>
              </a:extLst>
            </p:cNvPr>
            <p:cNvSpPr/>
            <p:nvPr/>
          </p:nvSpPr>
          <p:spPr>
            <a:xfrm>
              <a:off x="9296723" y="345037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39" name="object 1639">
              <a:extLst>
                <a:ext uri="{FF2B5EF4-FFF2-40B4-BE49-F238E27FC236}">
                  <a16:creationId xmlns:a16="http://schemas.microsoft.com/office/drawing/2014/main" id="{D718ADC6-7EFF-27AD-F1A5-A7884314F579}"/>
                </a:ext>
              </a:extLst>
            </p:cNvPr>
            <p:cNvSpPr/>
            <p:nvPr/>
          </p:nvSpPr>
          <p:spPr>
            <a:xfrm>
              <a:off x="9121743" y="347588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0" name="object 1640">
              <a:extLst>
                <a:ext uri="{FF2B5EF4-FFF2-40B4-BE49-F238E27FC236}">
                  <a16:creationId xmlns:a16="http://schemas.microsoft.com/office/drawing/2014/main" id="{14B4DD5C-8D70-A00F-3E68-D155A86CDD5D}"/>
                </a:ext>
              </a:extLst>
            </p:cNvPr>
            <p:cNvSpPr/>
            <p:nvPr/>
          </p:nvSpPr>
          <p:spPr>
            <a:xfrm>
              <a:off x="9401997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1" name="object 1641">
              <a:extLst>
                <a:ext uri="{FF2B5EF4-FFF2-40B4-BE49-F238E27FC236}">
                  <a16:creationId xmlns:a16="http://schemas.microsoft.com/office/drawing/2014/main" id="{1C724A19-B13E-5A73-35DF-9C8458D7B509}"/>
                </a:ext>
              </a:extLst>
            </p:cNvPr>
            <p:cNvSpPr/>
            <p:nvPr/>
          </p:nvSpPr>
          <p:spPr>
            <a:xfrm>
              <a:off x="9437019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2" name="object 1642">
              <a:extLst>
                <a:ext uri="{FF2B5EF4-FFF2-40B4-BE49-F238E27FC236}">
                  <a16:creationId xmlns:a16="http://schemas.microsoft.com/office/drawing/2014/main" id="{DAB364E7-A3AA-3C5F-065D-957F2297EDBD}"/>
                </a:ext>
              </a:extLst>
            </p:cNvPr>
            <p:cNvSpPr/>
            <p:nvPr/>
          </p:nvSpPr>
          <p:spPr>
            <a:xfrm>
              <a:off x="9331954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3" name="object 1643">
              <a:extLst>
                <a:ext uri="{FF2B5EF4-FFF2-40B4-BE49-F238E27FC236}">
                  <a16:creationId xmlns:a16="http://schemas.microsoft.com/office/drawing/2014/main" id="{5A4C10D6-24BE-B49A-7E54-0FDB80F6D1E6}"/>
                </a:ext>
              </a:extLst>
            </p:cNvPr>
            <p:cNvSpPr/>
            <p:nvPr/>
          </p:nvSpPr>
          <p:spPr>
            <a:xfrm>
              <a:off x="9226881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4" name="object 1644">
              <a:extLst>
                <a:ext uri="{FF2B5EF4-FFF2-40B4-BE49-F238E27FC236}">
                  <a16:creationId xmlns:a16="http://schemas.microsoft.com/office/drawing/2014/main" id="{EC0CE227-7BDA-A6D2-1733-5554042C461A}"/>
                </a:ext>
              </a:extLst>
            </p:cNvPr>
            <p:cNvSpPr/>
            <p:nvPr/>
          </p:nvSpPr>
          <p:spPr>
            <a:xfrm>
              <a:off x="926197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5" name="object 1645">
              <a:extLst>
                <a:ext uri="{FF2B5EF4-FFF2-40B4-BE49-F238E27FC236}">
                  <a16:creationId xmlns:a16="http://schemas.microsoft.com/office/drawing/2014/main" id="{73A6DDB6-14B8-5CDD-38E7-E4CAE05DFA74}"/>
                </a:ext>
              </a:extLst>
            </p:cNvPr>
            <p:cNvSpPr/>
            <p:nvPr/>
          </p:nvSpPr>
          <p:spPr>
            <a:xfrm>
              <a:off x="9156838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6" name="object 1646">
              <a:extLst>
                <a:ext uri="{FF2B5EF4-FFF2-40B4-BE49-F238E27FC236}">
                  <a16:creationId xmlns:a16="http://schemas.microsoft.com/office/drawing/2014/main" id="{D3D3F6D4-94A8-CC59-F678-DE79E75D99AF}"/>
                </a:ext>
              </a:extLst>
            </p:cNvPr>
            <p:cNvSpPr/>
            <p:nvPr/>
          </p:nvSpPr>
          <p:spPr>
            <a:xfrm>
              <a:off x="9366976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7" name="object 1647">
              <a:extLst>
                <a:ext uri="{FF2B5EF4-FFF2-40B4-BE49-F238E27FC236}">
                  <a16:creationId xmlns:a16="http://schemas.microsoft.com/office/drawing/2014/main" id="{F9E2DA7C-2171-1CAA-9F3C-38126E78D488}"/>
                </a:ext>
              </a:extLst>
            </p:cNvPr>
            <p:cNvSpPr/>
            <p:nvPr/>
          </p:nvSpPr>
          <p:spPr>
            <a:xfrm>
              <a:off x="9191859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8" name="object 1648">
              <a:extLst>
                <a:ext uri="{FF2B5EF4-FFF2-40B4-BE49-F238E27FC236}">
                  <a16:creationId xmlns:a16="http://schemas.microsoft.com/office/drawing/2014/main" id="{15DE3D02-2869-0C74-A97A-E717AAA1BA2D}"/>
                </a:ext>
              </a:extLst>
            </p:cNvPr>
            <p:cNvSpPr/>
            <p:nvPr/>
          </p:nvSpPr>
          <p:spPr>
            <a:xfrm>
              <a:off x="9472041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49" name="object 1649">
              <a:extLst>
                <a:ext uri="{FF2B5EF4-FFF2-40B4-BE49-F238E27FC236}">
                  <a16:creationId xmlns:a16="http://schemas.microsoft.com/office/drawing/2014/main" id="{05B671D9-EC37-E0AE-DEA1-455B1A1E13DD}"/>
                </a:ext>
              </a:extLst>
            </p:cNvPr>
            <p:cNvSpPr/>
            <p:nvPr/>
          </p:nvSpPr>
          <p:spPr>
            <a:xfrm>
              <a:off x="9297070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0" name="object 1650">
              <a:extLst>
                <a:ext uri="{FF2B5EF4-FFF2-40B4-BE49-F238E27FC236}">
                  <a16:creationId xmlns:a16="http://schemas.microsoft.com/office/drawing/2014/main" id="{797EA424-E018-E2ED-7FCE-321FC5C018A7}"/>
                </a:ext>
              </a:extLst>
            </p:cNvPr>
            <p:cNvSpPr/>
            <p:nvPr/>
          </p:nvSpPr>
          <p:spPr>
            <a:xfrm>
              <a:off x="9122090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1" name="object 1651">
              <a:extLst>
                <a:ext uri="{FF2B5EF4-FFF2-40B4-BE49-F238E27FC236}">
                  <a16:creationId xmlns:a16="http://schemas.microsoft.com/office/drawing/2014/main" id="{4EC85546-6C6E-1697-BCDF-358F27F6CA6F}"/>
                </a:ext>
              </a:extLst>
            </p:cNvPr>
            <p:cNvSpPr/>
            <p:nvPr/>
          </p:nvSpPr>
          <p:spPr>
            <a:xfrm>
              <a:off x="9122090" y="417084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2" name="object 1652">
              <a:extLst>
                <a:ext uri="{FF2B5EF4-FFF2-40B4-BE49-F238E27FC236}">
                  <a16:creationId xmlns:a16="http://schemas.microsoft.com/office/drawing/2014/main" id="{389DD427-A183-05D9-7BA3-2FA3AD930EC8}"/>
                </a:ext>
              </a:extLst>
            </p:cNvPr>
            <p:cNvSpPr/>
            <p:nvPr/>
          </p:nvSpPr>
          <p:spPr>
            <a:xfrm>
              <a:off x="9122228" y="4145340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23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3" name="object 1653">
              <a:extLst>
                <a:ext uri="{FF2B5EF4-FFF2-40B4-BE49-F238E27FC236}">
                  <a16:creationId xmlns:a16="http://schemas.microsoft.com/office/drawing/2014/main" id="{5DBB4DC9-F3F1-B640-8C5C-6A34A7DC0110}"/>
                </a:ext>
              </a:extLst>
            </p:cNvPr>
            <p:cNvSpPr/>
            <p:nvPr/>
          </p:nvSpPr>
          <p:spPr>
            <a:xfrm>
              <a:off x="9122228" y="4217642"/>
              <a:ext cx="739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919"/>
                <a:gd name="f4" fmla="val 84454"/>
                <a:gd name="f5" fmla="val 121409"/>
                <a:gd name="f6" fmla="val 84123"/>
                <a:gd name="f7" fmla="*/ f0 1 121919"/>
                <a:gd name="f8" fmla="*/ f1 1 84454"/>
                <a:gd name="f9" fmla="+- f4 0 f2"/>
                <a:gd name="f10" fmla="+- f3 0 f2"/>
                <a:gd name="f11" fmla="*/ f10 1 1219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219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4" name="object 1654">
              <a:extLst>
                <a:ext uri="{FF2B5EF4-FFF2-40B4-BE49-F238E27FC236}">
                  <a16:creationId xmlns:a16="http://schemas.microsoft.com/office/drawing/2014/main" id="{25BA4F78-E0A4-E8D8-CB72-34D67D53D807}"/>
                </a:ext>
              </a:extLst>
            </p:cNvPr>
            <p:cNvSpPr/>
            <p:nvPr/>
          </p:nvSpPr>
          <p:spPr>
            <a:xfrm>
              <a:off x="9401650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5" name="object 1655">
              <a:extLst>
                <a:ext uri="{FF2B5EF4-FFF2-40B4-BE49-F238E27FC236}">
                  <a16:creationId xmlns:a16="http://schemas.microsoft.com/office/drawing/2014/main" id="{AF6AE472-8992-1056-BF75-A55257A77C41}"/>
                </a:ext>
              </a:extLst>
            </p:cNvPr>
            <p:cNvSpPr/>
            <p:nvPr/>
          </p:nvSpPr>
          <p:spPr>
            <a:xfrm>
              <a:off x="9436672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6" name="object 1656">
              <a:extLst>
                <a:ext uri="{FF2B5EF4-FFF2-40B4-BE49-F238E27FC236}">
                  <a16:creationId xmlns:a16="http://schemas.microsoft.com/office/drawing/2014/main" id="{FD255404-A0D0-3CC5-53F1-D79170BE1E8B}"/>
                </a:ext>
              </a:extLst>
            </p:cNvPr>
            <p:cNvSpPr/>
            <p:nvPr/>
          </p:nvSpPr>
          <p:spPr>
            <a:xfrm>
              <a:off x="9331607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7" name="object 1657">
              <a:extLst>
                <a:ext uri="{FF2B5EF4-FFF2-40B4-BE49-F238E27FC236}">
                  <a16:creationId xmlns:a16="http://schemas.microsoft.com/office/drawing/2014/main" id="{CF86EDBB-858E-8F41-54BD-799C68CD3AFD}"/>
                </a:ext>
              </a:extLst>
            </p:cNvPr>
            <p:cNvSpPr/>
            <p:nvPr/>
          </p:nvSpPr>
          <p:spPr>
            <a:xfrm>
              <a:off x="9226533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8" name="object 1658">
              <a:extLst>
                <a:ext uri="{FF2B5EF4-FFF2-40B4-BE49-F238E27FC236}">
                  <a16:creationId xmlns:a16="http://schemas.microsoft.com/office/drawing/2014/main" id="{764FC0DB-FB44-0995-CDF1-73BD82B83962}"/>
                </a:ext>
              </a:extLst>
            </p:cNvPr>
            <p:cNvSpPr/>
            <p:nvPr/>
          </p:nvSpPr>
          <p:spPr>
            <a:xfrm>
              <a:off x="9261628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59" name="object 1659">
              <a:extLst>
                <a:ext uri="{FF2B5EF4-FFF2-40B4-BE49-F238E27FC236}">
                  <a16:creationId xmlns:a16="http://schemas.microsoft.com/office/drawing/2014/main" id="{567E9883-E550-65E5-43C0-0824E6ED0949}"/>
                </a:ext>
              </a:extLst>
            </p:cNvPr>
            <p:cNvSpPr/>
            <p:nvPr/>
          </p:nvSpPr>
          <p:spPr>
            <a:xfrm>
              <a:off x="9156490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0" name="object 1660">
              <a:extLst>
                <a:ext uri="{FF2B5EF4-FFF2-40B4-BE49-F238E27FC236}">
                  <a16:creationId xmlns:a16="http://schemas.microsoft.com/office/drawing/2014/main" id="{F1401C44-952F-6979-3C5A-FF43DC44D2A3}"/>
                </a:ext>
              </a:extLst>
            </p:cNvPr>
            <p:cNvSpPr/>
            <p:nvPr/>
          </p:nvSpPr>
          <p:spPr>
            <a:xfrm>
              <a:off x="9366628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1" name="object 1661">
              <a:extLst>
                <a:ext uri="{FF2B5EF4-FFF2-40B4-BE49-F238E27FC236}">
                  <a16:creationId xmlns:a16="http://schemas.microsoft.com/office/drawing/2014/main" id="{171E8575-6BB8-9DD8-A1B3-622F6EEB2318}"/>
                </a:ext>
              </a:extLst>
            </p:cNvPr>
            <p:cNvSpPr/>
            <p:nvPr/>
          </p:nvSpPr>
          <p:spPr>
            <a:xfrm>
              <a:off x="9191512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2" name="object 1662">
              <a:extLst>
                <a:ext uri="{FF2B5EF4-FFF2-40B4-BE49-F238E27FC236}">
                  <a16:creationId xmlns:a16="http://schemas.microsoft.com/office/drawing/2014/main" id="{BB2215EB-ED5C-015B-C997-6A19DE2AC2B1}"/>
                </a:ext>
              </a:extLst>
            </p:cNvPr>
            <p:cNvSpPr/>
            <p:nvPr/>
          </p:nvSpPr>
          <p:spPr>
            <a:xfrm>
              <a:off x="947169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3" name="object 1663">
              <a:extLst>
                <a:ext uri="{FF2B5EF4-FFF2-40B4-BE49-F238E27FC236}">
                  <a16:creationId xmlns:a16="http://schemas.microsoft.com/office/drawing/2014/main" id="{D49E172B-0458-C662-CE81-CA0B020F6B74}"/>
                </a:ext>
              </a:extLst>
            </p:cNvPr>
            <p:cNvSpPr/>
            <p:nvPr/>
          </p:nvSpPr>
          <p:spPr>
            <a:xfrm>
              <a:off x="929672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4" name="object 1664">
              <a:extLst>
                <a:ext uri="{FF2B5EF4-FFF2-40B4-BE49-F238E27FC236}">
                  <a16:creationId xmlns:a16="http://schemas.microsoft.com/office/drawing/2014/main" id="{12B40244-83EA-AC84-67DF-0F76F1B93511}"/>
                </a:ext>
              </a:extLst>
            </p:cNvPr>
            <p:cNvSpPr/>
            <p:nvPr/>
          </p:nvSpPr>
          <p:spPr>
            <a:xfrm>
              <a:off x="912174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5" name="object 1665">
              <a:extLst>
                <a:ext uri="{FF2B5EF4-FFF2-40B4-BE49-F238E27FC236}">
                  <a16:creationId xmlns:a16="http://schemas.microsoft.com/office/drawing/2014/main" id="{B1561A17-DFF4-BE66-9127-5E0C87FC9174}"/>
                </a:ext>
              </a:extLst>
            </p:cNvPr>
            <p:cNvSpPr/>
            <p:nvPr/>
          </p:nvSpPr>
          <p:spPr>
            <a:xfrm>
              <a:off x="9296723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66" name="object 1666">
              <a:extLst>
                <a:ext uri="{FF2B5EF4-FFF2-40B4-BE49-F238E27FC236}">
                  <a16:creationId xmlns:a16="http://schemas.microsoft.com/office/drawing/2014/main" id="{B8490018-95B8-C611-3221-0793E7A12954}"/>
                </a:ext>
              </a:extLst>
            </p:cNvPr>
            <p:cNvSpPr/>
            <p:nvPr/>
          </p:nvSpPr>
          <p:spPr>
            <a:xfrm>
              <a:off x="9121743" y="424314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67" name="object 1667">
              <a:extLst>
                <a:ext uri="{FF2B5EF4-FFF2-40B4-BE49-F238E27FC236}">
                  <a16:creationId xmlns:a16="http://schemas.microsoft.com/office/drawing/2014/main" id="{C0F9E668-136D-5DEC-E905-E60E0AAF7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9944676" y="3636550"/>
              <a:ext cx="346694" cy="34669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68" name="object 1668">
              <a:extLst>
                <a:ext uri="{FF2B5EF4-FFF2-40B4-BE49-F238E27FC236}">
                  <a16:creationId xmlns:a16="http://schemas.microsoft.com/office/drawing/2014/main" id="{D6D05B02-AF78-3B48-A1CF-782A31B394E1}"/>
                </a:ext>
              </a:extLst>
            </p:cNvPr>
            <p:cNvSpPr/>
            <p:nvPr/>
          </p:nvSpPr>
          <p:spPr>
            <a:xfrm>
              <a:off x="9944676" y="3636550"/>
              <a:ext cx="346941" cy="34694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2134"/>
                <a:gd name="f4" fmla="val 285865"/>
                <a:gd name="f5" fmla="val 3741"/>
                <a:gd name="f6" fmla="val 332231"/>
                <a:gd name="f7" fmla="val 14573"/>
                <a:gd name="f8" fmla="val 376215"/>
                <a:gd name="f9" fmla="val 31907"/>
                <a:gd name="f10" fmla="val 417228"/>
                <a:gd name="f11" fmla="val 55155"/>
                <a:gd name="f12" fmla="val 454682"/>
                <a:gd name="f13" fmla="val 83727"/>
                <a:gd name="f14" fmla="val 487989"/>
                <a:gd name="f15" fmla="val 117036"/>
                <a:gd name="f16" fmla="val 516559"/>
                <a:gd name="f17" fmla="val 154493"/>
                <a:gd name="f18" fmla="val 539805"/>
                <a:gd name="f19" fmla="val 195509"/>
                <a:gd name="f20" fmla="val 557137"/>
                <a:gd name="f21" fmla="val 239496"/>
                <a:gd name="f22" fmla="val 567969"/>
                <a:gd name="f23" fmla="val 571710"/>
                <a:gd name="f24" fmla="val 376216"/>
                <a:gd name="f25" fmla="val 417230"/>
                <a:gd name="f26" fmla="val 454686"/>
                <a:gd name="f27" fmla="val 487994"/>
                <a:gd name="f28" fmla="val 516566"/>
                <a:gd name="f29" fmla="val 539813"/>
                <a:gd name="f30" fmla="val 557147"/>
                <a:gd name="f31" fmla="val 567979"/>
                <a:gd name="f32" fmla="val 571720"/>
                <a:gd name="f33" fmla="*/ f0 1 572134"/>
                <a:gd name="f34" fmla="*/ f1 1 572134"/>
                <a:gd name="f35" fmla="+- f3 0 f2"/>
                <a:gd name="f36" fmla="*/ f35 1 572134"/>
                <a:gd name="f37" fmla="*/ f2 1 f36"/>
                <a:gd name="f38" fmla="*/ f3 1 f36"/>
                <a:gd name="f39" fmla="*/ f37 f33 1"/>
                <a:gd name="f40" fmla="*/ f38 f33 1"/>
                <a:gd name="f41" fmla="*/ f38 f34 1"/>
                <a:gd name="f42" fmla="*/ f37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9" t="f42" r="f40" b="f41"/>
              <a:pathLst>
                <a:path w="572134" h="572134">
                  <a:moveTo>
                    <a:pt x="f2" y="f4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4" y="f23"/>
                  </a:lnTo>
                  <a:lnTo>
                    <a:pt x="f6" y="f22"/>
                  </a:lnTo>
                  <a:lnTo>
                    <a:pt x="f24" y="f20"/>
                  </a:lnTo>
                  <a:lnTo>
                    <a:pt x="f25" y="f18"/>
                  </a:lnTo>
                  <a:lnTo>
                    <a:pt x="f26" y="f16"/>
                  </a:lnTo>
                  <a:lnTo>
                    <a:pt x="f27" y="f14"/>
                  </a:lnTo>
                  <a:lnTo>
                    <a:pt x="f28" y="f12"/>
                  </a:lnTo>
                  <a:lnTo>
                    <a:pt x="f29" y="f10"/>
                  </a:lnTo>
                  <a:lnTo>
                    <a:pt x="f30" y="f8"/>
                  </a:lnTo>
                  <a:lnTo>
                    <a:pt x="f31" y="f6"/>
                  </a:lnTo>
                  <a:lnTo>
                    <a:pt x="f32" y="f4"/>
                  </a:lnTo>
                  <a:lnTo>
                    <a:pt x="f31" y="f21"/>
                  </a:lnTo>
                  <a:lnTo>
                    <a:pt x="f30" y="f19"/>
                  </a:lnTo>
                  <a:lnTo>
                    <a:pt x="f29" y="f17"/>
                  </a:lnTo>
                  <a:lnTo>
                    <a:pt x="f28" y="f15"/>
                  </a:lnTo>
                  <a:lnTo>
                    <a:pt x="f27" y="f13"/>
                  </a:lnTo>
                  <a:lnTo>
                    <a:pt x="f26" y="f11"/>
                  </a:lnTo>
                  <a:lnTo>
                    <a:pt x="f25" y="f9"/>
                  </a:lnTo>
                  <a:lnTo>
                    <a:pt x="f24" y="f7"/>
                  </a:lnTo>
                  <a:lnTo>
                    <a:pt x="f6" y="f5"/>
                  </a:lnTo>
                  <a:lnTo>
                    <a:pt x="f4" y="f2"/>
                  </a:lnTo>
                  <a:lnTo>
                    <a:pt x="f21" y="f5"/>
                  </a:lnTo>
                  <a:lnTo>
                    <a:pt x="f19" y="f7"/>
                  </a:lnTo>
                  <a:lnTo>
                    <a:pt x="f17" y="f9"/>
                  </a:lnTo>
                  <a:lnTo>
                    <a:pt x="f15" y="f11"/>
                  </a:lnTo>
                  <a:lnTo>
                    <a:pt x="f13" y="f13"/>
                  </a:lnTo>
                  <a:lnTo>
                    <a:pt x="f11" y="f15"/>
                  </a:lnTo>
                  <a:lnTo>
                    <a:pt x="f9" y="f17"/>
                  </a:lnTo>
                  <a:lnTo>
                    <a:pt x="f7" y="f19"/>
                  </a:lnTo>
                  <a:lnTo>
                    <a:pt x="f5" y="f21"/>
                  </a:lnTo>
                  <a:lnTo>
                    <a:pt x="f2" y="f4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69" name="object 1669">
              <a:extLst>
                <a:ext uri="{FF2B5EF4-FFF2-40B4-BE49-F238E27FC236}">
                  <a16:creationId xmlns:a16="http://schemas.microsoft.com/office/drawing/2014/main" id="{B2107E4D-70DE-0E10-D297-5180CB8E3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>
              <a:off x="9943039" y="1317065"/>
              <a:ext cx="349940" cy="34993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70" name="object 1670">
              <a:extLst>
                <a:ext uri="{FF2B5EF4-FFF2-40B4-BE49-F238E27FC236}">
                  <a16:creationId xmlns:a16="http://schemas.microsoft.com/office/drawing/2014/main" id="{B1318632-D5B6-341C-5B8B-F25D9D92C13F}"/>
                </a:ext>
              </a:extLst>
            </p:cNvPr>
            <p:cNvSpPr/>
            <p:nvPr/>
          </p:nvSpPr>
          <p:spPr>
            <a:xfrm>
              <a:off x="9943048" y="131706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71" name="object 1671">
              <a:extLst>
                <a:ext uri="{FF2B5EF4-FFF2-40B4-BE49-F238E27FC236}">
                  <a16:creationId xmlns:a16="http://schemas.microsoft.com/office/drawing/2014/main" id="{BD306BD9-450E-D980-FD90-95DBBBF5F4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9943039" y="2100349"/>
              <a:ext cx="349940" cy="3499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72" name="object 1672">
              <a:extLst>
                <a:ext uri="{FF2B5EF4-FFF2-40B4-BE49-F238E27FC236}">
                  <a16:creationId xmlns:a16="http://schemas.microsoft.com/office/drawing/2014/main" id="{260D7187-86F5-11B0-627D-5F418EB18B14}"/>
                </a:ext>
              </a:extLst>
            </p:cNvPr>
            <p:cNvSpPr/>
            <p:nvPr/>
          </p:nvSpPr>
          <p:spPr>
            <a:xfrm>
              <a:off x="9943048" y="210035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73" name="object 1673">
              <a:extLst>
                <a:ext uri="{FF2B5EF4-FFF2-40B4-BE49-F238E27FC236}">
                  <a16:creationId xmlns:a16="http://schemas.microsoft.com/office/drawing/2014/main" id="{413FECEA-797B-08E2-F062-CF50BDDC8C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/>
            <a:stretch>
              <a:fillRect/>
            </a:stretch>
          </p:blipFill>
          <p:spPr>
            <a:xfrm>
              <a:off x="9943039" y="560490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74" name="object 1674">
              <a:extLst>
                <a:ext uri="{FF2B5EF4-FFF2-40B4-BE49-F238E27FC236}">
                  <a16:creationId xmlns:a16="http://schemas.microsoft.com/office/drawing/2014/main" id="{5EBE7C37-85EC-9DA2-F070-BDF1FBAC5095}"/>
                </a:ext>
              </a:extLst>
            </p:cNvPr>
            <p:cNvSpPr/>
            <p:nvPr/>
          </p:nvSpPr>
          <p:spPr>
            <a:xfrm>
              <a:off x="9943048" y="56049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75" name="object 1675">
              <a:extLst>
                <a:ext uri="{FF2B5EF4-FFF2-40B4-BE49-F238E27FC236}">
                  <a16:creationId xmlns:a16="http://schemas.microsoft.com/office/drawing/2014/main" id="{6E9BE80F-9FC5-73F4-039C-C0E1DDA27882}"/>
                </a:ext>
              </a:extLst>
            </p:cNvPr>
            <p:cNvSpPr/>
            <p:nvPr/>
          </p:nvSpPr>
          <p:spPr>
            <a:xfrm>
              <a:off x="9122100" y="1317248"/>
              <a:ext cx="347709" cy="32345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3405"/>
                <a:gd name="f4" fmla="val 533400"/>
                <a:gd name="f5" fmla="val 573304"/>
                <a:gd name="f6" fmla="val 288535"/>
                <a:gd name="f7" fmla="val 569528"/>
                <a:gd name="f8" fmla="val 241737"/>
                <a:gd name="f9" fmla="val 436016"/>
                <a:gd name="f10" fmla="val 533300"/>
                <a:gd name="f11" fmla="val 488795"/>
                <a:gd name="f12" fmla="val 492567"/>
                <a:gd name="f13" fmla="val 517634"/>
                <a:gd name="f14" fmla="val 458945"/>
                <a:gd name="f15" fmla="val 541099"/>
                <a:gd name="f16" fmla="val 421137"/>
                <a:gd name="f17" fmla="val 558595"/>
                <a:gd name="f18" fmla="val 379737"/>
                <a:gd name="f19" fmla="val 335338"/>
                <a:gd name="f20" fmla="val 469015"/>
                <a:gd name="f21" fmla="val 67541"/>
                <a:gd name="f22" fmla="val 417368"/>
                <a:gd name="f23" fmla="val 32205"/>
                <a:gd name="f24" fmla="val 375969"/>
                <a:gd name="f25" fmla="val 14709"/>
                <a:gd name="f26" fmla="val 331571"/>
                <a:gd name="f27" fmla="val 3776"/>
                <a:gd name="f28" fmla="val 284768"/>
                <a:gd name="f29" fmla="val 237966"/>
                <a:gd name="f30" fmla="val 193567"/>
                <a:gd name="f31" fmla="val 152166"/>
                <a:gd name="f32" fmla="val 133517"/>
                <a:gd name="f33" fmla="val 43779"/>
                <a:gd name="f34" fmla="val 335340"/>
                <a:gd name="f35" fmla="val 10933"/>
                <a:gd name="f36" fmla="val 28430"/>
                <a:gd name="f37" fmla="val 51896"/>
                <a:gd name="f38" fmla="val 80737"/>
                <a:gd name="f39" fmla="val 100521"/>
                <a:gd name="f40" fmla="val 509538"/>
                <a:gd name="f41" fmla="*/ f0 1 573405"/>
                <a:gd name="f42" fmla="*/ f1 1 533400"/>
                <a:gd name="f43" fmla="+- f4 0 f2"/>
                <a:gd name="f44" fmla="+- f3 0 f2"/>
                <a:gd name="f45" fmla="*/ f44 1 573405"/>
                <a:gd name="f46" fmla="*/ f43 1 533400"/>
                <a:gd name="f47" fmla="*/ f2 1 f45"/>
                <a:gd name="f48" fmla="*/ f3 1 f45"/>
                <a:gd name="f49" fmla="*/ f2 1 f46"/>
                <a:gd name="f50" fmla="*/ f4 1 f46"/>
                <a:gd name="f51" fmla="*/ f47 f41 1"/>
                <a:gd name="f52" fmla="*/ f48 f41 1"/>
                <a:gd name="f53" fmla="*/ f50 f42 1"/>
                <a:gd name="f54" fmla="*/ f49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1" t="f54" r="f52" b="f53"/>
              <a:pathLst>
                <a:path w="573405" h="533400">
                  <a:moveTo>
                    <a:pt x="f5" y="f6"/>
                  </a:moveTo>
                  <a:lnTo>
                    <a:pt x="f7" y="f8"/>
                  </a:lnTo>
                </a:path>
                <a:path w="573405" h="533400">
                  <a:moveTo>
                    <a:pt x="f9" y="f10"/>
                  </a:move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7" y="f19"/>
                  </a:lnTo>
                  <a:lnTo>
                    <a:pt x="f5" y="f6"/>
                  </a:lnTo>
                </a:path>
                <a:path w="573405" h="533400">
                  <a:moveTo>
                    <a:pt x="f20" y="f21"/>
                  </a:move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"/>
                  </a:lnTo>
                  <a:lnTo>
                    <a:pt x="f29" y="f27"/>
                  </a:lnTo>
                  <a:lnTo>
                    <a:pt x="f30" y="f25"/>
                  </a:lnTo>
                  <a:lnTo>
                    <a:pt x="f31" y="f23"/>
                  </a:lnTo>
                  <a:lnTo>
                    <a:pt x="f32" y="f33"/>
                  </a:lnTo>
                </a:path>
                <a:path w="573405" h="533400">
                  <a:moveTo>
                    <a:pt x="f2" y="f34"/>
                  </a:moveTo>
                  <a:lnTo>
                    <a:pt x="f35" y="f18"/>
                  </a:lnTo>
                  <a:lnTo>
                    <a:pt x="f36" y="f16"/>
                  </a:lnTo>
                  <a:lnTo>
                    <a:pt x="f37" y="f14"/>
                  </a:lnTo>
                  <a:lnTo>
                    <a:pt x="f38" y="f12"/>
                  </a:lnTo>
                  <a:lnTo>
                    <a:pt x="f39" y="f40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76" name="object 1676">
              <a:extLst>
                <a:ext uri="{FF2B5EF4-FFF2-40B4-BE49-F238E27FC236}">
                  <a16:creationId xmlns:a16="http://schemas.microsoft.com/office/drawing/2014/main" id="{A10EE7B9-4507-5D10-B381-32D6241F9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9162480" y="1341443"/>
              <a:ext cx="296137" cy="32573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77" name="object 1677">
              <a:extLst>
                <a:ext uri="{FF2B5EF4-FFF2-40B4-BE49-F238E27FC236}">
                  <a16:creationId xmlns:a16="http://schemas.microsoft.com/office/drawing/2014/main" id="{5415DA2D-1449-C07C-737B-434FD5FE8499}"/>
                </a:ext>
              </a:extLst>
            </p:cNvPr>
            <p:cNvSpPr/>
            <p:nvPr/>
          </p:nvSpPr>
          <p:spPr>
            <a:xfrm>
              <a:off x="9119814" y="131724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78" name="object 1678">
              <a:extLst>
                <a:ext uri="{FF2B5EF4-FFF2-40B4-BE49-F238E27FC236}">
                  <a16:creationId xmlns:a16="http://schemas.microsoft.com/office/drawing/2014/main" id="{7BECA08F-81CF-0DFB-93D6-AA68893FC4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>
              <a:off x="9123334" y="2885754"/>
              <a:ext cx="349931" cy="27756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79" name="object 1679">
              <a:extLst>
                <a:ext uri="{FF2B5EF4-FFF2-40B4-BE49-F238E27FC236}">
                  <a16:creationId xmlns:a16="http://schemas.microsoft.com/office/drawing/2014/main" id="{11CE6382-3933-E66E-E6A6-2F9CA574E84A}"/>
                </a:ext>
              </a:extLst>
            </p:cNvPr>
            <p:cNvSpPr/>
            <p:nvPr/>
          </p:nvSpPr>
          <p:spPr>
            <a:xfrm>
              <a:off x="9123325" y="285591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80" name="object 1680">
              <a:extLst>
                <a:ext uri="{FF2B5EF4-FFF2-40B4-BE49-F238E27FC236}">
                  <a16:creationId xmlns:a16="http://schemas.microsoft.com/office/drawing/2014/main" id="{9D1E30C7-5AB3-1C60-D0F2-3C61F61E2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9125401" y="2133249"/>
              <a:ext cx="349931" cy="27326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81" name="object 1681">
              <a:extLst>
                <a:ext uri="{FF2B5EF4-FFF2-40B4-BE49-F238E27FC236}">
                  <a16:creationId xmlns:a16="http://schemas.microsoft.com/office/drawing/2014/main" id="{A90ABBB8-A2AB-8B06-88D4-A6CB2D01200F}"/>
                </a:ext>
              </a:extLst>
            </p:cNvPr>
            <p:cNvSpPr/>
            <p:nvPr/>
          </p:nvSpPr>
          <p:spPr>
            <a:xfrm>
              <a:off x="9125391" y="210034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2" name="object 1682">
              <a:extLst>
                <a:ext uri="{FF2B5EF4-FFF2-40B4-BE49-F238E27FC236}">
                  <a16:creationId xmlns:a16="http://schemas.microsoft.com/office/drawing/2014/main" id="{B8A1291F-79CE-F2BB-85E8-53B4F1B1FB63}"/>
                </a:ext>
              </a:extLst>
            </p:cNvPr>
            <p:cNvSpPr/>
            <p:nvPr/>
          </p:nvSpPr>
          <p:spPr>
            <a:xfrm>
              <a:off x="9297536" y="565062"/>
              <a:ext cx="172510" cy="3496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4480"/>
                <a:gd name="f4" fmla="val 576580"/>
                <a:gd name="f5" fmla="val 283989"/>
                <a:gd name="f6" fmla="val 288168"/>
                <a:gd name="f7" fmla="val 280213"/>
                <a:gd name="f8" fmla="val 241366"/>
                <a:gd name="f9" fmla="val 269279"/>
                <a:gd name="f10" fmla="val 196968"/>
                <a:gd name="f11" fmla="val 251784"/>
                <a:gd name="f12" fmla="val 155568"/>
                <a:gd name="f13" fmla="val 228319"/>
                <a:gd name="f14" fmla="val 117762"/>
                <a:gd name="f15" fmla="val 199480"/>
                <a:gd name="f16" fmla="val 84142"/>
                <a:gd name="f17" fmla="val 165860"/>
                <a:gd name="f18" fmla="val 55303"/>
                <a:gd name="f19" fmla="val 128053"/>
                <a:gd name="f20" fmla="val 31838"/>
                <a:gd name="f21" fmla="val 86654"/>
                <a:gd name="f22" fmla="val 14342"/>
                <a:gd name="f23" fmla="val 42256"/>
                <a:gd name="f24" fmla="val 3409"/>
                <a:gd name="f25" fmla="val 112"/>
                <a:gd name="f26" fmla="val 576339"/>
                <a:gd name="f27" fmla="val 572938"/>
                <a:gd name="f28" fmla="val 562004"/>
                <a:gd name="f29" fmla="val 544507"/>
                <a:gd name="f30" fmla="val 521041"/>
                <a:gd name="f31" fmla="val 492200"/>
                <a:gd name="f32" fmla="val 458579"/>
                <a:gd name="f33" fmla="val 420771"/>
                <a:gd name="f34" fmla="val 379370"/>
                <a:gd name="f35" fmla="val 334971"/>
                <a:gd name="f36" fmla="*/ f0 1 284480"/>
                <a:gd name="f37" fmla="*/ f1 1 576580"/>
                <a:gd name="f38" fmla="+- f4 0 f2"/>
                <a:gd name="f39" fmla="+- f3 0 f2"/>
                <a:gd name="f40" fmla="*/ f39 1 284480"/>
                <a:gd name="f41" fmla="*/ f38 1 576580"/>
                <a:gd name="f42" fmla="*/ f2 1 f40"/>
                <a:gd name="f43" fmla="*/ f3 1 f40"/>
                <a:gd name="f44" fmla="*/ f2 1 f41"/>
                <a:gd name="f45" fmla="*/ f4 1 f41"/>
                <a:gd name="f46" fmla="*/ f42 f36 1"/>
                <a:gd name="f47" fmla="*/ f43 f36 1"/>
                <a:gd name="f48" fmla="*/ f45 f37 1"/>
                <a:gd name="f49" fmla="*/ f4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6" t="f49" r="f47" b="f48"/>
              <a:pathLst>
                <a:path w="284480" h="576580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" y="f2"/>
                  </a:lnTo>
                </a:path>
                <a:path w="284480" h="576580">
                  <a:moveTo>
                    <a:pt x="f25" y="f26"/>
                  </a:moveTo>
                  <a:lnTo>
                    <a:pt x="f23" y="f27"/>
                  </a:lnTo>
                  <a:lnTo>
                    <a:pt x="f21" y="f28"/>
                  </a:lnTo>
                  <a:lnTo>
                    <a:pt x="f19" y="f29"/>
                  </a:lnTo>
                  <a:lnTo>
                    <a:pt x="f17" y="f30"/>
                  </a:lnTo>
                  <a:lnTo>
                    <a:pt x="f15" y="f31"/>
                  </a:lnTo>
                  <a:lnTo>
                    <a:pt x="f13" y="f32"/>
                  </a:lnTo>
                  <a:lnTo>
                    <a:pt x="f11" y="f33"/>
                  </a:lnTo>
                  <a:lnTo>
                    <a:pt x="f9" y="f34"/>
                  </a:lnTo>
                  <a:lnTo>
                    <a:pt x="f7" y="f35"/>
                  </a:lnTo>
                  <a:lnTo>
                    <a:pt x="f5" y="f6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83" name="object 1683">
              <a:extLst>
                <a:ext uri="{FF2B5EF4-FFF2-40B4-BE49-F238E27FC236}">
                  <a16:creationId xmlns:a16="http://schemas.microsoft.com/office/drawing/2014/main" id="{46E730D3-1798-7DCF-AB23-9C08FEDA6D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7"/>
            <a:stretch>
              <a:fillRect/>
            </a:stretch>
          </p:blipFill>
          <p:spPr>
            <a:xfrm>
              <a:off x="9125401" y="597542"/>
              <a:ext cx="349931" cy="26527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84" name="object 1684">
              <a:extLst>
                <a:ext uri="{FF2B5EF4-FFF2-40B4-BE49-F238E27FC236}">
                  <a16:creationId xmlns:a16="http://schemas.microsoft.com/office/drawing/2014/main" id="{F591AA6C-2966-E6AF-33A6-A297EB23ED67}"/>
                </a:ext>
              </a:extLst>
            </p:cNvPr>
            <p:cNvSpPr/>
            <p:nvPr/>
          </p:nvSpPr>
          <p:spPr>
            <a:xfrm>
              <a:off x="9298021" y="565016"/>
              <a:ext cx="172894" cy="34963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85115"/>
                <a:gd name="f4" fmla="val 576580"/>
                <a:gd name="f5" fmla="val 284780"/>
                <a:gd name="f6" fmla="val 288232"/>
                <a:gd name="f7" fmla="val 281004"/>
                <a:gd name="f8" fmla="val 241430"/>
                <a:gd name="f9" fmla="val 270071"/>
                <a:gd name="f10" fmla="val 197032"/>
                <a:gd name="f11" fmla="val 252575"/>
                <a:gd name="f12" fmla="val 155632"/>
                <a:gd name="f13" fmla="val 229110"/>
                <a:gd name="f14" fmla="val 117826"/>
                <a:gd name="f15" fmla="val 200271"/>
                <a:gd name="f16" fmla="val 84206"/>
                <a:gd name="f17" fmla="val 166651"/>
                <a:gd name="f18" fmla="val 55366"/>
                <a:gd name="f19" fmla="val 128844"/>
                <a:gd name="f20" fmla="val 31902"/>
                <a:gd name="f21" fmla="val 87445"/>
                <a:gd name="f22" fmla="val 14406"/>
                <a:gd name="f23" fmla="val 43047"/>
                <a:gd name="f24" fmla="val 3473"/>
                <a:gd name="f25" fmla="val 112"/>
                <a:gd name="f26" fmla="val 576466"/>
                <a:gd name="f27" fmla="val 573002"/>
                <a:gd name="f28" fmla="val 562068"/>
                <a:gd name="f29" fmla="val 544571"/>
                <a:gd name="f30" fmla="val 521105"/>
                <a:gd name="f31" fmla="val 492264"/>
                <a:gd name="f32" fmla="val 458642"/>
                <a:gd name="f33" fmla="val 420834"/>
                <a:gd name="f34" fmla="val 379434"/>
                <a:gd name="f35" fmla="val 335035"/>
                <a:gd name="f36" fmla="*/ f0 1 285115"/>
                <a:gd name="f37" fmla="*/ f1 1 576580"/>
                <a:gd name="f38" fmla="+- f4 0 f2"/>
                <a:gd name="f39" fmla="+- f3 0 f2"/>
                <a:gd name="f40" fmla="*/ f39 1 285115"/>
                <a:gd name="f41" fmla="*/ f38 1 576580"/>
                <a:gd name="f42" fmla="*/ f2 1 f40"/>
                <a:gd name="f43" fmla="*/ f3 1 f40"/>
                <a:gd name="f44" fmla="*/ f2 1 f41"/>
                <a:gd name="f45" fmla="*/ f4 1 f41"/>
                <a:gd name="f46" fmla="*/ f42 f36 1"/>
                <a:gd name="f47" fmla="*/ f43 f36 1"/>
                <a:gd name="f48" fmla="*/ f45 f37 1"/>
                <a:gd name="f49" fmla="*/ f44 f3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6" t="f49" r="f47" b="f48"/>
              <a:pathLst>
                <a:path w="285115" h="576580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" y="f2"/>
                  </a:lnTo>
                </a:path>
                <a:path w="285115" h="576580">
                  <a:moveTo>
                    <a:pt x="f25" y="f26"/>
                  </a:moveTo>
                  <a:lnTo>
                    <a:pt x="f23" y="f27"/>
                  </a:lnTo>
                  <a:lnTo>
                    <a:pt x="f21" y="f28"/>
                  </a:lnTo>
                  <a:lnTo>
                    <a:pt x="f19" y="f29"/>
                  </a:lnTo>
                  <a:lnTo>
                    <a:pt x="f17" y="f30"/>
                  </a:lnTo>
                  <a:lnTo>
                    <a:pt x="f15" y="f31"/>
                  </a:lnTo>
                  <a:lnTo>
                    <a:pt x="f13" y="f32"/>
                  </a:lnTo>
                  <a:lnTo>
                    <a:pt x="f11" y="f33"/>
                  </a:lnTo>
                  <a:lnTo>
                    <a:pt x="f9" y="f34"/>
                  </a:lnTo>
                  <a:lnTo>
                    <a:pt x="f7" y="f35"/>
                  </a:lnTo>
                  <a:lnTo>
                    <a:pt x="f5" y="f6"/>
                  </a:lnTo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85" name="object 1685">
              <a:extLst>
                <a:ext uri="{FF2B5EF4-FFF2-40B4-BE49-F238E27FC236}">
                  <a16:creationId xmlns:a16="http://schemas.microsoft.com/office/drawing/2014/main" id="{A2982805-4FF3-4E05-9CB2-0B5AD732290E}"/>
                </a:ext>
              </a:extLst>
            </p:cNvPr>
            <p:cNvSpPr/>
            <p:nvPr/>
          </p:nvSpPr>
          <p:spPr>
            <a:xfrm>
              <a:off x="9125391" y="56483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86" name="object 1686">
              <a:extLst>
                <a:ext uri="{FF2B5EF4-FFF2-40B4-BE49-F238E27FC236}">
                  <a16:creationId xmlns:a16="http://schemas.microsoft.com/office/drawing/2014/main" id="{57F471E1-6F15-B6C5-3333-A8F54E186C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8"/>
            <a:stretch>
              <a:fillRect/>
            </a:stretch>
          </p:blipFill>
          <p:spPr>
            <a:xfrm>
              <a:off x="9125318" y="4435434"/>
              <a:ext cx="341665" cy="25624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87" name="object 1687">
              <a:extLst>
                <a:ext uri="{FF2B5EF4-FFF2-40B4-BE49-F238E27FC236}">
                  <a16:creationId xmlns:a16="http://schemas.microsoft.com/office/drawing/2014/main" id="{41E49670-482B-67FC-B6DF-34494DE9E274}"/>
                </a:ext>
              </a:extLst>
            </p:cNvPr>
            <p:cNvSpPr/>
            <p:nvPr/>
          </p:nvSpPr>
          <p:spPr>
            <a:xfrm>
              <a:off x="9125135" y="4385361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88" name="object 1688">
              <a:extLst>
                <a:ext uri="{FF2B5EF4-FFF2-40B4-BE49-F238E27FC236}">
                  <a16:creationId xmlns:a16="http://schemas.microsoft.com/office/drawing/2014/main" id="{EF16B380-9933-199B-2390-5CB75153DC5D}"/>
                </a:ext>
              </a:extLst>
            </p:cNvPr>
            <p:cNvPicPr>
              <a:picLocks noChangeAspect="1"/>
            </p:cNvPicPr>
            <p:nvPr/>
          </p:nvPicPr>
          <p:blipFill>
            <a:blip r:embed="rId59"/>
            <a:stretch>
              <a:fillRect/>
            </a:stretch>
          </p:blipFill>
          <p:spPr>
            <a:xfrm>
              <a:off x="9162251" y="3664393"/>
              <a:ext cx="267791" cy="267791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89" name="object 1689">
              <a:extLst>
                <a:ext uri="{FF2B5EF4-FFF2-40B4-BE49-F238E27FC236}">
                  <a16:creationId xmlns:a16="http://schemas.microsoft.com/office/drawing/2014/main" id="{B6B863DF-103D-F1C9-A591-FF52503F4C34}"/>
                </a:ext>
              </a:extLst>
            </p:cNvPr>
            <p:cNvSpPr/>
            <p:nvPr/>
          </p:nvSpPr>
          <p:spPr>
            <a:xfrm>
              <a:off x="9126096" y="3628796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690" name="object 1690">
              <a:extLst>
                <a:ext uri="{FF2B5EF4-FFF2-40B4-BE49-F238E27FC236}">
                  <a16:creationId xmlns:a16="http://schemas.microsoft.com/office/drawing/2014/main" id="{44F5A613-C9A6-D66A-890B-EC12E2755B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9943395" y="4388370"/>
              <a:ext cx="349940" cy="34900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691" name="object 1691">
              <a:extLst>
                <a:ext uri="{FF2B5EF4-FFF2-40B4-BE49-F238E27FC236}">
                  <a16:creationId xmlns:a16="http://schemas.microsoft.com/office/drawing/2014/main" id="{C2D2AFA6-41F0-07A7-D4CC-F2D6E4BBBB9A}"/>
                </a:ext>
              </a:extLst>
            </p:cNvPr>
            <p:cNvSpPr/>
            <p:nvPr/>
          </p:nvSpPr>
          <p:spPr>
            <a:xfrm>
              <a:off x="9943386" y="438743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2" name="object 1692">
              <a:extLst>
                <a:ext uri="{FF2B5EF4-FFF2-40B4-BE49-F238E27FC236}">
                  <a16:creationId xmlns:a16="http://schemas.microsoft.com/office/drawing/2014/main" id="{303EE864-67DF-8083-CFC3-64E15C4A2F52}"/>
                </a:ext>
              </a:extLst>
            </p:cNvPr>
            <p:cNvSpPr/>
            <p:nvPr/>
          </p:nvSpPr>
          <p:spPr>
            <a:xfrm>
              <a:off x="1022329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3" name="object 1693">
              <a:extLst>
                <a:ext uri="{FF2B5EF4-FFF2-40B4-BE49-F238E27FC236}">
                  <a16:creationId xmlns:a16="http://schemas.microsoft.com/office/drawing/2014/main" id="{80A6C067-8B00-091A-F47A-378F03E56EE4}"/>
                </a:ext>
              </a:extLst>
            </p:cNvPr>
            <p:cNvSpPr/>
            <p:nvPr/>
          </p:nvSpPr>
          <p:spPr>
            <a:xfrm>
              <a:off x="1025831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4" name="object 1694">
              <a:extLst>
                <a:ext uri="{FF2B5EF4-FFF2-40B4-BE49-F238E27FC236}">
                  <a16:creationId xmlns:a16="http://schemas.microsoft.com/office/drawing/2014/main" id="{AE35D167-89B3-C6B4-D050-FA798B1A745F}"/>
                </a:ext>
              </a:extLst>
            </p:cNvPr>
            <p:cNvSpPr/>
            <p:nvPr/>
          </p:nvSpPr>
          <p:spPr>
            <a:xfrm>
              <a:off x="1015324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5" name="object 1695">
              <a:extLst>
                <a:ext uri="{FF2B5EF4-FFF2-40B4-BE49-F238E27FC236}">
                  <a16:creationId xmlns:a16="http://schemas.microsoft.com/office/drawing/2014/main" id="{8FFD49C3-FFCB-6CA6-C6E8-6FB0F8FF3BB6}"/>
                </a:ext>
              </a:extLst>
            </p:cNvPr>
            <p:cNvSpPr/>
            <p:nvPr/>
          </p:nvSpPr>
          <p:spPr>
            <a:xfrm>
              <a:off x="10048177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6" name="object 1696">
              <a:extLst>
                <a:ext uri="{FF2B5EF4-FFF2-40B4-BE49-F238E27FC236}">
                  <a16:creationId xmlns:a16="http://schemas.microsoft.com/office/drawing/2014/main" id="{8203CFE7-47C7-4520-E2C2-1F43FEA02721}"/>
                </a:ext>
              </a:extLst>
            </p:cNvPr>
            <p:cNvSpPr/>
            <p:nvPr/>
          </p:nvSpPr>
          <p:spPr>
            <a:xfrm>
              <a:off x="10083271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7" name="object 1697">
              <a:extLst>
                <a:ext uri="{FF2B5EF4-FFF2-40B4-BE49-F238E27FC236}">
                  <a16:creationId xmlns:a16="http://schemas.microsoft.com/office/drawing/2014/main" id="{7B8D1BE5-1FAF-779B-B35B-F3DDDC503046}"/>
                </a:ext>
              </a:extLst>
            </p:cNvPr>
            <p:cNvSpPr/>
            <p:nvPr/>
          </p:nvSpPr>
          <p:spPr>
            <a:xfrm>
              <a:off x="9978133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8" name="object 1698">
              <a:extLst>
                <a:ext uri="{FF2B5EF4-FFF2-40B4-BE49-F238E27FC236}">
                  <a16:creationId xmlns:a16="http://schemas.microsoft.com/office/drawing/2014/main" id="{9EA00DE8-3F64-12F4-F684-121503C493DB}"/>
                </a:ext>
              </a:extLst>
            </p:cNvPr>
            <p:cNvSpPr/>
            <p:nvPr/>
          </p:nvSpPr>
          <p:spPr>
            <a:xfrm>
              <a:off x="10188272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699" name="object 1699">
              <a:extLst>
                <a:ext uri="{FF2B5EF4-FFF2-40B4-BE49-F238E27FC236}">
                  <a16:creationId xmlns:a16="http://schemas.microsoft.com/office/drawing/2014/main" id="{0AECE310-145A-4F65-409E-3E8C39C788F1}"/>
                </a:ext>
              </a:extLst>
            </p:cNvPr>
            <p:cNvSpPr/>
            <p:nvPr/>
          </p:nvSpPr>
          <p:spPr>
            <a:xfrm>
              <a:off x="10013155" y="26260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0" name="object 1700">
              <a:extLst>
                <a:ext uri="{FF2B5EF4-FFF2-40B4-BE49-F238E27FC236}">
                  <a16:creationId xmlns:a16="http://schemas.microsoft.com/office/drawing/2014/main" id="{C56E72D3-2DE0-4BF0-0618-8A109E48BF15}"/>
                </a:ext>
              </a:extLst>
            </p:cNvPr>
            <p:cNvSpPr/>
            <p:nvPr/>
          </p:nvSpPr>
          <p:spPr>
            <a:xfrm>
              <a:off x="10293336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1" name="object 1701">
              <a:extLst>
                <a:ext uri="{FF2B5EF4-FFF2-40B4-BE49-F238E27FC236}">
                  <a16:creationId xmlns:a16="http://schemas.microsoft.com/office/drawing/2014/main" id="{276E3667-51FE-AD0C-625C-EB511D857F5A}"/>
                </a:ext>
              </a:extLst>
            </p:cNvPr>
            <p:cNvSpPr/>
            <p:nvPr/>
          </p:nvSpPr>
          <p:spPr>
            <a:xfrm>
              <a:off x="10118366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2" name="object 1702">
              <a:extLst>
                <a:ext uri="{FF2B5EF4-FFF2-40B4-BE49-F238E27FC236}">
                  <a16:creationId xmlns:a16="http://schemas.microsoft.com/office/drawing/2014/main" id="{EFEEF232-3C53-694F-BC34-1DDE2431CA59}"/>
                </a:ext>
              </a:extLst>
            </p:cNvPr>
            <p:cNvSpPr/>
            <p:nvPr/>
          </p:nvSpPr>
          <p:spPr>
            <a:xfrm>
              <a:off x="9943386" y="26133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3" name="object 1703">
              <a:extLst>
                <a:ext uri="{FF2B5EF4-FFF2-40B4-BE49-F238E27FC236}">
                  <a16:creationId xmlns:a16="http://schemas.microsoft.com/office/drawing/2014/main" id="{823368CA-E351-546E-6DAD-78A39AE912F0}"/>
                </a:ext>
              </a:extLst>
            </p:cNvPr>
            <p:cNvSpPr/>
            <p:nvPr/>
          </p:nvSpPr>
          <p:spPr>
            <a:xfrm>
              <a:off x="9943395" y="263882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4" name="object 1704">
              <a:extLst>
                <a:ext uri="{FF2B5EF4-FFF2-40B4-BE49-F238E27FC236}">
                  <a16:creationId xmlns:a16="http://schemas.microsoft.com/office/drawing/2014/main" id="{2922EB92-A3F9-9D91-8DE5-DFA17DE70977}"/>
                </a:ext>
              </a:extLst>
            </p:cNvPr>
            <p:cNvSpPr/>
            <p:nvPr/>
          </p:nvSpPr>
          <p:spPr>
            <a:xfrm>
              <a:off x="9943514" y="2613318"/>
              <a:ext cx="114748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89230"/>
                <a:gd name="f4" fmla="val 84454"/>
                <a:gd name="f5" fmla="val 189104"/>
                <a:gd name="f6" fmla="val 84102"/>
                <a:gd name="f7" fmla="*/ f0 1 189230"/>
                <a:gd name="f8" fmla="*/ f1 1 84454"/>
                <a:gd name="f9" fmla="+- f4 0 f2"/>
                <a:gd name="f10" fmla="+- f3 0 f2"/>
                <a:gd name="f11" fmla="*/ f10 1 1892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892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5" name="object 1705">
              <a:extLst>
                <a:ext uri="{FF2B5EF4-FFF2-40B4-BE49-F238E27FC236}">
                  <a16:creationId xmlns:a16="http://schemas.microsoft.com/office/drawing/2014/main" id="{ADB3464F-A44F-BAE4-BDEC-7D790E8FF1CE}"/>
                </a:ext>
              </a:extLst>
            </p:cNvPr>
            <p:cNvSpPr/>
            <p:nvPr/>
          </p:nvSpPr>
          <p:spPr>
            <a:xfrm>
              <a:off x="10292989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6" name="object 1706">
              <a:extLst>
                <a:ext uri="{FF2B5EF4-FFF2-40B4-BE49-F238E27FC236}">
                  <a16:creationId xmlns:a16="http://schemas.microsoft.com/office/drawing/2014/main" id="{E48F2DD2-51EC-9344-4D56-D2CAA8659295}"/>
                </a:ext>
              </a:extLst>
            </p:cNvPr>
            <p:cNvSpPr/>
            <p:nvPr/>
          </p:nvSpPr>
          <p:spPr>
            <a:xfrm>
              <a:off x="10118018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7" name="object 1707">
              <a:extLst>
                <a:ext uri="{FF2B5EF4-FFF2-40B4-BE49-F238E27FC236}">
                  <a16:creationId xmlns:a16="http://schemas.microsoft.com/office/drawing/2014/main" id="{A0D14618-E097-975E-65D2-DCF4245D912D}"/>
                </a:ext>
              </a:extLst>
            </p:cNvPr>
            <p:cNvSpPr/>
            <p:nvPr/>
          </p:nvSpPr>
          <p:spPr>
            <a:xfrm>
              <a:off x="9943048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8" name="object 1708">
              <a:extLst>
                <a:ext uri="{FF2B5EF4-FFF2-40B4-BE49-F238E27FC236}">
                  <a16:creationId xmlns:a16="http://schemas.microsoft.com/office/drawing/2014/main" id="{628FB89A-87AE-BF4B-2ADD-7B13E4467B22}"/>
                </a:ext>
              </a:extLst>
            </p:cNvPr>
            <p:cNvSpPr/>
            <p:nvPr/>
          </p:nvSpPr>
          <p:spPr>
            <a:xfrm>
              <a:off x="10118018" y="268561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09" name="object 1709">
              <a:extLst>
                <a:ext uri="{FF2B5EF4-FFF2-40B4-BE49-F238E27FC236}">
                  <a16:creationId xmlns:a16="http://schemas.microsoft.com/office/drawing/2014/main" id="{64094AEC-98C7-55E7-5434-08ECB5B752FC}"/>
                </a:ext>
              </a:extLst>
            </p:cNvPr>
            <p:cNvSpPr/>
            <p:nvPr/>
          </p:nvSpPr>
          <p:spPr>
            <a:xfrm>
              <a:off x="1022294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0" name="object 1710">
              <a:extLst>
                <a:ext uri="{FF2B5EF4-FFF2-40B4-BE49-F238E27FC236}">
                  <a16:creationId xmlns:a16="http://schemas.microsoft.com/office/drawing/2014/main" id="{90FBD24A-FD4B-4308-EDF0-70C9FD5CF4AD}"/>
                </a:ext>
              </a:extLst>
            </p:cNvPr>
            <p:cNvSpPr/>
            <p:nvPr/>
          </p:nvSpPr>
          <p:spPr>
            <a:xfrm>
              <a:off x="10257967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1" name="object 1711">
              <a:extLst>
                <a:ext uri="{FF2B5EF4-FFF2-40B4-BE49-F238E27FC236}">
                  <a16:creationId xmlns:a16="http://schemas.microsoft.com/office/drawing/2014/main" id="{60B6A426-3E3C-2A40-0446-A299EA7E7F4C}"/>
                </a:ext>
              </a:extLst>
            </p:cNvPr>
            <p:cNvSpPr/>
            <p:nvPr/>
          </p:nvSpPr>
          <p:spPr>
            <a:xfrm>
              <a:off x="10152903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2" name="object 1712">
              <a:extLst>
                <a:ext uri="{FF2B5EF4-FFF2-40B4-BE49-F238E27FC236}">
                  <a16:creationId xmlns:a16="http://schemas.microsoft.com/office/drawing/2014/main" id="{94827FF5-5100-DAFB-0352-CD84D4FF3C1D}"/>
                </a:ext>
              </a:extLst>
            </p:cNvPr>
            <p:cNvSpPr/>
            <p:nvPr/>
          </p:nvSpPr>
          <p:spPr>
            <a:xfrm>
              <a:off x="10047829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3" name="object 1713">
              <a:extLst>
                <a:ext uri="{FF2B5EF4-FFF2-40B4-BE49-F238E27FC236}">
                  <a16:creationId xmlns:a16="http://schemas.microsoft.com/office/drawing/2014/main" id="{9C6C0357-2E32-E053-E2C3-9ACB697A924C}"/>
                </a:ext>
              </a:extLst>
            </p:cNvPr>
            <p:cNvSpPr/>
            <p:nvPr/>
          </p:nvSpPr>
          <p:spPr>
            <a:xfrm>
              <a:off x="1008292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4" name="object 1714">
              <a:extLst>
                <a:ext uri="{FF2B5EF4-FFF2-40B4-BE49-F238E27FC236}">
                  <a16:creationId xmlns:a16="http://schemas.microsoft.com/office/drawing/2014/main" id="{11B389BB-4C74-687D-468D-C3DFA3B49B14}"/>
                </a:ext>
              </a:extLst>
            </p:cNvPr>
            <p:cNvSpPr/>
            <p:nvPr/>
          </p:nvSpPr>
          <p:spPr>
            <a:xfrm>
              <a:off x="9977786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5" name="object 1715">
              <a:extLst>
                <a:ext uri="{FF2B5EF4-FFF2-40B4-BE49-F238E27FC236}">
                  <a16:creationId xmlns:a16="http://schemas.microsoft.com/office/drawing/2014/main" id="{59B0DAB8-F09E-328E-A07A-3BA129F630FB}"/>
                </a:ext>
              </a:extLst>
            </p:cNvPr>
            <p:cNvSpPr/>
            <p:nvPr/>
          </p:nvSpPr>
          <p:spPr>
            <a:xfrm>
              <a:off x="10187924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6" name="object 1716">
              <a:extLst>
                <a:ext uri="{FF2B5EF4-FFF2-40B4-BE49-F238E27FC236}">
                  <a16:creationId xmlns:a16="http://schemas.microsoft.com/office/drawing/2014/main" id="{78DB75BC-4F93-D4C5-5582-F2D81980863D}"/>
                </a:ext>
              </a:extLst>
            </p:cNvPr>
            <p:cNvSpPr/>
            <p:nvPr/>
          </p:nvSpPr>
          <p:spPr>
            <a:xfrm>
              <a:off x="10012808" y="269836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7" name="object 1717">
              <a:extLst>
                <a:ext uri="{FF2B5EF4-FFF2-40B4-BE49-F238E27FC236}">
                  <a16:creationId xmlns:a16="http://schemas.microsoft.com/office/drawing/2014/main" id="{B732943C-F7EF-36B1-24A0-0F7B7018EB1C}"/>
                </a:ext>
              </a:extLst>
            </p:cNvPr>
            <p:cNvSpPr/>
            <p:nvPr/>
          </p:nvSpPr>
          <p:spPr>
            <a:xfrm>
              <a:off x="9943048" y="271111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8" name="object 1718">
              <a:extLst>
                <a:ext uri="{FF2B5EF4-FFF2-40B4-BE49-F238E27FC236}">
                  <a16:creationId xmlns:a16="http://schemas.microsoft.com/office/drawing/2014/main" id="{CFFC9211-8159-FE22-FAFE-60BC0AFAE8A9}"/>
                </a:ext>
              </a:extLst>
            </p:cNvPr>
            <p:cNvSpPr/>
            <p:nvPr/>
          </p:nvSpPr>
          <p:spPr>
            <a:xfrm>
              <a:off x="10223293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19" name="object 1719">
              <a:extLst>
                <a:ext uri="{FF2B5EF4-FFF2-40B4-BE49-F238E27FC236}">
                  <a16:creationId xmlns:a16="http://schemas.microsoft.com/office/drawing/2014/main" id="{30FDDDC9-6648-103F-5060-54FDAC94ED5F}"/>
                </a:ext>
              </a:extLst>
            </p:cNvPr>
            <p:cNvSpPr/>
            <p:nvPr/>
          </p:nvSpPr>
          <p:spPr>
            <a:xfrm>
              <a:off x="1025831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0" name="object 1720">
              <a:extLst>
                <a:ext uri="{FF2B5EF4-FFF2-40B4-BE49-F238E27FC236}">
                  <a16:creationId xmlns:a16="http://schemas.microsoft.com/office/drawing/2014/main" id="{7C22BF21-50AA-BD5F-00FA-852BE160C256}"/>
                </a:ext>
              </a:extLst>
            </p:cNvPr>
            <p:cNvSpPr/>
            <p:nvPr/>
          </p:nvSpPr>
          <p:spPr>
            <a:xfrm>
              <a:off x="10153241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1" name="object 1721">
              <a:extLst>
                <a:ext uri="{FF2B5EF4-FFF2-40B4-BE49-F238E27FC236}">
                  <a16:creationId xmlns:a16="http://schemas.microsoft.com/office/drawing/2014/main" id="{D77F1706-0C81-ED9E-778E-F183316B0762}"/>
                </a:ext>
              </a:extLst>
            </p:cNvPr>
            <p:cNvSpPr/>
            <p:nvPr/>
          </p:nvSpPr>
          <p:spPr>
            <a:xfrm>
              <a:off x="10048177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2" name="object 1722">
              <a:extLst>
                <a:ext uri="{FF2B5EF4-FFF2-40B4-BE49-F238E27FC236}">
                  <a16:creationId xmlns:a16="http://schemas.microsoft.com/office/drawing/2014/main" id="{E45E7B56-52CD-B814-DE5F-F32737B61B65}"/>
                </a:ext>
              </a:extLst>
            </p:cNvPr>
            <p:cNvSpPr/>
            <p:nvPr/>
          </p:nvSpPr>
          <p:spPr>
            <a:xfrm>
              <a:off x="10083271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3" name="object 1723">
              <a:extLst>
                <a:ext uri="{FF2B5EF4-FFF2-40B4-BE49-F238E27FC236}">
                  <a16:creationId xmlns:a16="http://schemas.microsoft.com/office/drawing/2014/main" id="{BFDD3E2B-168E-A545-0D73-48CC2EC87B1F}"/>
                </a:ext>
              </a:extLst>
            </p:cNvPr>
            <p:cNvSpPr/>
            <p:nvPr/>
          </p:nvSpPr>
          <p:spPr>
            <a:xfrm>
              <a:off x="9978133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4" name="object 1724">
              <a:extLst>
                <a:ext uri="{FF2B5EF4-FFF2-40B4-BE49-F238E27FC236}">
                  <a16:creationId xmlns:a16="http://schemas.microsoft.com/office/drawing/2014/main" id="{D3B888CC-42BD-94CF-5D23-DAE765BAFB79}"/>
                </a:ext>
              </a:extLst>
            </p:cNvPr>
            <p:cNvSpPr/>
            <p:nvPr/>
          </p:nvSpPr>
          <p:spPr>
            <a:xfrm>
              <a:off x="10188272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5" name="object 1725">
              <a:extLst>
                <a:ext uri="{FF2B5EF4-FFF2-40B4-BE49-F238E27FC236}">
                  <a16:creationId xmlns:a16="http://schemas.microsoft.com/office/drawing/2014/main" id="{B9A1694B-18A7-3237-C73B-5D25DE0239C5}"/>
                </a:ext>
              </a:extLst>
            </p:cNvPr>
            <p:cNvSpPr/>
            <p:nvPr/>
          </p:nvSpPr>
          <p:spPr>
            <a:xfrm>
              <a:off x="10013155" y="4158096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6" name="object 1726">
              <a:extLst>
                <a:ext uri="{FF2B5EF4-FFF2-40B4-BE49-F238E27FC236}">
                  <a16:creationId xmlns:a16="http://schemas.microsoft.com/office/drawing/2014/main" id="{2A35CF55-7B4A-B829-1721-EDCE947CC6E8}"/>
                </a:ext>
              </a:extLst>
            </p:cNvPr>
            <p:cNvSpPr/>
            <p:nvPr/>
          </p:nvSpPr>
          <p:spPr>
            <a:xfrm>
              <a:off x="10293336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7" name="object 1727">
              <a:extLst>
                <a:ext uri="{FF2B5EF4-FFF2-40B4-BE49-F238E27FC236}">
                  <a16:creationId xmlns:a16="http://schemas.microsoft.com/office/drawing/2014/main" id="{FDEDC93B-DDA5-DDCA-BB2A-5B9ED2A3850B}"/>
                </a:ext>
              </a:extLst>
            </p:cNvPr>
            <p:cNvSpPr/>
            <p:nvPr/>
          </p:nvSpPr>
          <p:spPr>
            <a:xfrm>
              <a:off x="10118366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8" name="object 1728">
              <a:extLst>
                <a:ext uri="{FF2B5EF4-FFF2-40B4-BE49-F238E27FC236}">
                  <a16:creationId xmlns:a16="http://schemas.microsoft.com/office/drawing/2014/main" id="{77723B22-9E69-B89F-E4E3-32B739CA839C}"/>
                </a:ext>
              </a:extLst>
            </p:cNvPr>
            <p:cNvSpPr/>
            <p:nvPr/>
          </p:nvSpPr>
          <p:spPr>
            <a:xfrm>
              <a:off x="9943386" y="414534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29" name="object 1729">
              <a:extLst>
                <a:ext uri="{FF2B5EF4-FFF2-40B4-BE49-F238E27FC236}">
                  <a16:creationId xmlns:a16="http://schemas.microsoft.com/office/drawing/2014/main" id="{63B03C40-63DB-BA7E-FDB3-9B179F47A764}"/>
                </a:ext>
              </a:extLst>
            </p:cNvPr>
            <p:cNvSpPr/>
            <p:nvPr/>
          </p:nvSpPr>
          <p:spPr>
            <a:xfrm>
              <a:off x="9943395" y="417084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0" name="object 1730">
              <a:extLst>
                <a:ext uri="{FF2B5EF4-FFF2-40B4-BE49-F238E27FC236}">
                  <a16:creationId xmlns:a16="http://schemas.microsoft.com/office/drawing/2014/main" id="{C174F1BF-20BC-8905-839C-7969C8BF03CB}"/>
                </a:ext>
              </a:extLst>
            </p:cNvPr>
            <p:cNvSpPr/>
            <p:nvPr/>
          </p:nvSpPr>
          <p:spPr>
            <a:xfrm>
              <a:off x="9943514" y="4145340"/>
              <a:ext cx="192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175"/>
                <a:gd name="f4" fmla="val 84454"/>
                <a:gd name="f5" fmla="val 2973"/>
                <a:gd name="f6" fmla="val 84123"/>
                <a:gd name="f7" fmla="*/ f0 1 3175"/>
                <a:gd name="f8" fmla="*/ f1 1 84454"/>
                <a:gd name="f9" fmla="+- f4 0 f2"/>
                <a:gd name="f10" fmla="+- f3 0 f2"/>
                <a:gd name="f11" fmla="*/ f10 1 31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1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1" name="object 1731">
              <a:extLst>
                <a:ext uri="{FF2B5EF4-FFF2-40B4-BE49-F238E27FC236}">
                  <a16:creationId xmlns:a16="http://schemas.microsoft.com/office/drawing/2014/main" id="{AEBE8D7F-5E87-D17E-3304-2AAB5A8F43C2}"/>
                </a:ext>
              </a:extLst>
            </p:cNvPr>
            <p:cNvSpPr/>
            <p:nvPr/>
          </p:nvSpPr>
          <p:spPr>
            <a:xfrm>
              <a:off x="10292989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2" name="object 1732">
              <a:extLst>
                <a:ext uri="{FF2B5EF4-FFF2-40B4-BE49-F238E27FC236}">
                  <a16:creationId xmlns:a16="http://schemas.microsoft.com/office/drawing/2014/main" id="{8933A0F4-54BA-2D7C-FB54-867D8185ED07}"/>
                </a:ext>
              </a:extLst>
            </p:cNvPr>
            <p:cNvSpPr/>
            <p:nvPr/>
          </p:nvSpPr>
          <p:spPr>
            <a:xfrm>
              <a:off x="10118018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3" name="object 1733">
              <a:extLst>
                <a:ext uri="{FF2B5EF4-FFF2-40B4-BE49-F238E27FC236}">
                  <a16:creationId xmlns:a16="http://schemas.microsoft.com/office/drawing/2014/main" id="{90BCAF92-0765-5903-2265-FF1FC453B857}"/>
                </a:ext>
              </a:extLst>
            </p:cNvPr>
            <p:cNvSpPr/>
            <p:nvPr/>
          </p:nvSpPr>
          <p:spPr>
            <a:xfrm>
              <a:off x="9943048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4" name="object 1734">
              <a:extLst>
                <a:ext uri="{FF2B5EF4-FFF2-40B4-BE49-F238E27FC236}">
                  <a16:creationId xmlns:a16="http://schemas.microsoft.com/office/drawing/2014/main" id="{77C0B2F9-1D2A-652D-8CF6-A663AC771448}"/>
                </a:ext>
              </a:extLst>
            </p:cNvPr>
            <p:cNvSpPr/>
            <p:nvPr/>
          </p:nvSpPr>
          <p:spPr>
            <a:xfrm>
              <a:off x="10118018" y="42176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5" name="object 1735">
              <a:extLst>
                <a:ext uri="{FF2B5EF4-FFF2-40B4-BE49-F238E27FC236}">
                  <a16:creationId xmlns:a16="http://schemas.microsoft.com/office/drawing/2014/main" id="{A30B4219-F2CE-B7F4-04B3-2F2CDC0FA26A}"/>
                </a:ext>
              </a:extLst>
            </p:cNvPr>
            <p:cNvSpPr/>
            <p:nvPr/>
          </p:nvSpPr>
          <p:spPr>
            <a:xfrm>
              <a:off x="10222946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6" name="object 1736">
              <a:extLst>
                <a:ext uri="{FF2B5EF4-FFF2-40B4-BE49-F238E27FC236}">
                  <a16:creationId xmlns:a16="http://schemas.microsoft.com/office/drawing/2014/main" id="{8FB4C768-32FD-66E6-7978-7EF23CC878C3}"/>
                </a:ext>
              </a:extLst>
            </p:cNvPr>
            <p:cNvSpPr/>
            <p:nvPr/>
          </p:nvSpPr>
          <p:spPr>
            <a:xfrm>
              <a:off x="10257967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7" name="object 1737">
              <a:extLst>
                <a:ext uri="{FF2B5EF4-FFF2-40B4-BE49-F238E27FC236}">
                  <a16:creationId xmlns:a16="http://schemas.microsoft.com/office/drawing/2014/main" id="{70FBF9F5-9572-EB25-29B8-69D4223D130F}"/>
                </a:ext>
              </a:extLst>
            </p:cNvPr>
            <p:cNvSpPr/>
            <p:nvPr/>
          </p:nvSpPr>
          <p:spPr>
            <a:xfrm>
              <a:off x="10152903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8" name="object 1738">
              <a:extLst>
                <a:ext uri="{FF2B5EF4-FFF2-40B4-BE49-F238E27FC236}">
                  <a16:creationId xmlns:a16="http://schemas.microsoft.com/office/drawing/2014/main" id="{557ECDBD-0F68-0CB9-D5AD-0993DFA7B762}"/>
                </a:ext>
              </a:extLst>
            </p:cNvPr>
            <p:cNvSpPr/>
            <p:nvPr/>
          </p:nvSpPr>
          <p:spPr>
            <a:xfrm>
              <a:off x="10047829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39" name="object 1739">
              <a:extLst>
                <a:ext uri="{FF2B5EF4-FFF2-40B4-BE49-F238E27FC236}">
                  <a16:creationId xmlns:a16="http://schemas.microsoft.com/office/drawing/2014/main" id="{AEBC23DD-D5E6-3514-0A1B-08A5FDD065F5}"/>
                </a:ext>
              </a:extLst>
            </p:cNvPr>
            <p:cNvSpPr/>
            <p:nvPr/>
          </p:nvSpPr>
          <p:spPr>
            <a:xfrm>
              <a:off x="10082924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0" name="object 1740">
              <a:extLst>
                <a:ext uri="{FF2B5EF4-FFF2-40B4-BE49-F238E27FC236}">
                  <a16:creationId xmlns:a16="http://schemas.microsoft.com/office/drawing/2014/main" id="{9D06B589-E45F-D50C-6A00-A9DF4369B746}"/>
                </a:ext>
              </a:extLst>
            </p:cNvPr>
            <p:cNvSpPr/>
            <p:nvPr/>
          </p:nvSpPr>
          <p:spPr>
            <a:xfrm>
              <a:off x="9977786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1" name="object 1741">
              <a:extLst>
                <a:ext uri="{FF2B5EF4-FFF2-40B4-BE49-F238E27FC236}">
                  <a16:creationId xmlns:a16="http://schemas.microsoft.com/office/drawing/2014/main" id="{47F938B2-D2F1-BF4F-A861-D82348D1975E}"/>
                </a:ext>
              </a:extLst>
            </p:cNvPr>
            <p:cNvSpPr/>
            <p:nvPr/>
          </p:nvSpPr>
          <p:spPr>
            <a:xfrm>
              <a:off x="10187924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2" name="object 1742">
              <a:extLst>
                <a:ext uri="{FF2B5EF4-FFF2-40B4-BE49-F238E27FC236}">
                  <a16:creationId xmlns:a16="http://schemas.microsoft.com/office/drawing/2014/main" id="{08449983-A869-C61C-B713-DFB2CC0EBA87}"/>
                </a:ext>
              </a:extLst>
            </p:cNvPr>
            <p:cNvSpPr/>
            <p:nvPr/>
          </p:nvSpPr>
          <p:spPr>
            <a:xfrm>
              <a:off x="10012808" y="42303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3" name="object 1743">
              <a:extLst>
                <a:ext uri="{FF2B5EF4-FFF2-40B4-BE49-F238E27FC236}">
                  <a16:creationId xmlns:a16="http://schemas.microsoft.com/office/drawing/2014/main" id="{58C96C1B-DB7F-CD1A-AC4F-C6725A7A3654}"/>
                </a:ext>
              </a:extLst>
            </p:cNvPr>
            <p:cNvSpPr/>
            <p:nvPr/>
          </p:nvSpPr>
          <p:spPr>
            <a:xfrm>
              <a:off x="9943048" y="424314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4" name="object 1744">
              <a:extLst>
                <a:ext uri="{FF2B5EF4-FFF2-40B4-BE49-F238E27FC236}">
                  <a16:creationId xmlns:a16="http://schemas.microsoft.com/office/drawing/2014/main" id="{B69528D2-1DC4-A496-9908-CD7491814B65}"/>
                </a:ext>
              </a:extLst>
            </p:cNvPr>
            <p:cNvSpPr/>
            <p:nvPr/>
          </p:nvSpPr>
          <p:spPr>
            <a:xfrm>
              <a:off x="9943514" y="4217642"/>
              <a:ext cx="2734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084"/>
                <a:gd name="f4" fmla="val 84454"/>
                <a:gd name="f5" fmla="val 45024"/>
                <a:gd name="f6" fmla="val 84123"/>
                <a:gd name="f7" fmla="*/ f0 1 45084"/>
                <a:gd name="f8" fmla="*/ f1 1 84454"/>
                <a:gd name="f9" fmla="+- f4 0 f2"/>
                <a:gd name="f10" fmla="+- f3 0 f2"/>
                <a:gd name="f11" fmla="*/ f10 1 4508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08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45" name="object 1745">
              <a:extLst>
                <a:ext uri="{FF2B5EF4-FFF2-40B4-BE49-F238E27FC236}">
                  <a16:creationId xmlns:a16="http://schemas.microsoft.com/office/drawing/2014/main" id="{DA7A6E79-2A0A-CE9B-7342-D4A5042AA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/>
            <a:stretch>
              <a:fillRect/>
            </a:stretch>
          </p:blipFill>
          <p:spPr>
            <a:xfrm>
              <a:off x="9117409" y="5924214"/>
              <a:ext cx="308838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46" name="object 1746">
              <a:extLst>
                <a:ext uri="{FF2B5EF4-FFF2-40B4-BE49-F238E27FC236}">
                  <a16:creationId xmlns:a16="http://schemas.microsoft.com/office/drawing/2014/main" id="{BF352380-3C07-E88E-9775-08FDC61C845D}"/>
                </a:ext>
              </a:extLst>
            </p:cNvPr>
            <p:cNvSpPr/>
            <p:nvPr/>
          </p:nvSpPr>
          <p:spPr>
            <a:xfrm>
              <a:off x="9117409" y="592422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1747" name="object 1747">
              <a:extLst>
                <a:ext uri="{FF2B5EF4-FFF2-40B4-BE49-F238E27FC236}">
                  <a16:creationId xmlns:a16="http://schemas.microsoft.com/office/drawing/2014/main" id="{58B3F2C7-A31C-C6D9-2E3E-62C787955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2"/>
            <a:stretch>
              <a:fillRect/>
            </a:stretch>
          </p:blipFill>
          <p:spPr>
            <a:xfrm>
              <a:off x="9178308" y="5159117"/>
              <a:ext cx="291108" cy="34620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748" name="object 1748">
              <a:extLst>
                <a:ext uri="{FF2B5EF4-FFF2-40B4-BE49-F238E27FC236}">
                  <a16:creationId xmlns:a16="http://schemas.microsoft.com/office/drawing/2014/main" id="{46F089FF-0C56-65DC-7F8A-E35A44277451}"/>
                </a:ext>
              </a:extLst>
            </p:cNvPr>
            <p:cNvSpPr/>
            <p:nvPr/>
          </p:nvSpPr>
          <p:spPr>
            <a:xfrm>
              <a:off x="9119466" y="5159127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0"/>
                <a:gd name="f26" fmla="val 197340"/>
                <a:gd name="f27" fmla="val 155939"/>
                <a:gd name="f28" fmla="val 118131"/>
                <a:gd name="f29" fmla="val 84510"/>
                <a:gd name="f30" fmla="val 55670"/>
                <a:gd name="f31" fmla="val 335338"/>
                <a:gd name="f32" fmla="val 379737"/>
                <a:gd name="f33" fmla="val 421137"/>
                <a:gd name="f34" fmla="val 458945"/>
                <a:gd name="f35" fmla="val 492567"/>
                <a:gd name="f36" fmla="val 521408"/>
                <a:gd name="f37" fmla="val 544874"/>
                <a:gd name="f38" fmla="val 562371"/>
                <a:gd name="f39" fmla="*/ f0 1 577215"/>
                <a:gd name="f40" fmla="*/ f1 1 577215"/>
                <a:gd name="f41" fmla="+- f3 0 f2"/>
                <a:gd name="f42" fmla="*/ f41 1 577215"/>
                <a:gd name="f43" fmla="*/ f2 1 f42"/>
                <a:gd name="f44" fmla="*/ f3 1 f42"/>
                <a:gd name="f45" fmla="*/ f43 f39 1"/>
                <a:gd name="f46" fmla="*/ f44 f39 1"/>
                <a:gd name="f47" fmla="*/ f44 f40 1"/>
                <a:gd name="f48" fmla="*/ f43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5" t="f48" r="f46" b="f47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1"/>
                  </a:lnTo>
                  <a:lnTo>
                    <a:pt x="f21" y="f32"/>
                  </a:lnTo>
                  <a:lnTo>
                    <a:pt x="f19" y="f33"/>
                  </a:lnTo>
                  <a:lnTo>
                    <a:pt x="f30" y="f34"/>
                  </a:lnTo>
                  <a:lnTo>
                    <a:pt x="f29" y="f35"/>
                  </a:lnTo>
                  <a:lnTo>
                    <a:pt x="f28" y="f36"/>
                  </a:lnTo>
                  <a:lnTo>
                    <a:pt x="f27" y="f37"/>
                  </a:lnTo>
                  <a:lnTo>
                    <a:pt x="f26" y="f38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38"/>
                  </a:lnTo>
                  <a:lnTo>
                    <a:pt x="f18" y="f37"/>
                  </a:lnTo>
                  <a:lnTo>
                    <a:pt x="f16" y="f36"/>
                  </a:lnTo>
                  <a:lnTo>
                    <a:pt x="f14" y="f35"/>
                  </a:lnTo>
                  <a:lnTo>
                    <a:pt x="f12" y="f34"/>
                  </a:lnTo>
                  <a:lnTo>
                    <a:pt x="f10" y="f33"/>
                  </a:lnTo>
                  <a:lnTo>
                    <a:pt x="f8" y="f32"/>
                  </a:lnTo>
                  <a:lnTo>
                    <a:pt x="f6" y="f31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49" name="object 1749">
              <a:extLst>
                <a:ext uri="{FF2B5EF4-FFF2-40B4-BE49-F238E27FC236}">
                  <a16:creationId xmlns:a16="http://schemas.microsoft.com/office/drawing/2014/main" id="{6F952F31-8719-4F61-9EDE-FEC8DA01D22A}"/>
                </a:ext>
              </a:extLst>
            </p:cNvPr>
            <p:cNvSpPr/>
            <p:nvPr/>
          </p:nvSpPr>
          <p:spPr>
            <a:xfrm>
              <a:off x="9401997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0" name="object 1750">
              <a:extLst>
                <a:ext uri="{FF2B5EF4-FFF2-40B4-BE49-F238E27FC236}">
                  <a16:creationId xmlns:a16="http://schemas.microsoft.com/office/drawing/2014/main" id="{DBDA3C0A-79F9-4043-6D24-621A79BF9698}"/>
                </a:ext>
              </a:extLst>
            </p:cNvPr>
            <p:cNvSpPr/>
            <p:nvPr/>
          </p:nvSpPr>
          <p:spPr>
            <a:xfrm>
              <a:off x="9437019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1" name="object 1751">
              <a:extLst>
                <a:ext uri="{FF2B5EF4-FFF2-40B4-BE49-F238E27FC236}">
                  <a16:creationId xmlns:a16="http://schemas.microsoft.com/office/drawing/2014/main" id="{4B7C78E9-6EA8-6BAD-6C06-C345404FB7B2}"/>
                </a:ext>
              </a:extLst>
            </p:cNvPr>
            <p:cNvSpPr/>
            <p:nvPr/>
          </p:nvSpPr>
          <p:spPr>
            <a:xfrm>
              <a:off x="9331954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2" name="object 1752">
              <a:extLst>
                <a:ext uri="{FF2B5EF4-FFF2-40B4-BE49-F238E27FC236}">
                  <a16:creationId xmlns:a16="http://schemas.microsoft.com/office/drawing/2014/main" id="{97FE148B-CBBF-5EF4-ADA4-4A6B7CD37783}"/>
                </a:ext>
              </a:extLst>
            </p:cNvPr>
            <p:cNvSpPr/>
            <p:nvPr/>
          </p:nvSpPr>
          <p:spPr>
            <a:xfrm>
              <a:off x="9226881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3" name="object 1753">
              <a:extLst>
                <a:ext uri="{FF2B5EF4-FFF2-40B4-BE49-F238E27FC236}">
                  <a16:creationId xmlns:a16="http://schemas.microsoft.com/office/drawing/2014/main" id="{EBD782EB-4970-EFBF-3BFE-60CA6D977BD4}"/>
                </a:ext>
              </a:extLst>
            </p:cNvPr>
            <p:cNvSpPr/>
            <p:nvPr/>
          </p:nvSpPr>
          <p:spPr>
            <a:xfrm>
              <a:off x="9261975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4" name="object 1754">
              <a:extLst>
                <a:ext uri="{FF2B5EF4-FFF2-40B4-BE49-F238E27FC236}">
                  <a16:creationId xmlns:a16="http://schemas.microsoft.com/office/drawing/2014/main" id="{87DBDF93-6135-316F-3225-D8F41C572F14}"/>
                </a:ext>
              </a:extLst>
            </p:cNvPr>
            <p:cNvSpPr/>
            <p:nvPr/>
          </p:nvSpPr>
          <p:spPr>
            <a:xfrm>
              <a:off x="9156838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5" name="object 1755">
              <a:extLst>
                <a:ext uri="{FF2B5EF4-FFF2-40B4-BE49-F238E27FC236}">
                  <a16:creationId xmlns:a16="http://schemas.microsoft.com/office/drawing/2014/main" id="{6B002177-6C51-4537-1E22-A6EEB4669AC6}"/>
                </a:ext>
              </a:extLst>
            </p:cNvPr>
            <p:cNvSpPr/>
            <p:nvPr/>
          </p:nvSpPr>
          <p:spPr>
            <a:xfrm>
              <a:off x="9366976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6" name="object 1756">
              <a:extLst>
                <a:ext uri="{FF2B5EF4-FFF2-40B4-BE49-F238E27FC236}">
                  <a16:creationId xmlns:a16="http://schemas.microsoft.com/office/drawing/2014/main" id="{5F489006-3268-0B0B-C1F6-0986A7198B01}"/>
                </a:ext>
              </a:extLst>
            </p:cNvPr>
            <p:cNvSpPr/>
            <p:nvPr/>
          </p:nvSpPr>
          <p:spPr>
            <a:xfrm>
              <a:off x="9191859" y="492007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7" name="object 1757">
              <a:extLst>
                <a:ext uri="{FF2B5EF4-FFF2-40B4-BE49-F238E27FC236}">
                  <a16:creationId xmlns:a16="http://schemas.microsoft.com/office/drawing/2014/main" id="{15960440-07ED-CB9D-6273-F6BCB3CF403D}"/>
                </a:ext>
              </a:extLst>
            </p:cNvPr>
            <p:cNvSpPr/>
            <p:nvPr/>
          </p:nvSpPr>
          <p:spPr>
            <a:xfrm>
              <a:off x="9472041" y="49073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8" name="object 1758">
              <a:extLst>
                <a:ext uri="{FF2B5EF4-FFF2-40B4-BE49-F238E27FC236}">
                  <a16:creationId xmlns:a16="http://schemas.microsoft.com/office/drawing/2014/main" id="{7DC8033C-446F-C4F9-7045-5291F7C63CF4}"/>
                </a:ext>
              </a:extLst>
            </p:cNvPr>
            <p:cNvSpPr/>
            <p:nvPr/>
          </p:nvSpPr>
          <p:spPr>
            <a:xfrm>
              <a:off x="9297070" y="49073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59" name="object 1759">
              <a:extLst>
                <a:ext uri="{FF2B5EF4-FFF2-40B4-BE49-F238E27FC236}">
                  <a16:creationId xmlns:a16="http://schemas.microsoft.com/office/drawing/2014/main" id="{A48BB77E-1D19-3B1D-5110-C48B88232600}"/>
                </a:ext>
              </a:extLst>
            </p:cNvPr>
            <p:cNvSpPr/>
            <p:nvPr/>
          </p:nvSpPr>
          <p:spPr>
            <a:xfrm>
              <a:off x="9122090" y="490731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0" name="object 1760">
              <a:extLst>
                <a:ext uri="{FF2B5EF4-FFF2-40B4-BE49-F238E27FC236}">
                  <a16:creationId xmlns:a16="http://schemas.microsoft.com/office/drawing/2014/main" id="{F5C1745F-12E4-B9D8-8472-407023E8F923}"/>
                </a:ext>
              </a:extLst>
            </p:cNvPr>
            <p:cNvSpPr/>
            <p:nvPr/>
          </p:nvSpPr>
          <p:spPr>
            <a:xfrm>
              <a:off x="9122090" y="493283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1" name="object 1761">
              <a:extLst>
                <a:ext uri="{FF2B5EF4-FFF2-40B4-BE49-F238E27FC236}">
                  <a16:creationId xmlns:a16="http://schemas.microsoft.com/office/drawing/2014/main" id="{D6100D84-E3B2-A63A-C4A1-B77C89D3F057}"/>
                </a:ext>
              </a:extLst>
            </p:cNvPr>
            <p:cNvSpPr/>
            <p:nvPr/>
          </p:nvSpPr>
          <p:spPr>
            <a:xfrm>
              <a:off x="9122228" y="4907319"/>
              <a:ext cx="10126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67005"/>
                <a:gd name="f4" fmla="val 84454"/>
                <a:gd name="f5" fmla="val 166434"/>
                <a:gd name="f6" fmla="val 84123"/>
                <a:gd name="f7" fmla="*/ f0 1 167005"/>
                <a:gd name="f8" fmla="*/ f1 1 84454"/>
                <a:gd name="f9" fmla="+- f4 0 f2"/>
                <a:gd name="f10" fmla="+- f3 0 f2"/>
                <a:gd name="f11" fmla="*/ f10 1 16700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6700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2" name="object 1762">
              <a:extLst>
                <a:ext uri="{FF2B5EF4-FFF2-40B4-BE49-F238E27FC236}">
                  <a16:creationId xmlns:a16="http://schemas.microsoft.com/office/drawing/2014/main" id="{88ECB7BA-42CB-5398-5E60-F4B06BB82D09}"/>
                </a:ext>
              </a:extLst>
            </p:cNvPr>
            <p:cNvSpPr/>
            <p:nvPr/>
          </p:nvSpPr>
          <p:spPr>
            <a:xfrm>
              <a:off x="9122228" y="4979621"/>
              <a:ext cx="14170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33680"/>
                <a:gd name="f4" fmla="val 84454"/>
                <a:gd name="f5" fmla="val 233291"/>
                <a:gd name="f6" fmla="val 84133"/>
                <a:gd name="f7" fmla="*/ f0 1 233680"/>
                <a:gd name="f8" fmla="*/ f1 1 84454"/>
                <a:gd name="f9" fmla="+- f4 0 f2"/>
                <a:gd name="f10" fmla="+- f3 0 f2"/>
                <a:gd name="f11" fmla="*/ f10 1 23368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3368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3" name="object 1763">
              <a:extLst>
                <a:ext uri="{FF2B5EF4-FFF2-40B4-BE49-F238E27FC236}">
                  <a16:creationId xmlns:a16="http://schemas.microsoft.com/office/drawing/2014/main" id="{76039771-3A4E-0B8D-12D2-823D55ED48A1}"/>
                </a:ext>
              </a:extLst>
            </p:cNvPr>
            <p:cNvSpPr/>
            <p:nvPr/>
          </p:nvSpPr>
          <p:spPr>
            <a:xfrm>
              <a:off x="9401650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4" name="object 1764">
              <a:extLst>
                <a:ext uri="{FF2B5EF4-FFF2-40B4-BE49-F238E27FC236}">
                  <a16:creationId xmlns:a16="http://schemas.microsoft.com/office/drawing/2014/main" id="{E3CE59ED-2D62-0E9A-9266-9492416EDAB2}"/>
                </a:ext>
              </a:extLst>
            </p:cNvPr>
            <p:cNvSpPr/>
            <p:nvPr/>
          </p:nvSpPr>
          <p:spPr>
            <a:xfrm>
              <a:off x="9436672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5" name="object 1765">
              <a:extLst>
                <a:ext uri="{FF2B5EF4-FFF2-40B4-BE49-F238E27FC236}">
                  <a16:creationId xmlns:a16="http://schemas.microsoft.com/office/drawing/2014/main" id="{E9A69D0B-9128-F04C-75BD-E1B9DB78E1E2}"/>
                </a:ext>
              </a:extLst>
            </p:cNvPr>
            <p:cNvSpPr/>
            <p:nvPr/>
          </p:nvSpPr>
          <p:spPr>
            <a:xfrm>
              <a:off x="9331607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6" name="object 1766">
              <a:extLst>
                <a:ext uri="{FF2B5EF4-FFF2-40B4-BE49-F238E27FC236}">
                  <a16:creationId xmlns:a16="http://schemas.microsoft.com/office/drawing/2014/main" id="{0F060612-4CB5-8CFC-250C-FCD041899844}"/>
                </a:ext>
              </a:extLst>
            </p:cNvPr>
            <p:cNvSpPr/>
            <p:nvPr/>
          </p:nvSpPr>
          <p:spPr>
            <a:xfrm>
              <a:off x="9226533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7" name="object 1767">
              <a:extLst>
                <a:ext uri="{FF2B5EF4-FFF2-40B4-BE49-F238E27FC236}">
                  <a16:creationId xmlns:a16="http://schemas.microsoft.com/office/drawing/2014/main" id="{79D9590C-EB57-AD78-831F-7356D25632A5}"/>
                </a:ext>
              </a:extLst>
            </p:cNvPr>
            <p:cNvSpPr/>
            <p:nvPr/>
          </p:nvSpPr>
          <p:spPr>
            <a:xfrm>
              <a:off x="9261628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8" name="object 1768">
              <a:extLst>
                <a:ext uri="{FF2B5EF4-FFF2-40B4-BE49-F238E27FC236}">
                  <a16:creationId xmlns:a16="http://schemas.microsoft.com/office/drawing/2014/main" id="{900ACBA5-70E0-4413-C182-B7F11D94547D}"/>
                </a:ext>
              </a:extLst>
            </p:cNvPr>
            <p:cNvSpPr/>
            <p:nvPr/>
          </p:nvSpPr>
          <p:spPr>
            <a:xfrm>
              <a:off x="9156490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69" name="object 1769">
              <a:extLst>
                <a:ext uri="{FF2B5EF4-FFF2-40B4-BE49-F238E27FC236}">
                  <a16:creationId xmlns:a16="http://schemas.microsoft.com/office/drawing/2014/main" id="{C9EA1C9B-264D-885B-7767-8F346C998546}"/>
                </a:ext>
              </a:extLst>
            </p:cNvPr>
            <p:cNvSpPr/>
            <p:nvPr/>
          </p:nvSpPr>
          <p:spPr>
            <a:xfrm>
              <a:off x="9366628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0" name="object 1770">
              <a:extLst>
                <a:ext uri="{FF2B5EF4-FFF2-40B4-BE49-F238E27FC236}">
                  <a16:creationId xmlns:a16="http://schemas.microsoft.com/office/drawing/2014/main" id="{C243F6DF-919A-02AF-F923-EB604B3DC5AC}"/>
                </a:ext>
              </a:extLst>
            </p:cNvPr>
            <p:cNvSpPr/>
            <p:nvPr/>
          </p:nvSpPr>
          <p:spPr>
            <a:xfrm>
              <a:off x="9191512" y="499237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1" name="object 1771">
              <a:extLst>
                <a:ext uri="{FF2B5EF4-FFF2-40B4-BE49-F238E27FC236}">
                  <a16:creationId xmlns:a16="http://schemas.microsoft.com/office/drawing/2014/main" id="{B2B735E9-99AD-D884-C7FE-1C3B2A197D87}"/>
                </a:ext>
              </a:extLst>
            </p:cNvPr>
            <p:cNvSpPr/>
            <p:nvPr/>
          </p:nvSpPr>
          <p:spPr>
            <a:xfrm>
              <a:off x="947169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2" name="object 1772">
              <a:extLst>
                <a:ext uri="{FF2B5EF4-FFF2-40B4-BE49-F238E27FC236}">
                  <a16:creationId xmlns:a16="http://schemas.microsoft.com/office/drawing/2014/main" id="{A152F71F-477A-326A-B54A-DE4BE2E5326C}"/>
                </a:ext>
              </a:extLst>
            </p:cNvPr>
            <p:cNvSpPr/>
            <p:nvPr/>
          </p:nvSpPr>
          <p:spPr>
            <a:xfrm>
              <a:off x="929672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3" name="object 1773">
              <a:extLst>
                <a:ext uri="{FF2B5EF4-FFF2-40B4-BE49-F238E27FC236}">
                  <a16:creationId xmlns:a16="http://schemas.microsoft.com/office/drawing/2014/main" id="{378BBD3D-6330-4C66-AB43-7ABCC1393FBD}"/>
                </a:ext>
              </a:extLst>
            </p:cNvPr>
            <p:cNvSpPr/>
            <p:nvPr/>
          </p:nvSpPr>
          <p:spPr>
            <a:xfrm>
              <a:off x="912174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4" name="object 1774">
              <a:extLst>
                <a:ext uri="{FF2B5EF4-FFF2-40B4-BE49-F238E27FC236}">
                  <a16:creationId xmlns:a16="http://schemas.microsoft.com/office/drawing/2014/main" id="{CFA13CD0-37D3-8B8E-9C0E-8FF3544F51FA}"/>
                </a:ext>
              </a:extLst>
            </p:cNvPr>
            <p:cNvSpPr/>
            <p:nvPr/>
          </p:nvSpPr>
          <p:spPr>
            <a:xfrm>
              <a:off x="9296723" y="4979621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5" name="object 1775">
              <a:extLst>
                <a:ext uri="{FF2B5EF4-FFF2-40B4-BE49-F238E27FC236}">
                  <a16:creationId xmlns:a16="http://schemas.microsoft.com/office/drawing/2014/main" id="{66732E47-5493-9799-3447-22FF7FEA55C2}"/>
                </a:ext>
              </a:extLst>
            </p:cNvPr>
            <p:cNvSpPr/>
            <p:nvPr/>
          </p:nvSpPr>
          <p:spPr>
            <a:xfrm>
              <a:off x="9121743" y="5005123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6" name="object 1776">
              <a:extLst>
                <a:ext uri="{FF2B5EF4-FFF2-40B4-BE49-F238E27FC236}">
                  <a16:creationId xmlns:a16="http://schemas.microsoft.com/office/drawing/2014/main" id="{68A7B765-EE7A-706C-FC41-C67889B5C15F}"/>
                </a:ext>
              </a:extLst>
            </p:cNvPr>
            <p:cNvSpPr/>
            <p:nvPr/>
          </p:nvSpPr>
          <p:spPr>
            <a:xfrm>
              <a:off x="9401997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7" name="object 1777">
              <a:extLst>
                <a:ext uri="{FF2B5EF4-FFF2-40B4-BE49-F238E27FC236}">
                  <a16:creationId xmlns:a16="http://schemas.microsoft.com/office/drawing/2014/main" id="{97252358-4E46-DD30-9440-877C820358FE}"/>
                </a:ext>
              </a:extLst>
            </p:cNvPr>
            <p:cNvSpPr/>
            <p:nvPr/>
          </p:nvSpPr>
          <p:spPr>
            <a:xfrm>
              <a:off x="9437019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8" name="object 1778">
              <a:extLst>
                <a:ext uri="{FF2B5EF4-FFF2-40B4-BE49-F238E27FC236}">
                  <a16:creationId xmlns:a16="http://schemas.microsoft.com/office/drawing/2014/main" id="{7F969684-43D2-DF1C-E7DF-F04787C502DA}"/>
                </a:ext>
              </a:extLst>
            </p:cNvPr>
            <p:cNvSpPr/>
            <p:nvPr/>
          </p:nvSpPr>
          <p:spPr>
            <a:xfrm>
              <a:off x="9331954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79" name="object 1779">
              <a:extLst>
                <a:ext uri="{FF2B5EF4-FFF2-40B4-BE49-F238E27FC236}">
                  <a16:creationId xmlns:a16="http://schemas.microsoft.com/office/drawing/2014/main" id="{27473AF4-4A09-753B-EE27-078550D73DE7}"/>
                </a:ext>
              </a:extLst>
            </p:cNvPr>
            <p:cNvSpPr/>
            <p:nvPr/>
          </p:nvSpPr>
          <p:spPr>
            <a:xfrm>
              <a:off x="9226881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0" name="object 1780">
              <a:extLst>
                <a:ext uri="{FF2B5EF4-FFF2-40B4-BE49-F238E27FC236}">
                  <a16:creationId xmlns:a16="http://schemas.microsoft.com/office/drawing/2014/main" id="{54DFEAF7-8B63-03FE-FC50-D8560A525C7B}"/>
                </a:ext>
              </a:extLst>
            </p:cNvPr>
            <p:cNvSpPr/>
            <p:nvPr/>
          </p:nvSpPr>
          <p:spPr>
            <a:xfrm>
              <a:off x="9261975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1" name="object 1781">
              <a:extLst>
                <a:ext uri="{FF2B5EF4-FFF2-40B4-BE49-F238E27FC236}">
                  <a16:creationId xmlns:a16="http://schemas.microsoft.com/office/drawing/2014/main" id="{FA9D4500-26B0-2213-12CA-1485EC83BE22}"/>
                </a:ext>
              </a:extLst>
            </p:cNvPr>
            <p:cNvSpPr/>
            <p:nvPr/>
          </p:nvSpPr>
          <p:spPr>
            <a:xfrm>
              <a:off x="9156838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2" name="object 1782">
              <a:extLst>
                <a:ext uri="{FF2B5EF4-FFF2-40B4-BE49-F238E27FC236}">
                  <a16:creationId xmlns:a16="http://schemas.microsoft.com/office/drawing/2014/main" id="{5744541D-106C-2820-463D-CDF6568DF8CC}"/>
                </a:ext>
              </a:extLst>
            </p:cNvPr>
            <p:cNvSpPr/>
            <p:nvPr/>
          </p:nvSpPr>
          <p:spPr>
            <a:xfrm>
              <a:off x="9366976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3" name="object 1783">
              <a:extLst>
                <a:ext uri="{FF2B5EF4-FFF2-40B4-BE49-F238E27FC236}">
                  <a16:creationId xmlns:a16="http://schemas.microsoft.com/office/drawing/2014/main" id="{06103D5D-D62F-9A77-2152-09E6E5B59D0B}"/>
                </a:ext>
              </a:extLst>
            </p:cNvPr>
            <p:cNvSpPr/>
            <p:nvPr/>
          </p:nvSpPr>
          <p:spPr>
            <a:xfrm>
              <a:off x="9191859" y="5682941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4" name="object 1784">
              <a:extLst>
                <a:ext uri="{FF2B5EF4-FFF2-40B4-BE49-F238E27FC236}">
                  <a16:creationId xmlns:a16="http://schemas.microsoft.com/office/drawing/2014/main" id="{B25C3B78-B737-724A-1A1E-56A581A75775}"/>
                </a:ext>
              </a:extLst>
            </p:cNvPr>
            <p:cNvSpPr/>
            <p:nvPr/>
          </p:nvSpPr>
          <p:spPr>
            <a:xfrm>
              <a:off x="9472041" y="56701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5" name="object 1785">
              <a:extLst>
                <a:ext uri="{FF2B5EF4-FFF2-40B4-BE49-F238E27FC236}">
                  <a16:creationId xmlns:a16="http://schemas.microsoft.com/office/drawing/2014/main" id="{0E544B2F-0256-292D-53C4-69E0C388259C}"/>
                </a:ext>
              </a:extLst>
            </p:cNvPr>
            <p:cNvSpPr/>
            <p:nvPr/>
          </p:nvSpPr>
          <p:spPr>
            <a:xfrm>
              <a:off x="9297070" y="56701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6" name="object 1786">
              <a:extLst>
                <a:ext uri="{FF2B5EF4-FFF2-40B4-BE49-F238E27FC236}">
                  <a16:creationId xmlns:a16="http://schemas.microsoft.com/office/drawing/2014/main" id="{4D4086B1-E118-3BD8-53B9-6E8FCEBAF96C}"/>
                </a:ext>
              </a:extLst>
            </p:cNvPr>
            <p:cNvSpPr/>
            <p:nvPr/>
          </p:nvSpPr>
          <p:spPr>
            <a:xfrm>
              <a:off x="9122090" y="5670185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7" name="object 1787">
              <a:extLst>
                <a:ext uri="{FF2B5EF4-FFF2-40B4-BE49-F238E27FC236}">
                  <a16:creationId xmlns:a16="http://schemas.microsoft.com/office/drawing/2014/main" id="{E8B7D606-B3CF-7120-0CFB-8C293B990C99}"/>
                </a:ext>
              </a:extLst>
            </p:cNvPr>
            <p:cNvSpPr/>
            <p:nvPr/>
          </p:nvSpPr>
          <p:spPr>
            <a:xfrm>
              <a:off x="9122090" y="569569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8" name="object 1788">
              <a:extLst>
                <a:ext uri="{FF2B5EF4-FFF2-40B4-BE49-F238E27FC236}">
                  <a16:creationId xmlns:a16="http://schemas.microsoft.com/office/drawing/2014/main" id="{AA443519-D9B9-009B-3434-A6EAB3696048}"/>
                </a:ext>
              </a:extLst>
            </p:cNvPr>
            <p:cNvSpPr/>
            <p:nvPr/>
          </p:nvSpPr>
          <p:spPr>
            <a:xfrm>
              <a:off x="9122228" y="5670194"/>
              <a:ext cx="3119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1434"/>
                <a:gd name="f4" fmla="val 84454"/>
                <a:gd name="f5" fmla="val 50836"/>
                <a:gd name="f6" fmla="val 84123"/>
                <a:gd name="f7" fmla="*/ f0 1 51434"/>
                <a:gd name="f8" fmla="*/ f1 1 84454"/>
                <a:gd name="f9" fmla="+- f4 0 f2"/>
                <a:gd name="f10" fmla="+- f3 0 f2"/>
                <a:gd name="f11" fmla="*/ f10 1 514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514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89" name="object 1789">
              <a:extLst>
                <a:ext uri="{FF2B5EF4-FFF2-40B4-BE49-F238E27FC236}">
                  <a16:creationId xmlns:a16="http://schemas.microsoft.com/office/drawing/2014/main" id="{BA74F7F2-E28C-1600-0724-8443C2596248}"/>
                </a:ext>
              </a:extLst>
            </p:cNvPr>
            <p:cNvSpPr/>
            <p:nvPr/>
          </p:nvSpPr>
          <p:spPr>
            <a:xfrm>
              <a:off x="9122228" y="5742477"/>
              <a:ext cx="277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719"/>
                <a:gd name="f4" fmla="val 84454"/>
                <a:gd name="f5" fmla="val 45286"/>
                <a:gd name="f6" fmla="val 84123"/>
                <a:gd name="f7" fmla="*/ f0 1 45719"/>
                <a:gd name="f8" fmla="*/ f1 1 84454"/>
                <a:gd name="f9" fmla="+- f4 0 f2"/>
                <a:gd name="f10" fmla="+- f3 0 f2"/>
                <a:gd name="f11" fmla="*/ f10 1 457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7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0" name="object 1790">
              <a:extLst>
                <a:ext uri="{FF2B5EF4-FFF2-40B4-BE49-F238E27FC236}">
                  <a16:creationId xmlns:a16="http://schemas.microsoft.com/office/drawing/2014/main" id="{DA8CDD59-34A8-CBD3-7978-527FE370ABC5}"/>
                </a:ext>
              </a:extLst>
            </p:cNvPr>
            <p:cNvSpPr/>
            <p:nvPr/>
          </p:nvSpPr>
          <p:spPr>
            <a:xfrm>
              <a:off x="9401650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1" name="object 1791">
              <a:extLst>
                <a:ext uri="{FF2B5EF4-FFF2-40B4-BE49-F238E27FC236}">
                  <a16:creationId xmlns:a16="http://schemas.microsoft.com/office/drawing/2014/main" id="{E572D3C2-1A85-B232-EE19-4296C905344F}"/>
                </a:ext>
              </a:extLst>
            </p:cNvPr>
            <p:cNvSpPr/>
            <p:nvPr/>
          </p:nvSpPr>
          <p:spPr>
            <a:xfrm>
              <a:off x="9436672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2" name="object 1792">
              <a:extLst>
                <a:ext uri="{FF2B5EF4-FFF2-40B4-BE49-F238E27FC236}">
                  <a16:creationId xmlns:a16="http://schemas.microsoft.com/office/drawing/2014/main" id="{C96FB6B5-FCEB-A7C9-D0C4-E021D32FCB2E}"/>
                </a:ext>
              </a:extLst>
            </p:cNvPr>
            <p:cNvSpPr/>
            <p:nvPr/>
          </p:nvSpPr>
          <p:spPr>
            <a:xfrm>
              <a:off x="9331607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3" name="object 1793">
              <a:extLst>
                <a:ext uri="{FF2B5EF4-FFF2-40B4-BE49-F238E27FC236}">
                  <a16:creationId xmlns:a16="http://schemas.microsoft.com/office/drawing/2014/main" id="{C5267AEF-E9B9-1204-BAAD-9E4BC8A6ACEA}"/>
                </a:ext>
              </a:extLst>
            </p:cNvPr>
            <p:cNvSpPr/>
            <p:nvPr/>
          </p:nvSpPr>
          <p:spPr>
            <a:xfrm>
              <a:off x="9226533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4" name="object 1794">
              <a:extLst>
                <a:ext uri="{FF2B5EF4-FFF2-40B4-BE49-F238E27FC236}">
                  <a16:creationId xmlns:a16="http://schemas.microsoft.com/office/drawing/2014/main" id="{DE310F76-90D0-FADF-3EF1-B8956210112B}"/>
                </a:ext>
              </a:extLst>
            </p:cNvPr>
            <p:cNvSpPr/>
            <p:nvPr/>
          </p:nvSpPr>
          <p:spPr>
            <a:xfrm>
              <a:off x="9261628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5" name="object 1795">
              <a:extLst>
                <a:ext uri="{FF2B5EF4-FFF2-40B4-BE49-F238E27FC236}">
                  <a16:creationId xmlns:a16="http://schemas.microsoft.com/office/drawing/2014/main" id="{F4724A9A-E238-E78B-89A6-D689AAEC4C08}"/>
                </a:ext>
              </a:extLst>
            </p:cNvPr>
            <p:cNvSpPr/>
            <p:nvPr/>
          </p:nvSpPr>
          <p:spPr>
            <a:xfrm>
              <a:off x="9156490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6" name="object 1796">
              <a:extLst>
                <a:ext uri="{FF2B5EF4-FFF2-40B4-BE49-F238E27FC236}">
                  <a16:creationId xmlns:a16="http://schemas.microsoft.com/office/drawing/2014/main" id="{1451834D-A966-32FF-CC68-43CD5850BD0F}"/>
                </a:ext>
              </a:extLst>
            </p:cNvPr>
            <p:cNvSpPr/>
            <p:nvPr/>
          </p:nvSpPr>
          <p:spPr>
            <a:xfrm>
              <a:off x="9366628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7" name="object 1797">
              <a:extLst>
                <a:ext uri="{FF2B5EF4-FFF2-40B4-BE49-F238E27FC236}">
                  <a16:creationId xmlns:a16="http://schemas.microsoft.com/office/drawing/2014/main" id="{001E2C0C-0959-AA78-2F7F-0B598DF88C46}"/>
                </a:ext>
              </a:extLst>
            </p:cNvPr>
            <p:cNvSpPr/>
            <p:nvPr/>
          </p:nvSpPr>
          <p:spPr>
            <a:xfrm>
              <a:off x="9191512" y="5755233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8" name="object 1798">
              <a:extLst>
                <a:ext uri="{FF2B5EF4-FFF2-40B4-BE49-F238E27FC236}">
                  <a16:creationId xmlns:a16="http://schemas.microsoft.com/office/drawing/2014/main" id="{68A89406-D59F-EA83-CC61-A58A6F5D5765}"/>
                </a:ext>
              </a:extLst>
            </p:cNvPr>
            <p:cNvSpPr/>
            <p:nvPr/>
          </p:nvSpPr>
          <p:spPr>
            <a:xfrm>
              <a:off x="947169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99" name="object 1799">
              <a:extLst>
                <a:ext uri="{FF2B5EF4-FFF2-40B4-BE49-F238E27FC236}">
                  <a16:creationId xmlns:a16="http://schemas.microsoft.com/office/drawing/2014/main" id="{0F7D8B1A-CD49-B4BD-80CB-E14645990837}"/>
                </a:ext>
              </a:extLst>
            </p:cNvPr>
            <p:cNvSpPr/>
            <p:nvPr/>
          </p:nvSpPr>
          <p:spPr>
            <a:xfrm>
              <a:off x="929672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0" name="object 1800">
              <a:extLst>
                <a:ext uri="{FF2B5EF4-FFF2-40B4-BE49-F238E27FC236}">
                  <a16:creationId xmlns:a16="http://schemas.microsoft.com/office/drawing/2014/main" id="{B3040789-982E-B84E-D992-4A648787322F}"/>
                </a:ext>
              </a:extLst>
            </p:cNvPr>
            <p:cNvSpPr/>
            <p:nvPr/>
          </p:nvSpPr>
          <p:spPr>
            <a:xfrm>
              <a:off x="912174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1" name="object 1801">
              <a:extLst>
                <a:ext uri="{FF2B5EF4-FFF2-40B4-BE49-F238E27FC236}">
                  <a16:creationId xmlns:a16="http://schemas.microsoft.com/office/drawing/2014/main" id="{C1A5B9F9-C733-FF5E-200A-D66DF774AD0D}"/>
                </a:ext>
              </a:extLst>
            </p:cNvPr>
            <p:cNvSpPr/>
            <p:nvPr/>
          </p:nvSpPr>
          <p:spPr>
            <a:xfrm>
              <a:off x="9296723" y="5742477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2" name="object 1802">
              <a:extLst>
                <a:ext uri="{FF2B5EF4-FFF2-40B4-BE49-F238E27FC236}">
                  <a16:creationId xmlns:a16="http://schemas.microsoft.com/office/drawing/2014/main" id="{F5593D19-E18F-9CB8-3A19-90301D3975B7}"/>
                </a:ext>
              </a:extLst>
            </p:cNvPr>
            <p:cNvSpPr/>
            <p:nvPr/>
          </p:nvSpPr>
          <p:spPr>
            <a:xfrm>
              <a:off x="9121743" y="5767989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1803" name="object 1803">
            <a:extLst>
              <a:ext uri="{FF2B5EF4-FFF2-40B4-BE49-F238E27FC236}">
                <a16:creationId xmlns:a16="http://schemas.microsoft.com/office/drawing/2014/main" id="{C954CA90-677C-57CA-2422-3C497E73DE80}"/>
              </a:ext>
            </a:extLst>
          </p:cNvPr>
          <p:cNvSpPr txBox="1"/>
          <p:nvPr/>
        </p:nvSpPr>
        <p:spPr>
          <a:xfrm>
            <a:off x="2540120" y="3242334"/>
            <a:ext cx="456303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-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lement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polystyrene+</a:t>
            </a:r>
            <a:r>
              <a:rPr lang="en-US" sz="334" b="0" i="0" u="none" strike="noStrike" kern="1200" cap="none" spc="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grpSp>
        <p:nvGrpSpPr>
          <p:cNvPr id="1804" name="object 1804">
            <a:extLst>
              <a:ext uri="{FF2B5EF4-FFF2-40B4-BE49-F238E27FC236}">
                <a16:creationId xmlns:a16="http://schemas.microsoft.com/office/drawing/2014/main" id="{82D2F321-028A-F814-DC6B-A65075B89276}"/>
              </a:ext>
            </a:extLst>
          </p:cNvPr>
          <p:cNvGrpSpPr/>
          <p:nvPr/>
        </p:nvGrpSpPr>
        <p:grpSpPr>
          <a:xfrm>
            <a:off x="2547829" y="3378909"/>
            <a:ext cx="350023" cy="124257"/>
            <a:chOff x="2547829" y="3378909"/>
            <a:chExt cx="350023" cy="124257"/>
          </a:xfrm>
        </p:grpSpPr>
        <p:sp>
          <p:nvSpPr>
            <p:cNvPr id="1805" name="object 1805">
              <a:extLst>
                <a:ext uri="{FF2B5EF4-FFF2-40B4-BE49-F238E27FC236}">
                  <a16:creationId xmlns:a16="http://schemas.microsoft.com/office/drawing/2014/main" id="{C7E43721-B9A2-68E5-154F-EA51121F33FB}"/>
                </a:ext>
              </a:extLst>
            </p:cNvPr>
            <p:cNvSpPr/>
            <p:nvPr/>
          </p:nvSpPr>
          <p:spPr>
            <a:xfrm>
              <a:off x="2547838" y="3379028"/>
              <a:ext cx="115900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1135"/>
                <a:gd name="f4" fmla="val 84454"/>
                <a:gd name="f5" fmla="val 190968"/>
                <a:gd name="f6" fmla="val 84123"/>
                <a:gd name="f7" fmla="*/ f0 1 191135"/>
                <a:gd name="f8" fmla="*/ f1 1 84454"/>
                <a:gd name="f9" fmla="+- f4 0 f2"/>
                <a:gd name="f10" fmla="+- f3 0 f2"/>
                <a:gd name="f11" fmla="*/ f10 1 1911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911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6" name="object 1806">
              <a:extLst>
                <a:ext uri="{FF2B5EF4-FFF2-40B4-BE49-F238E27FC236}">
                  <a16:creationId xmlns:a16="http://schemas.microsoft.com/office/drawing/2014/main" id="{04C915DA-5840-4DEA-71CC-07A19B34CA09}"/>
                </a:ext>
              </a:extLst>
            </p:cNvPr>
            <p:cNvSpPr/>
            <p:nvPr/>
          </p:nvSpPr>
          <p:spPr>
            <a:xfrm>
              <a:off x="2652619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7" name="object 1807">
              <a:extLst>
                <a:ext uri="{FF2B5EF4-FFF2-40B4-BE49-F238E27FC236}">
                  <a16:creationId xmlns:a16="http://schemas.microsoft.com/office/drawing/2014/main" id="{7CDF18F7-4435-FFC5-A122-2295411EB53F}"/>
                </a:ext>
              </a:extLst>
            </p:cNvPr>
            <p:cNvSpPr/>
            <p:nvPr/>
          </p:nvSpPr>
          <p:spPr>
            <a:xfrm>
              <a:off x="2687714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8" name="object 1808">
              <a:extLst>
                <a:ext uri="{FF2B5EF4-FFF2-40B4-BE49-F238E27FC236}">
                  <a16:creationId xmlns:a16="http://schemas.microsoft.com/office/drawing/2014/main" id="{70DED90A-B46E-60C5-087C-A6D628223442}"/>
                </a:ext>
              </a:extLst>
            </p:cNvPr>
            <p:cNvSpPr/>
            <p:nvPr/>
          </p:nvSpPr>
          <p:spPr>
            <a:xfrm>
              <a:off x="2582576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09" name="object 1809">
              <a:extLst>
                <a:ext uri="{FF2B5EF4-FFF2-40B4-BE49-F238E27FC236}">
                  <a16:creationId xmlns:a16="http://schemas.microsoft.com/office/drawing/2014/main" id="{772B7675-D110-1645-13C9-1A6A28F58B89}"/>
                </a:ext>
              </a:extLst>
            </p:cNvPr>
            <p:cNvSpPr/>
            <p:nvPr/>
          </p:nvSpPr>
          <p:spPr>
            <a:xfrm>
              <a:off x="2617598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0" name="object 1810">
              <a:extLst>
                <a:ext uri="{FF2B5EF4-FFF2-40B4-BE49-F238E27FC236}">
                  <a16:creationId xmlns:a16="http://schemas.microsoft.com/office/drawing/2014/main" id="{967C9B59-C9E6-D49F-D361-FC02E5F1039C}"/>
                </a:ext>
              </a:extLst>
            </p:cNvPr>
            <p:cNvSpPr/>
            <p:nvPr/>
          </p:nvSpPr>
          <p:spPr>
            <a:xfrm>
              <a:off x="2547838" y="33789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1" name="object 1811">
              <a:extLst>
                <a:ext uri="{FF2B5EF4-FFF2-40B4-BE49-F238E27FC236}">
                  <a16:creationId xmlns:a16="http://schemas.microsoft.com/office/drawing/2014/main" id="{12DFC8F9-2821-E70D-74C6-C36C786F18C9}"/>
                </a:ext>
              </a:extLst>
            </p:cNvPr>
            <p:cNvSpPr/>
            <p:nvPr/>
          </p:nvSpPr>
          <p:spPr>
            <a:xfrm>
              <a:off x="2827736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2" name="object 1812">
              <a:extLst>
                <a:ext uri="{FF2B5EF4-FFF2-40B4-BE49-F238E27FC236}">
                  <a16:creationId xmlns:a16="http://schemas.microsoft.com/office/drawing/2014/main" id="{D7BB5E3D-D775-8F00-AEFE-084AEBDD501D}"/>
                </a:ext>
              </a:extLst>
            </p:cNvPr>
            <p:cNvSpPr/>
            <p:nvPr/>
          </p:nvSpPr>
          <p:spPr>
            <a:xfrm>
              <a:off x="2862757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3" name="object 1813">
              <a:extLst>
                <a:ext uri="{FF2B5EF4-FFF2-40B4-BE49-F238E27FC236}">
                  <a16:creationId xmlns:a16="http://schemas.microsoft.com/office/drawing/2014/main" id="{D13E3C20-68B0-0143-705F-78BB350C1B4F}"/>
                </a:ext>
              </a:extLst>
            </p:cNvPr>
            <p:cNvSpPr/>
            <p:nvPr/>
          </p:nvSpPr>
          <p:spPr>
            <a:xfrm>
              <a:off x="2757693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4" name="object 1814">
              <a:extLst>
                <a:ext uri="{FF2B5EF4-FFF2-40B4-BE49-F238E27FC236}">
                  <a16:creationId xmlns:a16="http://schemas.microsoft.com/office/drawing/2014/main" id="{3825F7B0-8F06-5EE4-1779-14B9841A9C27}"/>
                </a:ext>
              </a:extLst>
            </p:cNvPr>
            <p:cNvSpPr/>
            <p:nvPr/>
          </p:nvSpPr>
          <p:spPr>
            <a:xfrm>
              <a:off x="2792714" y="339166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5" name="object 1815">
              <a:extLst>
                <a:ext uri="{FF2B5EF4-FFF2-40B4-BE49-F238E27FC236}">
                  <a16:creationId xmlns:a16="http://schemas.microsoft.com/office/drawing/2014/main" id="{8E2BA0E7-C4E4-604E-1363-3C3E3D518607}"/>
                </a:ext>
              </a:extLst>
            </p:cNvPr>
            <p:cNvSpPr/>
            <p:nvPr/>
          </p:nvSpPr>
          <p:spPr>
            <a:xfrm>
              <a:off x="2897779" y="33789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6" name="object 1816">
              <a:extLst>
                <a:ext uri="{FF2B5EF4-FFF2-40B4-BE49-F238E27FC236}">
                  <a16:creationId xmlns:a16="http://schemas.microsoft.com/office/drawing/2014/main" id="{BE5B95C2-591C-3821-26C0-EE090A21599E}"/>
                </a:ext>
              </a:extLst>
            </p:cNvPr>
            <p:cNvSpPr/>
            <p:nvPr/>
          </p:nvSpPr>
          <p:spPr>
            <a:xfrm>
              <a:off x="2722808" y="337890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7" name="object 1817">
              <a:extLst>
                <a:ext uri="{FF2B5EF4-FFF2-40B4-BE49-F238E27FC236}">
                  <a16:creationId xmlns:a16="http://schemas.microsoft.com/office/drawing/2014/main" id="{92C6C6E5-FCE9-F1F5-84D1-3EE81E68C094}"/>
                </a:ext>
              </a:extLst>
            </p:cNvPr>
            <p:cNvSpPr/>
            <p:nvPr/>
          </p:nvSpPr>
          <p:spPr>
            <a:xfrm>
              <a:off x="2547829" y="340442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8" name="object 1818">
              <a:extLst>
                <a:ext uri="{FF2B5EF4-FFF2-40B4-BE49-F238E27FC236}">
                  <a16:creationId xmlns:a16="http://schemas.microsoft.com/office/drawing/2014/main" id="{BFDC89FF-0FD6-DD28-CEBF-511C9A820601}"/>
                </a:ext>
              </a:extLst>
            </p:cNvPr>
            <p:cNvSpPr/>
            <p:nvPr/>
          </p:nvSpPr>
          <p:spPr>
            <a:xfrm>
              <a:off x="2897779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19" name="object 1819">
              <a:extLst>
                <a:ext uri="{FF2B5EF4-FFF2-40B4-BE49-F238E27FC236}">
                  <a16:creationId xmlns:a16="http://schemas.microsoft.com/office/drawing/2014/main" id="{E3E9EEC6-E464-6D4F-FBA5-F1F7FDD126CA}"/>
                </a:ext>
              </a:extLst>
            </p:cNvPr>
            <p:cNvSpPr/>
            <p:nvPr/>
          </p:nvSpPr>
          <p:spPr>
            <a:xfrm>
              <a:off x="2722808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0" name="object 1820">
              <a:extLst>
                <a:ext uri="{FF2B5EF4-FFF2-40B4-BE49-F238E27FC236}">
                  <a16:creationId xmlns:a16="http://schemas.microsoft.com/office/drawing/2014/main" id="{343C7E06-490E-53BE-BD13-2E8C90FE540E}"/>
                </a:ext>
              </a:extLst>
            </p:cNvPr>
            <p:cNvSpPr/>
            <p:nvPr/>
          </p:nvSpPr>
          <p:spPr>
            <a:xfrm>
              <a:off x="2547838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1" name="object 1821">
              <a:extLst>
                <a:ext uri="{FF2B5EF4-FFF2-40B4-BE49-F238E27FC236}">
                  <a16:creationId xmlns:a16="http://schemas.microsoft.com/office/drawing/2014/main" id="{B1597FBB-E5E0-E67F-5E10-7A0563E9314C}"/>
                </a:ext>
              </a:extLst>
            </p:cNvPr>
            <p:cNvSpPr/>
            <p:nvPr/>
          </p:nvSpPr>
          <p:spPr>
            <a:xfrm>
              <a:off x="2722808" y="345193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2" name="object 1822">
              <a:extLst>
                <a:ext uri="{FF2B5EF4-FFF2-40B4-BE49-F238E27FC236}">
                  <a16:creationId xmlns:a16="http://schemas.microsoft.com/office/drawing/2014/main" id="{E2322D3A-A203-1B11-EC3B-7D9741F0ABE3}"/>
                </a:ext>
              </a:extLst>
            </p:cNvPr>
            <p:cNvSpPr/>
            <p:nvPr/>
          </p:nvSpPr>
          <p:spPr>
            <a:xfrm>
              <a:off x="2827736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3" name="object 1823">
              <a:extLst>
                <a:ext uri="{FF2B5EF4-FFF2-40B4-BE49-F238E27FC236}">
                  <a16:creationId xmlns:a16="http://schemas.microsoft.com/office/drawing/2014/main" id="{1C0E7946-18E3-2F97-9C9F-3D9AAFA5BE38}"/>
                </a:ext>
              </a:extLst>
            </p:cNvPr>
            <p:cNvSpPr/>
            <p:nvPr/>
          </p:nvSpPr>
          <p:spPr>
            <a:xfrm>
              <a:off x="2862757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4" name="object 1824">
              <a:extLst>
                <a:ext uri="{FF2B5EF4-FFF2-40B4-BE49-F238E27FC236}">
                  <a16:creationId xmlns:a16="http://schemas.microsoft.com/office/drawing/2014/main" id="{3754EB9F-4C93-40C1-84F8-39F2BC649876}"/>
                </a:ext>
              </a:extLst>
            </p:cNvPr>
            <p:cNvSpPr/>
            <p:nvPr/>
          </p:nvSpPr>
          <p:spPr>
            <a:xfrm>
              <a:off x="2757693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5" name="object 1825">
              <a:extLst>
                <a:ext uri="{FF2B5EF4-FFF2-40B4-BE49-F238E27FC236}">
                  <a16:creationId xmlns:a16="http://schemas.microsoft.com/office/drawing/2014/main" id="{C9131CD8-C973-AA0F-3D03-AD1A0B07AD7D}"/>
                </a:ext>
              </a:extLst>
            </p:cNvPr>
            <p:cNvSpPr/>
            <p:nvPr/>
          </p:nvSpPr>
          <p:spPr>
            <a:xfrm>
              <a:off x="2652619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6" name="object 1826">
              <a:extLst>
                <a:ext uri="{FF2B5EF4-FFF2-40B4-BE49-F238E27FC236}">
                  <a16:creationId xmlns:a16="http://schemas.microsoft.com/office/drawing/2014/main" id="{566BD34D-633A-EFE6-20FC-3D6088A1E95C}"/>
                </a:ext>
              </a:extLst>
            </p:cNvPr>
            <p:cNvSpPr/>
            <p:nvPr/>
          </p:nvSpPr>
          <p:spPr>
            <a:xfrm>
              <a:off x="2687714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7" name="object 1827">
              <a:extLst>
                <a:ext uri="{FF2B5EF4-FFF2-40B4-BE49-F238E27FC236}">
                  <a16:creationId xmlns:a16="http://schemas.microsoft.com/office/drawing/2014/main" id="{00B05B37-5759-588C-C1FB-72C64C038564}"/>
                </a:ext>
              </a:extLst>
            </p:cNvPr>
            <p:cNvSpPr/>
            <p:nvPr/>
          </p:nvSpPr>
          <p:spPr>
            <a:xfrm>
              <a:off x="2582576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8" name="object 1828">
              <a:extLst>
                <a:ext uri="{FF2B5EF4-FFF2-40B4-BE49-F238E27FC236}">
                  <a16:creationId xmlns:a16="http://schemas.microsoft.com/office/drawing/2014/main" id="{8F78D6D2-1549-8AE2-FADE-D8E55119C6AD}"/>
                </a:ext>
              </a:extLst>
            </p:cNvPr>
            <p:cNvSpPr/>
            <p:nvPr/>
          </p:nvSpPr>
          <p:spPr>
            <a:xfrm>
              <a:off x="2792714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29" name="object 1829">
              <a:extLst>
                <a:ext uri="{FF2B5EF4-FFF2-40B4-BE49-F238E27FC236}">
                  <a16:creationId xmlns:a16="http://schemas.microsoft.com/office/drawing/2014/main" id="{99EABD26-22EF-3EE3-8714-464CFF27B171}"/>
                </a:ext>
              </a:extLst>
            </p:cNvPr>
            <p:cNvSpPr/>
            <p:nvPr/>
          </p:nvSpPr>
          <p:spPr>
            <a:xfrm>
              <a:off x="2617598" y="346468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0" name="object 1830">
              <a:extLst>
                <a:ext uri="{FF2B5EF4-FFF2-40B4-BE49-F238E27FC236}">
                  <a16:creationId xmlns:a16="http://schemas.microsoft.com/office/drawing/2014/main" id="{46C8400F-DABE-C94F-6397-54261FB06588}"/>
                </a:ext>
              </a:extLst>
            </p:cNvPr>
            <p:cNvSpPr/>
            <p:nvPr/>
          </p:nvSpPr>
          <p:spPr>
            <a:xfrm>
              <a:off x="2547829" y="3477435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1" name="object 1831">
              <a:extLst>
                <a:ext uri="{FF2B5EF4-FFF2-40B4-BE49-F238E27FC236}">
                  <a16:creationId xmlns:a16="http://schemas.microsoft.com/office/drawing/2014/main" id="{0710CD5C-FDB9-CBE5-5769-6CB6122E16C3}"/>
                </a:ext>
              </a:extLst>
            </p:cNvPr>
            <p:cNvSpPr/>
            <p:nvPr/>
          </p:nvSpPr>
          <p:spPr>
            <a:xfrm>
              <a:off x="2547838" y="3451951"/>
              <a:ext cx="8202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5254"/>
                <a:gd name="f4" fmla="val 84454"/>
                <a:gd name="f5" fmla="val 135116"/>
                <a:gd name="f6" fmla="val 84102"/>
                <a:gd name="f7" fmla="*/ f0 1 135254"/>
                <a:gd name="f8" fmla="*/ f1 1 84454"/>
                <a:gd name="f9" fmla="+- f4 0 f2"/>
                <a:gd name="f10" fmla="+- f3 0 f2"/>
                <a:gd name="f11" fmla="*/ f10 1 13525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3525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32" name="object 1832">
            <a:extLst>
              <a:ext uri="{FF2B5EF4-FFF2-40B4-BE49-F238E27FC236}">
                <a16:creationId xmlns:a16="http://schemas.microsoft.com/office/drawing/2014/main" id="{60C4FC05-125D-CCFE-69F3-242C6926CF33}"/>
              </a:ext>
            </a:extLst>
          </p:cNvPr>
          <p:cNvGrpSpPr/>
          <p:nvPr/>
        </p:nvGrpSpPr>
        <p:grpSpPr>
          <a:xfrm>
            <a:off x="3369692" y="4145084"/>
            <a:ext cx="350023" cy="124239"/>
            <a:chOff x="3369692" y="4145084"/>
            <a:chExt cx="350023" cy="124239"/>
          </a:xfrm>
        </p:grpSpPr>
        <p:sp>
          <p:nvSpPr>
            <p:cNvPr id="1833" name="object 1833">
              <a:extLst>
                <a:ext uri="{FF2B5EF4-FFF2-40B4-BE49-F238E27FC236}">
                  <a16:creationId xmlns:a16="http://schemas.microsoft.com/office/drawing/2014/main" id="{DF853F30-B7C6-A612-F323-82F0BAF89991}"/>
                </a:ext>
              </a:extLst>
            </p:cNvPr>
            <p:cNvSpPr/>
            <p:nvPr/>
          </p:nvSpPr>
          <p:spPr>
            <a:xfrm>
              <a:off x="3370158" y="4218108"/>
              <a:ext cx="8663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2875"/>
                <a:gd name="f4" fmla="val 84454"/>
                <a:gd name="f5" fmla="val 142330"/>
                <a:gd name="f6" fmla="val 84123"/>
                <a:gd name="f7" fmla="*/ f0 1 142875"/>
                <a:gd name="f8" fmla="*/ f1 1 84454"/>
                <a:gd name="f9" fmla="+- f4 0 f2"/>
                <a:gd name="f10" fmla="+- f3 0 f2"/>
                <a:gd name="f11" fmla="*/ f10 1 14287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287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4" name="object 1834">
              <a:extLst>
                <a:ext uri="{FF2B5EF4-FFF2-40B4-BE49-F238E27FC236}">
                  <a16:creationId xmlns:a16="http://schemas.microsoft.com/office/drawing/2014/main" id="{1A155A66-5653-9B49-5695-4E10E47F9BE5}"/>
                </a:ext>
              </a:extLst>
            </p:cNvPr>
            <p:cNvSpPr/>
            <p:nvPr/>
          </p:nvSpPr>
          <p:spPr>
            <a:xfrm>
              <a:off x="3369692" y="4145084"/>
              <a:ext cx="239892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95604"/>
                <a:gd name="f4" fmla="val 84454"/>
                <a:gd name="f5" fmla="val 395569"/>
                <a:gd name="f6" fmla="val 84123"/>
                <a:gd name="f7" fmla="*/ f0 1 395604"/>
                <a:gd name="f8" fmla="*/ f1 1 84454"/>
                <a:gd name="f9" fmla="+- f4 0 f2"/>
                <a:gd name="f10" fmla="+- f3 0 f2"/>
                <a:gd name="f11" fmla="*/ f10 1 39560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9560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5" name="object 1835">
              <a:extLst>
                <a:ext uri="{FF2B5EF4-FFF2-40B4-BE49-F238E27FC236}">
                  <a16:creationId xmlns:a16="http://schemas.microsoft.com/office/drawing/2014/main" id="{C4359DC9-E645-24D1-C3B9-B0866CE9FCFC}"/>
                </a:ext>
              </a:extLst>
            </p:cNvPr>
            <p:cNvSpPr/>
            <p:nvPr/>
          </p:nvSpPr>
          <p:spPr>
            <a:xfrm>
              <a:off x="3579546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6" name="object 1836">
              <a:extLst>
                <a:ext uri="{FF2B5EF4-FFF2-40B4-BE49-F238E27FC236}">
                  <a16:creationId xmlns:a16="http://schemas.microsoft.com/office/drawing/2014/main" id="{81385BF9-E152-6AB6-2D2F-D72C843DFB33}"/>
                </a:ext>
              </a:extLst>
            </p:cNvPr>
            <p:cNvSpPr/>
            <p:nvPr/>
          </p:nvSpPr>
          <p:spPr>
            <a:xfrm>
              <a:off x="3474482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7" name="object 1837">
              <a:extLst>
                <a:ext uri="{FF2B5EF4-FFF2-40B4-BE49-F238E27FC236}">
                  <a16:creationId xmlns:a16="http://schemas.microsoft.com/office/drawing/2014/main" id="{E6579EF7-879F-6CAC-817A-64FFB992E56C}"/>
                </a:ext>
              </a:extLst>
            </p:cNvPr>
            <p:cNvSpPr/>
            <p:nvPr/>
          </p:nvSpPr>
          <p:spPr>
            <a:xfrm>
              <a:off x="3509576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8" name="object 1838">
              <a:extLst>
                <a:ext uri="{FF2B5EF4-FFF2-40B4-BE49-F238E27FC236}">
                  <a16:creationId xmlns:a16="http://schemas.microsoft.com/office/drawing/2014/main" id="{48536E87-5D3F-A3A9-EB45-91EE14591722}"/>
                </a:ext>
              </a:extLst>
            </p:cNvPr>
            <p:cNvSpPr/>
            <p:nvPr/>
          </p:nvSpPr>
          <p:spPr>
            <a:xfrm>
              <a:off x="3404439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39" name="object 1839">
              <a:extLst>
                <a:ext uri="{FF2B5EF4-FFF2-40B4-BE49-F238E27FC236}">
                  <a16:creationId xmlns:a16="http://schemas.microsoft.com/office/drawing/2014/main" id="{B3AEE648-B22E-EBC4-8472-507D30087DBB}"/>
                </a:ext>
              </a:extLst>
            </p:cNvPr>
            <p:cNvSpPr/>
            <p:nvPr/>
          </p:nvSpPr>
          <p:spPr>
            <a:xfrm>
              <a:off x="3614568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0" name="object 1840">
              <a:extLst>
                <a:ext uri="{FF2B5EF4-FFF2-40B4-BE49-F238E27FC236}">
                  <a16:creationId xmlns:a16="http://schemas.microsoft.com/office/drawing/2014/main" id="{674060E6-B02E-744D-3271-9FA74E637FAB}"/>
                </a:ext>
              </a:extLst>
            </p:cNvPr>
            <p:cNvSpPr/>
            <p:nvPr/>
          </p:nvSpPr>
          <p:spPr>
            <a:xfrm>
              <a:off x="3439460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1" name="object 1841">
              <a:extLst>
                <a:ext uri="{FF2B5EF4-FFF2-40B4-BE49-F238E27FC236}">
                  <a16:creationId xmlns:a16="http://schemas.microsoft.com/office/drawing/2014/main" id="{DC919CF9-FCC8-FEC9-6FA1-A1AEB76D0C0B}"/>
                </a:ext>
              </a:extLst>
            </p:cNvPr>
            <p:cNvSpPr/>
            <p:nvPr/>
          </p:nvSpPr>
          <p:spPr>
            <a:xfrm>
              <a:off x="354466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2" name="object 1842">
              <a:extLst>
                <a:ext uri="{FF2B5EF4-FFF2-40B4-BE49-F238E27FC236}">
                  <a16:creationId xmlns:a16="http://schemas.microsoft.com/office/drawing/2014/main" id="{85774883-3D4B-A498-D230-3955E325FA9F}"/>
                </a:ext>
              </a:extLst>
            </p:cNvPr>
            <p:cNvSpPr/>
            <p:nvPr/>
          </p:nvSpPr>
          <p:spPr>
            <a:xfrm>
              <a:off x="336969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3" name="object 1843">
              <a:extLst>
                <a:ext uri="{FF2B5EF4-FFF2-40B4-BE49-F238E27FC236}">
                  <a16:creationId xmlns:a16="http://schemas.microsoft.com/office/drawing/2014/main" id="{943CBB38-7DEE-4138-E0FA-1664D3A1205A}"/>
                </a:ext>
              </a:extLst>
            </p:cNvPr>
            <p:cNvSpPr/>
            <p:nvPr/>
          </p:nvSpPr>
          <p:spPr>
            <a:xfrm>
              <a:off x="354466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4" name="object 1844">
              <a:extLst>
                <a:ext uri="{FF2B5EF4-FFF2-40B4-BE49-F238E27FC236}">
                  <a16:creationId xmlns:a16="http://schemas.microsoft.com/office/drawing/2014/main" id="{817FBC1A-E360-7241-AD67-2C36370B53EA}"/>
                </a:ext>
              </a:extLst>
            </p:cNvPr>
            <p:cNvSpPr/>
            <p:nvPr/>
          </p:nvSpPr>
          <p:spPr>
            <a:xfrm>
              <a:off x="3649589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5" name="object 1845">
              <a:extLst>
                <a:ext uri="{FF2B5EF4-FFF2-40B4-BE49-F238E27FC236}">
                  <a16:creationId xmlns:a16="http://schemas.microsoft.com/office/drawing/2014/main" id="{C0D7BFA1-A45D-E35B-4021-0C7F62FC78A6}"/>
                </a:ext>
              </a:extLst>
            </p:cNvPr>
            <p:cNvSpPr/>
            <p:nvPr/>
          </p:nvSpPr>
          <p:spPr>
            <a:xfrm>
              <a:off x="3684611" y="415784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6" name="object 1846">
              <a:extLst>
                <a:ext uri="{FF2B5EF4-FFF2-40B4-BE49-F238E27FC236}">
                  <a16:creationId xmlns:a16="http://schemas.microsoft.com/office/drawing/2014/main" id="{0179DCAC-D610-96FF-FBF5-28655D385283}"/>
                </a:ext>
              </a:extLst>
            </p:cNvPr>
            <p:cNvSpPr/>
            <p:nvPr/>
          </p:nvSpPr>
          <p:spPr>
            <a:xfrm>
              <a:off x="3719632" y="414508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7" name="object 1847">
              <a:extLst>
                <a:ext uri="{FF2B5EF4-FFF2-40B4-BE49-F238E27FC236}">
                  <a16:creationId xmlns:a16="http://schemas.microsoft.com/office/drawing/2014/main" id="{7A136A11-72BB-82FA-7C1E-AFE995801AAF}"/>
                </a:ext>
              </a:extLst>
            </p:cNvPr>
            <p:cNvSpPr/>
            <p:nvPr/>
          </p:nvSpPr>
          <p:spPr>
            <a:xfrm>
              <a:off x="3369692" y="4170587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8" name="object 1848">
              <a:extLst>
                <a:ext uri="{FF2B5EF4-FFF2-40B4-BE49-F238E27FC236}">
                  <a16:creationId xmlns:a16="http://schemas.microsoft.com/office/drawing/2014/main" id="{FD851468-8779-8570-8DAC-3FF76DCB5259}"/>
                </a:ext>
              </a:extLst>
            </p:cNvPr>
            <p:cNvSpPr/>
            <p:nvPr/>
          </p:nvSpPr>
          <p:spPr>
            <a:xfrm>
              <a:off x="3649589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49" name="object 1849">
              <a:extLst>
                <a:ext uri="{FF2B5EF4-FFF2-40B4-BE49-F238E27FC236}">
                  <a16:creationId xmlns:a16="http://schemas.microsoft.com/office/drawing/2014/main" id="{178DBD41-AB58-DEBE-70D4-9C693C055C05}"/>
                </a:ext>
              </a:extLst>
            </p:cNvPr>
            <p:cNvSpPr/>
            <p:nvPr/>
          </p:nvSpPr>
          <p:spPr>
            <a:xfrm>
              <a:off x="3684611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0" name="object 1850">
              <a:extLst>
                <a:ext uri="{FF2B5EF4-FFF2-40B4-BE49-F238E27FC236}">
                  <a16:creationId xmlns:a16="http://schemas.microsoft.com/office/drawing/2014/main" id="{7828C8E5-26E4-FAAF-5FF1-62CA934712F6}"/>
                </a:ext>
              </a:extLst>
            </p:cNvPr>
            <p:cNvSpPr/>
            <p:nvPr/>
          </p:nvSpPr>
          <p:spPr>
            <a:xfrm>
              <a:off x="3579546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1" name="object 1851">
              <a:extLst>
                <a:ext uri="{FF2B5EF4-FFF2-40B4-BE49-F238E27FC236}">
                  <a16:creationId xmlns:a16="http://schemas.microsoft.com/office/drawing/2014/main" id="{B844951D-3B16-9449-6F08-1763C6BF92A6}"/>
                </a:ext>
              </a:extLst>
            </p:cNvPr>
            <p:cNvSpPr/>
            <p:nvPr/>
          </p:nvSpPr>
          <p:spPr>
            <a:xfrm>
              <a:off x="3474482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2" name="object 1852">
              <a:extLst>
                <a:ext uri="{FF2B5EF4-FFF2-40B4-BE49-F238E27FC236}">
                  <a16:creationId xmlns:a16="http://schemas.microsoft.com/office/drawing/2014/main" id="{D9B66564-A7F9-BE5B-43D8-7A2F1215AD24}"/>
                </a:ext>
              </a:extLst>
            </p:cNvPr>
            <p:cNvSpPr/>
            <p:nvPr/>
          </p:nvSpPr>
          <p:spPr>
            <a:xfrm>
              <a:off x="3509576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3" name="object 1853">
              <a:extLst>
                <a:ext uri="{FF2B5EF4-FFF2-40B4-BE49-F238E27FC236}">
                  <a16:creationId xmlns:a16="http://schemas.microsoft.com/office/drawing/2014/main" id="{677DE8B1-58DE-3B49-287C-E21ADA1ACDE9}"/>
                </a:ext>
              </a:extLst>
            </p:cNvPr>
            <p:cNvSpPr/>
            <p:nvPr/>
          </p:nvSpPr>
          <p:spPr>
            <a:xfrm>
              <a:off x="3404439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4" name="object 1854">
              <a:extLst>
                <a:ext uri="{FF2B5EF4-FFF2-40B4-BE49-F238E27FC236}">
                  <a16:creationId xmlns:a16="http://schemas.microsoft.com/office/drawing/2014/main" id="{F778FC11-CD76-AEEA-54DD-2FCEC06C43CB}"/>
                </a:ext>
              </a:extLst>
            </p:cNvPr>
            <p:cNvSpPr/>
            <p:nvPr/>
          </p:nvSpPr>
          <p:spPr>
            <a:xfrm>
              <a:off x="3614568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5" name="object 1855">
              <a:extLst>
                <a:ext uri="{FF2B5EF4-FFF2-40B4-BE49-F238E27FC236}">
                  <a16:creationId xmlns:a16="http://schemas.microsoft.com/office/drawing/2014/main" id="{FDEED43E-5C19-5272-9F45-A2FD2CBA6514}"/>
                </a:ext>
              </a:extLst>
            </p:cNvPr>
            <p:cNvSpPr/>
            <p:nvPr/>
          </p:nvSpPr>
          <p:spPr>
            <a:xfrm>
              <a:off x="3439460" y="4230855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6" name="object 1856">
              <a:extLst>
                <a:ext uri="{FF2B5EF4-FFF2-40B4-BE49-F238E27FC236}">
                  <a16:creationId xmlns:a16="http://schemas.microsoft.com/office/drawing/2014/main" id="{F28DED05-91ED-D989-CC59-59483756ADD9}"/>
                </a:ext>
              </a:extLst>
            </p:cNvPr>
            <p:cNvSpPr/>
            <p:nvPr/>
          </p:nvSpPr>
          <p:spPr>
            <a:xfrm>
              <a:off x="371963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7" name="object 1857">
              <a:extLst>
                <a:ext uri="{FF2B5EF4-FFF2-40B4-BE49-F238E27FC236}">
                  <a16:creationId xmlns:a16="http://schemas.microsoft.com/office/drawing/2014/main" id="{54FD16FE-C3A6-B598-B6D5-578BA89A2A82}"/>
                </a:ext>
              </a:extLst>
            </p:cNvPr>
            <p:cNvSpPr/>
            <p:nvPr/>
          </p:nvSpPr>
          <p:spPr>
            <a:xfrm>
              <a:off x="354466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8" name="object 1858">
              <a:extLst>
                <a:ext uri="{FF2B5EF4-FFF2-40B4-BE49-F238E27FC236}">
                  <a16:creationId xmlns:a16="http://schemas.microsoft.com/office/drawing/2014/main" id="{D631E619-EFEB-2D81-D6CC-F269A2F79C14}"/>
                </a:ext>
              </a:extLst>
            </p:cNvPr>
            <p:cNvSpPr/>
            <p:nvPr/>
          </p:nvSpPr>
          <p:spPr>
            <a:xfrm>
              <a:off x="336969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59" name="object 1859">
              <a:extLst>
                <a:ext uri="{FF2B5EF4-FFF2-40B4-BE49-F238E27FC236}">
                  <a16:creationId xmlns:a16="http://schemas.microsoft.com/office/drawing/2014/main" id="{97E00117-3438-05B1-053C-A260D06ED785}"/>
                </a:ext>
              </a:extLst>
            </p:cNvPr>
            <p:cNvSpPr/>
            <p:nvPr/>
          </p:nvSpPr>
          <p:spPr>
            <a:xfrm>
              <a:off x="3544662" y="4218099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0" name="object 1860">
              <a:extLst>
                <a:ext uri="{FF2B5EF4-FFF2-40B4-BE49-F238E27FC236}">
                  <a16:creationId xmlns:a16="http://schemas.microsoft.com/office/drawing/2014/main" id="{A359264C-B49A-F32B-2D2D-03BACCF290C8}"/>
                </a:ext>
              </a:extLst>
            </p:cNvPr>
            <p:cNvSpPr/>
            <p:nvPr/>
          </p:nvSpPr>
          <p:spPr>
            <a:xfrm>
              <a:off x="3369692" y="4243611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61" name="object 1861">
            <a:extLst>
              <a:ext uri="{FF2B5EF4-FFF2-40B4-BE49-F238E27FC236}">
                <a16:creationId xmlns:a16="http://schemas.microsoft.com/office/drawing/2014/main" id="{F6ECE3DD-5EB8-A159-AB8F-1BE1F4080BB0}"/>
              </a:ext>
            </a:extLst>
          </p:cNvPr>
          <p:cNvGrpSpPr/>
          <p:nvPr/>
        </p:nvGrpSpPr>
        <p:grpSpPr>
          <a:xfrm>
            <a:off x="3369692" y="4906094"/>
            <a:ext cx="350023" cy="124248"/>
            <a:chOff x="3369692" y="4906094"/>
            <a:chExt cx="350023" cy="124248"/>
          </a:xfrm>
        </p:grpSpPr>
        <p:sp>
          <p:nvSpPr>
            <p:cNvPr id="1862" name="object 1862">
              <a:extLst>
                <a:ext uri="{FF2B5EF4-FFF2-40B4-BE49-F238E27FC236}">
                  <a16:creationId xmlns:a16="http://schemas.microsoft.com/office/drawing/2014/main" id="{FD7BCB7C-6425-1B1C-F44E-F34243346623}"/>
                </a:ext>
              </a:extLst>
            </p:cNvPr>
            <p:cNvSpPr/>
            <p:nvPr/>
          </p:nvSpPr>
          <p:spPr>
            <a:xfrm>
              <a:off x="3370158" y="4979127"/>
              <a:ext cx="85103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0335"/>
                <a:gd name="f4" fmla="val 84454"/>
                <a:gd name="f5" fmla="val 139995"/>
                <a:gd name="f6" fmla="val 84123"/>
                <a:gd name="f7" fmla="*/ f0 1 140335"/>
                <a:gd name="f8" fmla="*/ f1 1 84454"/>
                <a:gd name="f9" fmla="+- f4 0 f2"/>
                <a:gd name="f10" fmla="+- f3 0 f2"/>
                <a:gd name="f11" fmla="*/ f10 1 1403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403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3" name="object 1863">
              <a:extLst>
                <a:ext uri="{FF2B5EF4-FFF2-40B4-BE49-F238E27FC236}">
                  <a16:creationId xmlns:a16="http://schemas.microsoft.com/office/drawing/2014/main" id="{8D739954-4A22-10E7-D4B4-DBACBB04ACB8}"/>
                </a:ext>
              </a:extLst>
            </p:cNvPr>
            <p:cNvSpPr/>
            <p:nvPr/>
          </p:nvSpPr>
          <p:spPr>
            <a:xfrm>
              <a:off x="3369692" y="4906094"/>
              <a:ext cx="185211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5435"/>
                <a:gd name="f4" fmla="val 84454"/>
                <a:gd name="f5" fmla="val 304817"/>
                <a:gd name="f6" fmla="val 84123"/>
                <a:gd name="f7" fmla="*/ f0 1 305435"/>
                <a:gd name="f8" fmla="*/ f1 1 84454"/>
                <a:gd name="f9" fmla="+- f4 0 f2"/>
                <a:gd name="f10" fmla="+- f3 0 f2"/>
                <a:gd name="f11" fmla="*/ f10 1 305435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5435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4" name="object 1864">
              <a:extLst>
                <a:ext uri="{FF2B5EF4-FFF2-40B4-BE49-F238E27FC236}">
                  <a16:creationId xmlns:a16="http://schemas.microsoft.com/office/drawing/2014/main" id="{FE49B7B9-92B9-D929-861D-407C198A76D9}"/>
                </a:ext>
              </a:extLst>
            </p:cNvPr>
            <p:cNvSpPr/>
            <p:nvPr/>
          </p:nvSpPr>
          <p:spPr>
            <a:xfrm>
              <a:off x="3579546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5" name="object 1865">
              <a:extLst>
                <a:ext uri="{FF2B5EF4-FFF2-40B4-BE49-F238E27FC236}">
                  <a16:creationId xmlns:a16="http://schemas.microsoft.com/office/drawing/2014/main" id="{D2394678-CE46-AE68-F43F-96B3477F62C3}"/>
                </a:ext>
              </a:extLst>
            </p:cNvPr>
            <p:cNvSpPr/>
            <p:nvPr/>
          </p:nvSpPr>
          <p:spPr>
            <a:xfrm>
              <a:off x="3474482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6" name="object 1866">
              <a:extLst>
                <a:ext uri="{FF2B5EF4-FFF2-40B4-BE49-F238E27FC236}">
                  <a16:creationId xmlns:a16="http://schemas.microsoft.com/office/drawing/2014/main" id="{D8ABC5B0-AE6C-1233-01D6-8AD104347EEB}"/>
                </a:ext>
              </a:extLst>
            </p:cNvPr>
            <p:cNvSpPr/>
            <p:nvPr/>
          </p:nvSpPr>
          <p:spPr>
            <a:xfrm>
              <a:off x="3509576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7" name="object 1867">
              <a:extLst>
                <a:ext uri="{FF2B5EF4-FFF2-40B4-BE49-F238E27FC236}">
                  <a16:creationId xmlns:a16="http://schemas.microsoft.com/office/drawing/2014/main" id="{C78E9FEB-DB6B-0052-BB3B-8876E88F2C1F}"/>
                </a:ext>
              </a:extLst>
            </p:cNvPr>
            <p:cNvSpPr/>
            <p:nvPr/>
          </p:nvSpPr>
          <p:spPr>
            <a:xfrm>
              <a:off x="3404439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8" name="object 1868">
              <a:extLst>
                <a:ext uri="{FF2B5EF4-FFF2-40B4-BE49-F238E27FC236}">
                  <a16:creationId xmlns:a16="http://schemas.microsoft.com/office/drawing/2014/main" id="{A1AE782D-42E6-3BF0-A473-F35906DB853D}"/>
                </a:ext>
              </a:extLst>
            </p:cNvPr>
            <p:cNvSpPr/>
            <p:nvPr/>
          </p:nvSpPr>
          <p:spPr>
            <a:xfrm>
              <a:off x="3439460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69" name="object 1869">
              <a:extLst>
                <a:ext uri="{FF2B5EF4-FFF2-40B4-BE49-F238E27FC236}">
                  <a16:creationId xmlns:a16="http://schemas.microsoft.com/office/drawing/2014/main" id="{33F1E258-14A9-BAE7-BCB0-9677848326B2}"/>
                </a:ext>
              </a:extLst>
            </p:cNvPr>
            <p:cNvSpPr/>
            <p:nvPr/>
          </p:nvSpPr>
          <p:spPr>
            <a:xfrm>
              <a:off x="354466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0" name="object 1870">
              <a:extLst>
                <a:ext uri="{FF2B5EF4-FFF2-40B4-BE49-F238E27FC236}">
                  <a16:creationId xmlns:a16="http://schemas.microsoft.com/office/drawing/2014/main" id="{EA695F45-40F1-2467-F015-66FF6EE94688}"/>
                </a:ext>
              </a:extLst>
            </p:cNvPr>
            <p:cNvSpPr/>
            <p:nvPr/>
          </p:nvSpPr>
          <p:spPr>
            <a:xfrm>
              <a:off x="336969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1" name="object 1871">
              <a:extLst>
                <a:ext uri="{FF2B5EF4-FFF2-40B4-BE49-F238E27FC236}">
                  <a16:creationId xmlns:a16="http://schemas.microsoft.com/office/drawing/2014/main" id="{E5F8F0D7-C71B-A202-AC29-55C701346E8C}"/>
                </a:ext>
              </a:extLst>
            </p:cNvPr>
            <p:cNvSpPr/>
            <p:nvPr/>
          </p:nvSpPr>
          <p:spPr>
            <a:xfrm>
              <a:off x="354466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2" name="object 1872">
              <a:extLst>
                <a:ext uri="{FF2B5EF4-FFF2-40B4-BE49-F238E27FC236}">
                  <a16:creationId xmlns:a16="http://schemas.microsoft.com/office/drawing/2014/main" id="{6589AA05-8C99-DC20-985F-2BED8BE64DF1}"/>
                </a:ext>
              </a:extLst>
            </p:cNvPr>
            <p:cNvSpPr/>
            <p:nvPr/>
          </p:nvSpPr>
          <p:spPr>
            <a:xfrm>
              <a:off x="3649589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3" name="object 1873">
              <a:extLst>
                <a:ext uri="{FF2B5EF4-FFF2-40B4-BE49-F238E27FC236}">
                  <a16:creationId xmlns:a16="http://schemas.microsoft.com/office/drawing/2014/main" id="{12FF1E1D-804C-5989-A07C-43EA4A75AA19}"/>
                </a:ext>
              </a:extLst>
            </p:cNvPr>
            <p:cNvSpPr/>
            <p:nvPr/>
          </p:nvSpPr>
          <p:spPr>
            <a:xfrm>
              <a:off x="3684611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4" name="object 1874">
              <a:extLst>
                <a:ext uri="{FF2B5EF4-FFF2-40B4-BE49-F238E27FC236}">
                  <a16:creationId xmlns:a16="http://schemas.microsoft.com/office/drawing/2014/main" id="{97432BF2-7105-2377-5B8B-8FF3C3D6487C}"/>
                </a:ext>
              </a:extLst>
            </p:cNvPr>
            <p:cNvSpPr/>
            <p:nvPr/>
          </p:nvSpPr>
          <p:spPr>
            <a:xfrm>
              <a:off x="3614568" y="4918850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5" name="object 1875">
              <a:extLst>
                <a:ext uri="{FF2B5EF4-FFF2-40B4-BE49-F238E27FC236}">
                  <a16:creationId xmlns:a16="http://schemas.microsoft.com/office/drawing/2014/main" id="{182D3184-40F7-F8B6-CC77-47A2D3206FD0}"/>
                </a:ext>
              </a:extLst>
            </p:cNvPr>
            <p:cNvSpPr/>
            <p:nvPr/>
          </p:nvSpPr>
          <p:spPr>
            <a:xfrm>
              <a:off x="3719632" y="4906094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6" name="object 1876">
              <a:extLst>
                <a:ext uri="{FF2B5EF4-FFF2-40B4-BE49-F238E27FC236}">
                  <a16:creationId xmlns:a16="http://schemas.microsoft.com/office/drawing/2014/main" id="{D1D83CD9-0CB1-DC68-4154-4D588ED07720}"/>
                </a:ext>
              </a:extLst>
            </p:cNvPr>
            <p:cNvSpPr/>
            <p:nvPr/>
          </p:nvSpPr>
          <p:spPr>
            <a:xfrm>
              <a:off x="3369692" y="493160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7" name="object 1877">
              <a:extLst>
                <a:ext uri="{FF2B5EF4-FFF2-40B4-BE49-F238E27FC236}">
                  <a16:creationId xmlns:a16="http://schemas.microsoft.com/office/drawing/2014/main" id="{6CDE2317-FAF7-55E1-85ED-84014423FEFD}"/>
                </a:ext>
              </a:extLst>
            </p:cNvPr>
            <p:cNvSpPr/>
            <p:nvPr/>
          </p:nvSpPr>
          <p:spPr>
            <a:xfrm>
              <a:off x="3649589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8" name="object 1878">
              <a:extLst>
                <a:ext uri="{FF2B5EF4-FFF2-40B4-BE49-F238E27FC236}">
                  <a16:creationId xmlns:a16="http://schemas.microsoft.com/office/drawing/2014/main" id="{BE4DFAAE-1AAC-EBCB-6A4C-40CCEBE8E91D}"/>
                </a:ext>
              </a:extLst>
            </p:cNvPr>
            <p:cNvSpPr/>
            <p:nvPr/>
          </p:nvSpPr>
          <p:spPr>
            <a:xfrm>
              <a:off x="3684611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79" name="object 1879">
              <a:extLst>
                <a:ext uri="{FF2B5EF4-FFF2-40B4-BE49-F238E27FC236}">
                  <a16:creationId xmlns:a16="http://schemas.microsoft.com/office/drawing/2014/main" id="{C39665A3-1C15-A0FA-A167-5A60346B69C4}"/>
                </a:ext>
              </a:extLst>
            </p:cNvPr>
            <p:cNvSpPr/>
            <p:nvPr/>
          </p:nvSpPr>
          <p:spPr>
            <a:xfrm>
              <a:off x="3579546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0" name="object 1880">
              <a:extLst>
                <a:ext uri="{FF2B5EF4-FFF2-40B4-BE49-F238E27FC236}">
                  <a16:creationId xmlns:a16="http://schemas.microsoft.com/office/drawing/2014/main" id="{6C26083E-33BA-E9C6-D7F0-A58F1E181522}"/>
                </a:ext>
              </a:extLst>
            </p:cNvPr>
            <p:cNvSpPr/>
            <p:nvPr/>
          </p:nvSpPr>
          <p:spPr>
            <a:xfrm>
              <a:off x="3474482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1" name="object 1881">
              <a:extLst>
                <a:ext uri="{FF2B5EF4-FFF2-40B4-BE49-F238E27FC236}">
                  <a16:creationId xmlns:a16="http://schemas.microsoft.com/office/drawing/2014/main" id="{833FBF23-CC95-0DA9-4CD7-7275834E6943}"/>
                </a:ext>
              </a:extLst>
            </p:cNvPr>
            <p:cNvSpPr/>
            <p:nvPr/>
          </p:nvSpPr>
          <p:spPr>
            <a:xfrm>
              <a:off x="3509576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2" name="object 1882">
              <a:extLst>
                <a:ext uri="{FF2B5EF4-FFF2-40B4-BE49-F238E27FC236}">
                  <a16:creationId xmlns:a16="http://schemas.microsoft.com/office/drawing/2014/main" id="{44ECB214-B032-288B-4FE8-3421FF4DC9EE}"/>
                </a:ext>
              </a:extLst>
            </p:cNvPr>
            <p:cNvSpPr/>
            <p:nvPr/>
          </p:nvSpPr>
          <p:spPr>
            <a:xfrm>
              <a:off x="3404439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3" name="object 1883">
              <a:extLst>
                <a:ext uri="{FF2B5EF4-FFF2-40B4-BE49-F238E27FC236}">
                  <a16:creationId xmlns:a16="http://schemas.microsoft.com/office/drawing/2014/main" id="{A6D3F9D9-3482-CD51-A38B-26A747A9AB81}"/>
                </a:ext>
              </a:extLst>
            </p:cNvPr>
            <p:cNvSpPr/>
            <p:nvPr/>
          </p:nvSpPr>
          <p:spPr>
            <a:xfrm>
              <a:off x="3614568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4" name="object 1884">
              <a:extLst>
                <a:ext uri="{FF2B5EF4-FFF2-40B4-BE49-F238E27FC236}">
                  <a16:creationId xmlns:a16="http://schemas.microsoft.com/office/drawing/2014/main" id="{F336FD41-1024-CD4D-8CB6-AB8D1FF078BE}"/>
                </a:ext>
              </a:extLst>
            </p:cNvPr>
            <p:cNvSpPr/>
            <p:nvPr/>
          </p:nvSpPr>
          <p:spPr>
            <a:xfrm>
              <a:off x="3439460" y="4991874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5" name="object 1885">
              <a:extLst>
                <a:ext uri="{FF2B5EF4-FFF2-40B4-BE49-F238E27FC236}">
                  <a16:creationId xmlns:a16="http://schemas.microsoft.com/office/drawing/2014/main" id="{FED6E294-A572-918E-970C-97C551F6D57C}"/>
                </a:ext>
              </a:extLst>
            </p:cNvPr>
            <p:cNvSpPr/>
            <p:nvPr/>
          </p:nvSpPr>
          <p:spPr>
            <a:xfrm>
              <a:off x="371963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6" name="object 1886">
              <a:extLst>
                <a:ext uri="{FF2B5EF4-FFF2-40B4-BE49-F238E27FC236}">
                  <a16:creationId xmlns:a16="http://schemas.microsoft.com/office/drawing/2014/main" id="{5B5AB903-7663-BDD7-FB97-C3D71E160BE3}"/>
                </a:ext>
              </a:extLst>
            </p:cNvPr>
            <p:cNvSpPr/>
            <p:nvPr/>
          </p:nvSpPr>
          <p:spPr>
            <a:xfrm>
              <a:off x="354466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7" name="object 1887">
              <a:extLst>
                <a:ext uri="{FF2B5EF4-FFF2-40B4-BE49-F238E27FC236}">
                  <a16:creationId xmlns:a16="http://schemas.microsoft.com/office/drawing/2014/main" id="{37CFBE19-29DB-D5FB-FEFA-3A11C1D8C87D}"/>
                </a:ext>
              </a:extLst>
            </p:cNvPr>
            <p:cNvSpPr/>
            <p:nvPr/>
          </p:nvSpPr>
          <p:spPr>
            <a:xfrm>
              <a:off x="336969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8" name="object 1888">
              <a:extLst>
                <a:ext uri="{FF2B5EF4-FFF2-40B4-BE49-F238E27FC236}">
                  <a16:creationId xmlns:a16="http://schemas.microsoft.com/office/drawing/2014/main" id="{2244A1A9-B688-6262-CE6F-0028ED085994}"/>
                </a:ext>
              </a:extLst>
            </p:cNvPr>
            <p:cNvSpPr/>
            <p:nvPr/>
          </p:nvSpPr>
          <p:spPr>
            <a:xfrm>
              <a:off x="3544662" y="4979118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3"/>
                <a:gd name="f5" fmla="val 51018"/>
                <a:gd name="f6" fmla="abs f0"/>
                <a:gd name="f7" fmla="abs f1"/>
                <a:gd name="f8" fmla="abs f2"/>
                <a:gd name="f9" fmla="*/ f1 1 5121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3"/>
                <a:gd name="f17" fmla="*/ f12 1 21600"/>
                <a:gd name="f18" fmla="*/ f13 1 51213"/>
                <a:gd name="f19" fmla="*/ 21600 f12 1"/>
                <a:gd name="f20" fmla="*/ 0 1 f15"/>
                <a:gd name="f21" fmla="*/ 1 1 f15"/>
                <a:gd name="f22" fmla="*/ 0 1 f16"/>
                <a:gd name="f23" fmla="*/ 5121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89" name="object 1889">
              <a:extLst>
                <a:ext uri="{FF2B5EF4-FFF2-40B4-BE49-F238E27FC236}">
                  <a16:creationId xmlns:a16="http://schemas.microsoft.com/office/drawing/2014/main" id="{D3BE5343-57D1-18BC-5704-64648C8CE4C9}"/>
                </a:ext>
              </a:extLst>
            </p:cNvPr>
            <p:cNvSpPr/>
            <p:nvPr/>
          </p:nvSpPr>
          <p:spPr>
            <a:xfrm>
              <a:off x="3369692" y="5004620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890" name="object 1890">
            <a:extLst>
              <a:ext uri="{FF2B5EF4-FFF2-40B4-BE49-F238E27FC236}">
                <a16:creationId xmlns:a16="http://schemas.microsoft.com/office/drawing/2014/main" id="{1E254367-01D0-CAA6-B110-D85B2F55A85E}"/>
              </a:ext>
            </a:extLst>
          </p:cNvPr>
          <p:cNvGrpSpPr/>
          <p:nvPr/>
        </p:nvGrpSpPr>
        <p:grpSpPr>
          <a:xfrm>
            <a:off x="9121743" y="6433270"/>
            <a:ext cx="350370" cy="123516"/>
            <a:chOff x="9121743" y="6433270"/>
            <a:chExt cx="350370" cy="123516"/>
          </a:xfrm>
        </p:grpSpPr>
        <p:sp>
          <p:nvSpPr>
            <p:cNvPr id="1891" name="object 1891">
              <a:extLst>
                <a:ext uri="{FF2B5EF4-FFF2-40B4-BE49-F238E27FC236}">
                  <a16:creationId xmlns:a16="http://schemas.microsoft.com/office/drawing/2014/main" id="{01E6463D-410A-4F69-7B1F-1F798B046189}"/>
                </a:ext>
              </a:extLst>
            </p:cNvPr>
            <p:cNvSpPr/>
            <p:nvPr/>
          </p:nvSpPr>
          <p:spPr>
            <a:xfrm>
              <a:off x="9401988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2" name="object 1892">
              <a:extLst>
                <a:ext uri="{FF2B5EF4-FFF2-40B4-BE49-F238E27FC236}">
                  <a16:creationId xmlns:a16="http://schemas.microsoft.com/office/drawing/2014/main" id="{FE4F8F62-76E6-7CCF-F240-E96CF7268B55}"/>
                </a:ext>
              </a:extLst>
            </p:cNvPr>
            <p:cNvSpPr/>
            <p:nvPr/>
          </p:nvSpPr>
          <p:spPr>
            <a:xfrm>
              <a:off x="9437019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3" name="object 1893">
              <a:extLst>
                <a:ext uri="{FF2B5EF4-FFF2-40B4-BE49-F238E27FC236}">
                  <a16:creationId xmlns:a16="http://schemas.microsoft.com/office/drawing/2014/main" id="{236D8A19-E505-36E7-9985-E1FBDE7696C4}"/>
                </a:ext>
              </a:extLst>
            </p:cNvPr>
            <p:cNvSpPr/>
            <p:nvPr/>
          </p:nvSpPr>
          <p:spPr>
            <a:xfrm>
              <a:off x="9331945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4" name="object 1894">
              <a:extLst>
                <a:ext uri="{FF2B5EF4-FFF2-40B4-BE49-F238E27FC236}">
                  <a16:creationId xmlns:a16="http://schemas.microsoft.com/office/drawing/2014/main" id="{BAE30972-28B9-7651-92A7-B50EF376FBFF}"/>
                </a:ext>
              </a:extLst>
            </p:cNvPr>
            <p:cNvSpPr/>
            <p:nvPr/>
          </p:nvSpPr>
          <p:spPr>
            <a:xfrm>
              <a:off x="9226881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5" name="object 1895">
              <a:extLst>
                <a:ext uri="{FF2B5EF4-FFF2-40B4-BE49-F238E27FC236}">
                  <a16:creationId xmlns:a16="http://schemas.microsoft.com/office/drawing/2014/main" id="{88AE3FD0-0590-EC69-B445-318469E34748}"/>
                </a:ext>
              </a:extLst>
            </p:cNvPr>
            <p:cNvSpPr/>
            <p:nvPr/>
          </p:nvSpPr>
          <p:spPr>
            <a:xfrm>
              <a:off x="9261975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6" name="object 1896">
              <a:extLst>
                <a:ext uri="{FF2B5EF4-FFF2-40B4-BE49-F238E27FC236}">
                  <a16:creationId xmlns:a16="http://schemas.microsoft.com/office/drawing/2014/main" id="{A0EEE0B0-0094-3DF0-57A7-25DD77030702}"/>
                </a:ext>
              </a:extLst>
            </p:cNvPr>
            <p:cNvSpPr/>
            <p:nvPr/>
          </p:nvSpPr>
          <p:spPr>
            <a:xfrm>
              <a:off x="9156838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7" name="object 1897">
              <a:extLst>
                <a:ext uri="{FF2B5EF4-FFF2-40B4-BE49-F238E27FC236}">
                  <a16:creationId xmlns:a16="http://schemas.microsoft.com/office/drawing/2014/main" id="{514EF7E2-B3FB-D4B3-B5BE-05C38B01AB44}"/>
                </a:ext>
              </a:extLst>
            </p:cNvPr>
            <p:cNvSpPr/>
            <p:nvPr/>
          </p:nvSpPr>
          <p:spPr>
            <a:xfrm>
              <a:off x="9366976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8" name="object 1898">
              <a:extLst>
                <a:ext uri="{FF2B5EF4-FFF2-40B4-BE49-F238E27FC236}">
                  <a16:creationId xmlns:a16="http://schemas.microsoft.com/office/drawing/2014/main" id="{CFFCECD3-6A8D-762B-8C4E-5B23F9850689}"/>
                </a:ext>
              </a:extLst>
            </p:cNvPr>
            <p:cNvSpPr/>
            <p:nvPr/>
          </p:nvSpPr>
          <p:spPr>
            <a:xfrm>
              <a:off x="9191859" y="6446017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99" name="object 1899">
              <a:extLst>
                <a:ext uri="{FF2B5EF4-FFF2-40B4-BE49-F238E27FC236}">
                  <a16:creationId xmlns:a16="http://schemas.microsoft.com/office/drawing/2014/main" id="{A3771F57-DD4B-75E7-63EF-4C303FDAD966}"/>
                </a:ext>
              </a:extLst>
            </p:cNvPr>
            <p:cNvSpPr/>
            <p:nvPr/>
          </p:nvSpPr>
          <p:spPr>
            <a:xfrm>
              <a:off x="9472041" y="64332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0" name="object 1900">
              <a:extLst>
                <a:ext uri="{FF2B5EF4-FFF2-40B4-BE49-F238E27FC236}">
                  <a16:creationId xmlns:a16="http://schemas.microsoft.com/office/drawing/2014/main" id="{76C9043A-D5BD-C6B2-1FD9-43A07E1C75B8}"/>
                </a:ext>
              </a:extLst>
            </p:cNvPr>
            <p:cNvSpPr/>
            <p:nvPr/>
          </p:nvSpPr>
          <p:spPr>
            <a:xfrm>
              <a:off x="9297070" y="64332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1" name="object 1901">
              <a:extLst>
                <a:ext uri="{FF2B5EF4-FFF2-40B4-BE49-F238E27FC236}">
                  <a16:creationId xmlns:a16="http://schemas.microsoft.com/office/drawing/2014/main" id="{621327EF-C68B-FC67-54BF-7CC00831EAC2}"/>
                </a:ext>
              </a:extLst>
            </p:cNvPr>
            <p:cNvSpPr/>
            <p:nvPr/>
          </p:nvSpPr>
          <p:spPr>
            <a:xfrm>
              <a:off x="9122090" y="6433270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2" name="object 1902">
              <a:extLst>
                <a:ext uri="{FF2B5EF4-FFF2-40B4-BE49-F238E27FC236}">
                  <a16:creationId xmlns:a16="http://schemas.microsoft.com/office/drawing/2014/main" id="{4E6C6866-2E1E-FA5E-6628-D4AE180C2378}"/>
                </a:ext>
              </a:extLst>
            </p:cNvPr>
            <p:cNvSpPr/>
            <p:nvPr/>
          </p:nvSpPr>
          <p:spPr>
            <a:xfrm>
              <a:off x="9122090" y="6458782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3" name="object 1903">
              <a:extLst>
                <a:ext uri="{FF2B5EF4-FFF2-40B4-BE49-F238E27FC236}">
                  <a16:creationId xmlns:a16="http://schemas.microsoft.com/office/drawing/2014/main" id="{48A0A083-5E56-BFFE-0F50-36F2F0C5A1A9}"/>
                </a:ext>
              </a:extLst>
            </p:cNvPr>
            <p:cNvSpPr/>
            <p:nvPr/>
          </p:nvSpPr>
          <p:spPr>
            <a:xfrm>
              <a:off x="9122228" y="6433270"/>
              <a:ext cx="55449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91440"/>
                <a:gd name="f4" fmla="val 84454"/>
                <a:gd name="f5" fmla="val 90929"/>
                <a:gd name="f6" fmla="val 84123"/>
                <a:gd name="f7" fmla="*/ f0 1 91440"/>
                <a:gd name="f8" fmla="*/ f1 1 84454"/>
                <a:gd name="f9" fmla="+- f4 0 f2"/>
                <a:gd name="f10" fmla="+- f3 0 f2"/>
                <a:gd name="f11" fmla="*/ f10 1 9144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9144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4" name="object 1904">
              <a:extLst>
                <a:ext uri="{FF2B5EF4-FFF2-40B4-BE49-F238E27FC236}">
                  <a16:creationId xmlns:a16="http://schemas.microsoft.com/office/drawing/2014/main" id="{191B1213-8AA0-3D0F-E377-7412EDA71C46}"/>
                </a:ext>
              </a:extLst>
            </p:cNvPr>
            <p:cNvSpPr/>
            <p:nvPr/>
          </p:nvSpPr>
          <p:spPr>
            <a:xfrm>
              <a:off x="9122228" y="6505571"/>
              <a:ext cx="27724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5719"/>
                <a:gd name="f4" fmla="val 84454"/>
                <a:gd name="f5" fmla="val 45286"/>
                <a:gd name="f6" fmla="val 84123"/>
                <a:gd name="f7" fmla="*/ f0 1 45719"/>
                <a:gd name="f8" fmla="*/ f1 1 84454"/>
                <a:gd name="f9" fmla="+- f4 0 f2"/>
                <a:gd name="f10" fmla="+- f3 0 f2"/>
                <a:gd name="f11" fmla="*/ f10 1 45719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5719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5" name="object 1905">
              <a:extLst>
                <a:ext uri="{FF2B5EF4-FFF2-40B4-BE49-F238E27FC236}">
                  <a16:creationId xmlns:a16="http://schemas.microsoft.com/office/drawing/2014/main" id="{09FEE90D-6A2C-A591-A8FA-560598594825}"/>
                </a:ext>
              </a:extLst>
            </p:cNvPr>
            <p:cNvSpPr/>
            <p:nvPr/>
          </p:nvSpPr>
          <p:spPr>
            <a:xfrm>
              <a:off x="9401650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6" name="object 1906">
              <a:extLst>
                <a:ext uri="{FF2B5EF4-FFF2-40B4-BE49-F238E27FC236}">
                  <a16:creationId xmlns:a16="http://schemas.microsoft.com/office/drawing/2014/main" id="{CF6887D7-7B21-AD4C-06EA-A83E8DB21F48}"/>
                </a:ext>
              </a:extLst>
            </p:cNvPr>
            <p:cNvSpPr/>
            <p:nvPr/>
          </p:nvSpPr>
          <p:spPr>
            <a:xfrm>
              <a:off x="9436672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7" name="object 1907">
              <a:extLst>
                <a:ext uri="{FF2B5EF4-FFF2-40B4-BE49-F238E27FC236}">
                  <a16:creationId xmlns:a16="http://schemas.microsoft.com/office/drawing/2014/main" id="{8BCFC013-1794-8C25-12CA-969E5DA81488}"/>
                </a:ext>
              </a:extLst>
            </p:cNvPr>
            <p:cNvSpPr/>
            <p:nvPr/>
          </p:nvSpPr>
          <p:spPr>
            <a:xfrm>
              <a:off x="9331607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8" name="object 1908">
              <a:extLst>
                <a:ext uri="{FF2B5EF4-FFF2-40B4-BE49-F238E27FC236}">
                  <a16:creationId xmlns:a16="http://schemas.microsoft.com/office/drawing/2014/main" id="{DFF52921-CFF3-6E38-CDF7-3C98D845AC30}"/>
                </a:ext>
              </a:extLst>
            </p:cNvPr>
            <p:cNvSpPr/>
            <p:nvPr/>
          </p:nvSpPr>
          <p:spPr>
            <a:xfrm>
              <a:off x="9226533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09" name="object 1909">
              <a:extLst>
                <a:ext uri="{FF2B5EF4-FFF2-40B4-BE49-F238E27FC236}">
                  <a16:creationId xmlns:a16="http://schemas.microsoft.com/office/drawing/2014/main" id="{68AD337F-32BB-EF04-0162-DF8D33D3ADBD}"/>
                </a:ext>
              </a:extLst>
            </p:cNvPr>
            <p:cNvSpPr/>
            <p:nvPr/>
          </p:nvSpPr>
          <p:spPr>
            <a:xfrm>
              <a:off x="9261628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0" name="object 1910">
              <a:extLst>
                <a:ext uri="{FF2B5EF4-FFF2-40B4-BE49-F238E27FC236}">
                  <a16:creationId xmlns:a16="http://schemas.microsoft.com/office/drawing/2014/main" id="{2003E428-067C-98CA-A63D-72BF1ACB4D87}"/>
                </a:ext>
              </a:extLst>
            </p:cNvPr>
            <p:cNvSpPr/>
            <p:nvPr/>
          </p:nvSpPr>
          <p:spPr>
            <a:xfrm>
              <a:off x="9156490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1" name="object 1911">
              <a:extLst>
                <a:ext uri="{FF2B5EF4-FFF2-40B4-BE49-F238E27FC236}">
                  <a16:creationId xmlns:a16="http://schemas.microsoft.com/office/drawing/2014/main" id="{CE80AAA5-69F6-7547-0F02-2DC370FAFA0E}"/>
                </a:ext>
              </a:extLst>
            </p:cNvPr>
            <p:cNvSpPr/>
            <p:nvPr/>
          </p:nvSpPr>
          <p:spPr>
            <a:xfrm>
              <a:off x="9366628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2" name="object 1912">
              <a:extLst>
                <a:ext uri="{FF2B5EF4-FFF2-40B4-BE49-F238E27FC236}">
                  <a16:creationId xmlns:a16="http://schemas.microsoft.com/office/drawing/2014/main" id="{02D34884-6696-E9EC-45FE-70BC67E2EA7F}"/>
                </a:ext>
              </a:extLst>
            </p:cNvPr>
            <p:cNvSpPr/>
            <p:nvPr/>
          </p:nvSpPr>
          <p:spPr>
            <a:xfrm>
              <a:off x="9191512" y="651831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12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3" name="object 1913">
              <a:extLst>
                <a:ext uri="{FF2B5EF4-FFF2-40B4-BE49-F238E27FC236}">
                  <a16:creationId xmlns:a16="http://schemas.microsoft.com/office/drawing/2014/main" id="{2EBE9910-1306-9D82-A480-FD003EEE3464}"/>
                </a:ext>
              </a:extLst>
            </p:cNvPr>
            <p:cNvSpPr/>
            <p:nvPr/>
          </p:nvSpPr>
          <p:spPr>
            <a:xfrm>
              <a:off x="947169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4" name="object 1914">
              <a:extLst>
                <a:ext uri="{FF2B5EF4-FFF2-40B4-BE49-F238E27FC236}">
                  <a16:creationId xmlns:a16="http://schemas.microsoft.com/office/drawing/2014/main" id="{F9BAF275-E3BC-187E-8EDB-6507DE31BBDE}"/>
                </a:ext>
              </a:extLst>
            </p:cNvPr>
            <p:cNvSpPr/>
            <p:nvPr/>
          </p:nvSpPr>
          <p:spPr>
            <a:xfrm>
              <a:off x="929672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5" name="object 1915">
              <a:extLst>
                <a:ext uri="{FF2B5EF4-FFF2-40B4-BE49-F238E27FC236}">
                  <a16:creationId xmlns:a16="http://schemas.microsoft.com/office/drawing/2014/main" id="{6A6E1AF9-EC04-BD41-411F-CD39318F243E}"/>
                </a:ext>
              </a:extLst>
            </p:cNvPr>
            <p:cNvSpPr/>
            <p:nvPr/>
          </p:nvSpPr>
          <p:spPr>
            <a:xfrm>
              <a:off x="912174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6" name="object 1916">
              <a:extLst>
                <a:ext uri="{FF2B5EF4-FFF2-40B4-BE49-F238E27FC236}">
                  <a16:creationId xmlns:a16="http://schemas.microsoft.com/office/drawing/2014/main" id="{70B94B58-36B0-D7F0-9A00-E5B55A4C3042}"/>
                </a:ext>
              </a:extLst>
            </p:cNvPr>
            <p:cNvSpPr/>
            <p:nvPr/>
          </p:nvSpPr>
          <p:spPr>
            <a:xfrm>
              <a:off x="9296723" y="650556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17" name="object 1917">
              <a:extLst>
                <a:ext uri="{FF2B5EF4-FFF2-40B4-BE49-F238E27FC236}">
                  <a16:creationId xmlns:a16="http://schemas.microsoft.com/office/drawing/2014/main" id="{87A68FD0-5EFD-E544-06FB-4EB5AF10CCF3}"/>
                </a:ext>
              </a:extLst>
            </p:cNvPr>
            <p:cNvSpPr/>
            <p:nvPr/>
          </p:nvSpPr>
          <p:spPr>
            <a:xfrm>
              <a:off x="9121743" y="653107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75"/>
                <a:gd name="f6" fmla="val 349943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918" name="object 1918">
            <a:extLst>
              <a:ext uri="{FF2B5EF4-FFF2-40B4-BE49-F238E27FC236}">
                <a16:creationId xmlns:a16="http://schemas.microsoft.com/office/drawing/2014/main" id="{A8CAA159-7D59-55DD-A7C0-A35BBD5B8BE2}"/>
              </a:ext>
            </a:extLst>
          </p:cNvPr>
          <p:cNvGrpSpPr/>
          <p:nvPr/>
        </p:nvGrpSpPr>
        <p:grpSpPr>
          <a:xfrm>
            <a:off x="9943048" y="4906542"/>
            <a:ext cx="350370" cy="123516"/>
            <a:chOff x="9943048" y="4906542"/>
            <a:chExt cx="350370" cy="123516"/>
          </a:xfrm>
        </p:grpSpPr>
        <p:sp>
          <p:nvSpPr>
            <p:cNvPr id="1919" name="object 1919">
              <a:extLst>
                <a:ext uri="{FF2B5EF4-FFF2-40B4-BE49-F238E27FC236}">
                  <a16:creationId xmlns:a16="http://schemas.microsoft.com/office/drawing/2014/main" id="{3C73FDD2-A308-BF0D-5F1F-3CE9077AD1F2}"/>
                </a:ext>
              </a:extLst>
            </p:cNvPr>
            <p:cNvSpPr/>
            <p:nvPr/>
          </p:nvSpPr>
          <p:spPr>
            <a:xfrm>
              <a:off x="10223293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0" name="object 1920">
              <a:extLst>
                <a:ext uri="{FF2B5EF4-FFF2-40B4-BE49-F238E27FC236}">
                  <a16:creationId xmlns:a16="http://schemas.microsoft.com/office/drawing/2014/main" id="{7F3985FB-8E4E-0BE8-B2FC-F96DF9FA74BE}"/>
                </a:ext>
              </a:extLst>
            </p:cNvPr>
            <p:cNvSpPr/>
            <p:nvPr/>
          </p:nvSpPr>
          <p:spPr>
            <a:xfrm>
              <a:off x="10258315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1" name="object 1921">
              <a:extLst>
                <a:ext uri="{FF2B5EF4-FFF2-40B4-BE49-F238E27FC236}">
                  <a16:creationId xmlns:a16="http://schemas.microsoft.com/office/drawing/2014/main" id="{6781FD0A-3E90-4E1E-C393-F8719E018C3B}"/>
                </a:ext>
              </a:extLst>
            </p:cNvPr>
            <p:cNvSpPr/>
            <p:nvPr/>
          </p:nvSpPr>
          <p:spPr>
            <a:xfrm>
              <a:off x="10153241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2" name="object 1922">
              <a:extLst>
                <a:ext uri="{FF2B5EF4-FFF2-40B4-BE49-F238E27FC236}">
                  <a16:creationId xmlns:a16="http://schemas.microsoft.com/office/drawing/2014/main" id="{0D536A45-CCE8-F714-EEFB-0D1A13324274}"/>
                </a:ext>
              </a:extLst>
            </p:cNvPr>
            <p:cNvSpPr/>
            <p:nvPr/>
          </p:nvSpPr>
          <p:spPr>
            <a:xfrm>
              <a:off x="10048177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3" name="object 1923">
              <a:extLst>
                <a:ext uri="{FF2B5EF4-FFF2-40B4-BE49-F238E27FC236}">
                  <a16:creationId xmlns:a16="http://schemas.microsoft.com/office/drawing/2014/main" id="{8FDB19B8-8805-899B-02F3-33B2899D4835}"/>
                </a:ext>
              </a:extLst>
            </p:cNvPr>
            <p:cNvSpPr/>
            <p:nvPr/>
          </p:nvSpPr>
          <p:spPr>
            <a:xfrm>
              <a:off x="10083271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4" name="object 1924">
              <a:extLst>
                <a:ext uri="{FF2B5EF4-FFF2-40B4-BE49-F238E27FC236}">
                  <a16:creationId xmlns:a16="http://schemas.microsoft.com/office/drawing/2014/main" id="{886AEF70-DD24-637B-A0F4-835B1B0A7C96}"/>
                </a:ext>
              </a:extLst>
            </p:cNvPr>
            <p:cNvSpPr/>
            <p:nvPr/>
          </p:nvSpPr>
          <p:spPr>
            <a:xfrm>
              <a:off x="9978133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5" name="object 1925">
              <a:extLst>
                <a:ext uri="{FF2B5EF4-FFF2-40B4-BE49-F238E27FC236}">
                  <a16:creationId xmlns:a16="http://schemas.microsoft.com/office/drawing/2014/main" id="{59C52148-E332-19BE-D262-08890454AE27}"/>
                </a:ext>
              </a:extLst>
            </p:cNvPr>
            <p:cNvSpPr/>
            <p:nvPr/>
          </p:nvSpPr>
          <p:spPr>
            <a:xfrm>
              <a:off x="10188263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6" name="object 1926">
              <a:extLst>
                <a:ext uri="{FF2B5EF4-FFF2-40B4-BE49-F238E27FC236}">
                  <a16:creationId xmlns:a16="http://schemas.microsoft.com/office/drawing/2014/main" id="{EFFCF7B2-C5EC-AC12-4281-6BB4B8BC061D}"/>
                </a:ext>
              </a:extLst>
            </p:cNvPr>
            <p:cNvSpPr/>
            <p:nvPr/>
          </p:nvSpPr>
          <p:spPr>
            <a:xfrm>
              <a:off x="10013155" y="4919298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7" name="object 1927">
              <a:extLst>
                <a:ext uri="{FF2B5EF4-FFF2-40B4-BE49-F238E27FC236}">
                  <a16:creationId xmlns:a16="http://schemas.microsoft.com/office/drawing/2014/main" id="{014A1F80-141C-686D-0999-41E470188B6B}"/>
                </a:ext>
              </a:extLst>
            </p:cNvPr>
            <p:cNvSpPr/>
            <p:nvPr/>
          </p:nvSpPr>
          <p:spPr>
            <a:xfrm>
              <a:off x="10293336" y="490654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8" name="object 1928">
              <a:extLst>
                <a:ext uri="{FF2B5EF4-FFF2-40B4-BE49-F238E27FC236}">
                  <a16:creationId xmlns:a16="http://schemas.microsoft.com/office/drawing/2014/main" id="{3CA59189-8A6D-4D9D-1219-F9C4A916CC80}"/>
                </a:ext>
              </a:extLst>
            </p:cNvPr>
            <p:cNvSpPr/>
            <p:nvPr/>
          </p:nvSpPr>
          <p:spPr>
            <a:xfrm>
              <a:off x="10118366" y="490654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29" name="object 1929">
              <a:extLst>
                <a:ext uri="{FF2B5EF4-FFF2-40B4-BE49-F238E27FC236}">
                  <a16:creationId xmlns:a16="http://schemas.microsoft.com/office/drawing/2014/main" id="{14A98A8E-4874-FEA1-7E6C-35ED1CE836AF}"/>
                </a:ext>
              </a:extLst>
            </p:cNvPr>
            <p:cNvSpPr/>
            <p:nvPr/>
          </p:nvSpPr>
          <p:spPr>
            <a:xfrm>
              <a:off x="9943386" y="4906542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9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0" name="object 1930">
              <a:extLst>
                <a:ext uri="{FF2B5EF4-FFF2-40B4-BE49-F238E27FC236}">
                  <a16:creationId xmlns:a16="http://schemas.microsoft.com/office/drawing/2014/main" id="{29F0241A-705D-B104-82E7-101AECF273C9}"/>
                </a:ext>
              </a:extLst>
            </p:cNvPr>
            <p:cNvSpPr/>
            <p:nvPr/>
          </p:nvSpPr>
          <p:spPr>
            <a:xfrm>
              <a:off x="9943395" y="4932054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1" name="object 1931">
              <a:extLst>
                <a:ext uri="{FF2B5EF4-FFF2-40B4-BE49-F238E27FC236}">
                  <a16:creationId xmlns:a16="http://schemas.microsoft.com/office/drawing/2014/main" id="{B655F67A-A018-1666-7C38-F03A7F0B68CC}"/>
                </a:ext>
              </a:extLst>
            </p:cNvPr>
            <p:cNvSpPr/>
            <p:nvPr/>
          </p:nvSpPr>
          <p:spPr>
            <a:xfrm>
              <a:off x="9943514" y="4906551"/>
              <a:ext cx="37737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2230"/>
                <a:gd name="f4" fmla="val 84454"/>
                <a:gd name="f5" fmla="val 62197"/>
                <a:gd name="f6" fmla="val 84123"/>
                <a:gd name="f7" fmla="*/ f0 1 62230"/>
                <a:gd name="f8" fmla="*/ f1 1 84454"/>
                <a:gd name="f9" fmla="+- f4 0 f2"/>
                <a:gd name="f10" fmla="+- f3 0 f2"/>
                <a:gd name="f11" fmla="*/ f10 1 62230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2230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6AA64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2" name="object 1932">
              <a:extLst>
                <a:ext uri="{FF2B5EF4-FFF2-40B4-BE49-F238E27FC236}">
                  <a16:creationId xmlns:a16="http://schemas.microsoft.com/office/drawing/2014/main" id="{26CA16F3-C468-60B6-4A9F-6A3A16601341}"/>
                </a:ext>
              </a:extLst>
            </p:cNvPr>
            <p:cNvSpPr/>
            <p:nvPr/>
          </p:nvSpPr>
          <p:spPr>
            <a:xfrm>
              <a:off x="9943514" y="4978834"/>
              <a:ext cx="61996" cy="5121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02234"/>
                <a:gd name="f4" fmla="val 84454"/>
                <a:gd name="f5" fmla="val 101766"/>
                <a:gd name="f6" fmla="val 84123"/>
                <a:gd name="f7" fmla="*/ f0 1 102234"/>
                <a:gd name="f8" fmla="*/ f1 1 84454"/>
                <a:gd name="f9" fmla="+- f4 0 f2"/>
                <a:gd name="f10" fmla="+- f3 0 f2"/>
                <a:gd name="f11" fmla="*/ f10 1 102234"/>
                <a:gd name="f12" fmla="*/ f9 1 8445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102234" h="8445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939393">
                <a:alpha val="50000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3" name="object 1933">
              <a:extLst>
                <a:ext uri="{FF2B5EF4-FFF2-40B4-BE49-F238E27FC236}">
                  <a16:creationId xmlns:a16="http://schemas.microsoft.com/office/drawing/2014/main" id="{003A3153-8A3D-F01E-DC59-8251C856903A}"/>
                </a:ext>
              </a:extLst>
            </p:cNvPr>
            <p:cNvSpPr/>
            <p:nvPr/>
          </p:nvSpPr>
          <p:spPr>
            <a:xfrm>
              <a:off x="10222946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4" name="object 1934">
              <a:extLst>
                <a:ext uri="{FF2B5EF4-FFF2-40B4-BE49-F238E27FC236}">
                  <a16:creationId xmlns:a16="http://schemas.microsoft.com/office/drawing/2014/main" id="{FE08AD8D-AF04-E014-8805-6625D2BDB6B0}"/>
                </a:ext>
              </a:extLst>
            </p:cNvPr>
            <p:cNvSpPr/>
            <p:nvPr/>
          </p:nvSpPr>
          <p:spPr>
            <a:xfrm>
              <a:off x="10257967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5" name="object 1935">
              <a:extLst>
                <a:ext uri="{FF2B5EF4-FFF2-40B4-BE49-F238E27FC236}">
                  <a16:creationId xmlns:a16="http://schemas.microsoft.com/office/drawing/2014/main" id="{6CAF82F6-762D-9AB1-6504-7C9D31FF0CA2}"/>
                </a:ext>
              </a:extLst>
            </p:cNvPr>
            <p:cNvSpPr/>
            <p:nvPr/>
          </p:nvSpPr>
          <p:spPr>
            <a:xfrm>
              <a:off x="10152903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6" name="object 1936">
              <a:extLst>
                <a:ext uri="{FF2B5EF4-FFF2-40B4-BE49-F238E27FC236}">
                  <a16:creationId xmlns:a16="http://schemas.microsoft.com/office/drawing/2014/main" id="{8B77C2BF-84CA-1FAB-66D0-832E4650489D}"/>
                </a:ext>
              </a:extLst>
            </p:cNvPr>
            <p:cNvSpPr/>
            <p:nvPr/>
          </p:nvSpPr>
          <p:spPr>
            <a:xfrm>
              <a:off x="10047829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7" name="object 1937">
              <a:extLst>
                <a:ext uri="{FF2B5EF4-FFF2-40B4-BE49-F238E27FC236}">
                  <a16:creationId xmlns:a16="http://schemas.microsoft.com/office/drawing/2014/main" id="{1EFDDEA9-C9FD-0444-79BA-CCE60F3ED305}"/>
                </a:ext>
              </a:extLst>
            </p:cNvPr>
            <p:cNvSpPr/>
            <p:nvPr/>
          </p:nvSpPr>
          <p:spPr>
            <a:xfrm>
              <a:off x="10082924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8" name="object 1938">
              <a:extLst>
                <a:ext uri="{FF2B5EF4-FFF2-40B4-BE49-F238E27FC236}">
                  <a16:creationId xmlns:a16="http://schemas.microsoft.com/office/drawing/2014/main" id="{17CA2BBF-F578-2FCC-C28D-A71D9FB6B966}"/>
                </a:ext>
              </a:extLst>
            </p:cNvPr>
            <p:cNvSpPr/>
            <p:nvPr/>
          </p:nvSpPr>
          <p:spPr>
            <a:xfrm>
              <a:off x="9977786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39" name="object 1939">
              <a:extLst>
                <a:ext uri="{FF2B5EF4-FFF2-40B4-BE49-F238E27FC236}">
                  <a16:creationId xmlns:a16="http://schemas.microsoft.com/office/drawing/2014/main" id="{C58CE5D6-9FE8-D71D-DA73-3BC0967EFC95}"/>
                </a:ext>
              </a:extLst>
            </p:cNvPr>
            <p:cNvSpPr/>
            <p:nvPr/>
          </p:nvSpPr>
          <p:spPr>
            <a:xfrm>
              <a:off x="10187924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0" name="object 1940">
              <a:extLst>
                <a:ext uri="{FF2B5EF4-FFF2-40B4-BE49-F238E27FC236}">
                  <a16:creationId xmlns:a16="http://schemas.microsoft.com/office/drawing/2014/main" id="{9E08143C-DDC0-2213-FDCF-3A624EA2EF88}"/>
                </a:ext>
              </a:extLst>
            </p:cNvPr>
            <p:cNvSpPr/>
            <p:nvPr/>
          </p:nvSpPr>
          <p:spPr>
            <a:xfrm>
              <a:off x="10012808" y="4991599"/>
              <a:ext cx="0" cy="257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5799"/>
                <a:gd name="f5" fmla="val 25506"/>
                <a:gd name="f6" fmla="abs f0"/>
                <a:gd name="f7" fmla="abs f1"/>
                <a:gd name="f8" fmla="abs f2"/>
                <a:gd name="f9" fmla="*/ f1 1 2579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5799"/>
                <a:gd name="f17" fmla="*/ f12 1 21600"/>
                <a:gd name="f18" fmla="*/ f13 1 25799"/>
                <a:gd name="f19" fmla="*/ 21600 f12 1"/>
                <a:gd name="f20" fmla="*/ 0 1 f15"/>
                <a:gd name="f21" fmla="*/ 1 1 f15"/>
                <a:gd name="f22" fmla="*/ 0 1 f16"/>
                <a:gd name="f23" fmla="*/ 2579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5799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1" name="object 1941">
              <a:extLst>
                <a:ext uri="{FF2B5EF4-FFF2-40B4-BE49-F238E27FC236}">
                  <a16:creationId xmlns:a16="http://schemas.microsoft.com/office/drawing/2014/main" id="{43371568-6D6D-2F34-CA92-E9B211AB27F2}"/>
                </a:ext>
              </a:extLst>
            </p:cNvPr>
            <p:cNvSpPr/>
            <p:nvPr/>
          </p:nvSpPr>
          <p:spPr>
            <a:xfrm>
              <a:off x="10292989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2" name="object 1942">
              <a:extLst>
                <a:ext uri="{FF2B5EF4-FFF2-40B4-BE49-F238E27FC236}">
                  <a16:creationId xmlns:a16="http://schemas.microsoft.com/office/drawing/2014/main" id="{18CF77FB-309D-B48F-051F-7EC0175019A0}"/>
                </a:ext>
              </a:extLst>
            </p:cNvPr>
            <p:cNvSpPr/>
            <p:nvPr/>
          </p:nvSpPr>
          <p:spPr>
            <a:xfrm>
              <a:off x="10118018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3" name="object 1943">
              <a:extLst>
                <a:ext uri="{FF2B5EF4-FFF2-40B4-BE49-F238E27FC236}">
                  <a16:creationId xmlns:a16="http://schemas.microsoft.com/office/drawing/2014/main" id="{32D0B6EC-F3D4-2CF5-785D-651EDE250504}"/>
                </a:ext>
              </a:extLst>
            </p:cNvPr>
            <p:cNvSpPr/>
            <p:nvPr/>
          </p:nvSpPr>
          <p:spPr>
            <a:xfrm>
              <a:off x="9943048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4" name="object 1944">
              <a:extLst>
                <a:ext uri="{FF2B5EF4-FFF2-40B4-BE49-F238E27FC236}">
                  <a16:creationId xmlns:a16="http://schemas.microsoft.com/office/drawing/2014/main" id="{DD65A008-BE96-5CE1-84E9-0FF9D22FC7B3}"/>
                </a:ext>
              </a:extLst>
            </p:cNvPr>
            <p:cNvSpPr/>
            <p:nvPr/>
          </p:nvSpPr>
          <p:spPr>
            <a:xfrm>
              <a:off x="10118018" y="4978843"/>
              <a:ext cx="0" cy="5121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1214"/>
                <a:gd name="f5" fmla="val 51013"/>
                <a:gd name="f6" fmla="abs f0"/>
                <a:gd name="f7" fmla="abs f1"/>
                <a:gd name="f8" fmla="abs f2"/>
                <a:gd name="f9" fmla="*/ f1 1 5121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1214"/>
                <a:gd name="f17" fmla="*/ f12 1 21600"/>
                <a:gd name="f18" fmla="*/ f13 1 51214"/>
                <a:gd name="f19" fmla="*/ 21600 f12 1"/>
                <a:gd name="f20" fmla="*/ 0 1 f15"/>
                <a:gd name="f21" fmla="*/ 1 1 f15"/>
                <a:gd name="f22" fmla="*/ 0 1 f16"/>
                <a:gd name="f23" fmla="*/ 5121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121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45" name="object 1945">
              <a:extLst>
                <a:ext uri="{FF2B5EF4-FFF2-40B4-BE49-F238E27FC236}">
                  <a16:creationId xmlns:a16="http://schemas.microsoft.com/office/drawing/2014/main" id="{F5C66040-D14A-C853-612B-6A85829391AE}"/>
                </a:ext>
              </a:extLst>
            </p:cNvPr>
            <p:cNvSpPr/>
            <p:nvPr/>
          </p:nvSpPr>
          <p:spPr>
            <a:xfrm>
              <a:off x="9943048" y="5004346"/>
              <a:ext cx="350023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350024"/>
                <a:gd name="f5" fmla="val 174968"/>
                <a:gd name="f6" fmla="val 349937"/>
                <a:gd name="f7" fmla="abs f0"/>
                <a:gd name="f8" fmla="abs f1"/>
                <a:gd name="f9" fmla="abs f2"/>
                <a:gd name="f10" fmla="*/ f0 1 350024"/>
                <a:gd name="f11" fmla="+- f3 0 f3"/>
                <a:gd name="f12" fmla="+- f4 0 f3"/>
                <a:gd name="f13" fmla="?: f7 f0 1"/>
                <a:gd name="f14" fmla="?: f8 f1 1"/>
                <a:gd name="f15" fmla="?: f9 f2 1"/>
                <a:gd name="f16" fmla="*/ f12 1 350024"/>
                <a:gd name="f17" fmla="*/ f11 1 0"/>
                <a:gd name="f18" fmla="*/ f13 1 350024"/>
                <a:gd name="f19" fmla="*/ f14 1 21600"/>
                <a:gd name="f20" fmla="*/ 21600 f14 1"/>
                <a:gd name="f21" fmla="*/ 0 1 f16"/>
                <a:gd name="f22" fmla="*/ 350024 1 f16"/>
                <a:gd name="f23" fmla="*/ 0 1 f17"/>
                <a:gd name="f24" fmla="*/ 1 1 f17"/>
                <a:gd name="f25" fmla="min f19 f18"/>
                <a:gd name="f26" fmla="*/ f20 1 f15"/>
                <a:gd name="f27" fmla="*/ f21 f10 1"/>
                <a:gd name="f28" fmla="*/ f22 f10 1"/>
                <a:gd name="f29" fmla="val f26"/>
                <a:gd name="f30" fmla="*/ f3 f25 1"/>
                <a:gd name="f31" fmla="+- f29 0 f3"/>
                <a:gd name="f32" fmla="*/ f31 1 0"/>
                <a:gd name="f33" fmla="*/ f24 f32 1"/>
                <a:gd name="f34" fmla="*/ f23 f32 1"/>
                <a:gd name="f35" fmla="*/ f34 f25 1"/>
                <a:gd name="f36" fmla="*/ f33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7" t="f35" r="f28" b="f36"/>
              <a:pathLst>
                <a:path w="350024">
                  <a:moveTo>
                    <a:pt x="f5" y="f30"/>
                  </a:moveTo>
                  <a:lnTo>
                    <a:pt x="f6" y="f30"/>
                  </a:lnTo>
                  <a:lnTo>
                    <a:pt x="f3" y="f30"/>
                  </a:lnTo>
                </a:path>
              </a:pathLst>
            </a:custGeom>
            <a:noFill/>
            <a:ln w="317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946" name="object 1946">
            <a:extLst>
              <a:ext uri="{FF2B5EF4-FFF2-40B4-BE49-F238E27FC236}">
                <a16:creationId xmlns:a16="http://schemas.microsoft.com/office/drawing/2014/main" id="{A9BABAC5-7569-1C88-D94D-49AF2BD1BF50}"/>
              </a:ext>
            </a:extLst>
          </p:cNvPr>
          <p:cNvGrpSpPr/>
          <p:nvPr/>
        </p:nvGrpSpPr>
        <p:grpSpPr>
          <a:xfrm>
            <a:off x="2545497" y="2866918"/>
            <a:ext cx="350023" cy="350023"/>
            <a:chOff x="2545497" y="2866918"/>
            <a:chExt cx="350023" cy="350023"/>
          </a:xfrm>
        </p:grpSpPr>
        <p:pic>
          <p:nvPicPr>
            <p:cNvPr id="1947" name="object 1947">
              <a:extLst>
                <a:ext uri="{FF2B5EF4-FFF2-40B4-BE49-F238E27FC236}">
                  <a16:creationId xmlns:a16="http://schemas.microsoft.com/office/drawing/2014/main" id="{4FD498F4-89B8-0320-8918-8F3DC83E11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3"/>
            <a:stretch>
              <a:fillRect/>
            </a:stretch>
          </p:blipFill>
          <p:spPr>
            <a:xfrm>
              <a:off x="2545497" y="2866918"/>
              <a:ext cx="349940" cy="34994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948" name="object 1948">
              <a:extLst>
                <a:ext uri="{FF2B5EF4-FFF2-40B4-BE49-F238E27FC236}">
                  <a16:creationId xmlns:a16="http://schemas.microsoft.com/office/drawing/2014/main" id="{49F95BCE-D96E-1717-BC3E-00A95AD58538}"/>
                </a:ext>
              </a:extLst>
            </p:cNvPr>
            <p:cNvSpPr/>
            <p:nvPr/>
          </p:nvSpPr>
          <p:spPr>
            <a:xfrm>
              <a:off x="2545497" y="286691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1570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1949" name="object 1949">
            <a:extLst>
              <a:ext uri="{FF2B5EF4-FFF2-40B4-BE49-F238E27FC236}">
                <a16:creationId xmlns:a16="http://schemas.microsoft.com/office/drawing/2014/main" id="{D5077E27-58FA-807B-4B44-0E88A2543FB5}"/>
              </a:ext>
            </a:extLst>
          </p:cNvPr>
          <p:cNvSpPr txBox="1"/>
          <p:nvPr/>
        </p:nvSpPr>
        <p:spPr>
          <a:xfrm>
            <a:off x="2541986" y="948424"/>
            <a:ext cx="44629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rip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oundati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eca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nd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0" name="object 1950">
            <a:extLst>
              <a:ext uri="{FF2B5EF4-FFF2-40B4-BE49-F238E27FC236}">
                <a16:creationId xmlns:a16="http://schemas.microsoft.com/office/drawing/2014/main" id="{7E3EFE0F-0993-3327-177C-7EF8EDD00236}"/>
              </a:ext>
            </a:extLst>
          </p:cNvPr>
          <p:cNvSpPr txBox="1"/>
          <p:nvPr/>
        </p:nvSpPr>
        <p:spPr>
          <a:xfrm>
            <a:off x="2540120" y="1706599"/>
            <a:ext cx="4832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rip foundati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eca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utureCe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1" name="object 1951">
            <a:extLst>
              <a:ext uri="{FF2B5EF4-FFF2-40B4-BE49-F238E27FC236}">
                <a16:creationId xmlns:a16="http://schemas.microsoft.com/office/drawing/2014/main" id="{E1A513E8-6EAC-F6EE-E805-47A008A7042E}"/>
              </a:ext>
            </a:extLst>
          </p:cNvPr>
          <p:cNvSpPr txBox="1"/>
          <p:nvPr/>
        </p:nvSpPr>
        <p:spPr>
          <a:xfrm>
            <a:off x="2540120" y="2469840"/>
            <a:ext cx="222180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crew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2" name="object 1952">
            <a:extLst>
              <a:ext uri="{FF2B5EF4-FFF2-40B4-BE49-F238E27FC236}">
                <a16:creationId xmlns:a16="http://schemas.microsoft.com/office/drawing/2014/main" id="{A6900ED2-3DC2-EF33-771A-FC672B70D6E0}"/>
              </a:ext>
            </a:extLst>
          </p:cNvPr>
          <p:cNvSpPr txBox="1"/>
          <p:nvPr/>
        </p:nvSpPr>
        <p:spPr>
          <a:xfrm>
            <a:off x="3359898" y="948781"/>
            <a:ext cx="40277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,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ais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3" name="object 1953">
            <a:extLst>
              <a:ext uri="{FF2B5EF4-FFF2-40B4-BE49-F238E27FC236}">
                <a16:creationId xmlns:a16="http://schemas.microsoft.com/office/drawing/2014/main" id="{95A814BA-7549-B04F-8360-44807EABFE56}"/>
              </a:ext>
            </a:extLst>
          </p:cNvPr>
          <p:cNvSpPr txBox="1"/>
          <p:nvPr/>
        </p:nvSpPr>
        <p:spPr>
          <a:xfrm>
            <a:off x="4186964" y="948516"/>
            <a:ext cx="33231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4" name="object 1954">
            <a:extLst>
              <a:ext uri="{FF2B5EF4-FFF2-40B4-BE49-F238E27FC236}">
                <a16:creationId xmlns:a16="http://schemas.microsoft.com/office/drawing/2014/main" id="{56FB43C5-D060-7D07-40EC-84C9F4B32F9F}"/>
              </a:ext>
            </a:extLst>
          </p:cNvPr>
          <p:cNvSpPr txBox="1"/>
          <p:nvPr/>
        </p:nvSpPr>
        <p:spPr>
          <a:xfrm>
            <a:off x="3359761" y="1708739"/>
            <a:ext cx="33809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5" name="object 1955">
            <a:extLst>
              <a:ext uri="{FF2B5EF4-FFF2-40B4-BE49-F238E27FC236}">
                <a16:creationId xmlns:a16="http://schemas.microsoft.com/office/drawing/2014/main" id="{8B9BBE63-8E7B-7953-64F8-FF88C2428FE3}"/>
              </a:ext>
            </a:extLst>
          </p:cNvPr>
          <p:cNvSpPr txBox="1"/>
          <p:nvPr/>
        </p:nvSpPr>
        <p:spPr>
          <a:xfrm>
            <a:off x="4186964" y="1708913"/>
            <a:ext cx="42395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6" name="object 1956">
            <a:extLst>
              <a:ext uri="{FF2B5EF4-FFF2-40B4-BE49-F238E27FC236}">
                <a16:creationId xmlns:a16="http://schemas.microsoft.com/office/drawing/2014/main" id="{29707B61-4BF7-09C9-DDC7-143E4DC1EBF8}"/>
              </a:ext>
            </a:extLst>
          </p:cNvPr>
          <p:cNvSpPr txBox="1"/>
          <p:nvPr/>
        </p:nvSpPr>
        <p:spPr>
          <a:xfrm>
            <a:off x="3359761" y="2464911"/>
            <a:ext cx="419718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errain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t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7" name="object 1957">
            <a:extLst>
              <a:ext uri="{FF2B5EF4-FFF2-40B4-BE49-F238E27FC236}">
                <a16:creationId xmlns:a16="http://schemas.microsoft.com/office/drawing/2014/main" id="{F4E23B38-33E5-1850-C6B0-1F36931FF4BE}"/>
              </a:ext>
            </a:extLst>
          </p:cNvPr>
          <p:cNvSpPr txBox="1"/>
          <p:nvPr/>
        </p:nvSpPr>
        <p:spPr>
          <a:xfrm>
            <a:off x="3359761" y="3242956"/>
            <a:ext cx="399309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8" name="object 1958">
            <a:extLst>
              <a:ext uri="{FF2B5EF4-FFF2-40B4-BE49-F238E27FC236}">
                <a16:creationId xmlns:a16="http://schemas.microsoft.com/office/drawing/2014/main" id="{D7EAA178-964E-8D08-F9A2-825A6FAAF200}"/>
              </a:ext>
            </a:extLst>
          </p:cNvPr>
          <p:cNvSpPr txBox="1"/>
          <p:nvPr/>
        </p:nvSpPr>
        <p:spPr>
          <a:xfrm>
            <a:off x="4184248" y="2469977"/>
            <a:ext cx="54679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-beam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nd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4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59" name="object 1959">
            <a:extLst>
              <a:ext uri="{FF2B5EF4-FFF2-40B4-BE49-F238E27FC236}">
                <a16:creationId xmlns:a16="http://schemas.microsoft.com/office/drawing/2014/main" id="{5D3AD78F-5CAF-FBCA-02D2-1DF5F3E766EE}"/>
              </a:ext>
            </a:extLst>
          </p:cNvPr>
          <p:cNvSpPr txBox="1"/>
          <p:nvPr/>
        </p:nvSpPr>
        <p:spPr>
          <a:xfrm>
            <a:off x="5828211" y="948159"/>
            <a:ext cx="44205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0" name="object 1960">
            <a:extLst>
              <a:ext uri="{FF2B5EF4-FFF2-40B4-BE49-F238E27FC236}">
                <a16:creationId xmlns:a16="http://schemas.microsoft.com/office/drawing/2014/main" id="{9D25F48C-A4B0-3F58-FFA0-3D502946AC21}"/>
              </a:ext>
            </a:extLst>
          </p:cNvPr>
          <p:cNvSpPr txBox="1"/>
          <p:nvPr/>
        </p:nvSpPr>
        <p:spPr>
          <a:xfrm>
            <a:off x="5828211" y="1707486"/>
            <a:ext cx="45014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 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1" name="object 1961">
            <a:extLst>
              <a:ext uri="{FF2B5EF4-FFF2-40B4-BE49-F238E27FC236}">
                <a16:creationId xmlns:a16="http://schemas.microsoft.com/office/drawing/2014/main" id="{DCDECAC9-A60C-B3BB-88F9-36901652F330}"/>
              </a:ext>
            </a:extLst>
          </p:cNvPr>
          <p:cNvSpPr txBox="1"/>
          <p:nvPr/>
        </p:nvSpPr>
        <p:spPr>
          <a:xfrm>
            <a:off x="5822469" y="2471979"/>
            <a:ext cx="510207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SB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2" name="object 1962">
            <a:extLst>
              <a:ext uri="{FF2B5EF4-FFF2-40B4-BE49-F238E27FC236}">
                <a16:creationId xmlns:a16="http://schemas.microsoft.com/office/drawing/2014/main" id="{E4D67F3D-8442-B161-5AEB-55B30BB68C77}"/>
              </a:ext>
            </a:extLst>
          </p:cNvPr>
          <p:cNvSpPr txBox="1"/>
          <p:nvPr/>
        </p:nvSpPr>
        <p:spPr>
          <a:xfrm>
            <a:off x="5832070" y="4008857"/>
            <a:ext cx="22564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3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,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60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m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3" name="object 1963">
            <a:extLst>
              <a:ext uri="{FF2B5EF4-FFF2-40B4-BE49-F238E27FC236}">
                <a16:creationId xmlns:a16="http://schemas.microsoft.com/office/drawing/2014/main" id="{83E3F8D9-5E38-9669-0E2C-E6BC24D7DC18}"/>
              </a:ext>
            </a:extLst>
          </p:cNvPr>
          <p:cNvSpPr txBox="1"/>
          <p:nvPr/>
        </p:nvSpPr>
        <p:spPr>
          <a:xfrm>
            <a:off x="5830964" y="3238329"/>
            <a:ext cx="45014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am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1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r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1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 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4" name="object 1964">
            <a:extLst>
              <a:ext uri="{FF2B5EF4-FFF2-40B4-BE49-F238E27FC236}">
                <a16:creationId xmlns:a16="http://schemas.microsoft.com/office/drawing/2014/main" id="{CACE2BEC-A5C3-7CA7-C4CC-6AC0739939AE}"/>
              </a:ext>
            </a:extLst>
          </p:cNvPr>
          <p:cNvSpPr txBox="1"/>
          <p:nvPr/>
        </p:nvSpPr>
        <p:spPr>
          <a:xfrm>
            <a:off x="6644204" y="948159"/>
            <a:ext cx="33770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isible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am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5" name="object 1965">
            <a:extLst>
              <a:ext uri="{FF2B5EF4-FFF2-40B4-BE49-F238E27FC236}">
                <a16:creationId xmlns:a16="http://schemas.microsoft.com/office/drawing/2014/main" id="{528B0DCF-7EE4-9AAF-52DA-6315F0BD8AAA}"/>
              </a:ext>
            </a:extLst>
          </p:cNvPr>
          <p:cNvSpPr txBox="1"/>
          <p:nvPr/>
        </p:nvSpPr>
        <p:spPr>
          <a:xfrm>
            <a:off x="6644204" y="1707486"/>
            <a:ext cx="40470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isible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ula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eam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6" name="object 1966">
            <a:extLst>
              <a:ext uri="{FF2B5EF4-FFF2-40B4-BE49-F238E27FC236}">
                <a16:creationId xmlns:a16="http://schemas.microsoft.com/office/drawing/2014/main" id="{6D352622-0DB7-7876-F2F9-DCC1BB9A59F4}"/>
              </a:ext>
            </a:extLst>
          </p:cNvPr>
          <p:cNvSpPr txBox="1"/>
          <p:nvPr/>
        </p:nvSpPr>
        <p:spPr>
          <a:xfrm>
            <a:off x="6638470" y="2471979"/>
            <a:ext cx="33770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ibbed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ili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7" name="object 1967">
            <a:extLst>
              <a:ext uri="{FF2B5EF4-FFF2-40B4-BE49-F238E27FC236}">
                <a16:creationId xmlns:a16="http://schemas.microsoft.com/office/drawing/2014/main" id="{A0CB2476-9919-F9D4-CCBC-4618EAED4765}"/>
              </a:ext>
            </a:extLst>
          </p:cNvPr>
          <p:cNvSpPr txBox="1"/>
          <p:nvPr/>
        </p:nvSpPr>
        <p:spPr>
          <a:xfrm>
            <a:off x="6646965" y="3238329"/>
            <a:ext cx="177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8" name="object 1968">
            <a:extLst>
              <a:ext uri="{FF2B5EF4-FFF2-40B4-BE49-F238E27FC236}">
                <a16:creationId xmlns:a16="http://schemas.microsoft.com/office/drawing/2014/main" id="{D79178FB-3441-99E4-B097-C637DFC0D4EE}"/>
              </a:ext>
            </a:extLst>
          </p:cNvPr>
          <p:cNvSpPr txBox="1"/>
          <p:nvPr/>
        </p:nvSpPr>
        <p:spPr>
          <a:xfrm>
            <a:off x="5823539" y="4771832"/>
            <a:ext cx="442057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 frame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l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x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69" name="object 1969">
            <a:extLst>
              <a:ext uri="{FF2B5EF4-FFF2-40B4-BE49-F238E27FC236}">
                <a16:creationId xmlns:a16="http://schemas.microsoft.com/office/drawing/2014/main" id="{351EA4C0-9CDB-3D17-2899-0DFE1A42B5D0}"/>
              </a:ext>
            </a:extLst>
          </p:cNvPr>
          <p:cNvSpPr txBox="1"/>
          <p:nvPr/>
        </p:nvSpPr>
        <p:spPr>
          <a:xfrm>
            <a:off x="8291056" y="948159"/>
            <a:ext cx="30188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sphalt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</a:t>
            </a:r>
            <a:r>
              <a:rPr lang="en-US" sz="334" b="0" i="0" u="none" strike="noStrike" kern="1200" cap="none" spc="6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0" name="object 1970">
            <a:extLst>
              <a:ext uri="{FF2B5EF4-FFF2-40B4-BE49-F238E27FC236}">
                <a16:creationId xmlns:a16="http://schemas.microsoft.com/office/drawing/2014/main" id="{574E5A2B-EC67-78CA-D592-A2335E246F83}"/>
              </a:ext>
            </a:extLst>
          </p:cNvPr>
          <p:cNvSpPr txBox="1"/>
          <p:nvPr/>
        </p:nvSpPr>
        <p:spPr>
          <a:xfrm>
            <a:off x="8291056" y="1707486"/>
            <a:ext cx="33115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plates,</a:t>
            </a:r>
            <a:r>
              <a:rPr lang="en-US" sz="334" b="0" i="0" u="none" strike="noStrike" kern="1200" cap="none" spc="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inu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1" name="object 1971">
            <a:extLst>
              <a:ext uri="{FF2B5EF4-FFF2-40B4-BE49-F238E27FC236}">
                <a16:creationId xmlns:a16="http://schemas.microsoft.com/office/drawing/2014/main" id="{1A7FCD19-9498-B90A-9FF6-F8EEA313F54B}"/>
              </a:ext>
            </a:extLst>
          </p:cNvPr>
          <p:cNvSpPr txBox="1"/>
          <p:nvPr/>
        </p:nvSpPr>
        <p:spPr>
          <a:xfrm>
            <a:off x="8285323" y="2471979"/>
            <a:ext cx="186373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f t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2" name="object 1972">
            <a:extLst>
              <a:ext uri="{FF2B5EF4-FFF2-40B4-BE49-F238E27FC236}">
                <a16:creationId xmlns:a16="http://schemas.microsoft.com/office/drawing/2014/main" id="{0476D3B9-AEA6-1C10-199D-91615C4D63B0}"/>
              </a:ext>
            </a:extLst>
          </p:cNvPr>
          <p:cNvSpPr txBox="1"/>
          <p:nvPr/>
        </p:nvSpPr>
        <p:spPr>
          <a:xfrm>
            <a:off x="8294915" y="4008857"/>
            <a:ext cx="45668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sphalt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o</a:t>
            </a:r>
            <a:r>
              <a:rPr lang="en-US" sz="334" b="0" i="0" u="none" strike="noStrike" kern="1200" cap="none" spc="5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g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3" name="object 1973">
            <a:extLst>
              <a:ext uri="{FF2B5EF4-FFF2-40B4-BE49-F238E27FC236}">
                <a16:creationId xmlns:a16="http://schemas.microsoft.com/office/drawing/2014/main" id="{97492DD5-D364-A870-D170-F9A47BB43D60}"/>
              </a:ext>
            </a:extLst>
          </p:cNvPr>
          <p:cNvSpPr txBox="1"/>
          <p:nvPr/>
        </p:nvSpPr>
        <p:spPr>
          <a:xfrm>
            <a:off x="8293809" y="3238329"/>
            <a:ext cx="105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4" name="object 1974">
            <a:extLst>
              <a:ext uri="{FF2B5EF4-FFF2-40B4-BE49-F238E27FC236}">
                <a16:creationId xmlns:a16="http://schemas.microsoft.com/office/drawing/2014/main" id="{B4FB45D4-96E6-4789-52CB-B813B2C385A7}"/>
              </a:ext>
            </a:extLst>
          </p:cNvPr>
          <p:cNvSpPr txBox="1"/>
          <p:nvPr/>
        </p:nvSpPr>
        <p:spPr>
          <a:xfrm>
            <a:off x="8286429" y="4771832"/>
            <a:ext cx="35233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5" name="object 1975">
            <a:extLst>
              <a:ext uri="{FF2B5EF4-FFF2-40B4-BE49-F238E27FC236}">
                <a16:creationId xmlns:a16="http://schemas.microsoft.com/office/drawing/2014/main" id="{1566FADF-48A6-D1E4-D80D-D9B7475F8D58}"/>
              </a:ext>
            </a:extLst>
          </p:cNvPr>
          <p:cNvSpPr txBox="1"/>
          <p:nvPr/>
        </p:nvSpPr>
        <p:spPr>
          <a:xfrm>
            <a:off x="5827315" y="5543568"/>
            <a:ext cx="333079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erated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6" name="object 1976">
            <a:extLst>
              <a:ext uri="{FF2B5EF4-FFF2-40B4-BE49-F238E27FC236}">
                <a16:creationId xmlns:a16="http://schemas.microsoft.com/office/drawing/2014/main" id="{01F4D848-1EDF-78B9-050F-B724AA56C5AF}"/>
              </a:ext>
            </a:extLst>
          </p:cNvPr>
          <p:cNvSpPr txBox="1"/>
          <p:nvPr/>
        </p:nvSpPr>
        <p:spPr>
          <a:xfrm>
            <a:off x="7474653" y="950473"/>
            <a:ext cx="562575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ightweight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7" name="object 1977">
            <a:extLst>
              <a:ext uri="{FF2B5EF4-FFF2-40B4-BE49-F238E27FC236}">
                <a16:creationId xmlns:a16="http://schemas.microsoft.com/office/drawing/2014/main" id="{BBCF9513-8C1D-6362-7FEF-02B2C5E37154}"/>
              </a:ext>
            </a:extLst>
          </p:cNvPr>
          <p:cNvSpPr txBox="1"/>
          <p:nvPr/>
        </p:nvSpPr>
        <p:spPr>
          <a:xfrm>
            <a:off x="9115854" y="951094"/>
            <a:ext cx="527535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/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8" name="object 1978">
            <a:extLst>
              <a:ext uri="{FF2B5EF4-FFF2-40B4-BE49-F238E27FC236}">
                <a16:creationId xmlns:a16="http://schemas.microsoft.com/office/drawing/2014/main" id="{0028FB85-8E89-BC07-3107-927A969E0A9C}"/>
              </a:ext>
            </a:extLst>
          </p:cNvPr>
          <p:cNvSpPr txBox="1"/>
          <p:nvPr/>
        </p:nvSpPr>
        <p:spPr>
          <a:xfrm>
            <a:off x="9116165" y="4012103"/>
            <a:ext cx="53716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GL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&amp;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5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79" name="object 1979">
            <a:extLst>
              <a:ext uri="{FF2B5EF4-FFF2-40B4-BE49-F238E27FC236}">
                <a16:creationId xmlns:a16="http://schemas.microsoft.com/office/drawing/2014/main" id="{87843B5A-BD7F-3E67-446F-AAC4441788F1}"/>
              </a:ext>
            </a:extLst>
          </p:cNvPr>
          <p:cNvSpPr txBox="1"/>
          <p:nvPr/>
        </p:nvSpPr>
        <p:spPr>
          <a:xfrm>
            <a:off x="9934078" y="951186"/>
            <a:ext cx="17751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hin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ilm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0" name="object 1980">
            <a:extLst>
              <a:ext uri="{FF2B5EF4-FFF2-40B4-BE49-F238E27FC236}">
                <a16:creationId xmlns:a16="http://schemas.microsoft.com/office/drawing/2014/main" id="{62BF183F-1A30-63C9-E4EC-B0A8373E9A0A}"/>
              </a:ext>
            </a:extLst>
          </p:cNvPr>
          <p:cNvSpPr txBox="1"/>
          <p:nvPr/>
        </p:nvSpPr>
        <p:spPr>
          <a:xfrm>
            <a:off x="9937232" y="4022948"/>
            <a:ext cx="359651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Natural</a:t>
            </a:r>
            <a:r>
              <a:rPr lang="en-US" sz="334" b="0" i="0" u="none" strike="noStrike" kern="1200" cap="none" spc="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1" name="object 1981">
            <a:extLst>
              <a:ext uri="{FF2B5EF4-FFF2-40B4-BE49-F238E27FC236}">
                <a16:creationId xmlns:a16="http://schemas.microsoft.com/office/drawing/2014/main" id="{09CB948E-31E8-86B7-8B8D-E4775650D5BA}"/>
              </a:ext>
            </a:extLst>
          </p:cNvPr>
          <p:cNvSpPr txBox="1"/>
          <p:nvPr/>
        </p:nvSpPr>
        <p:spPr>
          <a:xfrm>
            <a:off x="7478786" y="1710065"/>
            <a:ext cx="3438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2" name="object 1982">
            <a:extLst>
              <a:ext uri="{FF2B5EF4-FFF2-40B4-BE49-F238E27FC236}">
                <a16:creationId xmlns:a16="http://schemas.microsoft.com/office/drawing/2014/main" id="{163D5E85-8DC3-114E-B337-976029A4EEC7}"/>
              </a:ext>
            </a:extLst>
          </p:cNvPr>
          <p:cNvSpPr txBox="1"/>
          <p:nvPr/>
        </p:nvSpPr>
        <p:spPr>
          <a:xfrm>
            <a:off x="7480834" y="2470909"/>
            <a:ext cx="38429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rred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struction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ed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ttic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3" name="object 1983">
            <a:extLst>
              <a:ext uri="{FF2B5EF4-FFF2-40B4-BE49-F238E27FC236}">
                <a16:creationId xmlns:a16="http://schemas.microsoft.com/office/drawing/2014/main" id="{ECBC0F18-55AF-4BDB-C274-DA2D7F5ECBCF}"/>
              </a:ext>
            </a:extLst>
          </p:cNvPr>
          <p:cNvSpPr txBox="1"/>
          <p:nvPr/>
        </p:nvSpPr>
        <p:spPr>
          <a:xfrm>
            <a:off x="9115854" y="1708026"/>
            <a:ext cx="44205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/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4" name="object 1984">
            <a:extLst>
              <a:ext uri="{FF2B5EF4-FFF2-40B4-BE49-F238E27FC236}">
                <a16:creationId xmlns:a16="http://schemas.microsoft.com/office/drawing/2014/main" id="{327D1387-23C8-B773-3CA3-9C9E479867F7}"/>
              </a:ext>
            </a:extLst>
          </p:cNvPr>
          <p:cNvSpPr txBox="1"/>
          <p:nvPr/>
        </p:nvSpPr>
        <p:spPr>
          <a:xfrm>
            <a:off x="9116211" y="4769126"/>
            <a:ext cx="464387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GU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,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U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5" name="object 1985">
            <a:extLst>
              <a:ext uri="{FF2B5EF4-FFF2-40B4-BE49-F238E27FC236}">
                <a16:creationId xmlns:a16="http://schemas.microsoft.com/office/drawing/2014/main" id="{FC4123F4-BC2A-C751-400D-B5B24F23FA78}"/>
              </a:ext>
            </a:extLst>
          </p:cNvPr>
          <p:cNvSpPr txBox="1"/>
          <p:nvPr/>
        </p:nvSpPr>
        <p:spPr>
          <a:xfrm>
            <a:off x="9117006" y="2471623"/>
            <a:ext cx="3877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Aluminum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6" name="object 1986">
            <a:extLst>
              <a:ext uri="{FF2B5EF4-FFF2-40B4-BE49-F238E27FC236}">
                <a16:creationId xmlns:a16="http://schemas.microsoft.com/office/drawing/2014/main" id="{6F46B83C-5F99-F0AD-EB84-A1EDAF2F2B07}"/>
              </a:ext>
            </a:extLst>
          </p:cNvPr>
          <p:cNvSpPr txBox="1"/>
          <p:nvPr/>
        </p:nvSpPr>
        <p:spPr>
          <a:xfrm>
            <a:off x="9116211" y="5532814"/>
            <a:ext cx="335392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odular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kylight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2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7" name="object 1987">
            <a:extLst>
              <a:ext uri="{FF2B5EF4-FFF2-40B4-BE49-F238E27FC236}">
                <a16:creationId xmlns:a16="http://schemas.microsoft.com/office/drawing/2014/main" id="{0BF14C42-DFAF-5D66-B4DA-147C9E25FE61}"/>
              </a:ext>
            </a:extLst>
          </p:cNvPr>
          <p:cNvSpPr txBox="1"/>
          <p:nvPr/>
        </p:nvSpPr>
        <p:spPr>
          <a:xfrm>
            <a:off x="9934123" y="1708775"/>
            <a:ext cx="35310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fficien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solar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o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First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ola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8" name="object 1988">
            <a:extLst>
              <a:ext uri="{FF2B5EF4-FFF2-40B4-BE49-F238E27FC236}">
                <a16:creationId xmlns:a16="http://schemas.microsoft.com/office/drawing/2014/main" id="{30FD0246-89C3-A7CF-815F-7C3A5CE910BD}"/>
              </a:ext>
            </a:extLst>
          </p:cNvPr>
          <p:cNvSpPr txBox="1"/>
          <p:nvPr/>
        </p:nvSpPr>
        <p:spPr>
          <a:xfrm>
            <a:off x="9937278" y="4782723"/>
            <a:ext cx="43474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echanical</a:t>
            </a:r>
            <a:r>
              <a:rPr lang="en-US" sz="334" b="0" i="0" u="none" strike="noStrike" kern="1200" cap="none" spc="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venti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89" name="object 1989">
            <a:extLst>
              <a:ext uri="{FF2B5EF4-FFF2-40B4-BE49-F238E27FC236}">
                <a16:creationId xmlns:a16="http://schemas.microsoft.com/office/drawing/2014/main" id="{4637AA23-AED1-6A20-35B3-A59BA1F0DD23}"/>
              </a:ext>
            </a:extLst>
          </p:cNvPr>
          <p:cNvSpPr txBox="1"/>
          <p:nvPr/>
        </p:nvSpPr>
        <p:spPr>
          <a:xfrm>
            <a:off x="9934123" y="2470690"/>
            <a:ext cx="393923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ighly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efficient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olar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s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rom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unpow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0" name="object 1990">
            <a:extLst>
              <a:ext uri="{FF2B5EF4-FFF2-40B4-BE49-F238E27FC236}">
                <a16:creationId xmlns:a16="http://schemas.microsoft.com/office/drawing/2014/main" id="{24D93F45-C8D6-7A45-31E4-DD2F9F2949E1}"/>
              </a:ext>
            </a:extLst>
          </p:cNvPr>
          <p:cNvSpPr txBox="1"/>
          <p:nvPr/>
        </p:nvSpPr>
        <p:spPr>
          <a:xfrm>
            <a:off x="9117811" y="3243129"/>
            <a:ext cx="351175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VC</a:t>
            </a:r>
            <a:r>
              <a:rPr lang="en-US" sz="334" b="0" i="0" u="none" strike="noStrike" kern="1200" cap="none" spc="-3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ndows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(incl.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)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1" name="object 1991">
            <a:extLst>
              <a:ext uri="{FF2B5EF4-FFF2-40B4-BE49-F238E27FC236}">
                <a16:creationId xmlns:a16="http://schemas.microsoft.com/office/drawing/2014/main" id="{122C6051-A6FA-DAF5-00AD-2C5FE33C86D3}"/>
              </a:ext>
            </a:extLst>
          </p:cNvPr>
          <p:cNvSpPr txBox="1"/>
          <p:nvPr/>
        </p:nvSpPr>
        <p:spPr>
          <a:xfrm>
            <a:off x="3359807" y="4003078"/>
            <a:ext cx="50597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deck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utureCem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olystyren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2" name="object 1992">
            <a:extLst>
              <a:ext uri="{FF2B5EF4-FFF2-40B4-BE49-F238E27FC236}">
                <a16:creationId xmlns:a16="http://schemas.microsoft.com/office/drawing/2014/main" id="{39E3BBE1-164E-812D-E5F9-01BFB01EF0DE}"/>
              </a:ext>
            </a:extLst>
          </p:cNvPr>
          <p:cNvSpPr txBox="1"/>
          <p:nvPr/>
        </p:nvSpPr>
        <p:spPr>
          <a:xfrm>
            <a:off x="3359807" y="4769839"/>
            <a:ext cx="601089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deck</a:t>
            </a:r>
            <a:r>
              <a:rPr lang="en-US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/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Future-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m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o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errain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bat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3" name="object 1993">
            <a:extLst>
              <a:ext uri="{FF2B5EF4-FFF2-40B4-BE49-F238E27FC236}">
                <a16:creationId xmlns:a16="http://schemas.microsoft.com/office/drawing/2014/main" id="{72D9EA99-658E-33AD-BB70-B16F70893922}"/>
              </a:ext>
            </a:extLst>
          </p:cNvPr>
          <p:cNvSpPr txBox="1"/>
          <p:nvPr/>
        </p:nvSpPr>
        <p:spPr>
          <a:xfrm>
            <a:off x="4181139" y="3243532"/>
            <a:ext cx="332311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assett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8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mpcre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4" name="object 1994">
            <a:extLst>
              <a:ext uri="{FF2B5EF4-FFF2-40B4-BE49-F238E27FC236}">
                <a16:creationId xmlns:a16="http://schemas.microsoft.com/office/drawing/2014/main" id="{00FCE0FA-C6EE-A2CD-B584-2F4E25E293D5}"/>
              </a:ext>
            </a:extLst>
          </p:cNvPr>
          <p:cNvSpPr txBox="1"/>
          <p:nvPr/>
        </p:nvSpPr>
        <p:spPr>
          <a:xfrm>
            <a:off x="4181139" y="4003663"/>
            <a:ext cx="343860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T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ith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ulose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insulation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5" name="object 1995">
            <a:extLst>
              <a:ext uri="{FF2B5EF4-FFF2-40B4-BE49-F238E27FC236}">
                <a16:creationId xmlns:a16="http://schemas.microsoft.com/office/drawing/2014/main" id="{D45DB06C-3CC4-7527-2E88-6981F426DFC9}"/>
              </a:ext>
            </a:extLst>
          </p:cNvPr>
          <p:cNvSpPr txBox="1"/>
          <p:nvPr/>
        </p:nvSpPr>
        <p:spPr>
          <a:xfrm>
            <a:off x="4181139" y="4770415"/>
            <a:ext cx="483260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vy</a:t>
            </a: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oncret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ack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all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6" name="object 1996">
            <a:extLst>
              <a:ext uri="{FF2B5EF4-FFF2-40B4-BE49-F238E27FC236}">
                <a16:creationId xmlns:a16="http://schemas.microsoft.com/office/drawing/2014/main" id="{C0F2EF1A-87BA-95F4-2B04-7DE895E797B7}"/>
              </a:ext>
            </a:extLst>
          </p:cNvPr>
          <p:cNvSpPr txBox="1"/>
          <p:nvPr/>
        </p:nvSpPr>
        <p:spPr>
          <a:xfrm>
            <a:off x="4181139" y="5538145"/>
            <a:ext cx="294958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lock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ri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7" name="object 1997">
            <a:extLst>
              <a:ext uri="{FF2B5EF4-FFF2-40B4-BE49-F238E27FC236}">
                <a16:creationId xmlns:a16="http://schemas.microsoft.com/office/drawing/2014/main" id="{44B11483-DADF-B190-6700-9EFBAC0FB73B}"/>
              </a:ext>
            </a:extLst>
          </p:cNvPr>
          <p:cNvSpPr txBox="1"/>
          <p:nvPr/>
        </p:nvSpPr>
        <p:spPr>
          <a:xfrm>
            <a:off x="5005315" y="948516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un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8" name="object 1998">
            <a:extLst>
              <a:ext uri="{FF2B5EF4-FFF2-40B4-BE49-F238E27FC236}">
                <a16:creationId xmlns:a16="http://schemas.microsoft.com/office/drawing/2014/main" id="{A730610B-3AF5-BE4C-3852-25BFF6373E4A}"/>
              </a:ext>
            </a:extLst>
          </p:cNvPr>
          <p:cNvSpPr txBox="1"/>
          <p:nvPr/>
        </p:nvSpPr>
        <p:spPr>
          <a:xfrm>
            <a:off x="5005315" y="1708958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1999" name="object 1999">
            <a:extLst>
              <a:ext uri="{FF2B5EF4-FFF2-40B4-BE49-F238E27FC236}">
                <a16:creationId xmlns:a16="http://schemas.microsoft.com/office/drawing/2014/main" id="{8C3BBA39-4394-D6AA-919D-DEF813201E78}"/>
              </a:ext>
            </a:extLst>
          </p:cNvPr>
          <p:cNvSpPr txBox="1"/>
          <p:nvPr/>
        </p:nvSpPr>
        <p:spPr>
          <a:xfrm>
            <a:off x="5002654" y="2470023"/>
            <a:ext cx="305354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ain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0" name="object 2000">
            <a:extLst>
              <a:ext uri="{FF2B5EF4-FFF2-40B4-BE49-F238E27FC236}">
                <a16:creationId xmlns:a16="http://schemas.microsoft.com/office/drawing/2014/main" id="{7875EDFC-DBD4-6DBA-0C06-71D5C52EAAC5}"/>
              </a:ext>
            </a:extLst>
          </p:cNvPr>
          <p:cNvSpPr txBox="1"/>
          <p:nvPr/>
        </p:nvSpPr>
        <p:spPr>
          <a:xfrm>
            <a:off x="4999454" y="3243532"/>
            <a:ext cx="354640" cy="1125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l-NL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inus</a:t>
            </a:r>
            <a:r>
              <a:rPr lang="nl-NL" sz="334" b="0" i="0" u="none" strike="noStrike" kern="1200" cap="none" spc="-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21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te,</a:t>
            </a:r>
            <a:r>
              <a:rPr lang="nl-NL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teel</a:t>
            </a:r>
            <a:endParaRPr lang="nl-NL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nl-NL" sz="334" b="0" i="0" u="none" strike="noStrike" kern="1200" cap="none" spc="3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+</a:t>
            </a:r>
            <a:r>
              <a:rPr lang="nl-NL" sz="334" b="0" i="0" u="none" strike="noStrike" kern="1200" cap="none" spc="-27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zinc</a:t>
            </a:r>
            <a:r>
              <a:rPr lang="nl-NL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nl-NL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agnesium</a:t>
            </a:r>
            <a:endParaRPr lang="nl-NL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1" name="object 2001">
            <a:extLst>
              <a:ext uri="{FF2B5EF4-FFF2-40B4-BE49-F238E27FC236}">
                <a16:creationId xmlns:a16="http://schemas.microsoft.com/office/drawing/2014/main" id="{4744B8F7-2158-684C-6439-7287DF817492}"/>
              </a:ext>
            </a:extLst>
          </p:cNvPr>
          <p:cNvSpPr txBox="1"/>
          <p:nvPr/>
        </p:nvSpPr>
        <p:spPr>
          <a:xfrm>
            <a:off x="4999454" y="4003663"/>
            <a:ext cx="230273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acade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tile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2" name="object 2002">
            <a:extLst>
              <a:ext uri="{FF2B5EF4-FFF2-40B4-BE49-F238E27FC236}">
                <a16:creationId xmlns:a16="http://schemas.microsoft.com/office/drawing/2014/main" id="{05CFA963-96B9-650A-567D-0D7975E8F922}"/>
              </a:ext>
            </a:extLst>
          </p:cNvPr>
          <p:cNvSpPr txBox="1"/>
          <p:nvPr/>
        </p:nvSpPr>
        <p:spPr>
          <a:xfrm>
            <a:off x="4999454" y="4770415"/>
            <a:ext cx="105896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late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3" name="object 2003">
            <a:extLst>
              <a:ext uri="{FF2B5EF4-FFF2-40B4-BE49-F238E27FC236}">
                <a16:creationId xmlns:a16="http://schemas.microsoft.com/office/drawing/2014/main" id="{88A50C7F-C494-7922-1E22-3EE41B6FC2F8}"/>
              </a:ext>
            </a:extLst>
          </p:cNvPr>
          <p:cNvSpPr txBox="1"/>
          <p:nvPr/>
        </p:nvSpPr>
        <p:spPr>
          <a:xfrm>
            <a:off x="4999454" y="5538145"/>
            <a:ext cx="258382" cy="6114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628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Fiber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cement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04" name="object 2004">
            <a:extLst>
              <a:ext uri="{FF2B5EF4-FFF2-40B4-BE49-F238E27FC236}">
                <a16:creationId xmlns:a16="http://schemas.microsoft.com/office/drawing/2014/main" id="{B16537E8-9992-AEBF-963B-3AA69D2CE960}"/>
              </a:ext>
            </a:extLst>
          </p:cNvPr>
          <p:cNvSpPr txBox="1"/>
          <p:nvPr/>
        </p:nvSpPr>
        <p:spPr>
          <a:xfrm>
            <a:off x="8285369" y="5538145"/>
            <a:ext cx="352336" cy="11171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heat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trea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grpSp>
        <p:nvGrpSpPr>
          <p:cNvPr id="2005" name="object 2005">
            <a:extLst>
              <a:ext uri="{FF2B5EF4-FFF2-40B4-BE49-F238E27FC236}">
                <a16:creationId xmlns:a16="http://schemas.microsoft.com/office/drawing/2014/main" id="{8C7E1BB1-A5A7-92D1-0944-BCBF7BE2B892}"/>
              </a:ext>
            </a:extLst>
          </p:cNvPr>
          <p:cNvGrpSpPr/>
          <p:nvPr/>
        </p:nvGrpSpPr>
        <p:grpSpPr>
          <a:xfrm>
            <a:off x="2547280" y="568354"/>
            <a:ext cx="7745791" cy="5700662"/>
            <a:chOff x="2547280" y="568354"/>
            <a:chExt cx="7745791" cy="5700662"/>
          </a:xfrm>
        </p:grpSpPr>
        <p:sp>
          <p:nvSpPr>
            <p:cNvPr id="2006" name="object 2006">
              <a:extLst>
                <a:ext uri="{FF2B5EF4-FFF2-40B4-BE49-F238E27FC236}">
                  <a16:creationId xmlns:a16="http://schemas.microsoft.com/office/drawing/2014/main" id="{8993CFF9-A468-BC76-A214-74F6FA9483BB}"/>
                </a:ext>
              </a:extLst>
            </p:cNvPr>
            <p:cNvSpPr/>
            <p:nvPr/>
          </p:nvSpPr>
          <p:spPr>
            <a:xfrm>
              <a:off x="3722394" y="743315"/>
              <a:ext cx="465155" cy="76858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1267460"/>
                <a:gd name="f5" fmla="val 209134"/>
                <a:gd name="f6" fmla="val 1507"/>
                <a:gd name="f7" fmla="val 254180"/>
                <a:gd name="f8" fmla="val 6696"/>
                <a:gd name="f9" fmla="val 295530"/>
                <a:gd name="f10" fmla="val 21475"/>
                <a:gd name="f11" fmla="val 332007"/>
                <a:gd name="f12" fmla="val 44667"/>
                <a:gd name="f13" fmla="val 362430"/>
                <a:gd name="f14" fmla="val 75091"/>
                <a:gd name="f15" fmla="val 385621"/>
                <a:gd name="f16" fmla="val 111570"/>
                <a:gd name="f17" fmla="val 400401"/>
                <a:gd name="f18" fmla="val 152923"/>
                <a:gd name="f19" fmla="val 405589"/>
                <a:gd name="f20" fmla="val 197973"/>
                <a:gd name="f21" fmla="val 996472"/>
                <a:gd name="f22" fmla="val 1070836"/>
                <a:gd name="f23" fmla="val 410778"/>
                <a:gd name="f24" fmla="val 1115882"/>
                <a:gd name="f25" fmla="val 425557"/>
                <a:gd name="f26" fmla="val 1157234"/>
                <a:gd name="f27" fmla="val 448749"/>
                <a:gd name="f28" fmla="val 1193713"/>
                <a:gd name="f29" fmla="val 479173"/>
                <a:gd name="f30" fmla="val 1224138"/>
                <a:gd name="f31" fmla="val 515652"/>
                <a:gd name="f32" fmla="val 1247331"/>
                <a:gd name="f33" fmla="val 557005"/>
                <a:gd name="f34" fmla="val 1262112"/>
                <a:gd name="f35" fmla="val 602054"/>
                <a:gd name="f36" fmla="val 1267301"/>
                <a:gd name="f37" fmla="val 766667"/>
                <a:gd name="f38" fmla="*/ f0 1 767079"/>
                <a:gd name="f39" fmla="*/ f1 1 1267460"/>
                <a:gd name="f40" fmla="+- f4 0 f2"/>
                <a:gd name="f41" fmla="+- f3 0 f2"/>
                <a:gd name="f42" fmla="*/ f41 1 767079"/>
                <a:gd name="f43" fmla="*/ f40 1 126746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1267460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7" name="object 2007">
              <a:extLst>
                <a:ext uri="{FF2B5EF4-FFF2-40B4-BE49-F238E27FC236}">
                  <a16:creationId xmlns:a16="http://schemas.microsoft.com/office/drawing/2014/main" id="{B304D6CB-A1B3-CC4B-0448-7FEBD9A57293}"/>
                </a:ext>
              </a:extLst>
            </p:cNvPr>
            <p:cNvSpPr/>
            <p:nvPr/>
          </p:nvSpPr>
          <p:spPr>
            <a:xfrm>
              <a:off x="6185897" y="3045034"/>
              <a:ext cx="471702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471704"/>
                <a:gd name="f5" fmla="val 471365"/>
                <a:gd name="f6" fmla="abs f0"/>
                <a:gd name="f7" fmla="abs f1"/>
                <a:gd name="f8" fmla="abs f2"/>
                <a:gd name="f9" fmla="*/ f0 1 471704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471704"/>
                <a:gd name="f16" fmla="*/ f10 1 0"/>
                <a:gd name="f17" fmla="*/ f12 1 471704"/>
                <a:gd name="f18" fmla="*/ f13 1 21600"/>
                <a:gd name="f19" fmla="*/ 21600 f13 1"/>
                <a:gd name="f20" fmla="*/ 0 1 f15"/>
                <a:gd name="f21" fmla="*/ 471704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471704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8" name="object 2008">
              <a:extLst>
                <a:ext uri="{FF2B5EF4-FFF2-40B4-BE49-F238E27FC236}">
                  <a16:creationId xmlns:a16="http://schemas.microsoft.com/office/drawing/2014/main" id="{46A3CB73-1B38-1F4F-FD64-57EA63EF8A66}"/>
                </a:ext>
              </a:extLst>
            </p:cNvPr>
            <p:cNvSpPr/>
            <p:nvPr/>
          </p:nvSpPr>
          <p:spPr>
            <a:xfrm>
              <a:off x="5362955" y="743315"/>
              <a:ext cx="465155" cy="230191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3796029"/>
                <a:gd name="f5" fmla="val 209124"/>
                <a:gd name="f6" fmla="val 1507"/>
                <a:gd name="f7" fmla="val 254173"/>
                <a:gd name="f8" fmla="val 6696"/>
                <a:gd name="f9" fmla="val 295527"/>
                <a:gd name="f10" fmla="val 21475"/>
                <a:gd name="f11" fmla="val 332005"/>
                <a:gd name="f12" fmla="val 44667"/>
                <a:gd name="f13" fmla="val 362430"/>
                <a:gd name="f14" fmla="val 75091"/>
                <a:gd name="f15" fmla="val 385621"/>
                <a:gd name="f16" fmla="val 111570"/>
                <a:gd name="f17" fmla="val 400401"/>
                <a:gd name="f18" fmla="val 152923"/>
                <a:gd name="f19" fmla="val 405589"/>
                <a:gd name="f20" fmla="val 197973"/>
                <a:gd name="f21" fmla="val 3524866"/>
                <a:gd name="f22" fmla="val 3599241"/>
                <a:gd name="f23" fmla="val 410778"/>
                <a:gd name="f24" fmla="val 3644289"/>
                <a:gd name="f25" fmla="val 425557"/>
                <a:gd name="f26" fmla="val 3685641"/>
                <a:gd name="f27" fmla="val 448749"/>
                <a:gd name="f28" fmla="val 3722118"/>
                <a:gd name="f29" fmla="val 479173"/>
                <a:gd name="f30" fmla="val 3752540"/>
                <a:gd name="f31" fmla="val 515652"/>
                <a:gd name="f32" fmla="val 3775729"/>
                <a:gd name="f33" fmla="val 557005"/>
                <a:gd name="f34" fmla="val 3790508"/>
                <a:gd name="f35" fmla="val 602054"/>
                <a:gd name="f36" fmla="val 3795695"/>
                <a:gd name="f37" fmla="val 766657"/>
                <a:gd name="f38" fmla="*/ f0 1 767079"/>
                <a:gd name="f39" fmla="*/ f1 1 3796029"/>
                <a:gd name="f40" fmla="+- f4 0 f2"/>
                <a:gd name="f41" fmla="+- f3 0 f2"/>
                <a:gd name="f42" fmla="*/ f41 1 767079"/>
                <a:gd name="f43" fmla="*/ f40 1 3796029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3796029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09" name="object 2009">
              <a:extLst>
                <a:ext uri="{FF2B5EF4-FFF2-40B4-BE49-F238E27FC236}">
                  <a16:creationId xmlns:a16="http://schemas.microsoft.com/office/drawing/2014/main" id="{CA305A74-ECA8-BD85-E8C9-05BF9453261A}"/>
                </a:ext>
              </a:extLst>
            </p:cNvPr>
            <p:cNvSpPr/>
            <p:nvPr/>
          </p:nvSpPr>
          <p:spPr>
            <a:xfrm>
              <a:off x="4544129" y="743315"/>
              <a:ext cx="465155" cy="76858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1267460"/>
                <a:gd name="f5" fmla="val 766667"/>
                <a:gd name="f6" fmla="val 557532"/>
                <a:gd name="f7" fmla="val 1507"/>
                <a:gd name="f8" fmla="val 512487"/>
                <a:gd name="f9" fmla="val 6696"/>
                <a:gd name="f10" fmla="val 471136"/>
                <a:gd name="f11" fmla="val 21475"/>
                <a:gd name="f12" fmla="val 434660"/>
                <a:gd name="f13" fmla="val 44667"/>
                <a:gd name="f14" fmla="val 404236"/>
                <a:gd name="f15" fmla="val 75091"/>
                <a:gd name="f16" fmla="val 381045"/>
                <a:gd name="f17" fmla="val 111570"/>
                <a:gd name="f18" fmla="val 366266"/>
                <a:gd name="f19" fmla="val 152923"/>
                <a:gd name="f20" fmla="val 361078"/>
                <a:gd name="f21" fmla="val 197973"/>
                <a:gd name="f22" fmla="val 996472"/>
                <a:gd name="f23" fmla="val 1070836"/>
                <a:gd name="f24" fmla="val 355888"/>
                <a:gd name="f25" fmla="val 1115882"/>
                <a:gd name="f26" fmla="val 341108"/>
                <a:gd name="f27" fmla="val 1157234"/>
                <a:gd name="f28" fmla="val 317915"/>
                <a:gd name="f29" fmla="val 1193713"/>
                <a:gd name="f30" fmla="val 287489"/>
                <a:gd name="f31" fmla="val 1224138"/>
                <a:gd name="f32" fmla="val 251010"/>
                <a:gd name="f33" fmla="val 1247331"/>
                <a:gd name="f34" fmla="val 209658"/>
                <a:gd name="f35" fmla="val 1262112"/>
                <a:gd name="f36" fmla="val 164612"/>
                <a:gd name="f37" fmla="val 1267301"/>
                <a:gd name="f38" fmla="*/ f0 1 767079"/>
                <a:gd name="f39" fmla="*/ f1 1 1267460"/>
                <a:gd name="f40" fmla="+- f4 0 f2"/>
                <a:gd name="f41" fmla="+- f3 0 f2"/>
                <a:gd name="f42" fmla="*/ f41 1 767079"/>
                <a:gd name="f43" fmla="*/ f40 1 126746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1267460">
                  <a:moveTo>
                    <a:pt x="f5" y="f2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2" y="f37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0" name="object 2010">
              <a:extLst>
                <a:ext uri="{FF2B5EF4-FFF2-40B4-BE49-F238E27FC236}">
                  <a16:creationId xmlns:a16="http://schemas.microsoft.com/office/drawing/2014/main" id="{E87F71F5-D1D3-AFCD-2843-0B2C9F099916}"/>
                </a:ext>
              </a:extLst>
            </p:cNvPr>
            <p:cNvSpPr/>
            <p:nvPr/>
          </p:nvSpPr>
          <p:spPr>
            <a:xfrm>
              <a:off x="7011765" y="2279855"/>
              <a:ext cx="470550" cy="76858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75970"/>
                <a:gd name="f4" fmla="val 1267460"/>
                <a:gd name="f5" fmla="val 775578"/>
                <a:gd name="f6" fmla="val 557532"/>
                <a:gd name="f7" fmla="val 1507"/>
                <a:gd name="f8" fmla="val 512484"/>
                <a:gd name="f9" fmla="val 6696"/>
                <a:gd name="f10" fmla="val 471132"/>
                <a:gd name="f11" fmla="val 21475"/>
                <a:gd name="f12" fmla="val 434655"/>
                <a:gd name="f13" fmla="val 44667"/>
                <a:gd name="f14" fmla="val 404233"/>
                <a:gd name="f15" fmla="val 75091"/>
                <a:gd name="f16" fmla="val 381044"/>
                <a:gd name="f17" fmla="val 111570"/>
                <a:gd name="f18" fmla="val 366265"/>
                <a:gd name="f19" fmla="val 152923"/>
                <a:gd name="f20" fmla="val 361078"/>
                <a:gd name="f21" fmla="val 197973"/>
                <a:gd name="f22" fmla="val 996472"/>
                <a:gd name="f23" fmla="val 1070836"/>
                <a:gd name="f24" fmla="val 355888"/>
                <a:gd name="f25" fmla="val 1115882"/>
                <a:gd name="f26" fmla="val 341108"/>
                <a:gd name="f27" fmla="val 1157234"/>
                <a:gd name="f28" fmla="val 317915"/>
                <a:gd name="f29" fmla="val 1193713"/>
                <a:gd name="f30" fmla="val 287489"/>
                <a:gd name="f31" fmla="val 1224138"/>
                <a:gd name="f32" fmla="val 251010"/>
                <a:gd name="f33" fmla="val 1247331"/>
                <a:gd name="f34" fmla="val 209658"/>
                <a:gd name="f35" fmla="val 1262112"/>
                <a:gd name="f36" fmla="val 164612"/>
                <a:gd name="f37" fmla="val 1267301"/>
                <a:gd name="f38" fmla="*/ f0 1 775970"/>
                <a:gd name="f39" fmla="*/ f1 1 1267460"/>
                <a:gd name="f40" fmla="+- f4 0 f2"/>
                <a:gd name="f41" fmla="+- f3 0 f2"/>
                <a:gd name="f42" fmla="*/ f41 1 775970"/>
                <a:gd name="f43" fmla="*/ f40 1 126746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75970" h="1267460">
                  <a:moveTo>
                    <a:pt x="f5" y="f2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2" y="f37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1" name="object 2011">
              <a:extLst>
                <a:ext uri="{FF2B5EF4-FFF2-40B4-BE49-F238E27FC236}">
                  <a16:creationId xmlns:a16="http://schemas.microsoft.com/office/drawing/2014/main" id="{10155CC7-346A-84DB-32B1-325DEABE5B0A}"/>
                </a:ext>
              </a:extLst>
            </p:cNvPr>
            <p:cNvSpPr/>
            <p:nvPr/>
          </p:nvSpPr>
          <p:spPr>
            <a:xfrm>
              <a:off x="7851248" y="1510963"/>
              <a:ext cx="448988" cy="76858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40409"/>
                <a:gd name="f4" fmla="val 1267460"/>
                <a:gd name="f5" fmla="val 740061"/>
                <a:gd name="f6" fmla="val 557522"/>
                <a:gd name="f7" fmla="val 1507"/>
                <a:gd name="f8" fmla="val 512476"/>
                <a:gd name="f9" fmla="val 6696"/>
                <a:gd name="f10" fmla="val 471126"/>
                <a:gd name="f11" fmla="val 21475"/>
                <a:gd name="f12" fmla="val 434649"/>
                <a:gd name="f13" fmla="val 44667"/>
                <a:gd name="f14" fmla="val 404226"/>
                <a:gd name="f15" fmla="val 75091"/>
                <a:gd name="f16" fmla="val 381035"/>
                <a:gd name="f17" fmla="val 111570"/>
                <a:gd name="f18" fmla="val 366256"/>
                <a:gd name="f19" fmla="val 152923"/>
                <a:gd name="f20" fmla="val 361067"/>
                <a:gd name="f21" fmla="val 197973"/>
                <a:gd name="f22" fmla="val 996472"/>
                <a:gd name="f23" fmla="val 1070836"/>
                <a:gd name="f24" fmla="val 355879"/>
                <a:gd name="f25" fmla="val 1115882"/>
                <a:gd name="f26" fmla="val 341099"/>
                <a:gd name="f27" fmla="val 1157234"/>
                <a:gd name="f28" fmla="val 317907"/>
                <a:gd name="f29" fmla="val 1193713"/>
                <a:gd name="f30" fmla="val 287483"/>
                <a:gd name="f31" fmla="val 1224138"/>
                <a:gd name="f32" fmla="val 251004"/>
                <a:gd name="f33" fmla="val 1247331"/>
                <a:gd name="f34" fmla="val 209651"/>
                <a:gd name="f35" fmla="val 1262112"/>
                <a:gd name="f36" fmla="val 164602"/>
                <a:gd name="f37" fmla="val 1267301"/>
                <a:gd name="f38" fmla="*/ f0 1 740409"/>
                <a:gd name="f39" fmla="*/ f1 1 1267460"/>
                <a:gd name="f40" fmla="+- f4 0 f2"/>
                <a:gd name="f41" fmla="+- f3 0 f2"/>
                <a:gd name="f42" fmla="*/ f41 1 740409"/>
                <a:gd name="f43" fmla="*/ f40 1 126746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40409" h="1267460">
                  <a:moveTo>
                    <a:pt x="f5" y="f2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2" y="f37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2" name="object 2012">
              <a:extLst>
                <a:ext uri="{FF2B5EF4-FFF2-40B4-BE49-F238E27FC236}">
                  <a16:creationId xmlns:a16="http://schemas.microsoft.com/office/drawing/2014/main" id="{1A1CB543-4DD9-72F1-6D6D-33FD8C4B82AB}"/>
                </a:ext>
              </a:extLst>
            </p:cNvPr>
            <p:cNvSpPr/>
            <p:nvPr/>
          </p:nvSpPr>
          <p:spPr>
            <a:xfrm>
              <a:off x="2904929" y="743315"/>
              <a:ext cx="465155" cy="153641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79"/>
                <a:gd name="f4" fmla="val 2533650"/>
                <a:gd name="f5" fmla="val 766667"/>
                <a:gd name="f6" fmla="val 557532"/>
                <a:gd name="f7" fmla="val 1507"/>
                <a:gd name="f8" fmla="val 512486"/>
                <a:gd name="f9" fmla="val 6696"/>
                <a:gd name="f10" fmla="val 471134"/>
                <a:gd name="f11" fmla="val 21475"/>
                <a:gd name="f12" fmla="val 434656"/>
                <a:gd name="f13" fmla="val 44667"/>
                <a:gd name="f14" fmla="val 404230"/>
                <a:gd name="f15" fmla="val 75091"/>
                <a:gd name="f16" fmla="val 381037"/>
                <a:gd name="f17" fmla="val 111570"/>
                <a:gd name="f18" fmla="val 366256"/>
                <a:gd name="f19" fmla="val 152923"/>
                <a:gd name="f20" fmla="val 361067"/>
                <a:gd name="f21" fmla="val 197973"/>
                <a:gd name="f22" fmla="val 2262266"/>
                <a:gd name="f23" fmla="val 2336630"/>
                <a:gd name="f24" fmla="val 355879"/>
                <a:gd name="f25" fmla="val 2381676"/>
                <a:gd name="f26" fmla="val 341099"/>
                <a:gd name="f27" fmla="val 2423028"/>
                <a:gd name="f28" fmla="val 317908"/>
                <a:gd name="f29" fmla="val 2459507"/>
                <a:gd name="f30" fmla="val 287485"/>
                <a:gd name="f31" fmla="val 2489932"/>
                <a:gd name="f32" fmla="val 251008"/>
                <a:gd name="f33" fmla="val 2513125"/>
                <a:gd name="f34" fmla="val 209658"/>
                <a:gd name="f35" fmla="val 2527906"/>
                <a:gd name="f36" fmla="val 164612"/>
                <a:gd name="f37" fmla="val 2533095"/>
                <a:gd name="f38" fmla="*/ f0 1 767079"/>
                <a:gd name="f39" fmla="*/ f1 1 2533650"/>
                <a:gd name="f40" fmla="+- f4 0 f2"/>
                <a:gd name="f41" fmla="+- f3 0 f2"/>
                <a:gd name="f42" fmla="*/ f41 1 767079"/>
                <a:gd name="f43" fmla="*/ f40 1 2533650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79" h="2533650">
                  <a:moveTo>
                    <a:pt x="f5" y="f2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0" y="f22"/>
                  </a:lnTo>
                  <a:lnTo>
                    <a:pt x="f20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36" y="f37"/>
                  </a:lnTo>
                  <a:lnTo>
                    <a:pt x="f2" y="f37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3" name="object 2013">
              <a:extLst>
                <a:ext uri="{FF2B5EF4-FFF2-40B4-BE49-F238E27FC236}">
                  <a16:creationId xmlns:a16="http://schemas.microsoft.com/office/drawing/2014/main" id="{433F45A7-F275-A64F-6417-08D3FBD5F2F0}"/>
                </a:ext>
              </a:extLst>
            </p:cNvPr>
            <p:cNvSpPr/>
            <p:nvPr/>
          </p:nvSpPr>
          <p:spPr>
            <a:xfrm>
              <a:off x="9724671" y="2277633"/>
              <a:ext cx="216401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16406"/>
                <a:gd name="f5" fmla="val 216272"/>
                <a:gd name="f6" fmla="abs f0"/>
                <a:gd name="f7" fmla="abs f1"/>
                <a:gd name="f8" fmla="abs f2"/>
                <a:gd name="f9" fmla="*/ f0 1 216406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216406"/>
                <a:gd name="f16" fmla="*/ f10 1 0"/>
                <a:gd name="f17" fmla="*/ f12 1 216406"/>
                <a:gd name="f18" fmla="*/ f13 1 21600"/>
                <a:gd name="f19" fmla="*/ 21600 f13 1"/>
                <a:gd name="f20" fmla="*/ 0 1 f15"/>
                <a:gd name="f21" fmla="*/ 216406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216406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4" name="object 2014">
              <a:extLst>
                <a:ext uri="{FF2B5EF4-FFF2-40B4-BE49-F238E27FC236}">
                  <a16:creationId xmlns:a16="http://schemas.microsoft.com/office/drawing/2014/main" id="{63F354A3-3A76-CF55-3016-8990556A6719}"/>
                </a:ext>
              </a:extLst>
            </p:cNvPr>
            <p:cNvSpPr/>
            <p:nvPr/>
          </p:nvSpPr>
          <p:spPr>
            <a:xfrm>
              <a:off x="8889367" y="3803757"/>
              <a:ext cx="216401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16406"/>
                <a:gd name="f5" fmla="val 216272"/>
                <a:gd name="f6" fmla="abs f0"/>
                <a:gd name="f7" fmla="abs f1"/>
                <a:gd name="f8" fmla="abs f2"/>
                <a:gd name="f9" fmla="*/ f0 1 216406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216406"/>
                <a:gd name="f16" fmla="*/ f10 1 0"/>
                <a:gd name="f17" fmla="*/ f12 1 216406"/>
                <a:gd name="f18" fmla="*/ f13 1 21600"/>
                <a:gd name="f19" fmla="*/ 21600 f13 1"/>
                <a:gd name="f20" fmla="*/ 0 1 f15"/>
                <a:gd name="f21" fmla="*/ 216406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216406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5" name="object 2015">
              <a:extLst>
                <a:ext uri="{FF2B5EF4-FFF2-40B4-BE49-F238E27FC236}">
                  <a16:creationId xmlns:a16="http://schemas.microsoft.com/office/drawing/2014/main" id="{AF4662B4-1D96-1CEB-36BB-EAB7E6481E10}"/>
                </a:ext>
              </a:extLst>
            </p:cNvPr>
            <p:cNvSpPr/>
            <p:nvPr/>
          </p:nvSpPr>
          <p:spPr>
            <a:xfrm>
              <a:off x="9478725" y="743315"/>
              <a:ext cx="465155" cy="3819457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67080"/>
                <a:gd name="f4" fmla="val 6298565"/>
                <a:gd name="f5" fmla="val 209124"/>
                <a:gd name="f6" fmla="val 1507"/>
                <a:gd name="f7" fmla="val 254173"/>
                <a:gd name="f8" fmla="val 6696"/>
                <a:gd name="f9" fmla="val 295527"/>
                <a:gd name="f10" fmla="val 21475"/>
                <a:gd name="f11" fmla="val 332005"/>
                <a:gd name="f12" fmla="val 44667"/>
                <a:gd name="f13" fmla="val 362430"/>
                <a:gd name="f14" fmla="val 75091"/>
                <a:gd name="f15" fmla="val 385621"/>
                <a:gd name="f16" fmla="val 111570"/>
                <a:gd name="f17" fmla="val 400401"/>
                <a:gd name="f18" fmla="val 152923"/>
                <a:gd name="f19" fmla="val 405589"/>
                <a:gd name="f20" fmla="val 197973"/>
                <a:gd name="f21" fmla="val 6027135"/>
                <a:gd name="f22" fmla="val 6101500"/>
                <a:gd name="f23" fmla="val 410778"/>
                <a:gd name="f24" fmla="val 6146546"/>
                <a:gd name="f25" fmla="val 425557"/>
                <a:gd name="f26" fmla="val 6187898"/>
                <a:gd name="f27" fmla="val 448749"/>
                <a:gd name="f28" fmla="val 6224376"/>
                <a:gd name="f29" fmla="val 479173"/>
                <a:gd name="f30" fmla="val 6254802"/>
                <a:gd name="f31" fmla="val 515652"/>
                <a:gd name="f32" fmla="val 6277995"/>
                <a:gd name="f33" fmla="val 557005"/>
                <a:gd name="f34" fmla="val 6292776"/>
                <a:gd name="f35" fmla="val 602054"/>
                <a:gd name="f36" fmla="val 6297965"/>
                <a:gd name="f37" fmla="val 766667"/>
                <a:gd name="f38" fmla="*/ f0 1 767080"/>
                <a:gd name="f39" fmla="*/ f1 1 6298565"/>
                <a:gd name="f40" fmla="+- f4 0 f2"/>
                <a:gd name="f41" fmla="+- f3 0 f2"/>
                <a:gd name="f42" fmla="*/ f41 1 767080"/>
                <a:gd name="f43" fmla="*/ f40 1 6298565"/>
                <a:gd name="f44" fmla="*/ f2 1 f42"/>
                <a:gd name="f45" fmla="*/ f3 1 f42"/>
                <a:gd name="f46" fmla="*/ f2 1 f43"/>
                <a:gd name="f47" fmla="*/ f4 1 f43"/>
                <a:gd name="f48" fmla="*/ f44 f38 1"/>
                <a:gd name="f49" fmla="*/ f45 f38 1"/>
                <a:gd name="f50" fmla="*/ f47 f39 1"/>
                <a:gd name="f51" fmla="*/ f46 f3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8" t="f51" r="f49" b="f50"/>
              <a:pathLst>
                <a:path w="767080" h="6298565">
                  <a:moveTo>
                    <a:pt x="f2" y="f2"/>
                  </a:moveTo>
                  <a:lnTo>
                    <a:pt x="f5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19" y="f21"/>
                  </a:lnTo>
                  <a:lnTo>
                    <a:pt x="f19" y="f22"/>
                  </a:lnTo>
                  <a:lnTo>
                    <a:pt x="f23" y="f24"/>
                  </a:lnTo>
                  <a:lnTo>
                    <a:pt x="f25" y="f26"/>
                  </a:lnTo>
                  <a:lnTo>
                    <a:pt x="f27" y="f28"/>
                  </a:lnTo>
                  <a:lnTo>
                    <a:pt x="f29" y="f30"/>
                  </a:lnTo>
                  <a:lnTo>
                    <a:pt x="f31" y="f32"/>
                  </a:lnTo>
                  <a:lnTo>
                    <a:pt x="f33" y="f34"/>
                  </a:lnTo>
                  <a:lnTo>
                    <a:pt x="f35" y="f36"/>
                  </a:lnTo>
                  <a:lnTo>
                    <a:pt x="f37" y="f36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6" name="object 2016">
              <a:extLst>
                <a:ext uri="{FF2B5EF4-FFF2-40B4-BE49-F238E27FC236}">
                  <a16:creationId xmlns:a16="http://schemas.microsoft.com/office/drawing/2014/main" id="{93F072F3-D7C8-D280-F455-A7B2817801B8}"/>
                </a:ext>
              </a:extLst>
            </p:cNvPr>
            <p:cNvSpPr/>
            <p:nvPr/>
          </p:nvSpPr>
          <p:spPr>
            <a:xfrm>
              <a:off x="8874526" y="743352"/>
              <a:ext cx="246055" cy="294805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05765"/>
                <a:gd name="f4" fmla="val 4861560"/>
                <a:gd name="f5" fmla="val 4860940"/>
                <a:gd name="f6" fmla="val 197973"/>
                <a:gd name="f7" fmla="val 5188"/>
                <a:gd name="f8" fmla="val 152923"/>
                <a:gd name="f9" fmla="val 19967"/>
                <a:gd name="f10" fmla="val 111570"/>
                <a:gd name="f11" fmla="val 43158"/>
                <a:gd name="f12" fmla="val 75091"/>
                <a:gd name="f13" fmla="val 73582"/>
                <a:gd name="f14" fmla="val 44667"/>
                <a:gd name="f15" fmla="val 110058"/>
                <a:gd name="f16" fmla="val 21475"/>
                <a:gd name="f17" fmla="val 151409"/>
                <a:gd name="f18" fmla="val 6696"/>
                <a:gd name="f19" fmla="val 196454"/>
                <a:gd name="f20" fmla="val 1507"/>
                <a:gd name="f21" fmla="val 405589"/>
                <a:gd name="f22" fmla="*/ f0 1 405765"/>
                <a:gd name="f23" fmla="*/ f1 1 4861560"/>
                <a:gd name="f24" fmla="+- f4 0 f2"/>
                <a:gd name="f25" fmla="+- f3 0 f2"/>
                <a:gd name="f26" fmla="*/ f25 1 405765"/>
                <a:gd name="f27" fmla="*/ f24 1 4861560"/>
                <a:gd name="f28" fmla="*/ f2 1 f26"/>
                <a:gd name="f29" fmla="*/ f3 1 f26"/>
                <a:gd name="f30" fmla="*/ f2 1 f27"/>
                <a:gd name="f31" fmla="*/ f4 1 f27"/>
                <a:gd name="f32" fmla="*/ f28 f22 1"/>
                <a:gd name="f33" fmla="*/ f29 f22 1"/>
                <a:gd name="f34" fmla="*/ f31 f23 1"/>
                <a:gd name="f35" fmla="*/ f30 f2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2" t="f35" r="f33" b="f34"/>
              <a:pathLst>
                <a:path w="405765" h="4861560">
                  <a:moveTo>
                    <a:pt x="f2" y="f5"/>
                  </a:moveTo>
                  <a:lnTo>
                    <a:pt x="f2" y="f6"/>
                  </a:ln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7" name="object 2017">
              <a:extLst>
                <a:ext uri="{FF2B5EF4-FFF2-40B4-BE49-F238E27FC236}">
                  <a16:creationId xmlns:a16="http://schemas.microsoft.com/office/drawing/2014/main" id="{7EDA54FA-562C-93D2-AFC3-EC70843F3098}"/>
                </a:ext>
              </a:extLst>
            </p:cNvPr>
            <p:cNvSpPr/>
            <p:nvPr/>
          </p:nvSpPr>
          <p:spPr>
            <a:xfrm>
              <a:off x="8874535" y="3143268"/>
              <a:ext cx="246055" cy="294805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05765"/>
                <a:gd name="f4" fmla="val 4861559"/>
                <a:gd name="f5" fmla="val 405589"/>
                <a:gd name="f6" fmla="val 4860940"/>
                <a:gd name="f7" fmla="val 196454"/>
                <a:gd name="f8" fmla="val 4859443"/>
                <a:gd name="f9" fmla="val 151409"/>
                <a:gd name="f10" fmla="val 4854254"/>
                <a:gd name="f11" fmla="val 110058"/>
                <a:gd name="f12" fmla="val 4839473"/>
                <a:gd name="f13" fmla="val 73582"/>
                <a:gd name="f14" fmla="val 4816280"/>
                <a:gd name="f15" fmla="val 43158"/>
                <a:gd name="f16" fmla="val 4785855"/>
                <a:gd name="f17" fmla="val 19967"/>
                <a:gd name="f18" fmla="val 4749376"/>
                <a:gd name="f19" fmla="val 5188"/>
                <a:gd name="f20" fmla="val 4708024"/>
                <a:gd name="f21" fmla="val 4662978"/>
                <a:gd name="f22" fmla="*/ f0 1 405765"/>
                <a:gd name="f23" fmla="*/ f1 1 4861559"/>
                <a:gd name="f24" fmla="+- f4 0 f2"/>
                <a:gd name="f25" fmla="+- f3 0 f2"/>
                <a:gd name="f26" fmla="*/ f25 1 405765"/>
                <a:gd name="f27" fmla="*/ f24 1 4861559"/>
                <a:gd name="f28" fmla="*/ f2 1 f26"/>
                <a:gd name="f29" fmla="*/ f3 1 f26"/>
                <a:gd name="f30" fmla="*/ f2 1 f27"/>
                <a:gd name="f31" fmla="*/ f4 1 f27"/>
                <a:gd name="f32" fmla="*/ f28 f22 1"/>
                <a:gd name="f33" fmla="*/ f29 f22 1"/>
                <a:gd name="f34" fmla="*/ f31 f23 1"/>
                <a:gd name="f35" fmla="*/ f30 f2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2" t="f35" r="f33" b="f34"/>
              <a:pathLst>
                <a:path w="405765" h="4861559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" y="f21"/>
                  </a:lnTo>
                  <a:lnTo>
                    <a:pt x="f2" y="f2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8" name="object 2018">
              <a:extLst>
                <a:ext uri="{FF2B5EF4-FFF2-40B4-BE49-F238E27FC236}">
                  <a16:creationId xmlns:a16="http://schemas.microsoft.com/office/drawing/2014/main" id="{618A086B-236E-A516-F831-A99126DD1675}"/>
                </a:ext>
              </a:extLst>
            </p:cNvPr>
            <p:cNvSpPr/>
            <p:nvPr/>
          </p:nvSpPr>
          <p:spPr>
            <a:xfrm>
              <a:off x="8649967" y="1505459"/>
              <a:ext cx="22487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24878"/>
                <a:gd name="f5" fmla="val 224558"/>
                <a:gd name="f6" fmla="abs f0"/>
                <a:gd name="f7" fmla="abs f1"/>
                <a:gd name="f8" fmla="abs f2"/>
                <a:gd name="f9" fmla="*/ f0 1 224878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224878"/>
                <a:gd name="f16" fmla="*/ f10 1 0"/>
                <a:gd name="f17" fmla="*/ f12 1 224878"/>
                <a:gd name="f18" fmla="*/ f13 1 21600"/>
                <a:gd name="f19" fmla="*/ 21600 f13 1"/>
                <a:gd name="f20" fmla="*/ 0 1 f15"/>
                <a:gd name="f21" fmla="*/ 224878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224878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19" name="object 2019">
              <a:extLst>
                <a:ext uri="{FF2B5EF4-FFF2-40B4-BE49-F238E27FC236}">
                  <a16:creationId xmlns:a16="http://schemas.microsoft.com/office/drawing/2014/main" id="{AC0763D2-A8EE-5681-0750-39AB21FBFB96}"/>
                </a:ext>
              </a:extLst>
            </p:cNvPr>
            <p:cNvSpPr/>
            <p:nvPr/>
          </p:nvSpPr>
          <p:spPr>
            <a:xfrm>
              <a:off x="5012402" y="56835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0" name="object 2020">
              <a:extLst>
                <a:ext uri="{FF2B5EF4-FFF2-40B4-BE49-F238E27FC236}">
                  <a16:creationId xmlns:a16="http://schemas.microsoft.com/office/drawing/2014/main" id="{E48D8637-B6CF-6DEA-677D-4F9414BB712C}"/>
                </a:ext>
              </a:extLst>
            </p:cNvPr>
            <p:cNvSpPr/>
            <p:nvPr/>
          </p:nvSpPr>
          <p:spPr>
            <a:xfrm>
              <a:off x="8300027" y="133048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1" name="object 2021">
              <a:extLst>
                <a:ext uri="{FF2B5EF4-FFF2-40B4-BE49-F238E27FC236}">
                  <a16:creationId xmlns:a16="http://schemas.microsoft.com/office/drawing/2014/main" id="{76D17BC9-8A9B-FD14-CF65-42B20C669CE1}"/>
                </a:ext>
              </a:extLst>
            </p:cNvPr>
            <p:cNvSpPr/>
            <p:nvPr/>
          </p:nvSpPr>
          <p:spPr>
            <a:xfrm>
              <a:off x="2547280" y="210215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4"/>
                <a:gd name="f25" fmla="*/ f1 1 577214"/>
                <a:gd name="f26" fmla="+- f3 0 f2"/>
                <a:gd name="f27" fmla="*/ f26 1 577214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4" h="577214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2" name="object 2022">
              <a:extLst>
                <a:ext uri="{FF2B5EF4-FFF2-40B4-BE49-F238E27FC236}">
                  <a16:creationId xmlns:a16="http://schemas.microsoft.com/office/drawing/2014/main" id="{75689B1B-F7E2-D6B5-0C1C-EB5254E88CD7}"/>
                </a:ext>
              </a:extLst>
            </p:cNvPr>
            <p:cNvSpPr/>
            <p:nvPr/>
          </p:nvSpPr>
          <p:spPr>
            <a:xfrm>
              <a:off x="3372453" y="568354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4"/>
                <a:gd name="f4" fmla="val 577215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4"/>
                <a:gd name="f26" fmla="*/ f1 1 577215"/>
                <a:gd name="f27" fmla="+- f4 0 f2"/>
                <a:gd name="f28" fmla="+- f3 0 f2"/>
                <a:gd name="f29" fmla="*/ f28 1 577214"/>
                <a:gd name="f30" fmla="*/ f27 1 577215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4" h="577215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3" name="object 2023">
              <a:extLst>
                <a:ext uri="{FF2B5EF4-FFF2-40B4-BE49-F238E27FC236}">
                  <a16:creationId xmlns:a16="http://schemas.microsoft.com/office/drawing/2014/main" id="{00C30F21-2CA3-72B1-52ED-A126C44E29D8}"/>
                </a:ext>
              </a:extLst>
            </p:cNvPr>
            <p:cNvSpPr/>
            <p:nvPr/>
          </p:nvSpPr>
          <p:spPr>
            <a:xfrm>
              <a:off x="4190512" y="1330488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4" name="object 2024">
              <a:extLst>
                <a:ext uri="{FF2B5EF4-FFF2-40B4-BE49-F238E27FC236}">
                  <a16:creationId xmlns:a16="http://schemas.microsoft.com/office/drawing/2014/main" id="{B9A4DE29-7A30-D5C7-054E-52A0D22DD265}"/>
                </a:ext>
              </a:extLst>
            </p:cNvPr>
            <p:cNvSpPr/>
            <p:nvPr/>
          </p:nvSpPr>
          <p:spPr>
            <a:xfrm>
              <a:off x="7481465" y="2095420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2"/>
                <a:gd name="f10" fmla="val 197335"/>
                <a:gd name="f11" fmla="val 544876"/>
                <a:gd name="f12" fmla="val 155935"/>
                <a:gd name="f13" fmla="val 521411"/>
                <a:gd name="f14" fmla="val 118129"/>
                <a:gd name="f15" fmla="val 492572"/>
                <a:gd name="f16" fmla="val 84509"/>
                <a:gd name="f17" fmla="val 458952"/>
                <a:gd name="f18" fmla="val 55669"/>
                <a:gd name="f19" fmla="val 421146"/>
                <a:gd name="f20" fmla="val 32205"/>
                <a:gd name="f21" fmla="val 379746"/>
                <a:gd name="f22" fmla="val 14709"/>
                <a:gd name="f23" fmla="val 335348"/>
                <a:gd name="f24" fmla="val 3776"/>
                <a:gd name="f25" fmla="val 288546"/>
                <a:gd name="f26" fmla="val 241743"/>
                <a:gd name="f27" fmla="val 197344"/>
                <a:gd name="f28" fmla="val 155944"/>
                <a:gd name="f29" fmla="val 118135"/>
                <a:gd name="f30" fmla="val 84514"/>
                <a:gd name="f31" fmla="val 55673"/>
                <a:gd name="f32" fmla="val 32207"/>
                <a:gd name="f33" fmla="val 14710"/>
                <a:gd name="f34" fmla="val 335338"/>
                <a:gd name="f35" fmla="val 379737"/>
                <a:gd name="f36" fmla="val 421137"/>
                <a:gd name="f37" fmla="val 458945"/>
                <a:gd name="f38" fmla="val 492567"/>
                <a:gd name="f39" fmla="val 521408"/>
                <a:gd name="f40" fmla="val 544874"/>
                <a:gd name="f41" fmla="val 562371"/>
                <a:gd name="f42" fmla="*/ f0 1 577215"/>
                <a:gd name="f43" fmla="*/ f1 1 577214"/>
                <a:gd name="f44" fmla="+- f4 0 f2"/>
                <a:gd name="f45" fmla="+- f3 0 f2"/>
                <a:gd name="f46" fmla="*/ f45 1 577215"/>
                <a:gd name="f47" fmla="*/ f44 1 577214"/>
                <a:gd name="f48" fmla="*/ f2 1 f46"/>
                <a:gd name="f49" fmla="*/ f3 1 f46"/>
                <a:gd name="f50" fmla="*/ f2 1 f47"/>
                <a:gd name="f51" fmla="*/ f4 1 f47"/>
                <a:gd name="f52" fmla="*/ f48 f42 1"/>
                <a:gd name="f53" fmla="*/ f49 f42 1"/>
                <a:gd name="f54" fmla="*/ f51 f43 1"/>
                <a:gd name="f55" fmla="*/ f5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2" t="f55" r="f53" b="f54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25" y="f2"/>
                  </a:lnTo>
                  <a:lnTo>
                    <a:pt x="f26" y="f24"/>
                  </a:lnTo>
                  <a:lnTo>
                    <a:pt x="f27" y="f22"/>
                  </a:lnTo>
                  <a:lnTo>
                    <a:pt x="f28" y="f20"/>
                  </a:lnTo>
                  <a:lnTo>
                    <a:pt x="f29" y="f18"/>
                  </a:lnTo>
                  <a:lnTo>
                    <a:pt x="f30" y="f16"/>
                  </a:lnTo>
                  <a:lnTo>
                    <a:pt x="f31" y="f14"/>
                  </a:lnTo>
                  <a:lnTo>
                    <a:pt x="f32" y="f12"/>
                  </a:lnTo>
                  <a:lnTo>
                    <a:pt x="f33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34"/>
                  </a:lnTo>
                  <a:lnTo>
                    <a:pt x="f33" y="f35"/>
                  </a:lnTo>
                  <a:lnTo>
                    <a:pt x="f32" y="f36"/>
                  </a:lnTo>
                  <a:lnTo>
                    <a:pt x="f31" y="f37"/>
                  </a:lnTo>
                  <a:lnTo>
                    <a:pt x="f30" y="f38"/>
                  </a:lnTo>
                  <a:lnTo>
                    <a:pt x="f29" y="f39"/>
                  </a:lnTo>
                  <a:lnTo>
                    <a:pt x="f28" y="f40"/>
                  </a:lnTo>
                  <a:lnTo>
                    <a:pt x="f27" y="f41"/>
                  </a:lnTo>
                  <a:lnTo>
                    <a:pt x="f26" y="f7"/>
                  </a:lnTo>
                  <a:lnTo>
                    <a:pt x="f25" y="f5"/>
                  </a:lnTo>
                  <a:lnTo>
                    <a:pt x="f23" y="f7"/>
                  </a:lnTo>
                  <a:lnTo>
                    <a:pt x="f21" y="f41"/>
                  </a:lnTo>
                  <a:lnTo>
                    <a:pt x="f19" y="f40"/>
                  </a:lnTo>
                  <a:lnTo>
                    <a:pt x="f17" y="f39"/>
                  </a:lnTo>
                  <a:lnTo>
                    <a:pt x="f15" y="f38"/>
                  </a:lnTo>
                  <a:lnTo>
                    <a:pt x="f13" y="f37"/>
                  </a:lnTo>
                  <a:lnTo>
                    <a:pt x="f11" y="f36"/>
                  </a:lnTo>
                  <a:lnTo>
                    <a:pt x="f9" y="f35"/>
                  </a:lnTo>
                  <a:lnTo>
                    <a:pt x="f7" y="f34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5" name="object 2025">
              <a:extLst>
                <a:ext uri="{FF2B5EF4-FFF2-40B4-BE49-F238E27FC236}">
                  <a16:creationId xmlns:a16="http://schemas.microsoft.com/office/drawing/2014/main" id="{7666340B-0B83-D387-6728-162371F77BF3}"/>
                </a:ext>
              </a:extLst>
            </p:cNvPr>
            <p:cNvSpPr/>
            <p:nvPr/>
          </p:nvSpPr>
          <p:spPr>
            <a:xfrm>
              <a:off x="5835947" y="287006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6" name="object 2026">
              <a:extLst>
                <a:ext uri="{FF2B5EF4-FFF2-40B4-BE49-F238E27FC236}">
                  <a16:creationId xmlns:a16="http://schemas.microsoft.com/office/drawing/2014/main" id="{D8506DBF-DEAB-0F2D-2940-DFDFC0EEFEC5}"/>
                </a:ext>
              </a:extLst>
            </p:cNvPr>
            <p:cNvSpPr/>
            <p:nvPr/>
          </p:nvSpPr>
          <p:spPr>
            <a:xfrm>
              <a:off x="9943048" y="210041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7" name="object 2027">
              <a:extLst>
                <a:ext uri="{FF2B5EF4-FFF2-40B4-BE49-F238E27FC236}">
                  <a16:creationId xmlns:a16="http://schemas.microsoft.com/office/drawing/2014/main" id="{3614BBE2-3E37-3A24-4661-ACD30A1D1CE9}"/>
                </a:ext>
              </a:extLst>
            </p:cNvPr>
            <p:cNvSpPr/>
            <p:nvPr/>
          </p:nvSpPr>
          <p:spPr>
            <a:xfrm>
              <a:off x="9119466" y="3634922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0"/>
                <a:gd name="f26" fmla="val 197340"/>
                <a:gd name="f27" fmla="val 155939"/>
                <a:gd name="f28" fmla="val 118131"/>
                <a:gd name="f29" fmla="val 84510"/>
                <a:gd name="f30" fmla="val 55670"/>
                <a:gd name="f31" fmla="val 335338"/>
                <a:gd name="f32" fmla="val 379737"/>
                <a:gd name="f33" fmla="val 421137"/>
                <a:gd name="f34" fmla="val 458945"/>
                <a:gd name="f35" fmla="val 492567"/>
                <a:gd name="f36" fmla="val 521408"/>
                <a:gd name="f37" fmla="val 544874"/>
                <a:gd name="f38" fmla="val 562371"/>
                <a:gd name="f39" fmla="*/ f0 1 577215"/>
                <a:gd name="f40" fmla="*/ f1 1 577215"/>
                <a:gd name="f41" fmla="+- f3 0 f2"/>
                <a:gd name="f42" fmla="*/ f41 1 577215"/>
                <a:gd name="f43" fmla="*/ f2 1 f42"/>
                <a:gd name="f44" fmla="*/ f3 1 f42"/>
                <a:gd name="f45" fmla="*/ f43 f39 1"/>
                <a:gd name="f46" fmla="*/ f44 f39 1"/>
                <a:gd name="f47" fmla="*/ f44 f40 1"/>
                <a:gd name="f48" fmla="*/ f43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5" t="f48" r="f46" b="f47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1"/>
                  </a:lnTo>
                  <a:lnTo>
                    <a:pt x="f21" y="f32"/>
                  </a:lnTo>
                  <a:lnTo>
                    <a:pt x="f19" y="f33"/>
                  </a:lnTo>
                  <a:lnTo>
                    <a:pt x="f30" y="f34"/>
                  </a:lnTo>
                  <a:lnTo>
                    <a:pt x="f29" y="f35"/>
                  </a:lnTo>
                  <a:lnTo>
                    <a:pt x="f28" y="f36"/>
                  </a:lnTo>
                  <a:lnTo>
                    <a:pt x="f27" y="f37"/>
                  </a:lnTo>
                  <a:lnTo>
                    <a:pt x="f26" y="f38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38"/>
                  </a:lnTo>
                  <a:lnTo>
                    <a:pt x="f18" y="f37"/>
                  </a:lnTo>
                  <a:lnTo>
                    <a:pt x="f16" y="f36"/>
                  </a:lnTo>
                  <a:lnTo>
                    <a:pt x="f14" y="f35"/>
                  </a:lnTo>
                  <a:lnTo>
                    <a:pt x="f12" y="f34"/>
                  </a:lnTo>
                  <a:lnTo>
                    <a:pt x="f10" y="f33"/>
                  </a:lnTo>
                  <a:lnTo>
                    <a:pt x="f8" y="f32"/>
                  </a:lnTo>
                  <a:lnTo>
                    <a:pt x="f6" y="f31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8" name="object 2028">
              <a:extLst>
                <a:ext uri="{FF2B5EF4-FFF2-40B4-BE49-F238E27FC236}">
                  <a16:creationId xmlns:a16="http://schemas.microsoft.com/office/drawing/2014/main" id="{5BC2404F-1B78-B0AF-B400-705971F343B5}"/>
                </a:ext>
              </a:extLst>
            </p:cNvPr>
            <p:cNvSpPr/>
            <p:nvPr/>
          </p:nvSpPr>
          <p:spPr>
            <a:xfrm>
              <a:off x="6656411" y="285273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214"/>
                <a:gd name="f5" fmla="val 577081"/>
                <a:gd name="f6" fmla="val 288535"/>
                <a:gd name="f7" fmla="val 573305"/>
                <a:gd name="f8" fmla="val 241733"/>
                <a:gd name="f9" fmla="val 562371"/>
                <a:gd name="f10" fmla="val 197335"/>
                <a:gd name="f11" fmla="val 544874"/>
                <a:gd name="f12" fmla="val 155935"/>
                <a:gd name="f13" fmla="val 521408"/>
                <a:gd name="f14" fmla="val 118129"/>
                <a:gd name="f15" fmla="val 492567"/>
                <a:gd name="f16" fmla="val 84509"/>
                <a:gd name="f17" fmla="val 458945"/>
                <a:gd name="f18" fmla="val 55669"/>
                <a:gd name="f19" fmla="val 421137"/>
                <a:gd name="f20" fmla="val 32205"/>
                <a:gd name="f21" fmla="val 379737"/>
                <a:gd name="f22" fmla="val 14709"/>
                <a:gd name="f23" fmla="val 335338"/>
                <a:gd name="f24" fmla="val 3776"/>
                <a:gd name="f25" fmla="*/ f0 1 577215"/>
                <a:gd name="f26" fmla="*/ f1 1 577214"/>
                <a:gd name="f27" fmla="+- f4 0 f2"/>
                <a:gd name="f28" fmla="+- f3 0 f2"/>
                <a:gd name="f29" fmla="*/ f28 1 577215"/>
                <a:gd name="f30" fmla="*/ f27 1 577214"/>
                <a:gd name="f31" fmla="*/ f2 1 f29"/>
                <a:gd name="f32" fmla="*/ f3 1 f29"/>
                <a:gd name="f33" fmla="*/ f2 1 f30"/>
                <a:gd name="f34" fmla="*/ f4 1 f30"/>
                <a:gd name="f35" fmla="*/ f31 f25 1"/>
                <a:gd name="f36" fmla="*/ f32 f25 1"/>
                <a:gd name="f37" fmla="*/ f34 f26 1"/>
                <a:gd name="f38" fmla="*/ f33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5" t="f38" r="f36" b="f37"/>
              <a:pathLst>
                <a:path w="577215" h="577214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19" y="f20"/>
                  </a:lnTo>
                  <a:lnTo>
                    <a:pt x="f21" y="f22"/>
                  </a:lnTo>
                  <a:lnTo>
                    <a:pt x="f23" y="f24"/>
                  </a:lnTo>
                  <a:lnTo>
                    <a:pt x="f6" y="f2"/>
                  </a:lnTo>
                  <a:lnTo>
                    <a:pt x="f8" y="f24"/>
                  </a:lnTo>
                  <a:lnTo>
                    <a:pt x="f10" y="f22"/>
                  </a:lnTo>
                  <a:lnTo>
                    <a:pt x="f12" y="f20"/>
                  </a:lnTo>
                  <a:lnTo>
                    <a:pt x="f14" y="f18"/>
                  </a:lnTo>
                  <a:lnTo>
                    <a:pt x="f16" y="f16"/>
                  </a:lnTo>
                  <a:lnTo>
                    <a:pt x="f18" y="f14"/>
                  </a:lnTo>
                  <a:lnTo>
                    <a:pt x="f20" y="f12"/>
                  </a:lnTo>
                  <a:lnTo>
                    <a:pt x="f22" y="f10"/>
                  </a:lnTo>
                  <a:lnTo>
                    <a:pt x="f24" y="f8"/>
                  </a:lnTo>
                  <a:lnTo>
                    <a:pt x="f2" y="f6"/>
                  </a:lnTo>
                  <a:lnTo>
                    <a:pt x="f24" y="f23"/>
                  </a:lnTo>
                  <a:lnTo>
                    <a:pt x="f22" y="f21"/>
                  </a:lnTo>
                  <a:lnTo>
                    <a:pt x="f20" y="f19"/>
                  </a:lnTo>
                  <a:lnTo>
                    <a:pt x="f18" y="f17"/>
                  </a:lnTo>
                  <a:lnTo>
                    <a:pt x="f16" y="f15"/>
                  </a:lnTo>
                  <a:lnTo>
                    <a:pt x="f14" y="f13"/>
                  </a:lnTo>
                  <a:lnTo>
                    <a:pt x="f12" y="f11"/>
                  </a:lnTo>
                  <a:lnTo>
                    <a:pt x="f10" y="f9"/>
                  </a:lnTo>
                  <a:lnTo>
                    <a:pt x="f8" y="f7"/>
                  </a:lnTo>
                  <a:lnTo>
                    <a:pt x="f6" y="f5"/>
                  </a:lnTo>
                  <a:lnTo>
                    <a:pt x="f23" y="f7"/>
                  </a:lnTo>
                  <a:lnTo>
                    <a:pt x="f21" y="f9"/>
                  </a:lnTo>
                  <a:lnTo>
                    <a:pt x="f19" y="f11"/>
                  </a:lnTo>
                  <a:lnTo>
                    <a:pt x="f17" y="f13"/>
                  </a:lnTo>
                  <a:lnTo>
                    <a:pt x="f15" y="f15"/>
                  </a:lnTo>
                  <a:lnTo>
                    <a:pt x="f13" y="f17"/>
                  </a:lnTo>
                  <a:lnTo>
                    <a:pt x="f11" y="f19"/>
                  </a:lnTo>
                  <a:lnTo>
                    <a:pt x="f9" y="f21"/>
                  </a:lnTo>
                  <a:lnTo>
                    <a:pt x="f7" y="f23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29" name="object 2029">
              <a:extLst>
                <a:ext uri="{FF2B5EF4-FFF2-40B4-BE49-F238E27FC236}">
                  <a16:creationId xmlns:a16="http://schemas.microsoft.com/office/drawing/2014/main" id="{85BE6154-F56F-B371-74CA-C2367553A61A}"/>
                </a:ext>
              </a:extLst>
            </p:cNvPr>
            <p:cNvSpPr/>
            <p:nvPr/>
          </p:nvSpPr>
          <p:spPr>
            <a:xfrm>
              <a:off x="9943048" y="4382115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1"/>
                <a:gd name="f9" fmla="val 197335"/>
                <a:gd name="f10" fmla="val 544874"/>
                <a:gd name="f11" fmla="val 155935"/>
                <a:gd name="f12" fmla="val 521408"/>
                <a:gd name="f13" fmla="val 118129"/>
                <a:gd name="f14" fmla="val 492567"/>
                <a:gd name="f15" fmla="val 84509"/>
                <a:gd name="f16" fmla="val 458945"/>
                <a:gd name="f17" fmla="val 55669"/>
                <a:gd name="f18" fmla="val 421137"/>
                <a:gd name="f19" fmla="val 32205"/>
                <a:gd name="f20" fmla="val 379737"/>
                <a:gd name="f21" fmla="val 14709"/>
                <a:gd name="f22" fmla="val 335338"/>
                <a:gd name="f23" fmla="val 3776"/>
                <a:gd name="f24" fmla="*/ f0 1 577215"/>
                <a:gd name="f25" fmla="*/ f1 1 577215"/>
                <a:gd name="f26" fmla="+- f3 0 f2"/>
                <a:gd name="f27" fmla="*/ f26 1 577215"/>
                <a:gd name="f28" fmla="*/ f2 1 f27"/>
                <a:gd name="f29" fmla="*/ f3 1 f27"/>
                <a:gd name="f30" fmla="*/ f28 f24 1"/>
                <a:gd name="f31" fmla="*/ f29 f24 1"/>
                <a:gd name="f32" fmla="*/ f29 f25 1"/>
                <a:gd name="f33" fmla="*/ f28 f2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0" t="f33" r="f31" b="f32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5" y="f2"/>
                  </a:lnTo>
                  <a:lnTo>
                    <a:pt x="f7" y="f23"/>
                  </a:lnTo>
                  <a:lnTo>
                    <a:pt x="f9" y="f21"/>
                  </a:lnTo>
                  <a:lnTo>
                    <a:pt x="f11" y="f19"/>
                  </a:lnTo>
                  <a:lnTo>
                    <a:pt x="f13" y="f17"/>
                  </a:lnTo>
                  <a:lnTo>
                    <a:pt x="f15" y="f15"/>
                  </a:lnTo>
                  <a:lnTo>
                    <a:pt x="f17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22"/>
                  </a:lnTo>
                  <a:lnTo>
                    <a:pt x="f21" y="f20"/>
                  </a:lnTo>
                  <a:lnTo>
                    <a:pt x="f19" y="f18"/>
                  </a:lnTo>
                  <a:lnTo>
                    <a:pt x="f17" y="f16"/>
                  </a:lnTo>
                  <a:lnTo>
                    <a:pt x="f15" y="f14"/>
                  </a:lnTo>
                  <a:lnTo>
                    <a:pt x="f13" y="f12"/>
                  </a:lnTo>
                  <a:lnTo>
                    <a:pt x="f11" y="f10"/>
                  </a:lnTo>
                  <a:lnTo>
                    <a:pt x="f9" y="f8"/>
                  </a:lnTo>
                  <a:lnTo>
                    <a:pt x="f7" y="f6"/>
                  </a:lnTo>
                  <a:lnTo>
                    <a:pt x="f5" y="f4"/>
                  </a:lnTo>
                  <a:lnTo>
                    <a:pt x="f22" y="f6"/>
                  </a:lnTo>
                  <a:lnTo>
                    <a:pt x="f20" y="f8"/>
                  </a:lnTo>
                  <a:lnTo>
                    <a:pt x="f18" y="f10"/>
                  </a:lnTo>
                  <a:lnTo>
                    <a:pt x="f16" y="f12"/>
                  </a:lnTo>
                  <a:lnTo>
                    <a:pt x="f14" y="f14"/>
                  </a:lnTo>
                  <a:lnTo>
                    <a:pt x="f12" y="f16"/>
                  </a:lnTo>
                  <a:lnTo>
                    <a:pt x="f10" y="f18"/>
                  </a:lnTo>
                  <a:lnTo>
                    <a:pt x="f8" y="f20"/>
                  </a:lnTo>
                  <a:lnTo>
                    <a:pt x="f6" y="f22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0" name="object 2030">
              <a:extLst>
                <a:ext uri="{FF2B5EF4-FFF2-40B4-BE49-F238E27FC236}">
                  <a16:creationId xmlns:a16="http://schemas.microsoft.com/office/drawing/2014/main" id="{464AD74C-0627-7FBC-CA59-4E81436E7670}"/>
                </a:ext>
              </a:extLst>
            </p:cNvPr>
            <p:cNvSpPr/>
            <p:nvPr/>
          </p:nvSpPr>
          <p:spPr>
            <a:xfrm>
              <a:off x="9119466" y="5918993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0"/>
                <a:gd name="f26" fmla="val 197340"/>
                <a:gd name="f27" fmla="val 155939"/>
                <a:gd name="f28" fmla="val 118131"/>
                <a:gd name="f29" fmla="val 84510"/>
                <a:gd name="f30" fmla="val 55670"/>
                <a:gd name="f31" fmla="val 335338"/>
                <a:gd name="f32" fmla="val 379737"/>
                <a:gd name="f33" fmla="val 421137"/>
                <a:gd name="f34" fmla="val 458945"/>
                <a:gd name="f35" fmla="val 492567"/>
                <a:gd name="f36" fmla="val 521408"/>
                <a:gd name="f37" fmla="val 544874"/>
                <a:gd name="f38" fmla="val 562371"/>
                <a:gd name="f39" fmla="*/ f0 1 577215"/>
                <a:gd name="f40" fmla="*/ f1 1 577215"/>
                <a:gd name="f41" fmla="+- f3 0 f2"/>
                <a:gd name="f42" fmla="*/ f41 1 577215"/>
                <a:gd name="f43" fmla="*/ f2 1 f42"/>
                <a:gd name="f44" fmla="*/ f3 1 f42"/>
                <a:gd name="f45" fmla="*/ f43 f39 1"/>
                <a:gd name="f46" fmla="*/ f44 f39 1"/>
                <a:gd name="f47" fmla="*/ f44 f40 1"/>
                <a:gd name="f48" fmla="*/ f43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5" t="f48" r="f46" b="f47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19" y="f11"/>
                  </a:lnTo>
                  <a:lnTo>
                    <a:pt x="f21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1"/>
                  </a:lnTo>
                  <a:lnTo>
                    <a:pt x="f21" y="f32"/>
                  </a:lnTo>
                  <a:lnTo>
                    <a:pt x="f19" y="f33"/>
                  </a:lnTo>
                  <a:lnTo>
                    <a:pt x="f30" y="f34"/>
                  </a:lnTo>
                  <a:lnTo>
                    <a:pt x="f29" y="f35"/>
                  </a:lnTo>
                  <a:lnTo>
                    <a:pt x="f28" y="f36"/>
                  </a:lnTo>
                  <a:lnTo>
                    <a:pt x="f27" y="f37"/>
                  </a:lnTo>
                  <a:lnTo>
                    <a:pt x="f26" y="f38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38"/>
                  </a:lnTo>
                  <a:lnTo>
                    <a:pt x="f18" y="f37"/>
                  </a:lnTo>
                  <a:lnTo>
                    <a:pt x="f16" y="f36"/>
                  </a:lnTo>
                  <a:lnTo>
                    <a:pt x="f14" y="f35"/>
                  </a:lnTo>
                  <a:lnTo>
                    <a:pt x="f12" y="f34"/>
                  </a:lnTo>
                  <a:lnTo>
                    <a:pt x="f10" y="f33"/>
                  </a:lnTo>
                  <a:lnTo>
                    <a:pt x="f8" y="f32"/>
                  </a:lnTo>
                  <a:lnTo>
                    <a:pt x="f6" y="f31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2031" name="object 2031">
              <a:extLst>
                <a:ext uri="{FF2B5EF4-FFF2-40B4-BE49-F238E27FC236}">
                  <a16:creationId xmlns:a16="http://schemas.microsoft.com/office/drawing/2014/main" id="{770646A2-DB4B-23BB-EEA5-394A5A302676}"/>
                </a:ext>
              </a:extLst>
            </p:cNvPr>
            <p:cNvSpPr/>
            <p:nvPr/>
          </p:nvSpPr>
          <p:spPr>
            <a:xfrm>
              <a:off x="9126096" y="569259"/>
              <a:ext cx="350023" cy="3500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77215"/>
                <a:gd name="f4" fmla="val 577081"/>
                <a:gd name="f5" fmla="val 288535"/>
                <a:gd name="f6" fmla="val 573305"/>
                <a:gd name="f7" fmla="val 241733"/>
                <a:gd name="f8" fmla="val 562372"/>
                <a:gd name="f9" fmla="val 197335"/>
                <a:gd name="f10" fmla="val 544876"/>
                <a:gd name="f11" fmla="val 155935"/>
                <a:gd name="f12" fmla="val 521411"/>
                <a:gd name="f13" fmla="val 118129"/>
                <a:gd name="f14" fmla="val 492572"/>
                <a:gd name="f15" fmla="val 84509"/>
                <a:gd name="f16" fmla="val 458952"/>
                <a:gd name="f17" fmla="val 55669"/>
                <a:gd name="f18" fmla="val 421146"/>
                <a:gd name="f19" fmla="val 32205"/>
                <a:gd name="f20" fmla="val 379746"/>
                <a:gd name="f21" fmla="val 14709"/>
                <a:gd name="f22" fmla="val 335348"/>
                <a:gd name="f23" fmla="val 3776"/>
                <a:gd name="f24" fmla="val 288546"/>
                <a:gd name="f25" fmla="val 241743"/>
                <a:gd name="f26" fmla="val 197344"/>
                <a:gd name="f27" fmla="val 155944"/>
                <a:gd name="f28" fmla="val 118135"/>
                <a:gd name="f29" fmla="val 84514"/>
                <a:gd name="f30" fmla="val 55673"/>
                <a:gd name="f31" fmla="val 32207"/>
                <a:gd name="f32" fmla="val 14710"/>
                <a:gd name="f33" fmla="val 335338"/>
                <a:gd name="f34" fmla="val 379737"/>
                <a:gd name="f35" fmla="val 421137"/>
                <a:gd name="f36" fmla="val 458945"/>
                <a:gd name="f37" fmla="val 492567"/>
                <a:gd name="f38" fmla="val 521408"/>
                <a:gd name="f39" fmla="val 544874"/>
                <a:gd name="f40" fmla="val 562371"/>
                <a:gd name="f41" fmla="*/ f0 1 577215"/>
                <a:gd name="f42" fmla="*/ f1 1 577215"/>
                <a:gd name="f43" fmla="+- f3 0 f2"/>
                <a:gd name="f44" fmla="*/ f43 1 577215"/>
                <a:gd name="f45" fmla="*/ f2 1 f44"/>
                <a:gd name="f46" fmla="*/ f3 1 f44"/>
                <a:gd name="f47" fmla="*/ f45 f41 1"/>
                <a:gd name="f48" fmla="*/ f46 f41 1"/>
                <a:gd name="f49" fmla="*/ f46 f42 1"/>
                <a:gd name="f50" fmla="*/ f45 f4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7" t="f50" r="f48" b="f49"/>
              <a:pathLst>
                <a:path w="577215" h="577215">
                  <a:moveTo>
                    <a:pt x="f4" y="f5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"/>
                  </a:lnTo>
                  <a:lnTo>
                    <a:pt x="f25" y="f23"/>
                  </a:lnTo>
                  <a:lnTo>
                    <a:pt x="f26" y="f21"/>
                  </a:lnTo>
                  <a:lnTo>
                    <a:pt x="f27" y="f19"/>
                  </a:lnTo>
                  <a:lnTo>
                    <a:pt x="f28" y="f17"/>
                  </a:lnTo>
                  <a:lnTo>
                    <a:pt x="f29" y="f15"/>
                  </a:lnTo>
                  <a:lnTo>
                    <a:pt x="f30" y="f13"/>
                  </a:lnTo>
                  <a:lnTo>
                    <a:pt x="f31" y="f11"/>
                  </a:lnTo>
                  <a:lnTo>
                    <a:pt x="f32" y="f9"/>
                  </a:lnTo>
                  <a:lnTo>
                    <a:pt x="f23" y="f7"/>
                  </a:lnTo>
                  <a:lnTo>
                    <a:pt x="f2" y="f5"/>
                  </a:lnTo>
                  <a:lnTo>
                    <a:pt x="f23" y="f33"/>
                  </a:lnTo>
                  <a:lnTo>
                    <a:pt x="f32" y="f34"/>
                  </a:lnTo>
                  <a:lnTo>
                    <a:pt x="f31" y="f35"/>
                  </a:lnTo>
                  <a:lnTo>
                    <a:pt x="f30" y="f36"/>
                  </a:lnTo>
                  <a:lnTo>
                    <a:pt x="f29" y="f37"/>
                  </a:lnTo>
                  <a:lnTo>
                    <a:pt x="f28" y="f38"/>
                  </a:lnTo>
                  <a:lnTo>
                    <a:pt x="f27" y="f39"/>
                  </a:lnTo>
                  <a:lnTo>
                    <a:pt x="f26" y="f40"/>
                  </a:lnTo>
                  <a:lnTo>
                    <a:pt x="f25" y="f6"/>
                  </a:lnTo>
                  <a:lnTo>
                    <a:pt x="f24" y="f4"/>
                  </a:lnTo>
                  <a:lnTo>
                    <a:pt x="f22" y="f6"/>
                  </a:lnTo>
                  <a:lnTo>
                    <a:pt x="f20" y="f40"/>
                  </a:lnTo>
                  <a:lnTo>
                    <a:pt x="f18" y="f39"/>
                  </a:lnTo>
                  <a:lnTo>
                    <a:pt x="f16" y="f38"/>
                  </a:lnTo>
                  <a:lnTo>
                    <a:pt x="f14" y="f37"/>
                  </a:lnTo>
                  <a:lnTo>
                    <a:pt x="f12" y="f36"/>
                  </a:lnTo>
                  <a:lnTo>
                    <a:pt x="f10" y="f35"/>
                  </a:lnTo>
                  <a:lnTo>
                    <a:pt x="f8" y="f34"/>
                  </a:lnTo>
                  <a:lnTo>
                    <a:pt x="f6" y="f33"/>
                  </a:lnTo>
                  <a:lnTo>
                    <a:pt x="f4" y="f5"/>
                  </a:lnTo>
                  <a:close/>
                </a:path>
              </a:pathLst>
            </a:custGeom>
            <a:noFill/>
            <a:ln w="52358" cap="flat">
              <a:solidFill>
                <a:srgbClr val="E29023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2032" name="object 2032">
            <a:extLst>
              <a:ext uri="{FF2B5EF4-FFF2-40B4-BE49-F238E27FC236}">
                <a16:creationId xmlns:a16="http://schemas.microsoft.com/office/drawing/2014/main" id="{E6B8BB8C-4F47-40F1-00FD-F64C6D511F9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7886" y="796542"/>
            <a:ext cx="1906962" cy="929947"/>
          </a:xfrm>
        </p:spPr>
        <p:txBody>
          <a:bodyPr wrap="square" tIns="7315">
            <a:spAutoFit/>
          </a:bodyPr>
          <a:lstStyle/>
          <a:p>
            <a:pPr marL="7699" marR="3081" lvl="0">
              <a:lnSpc>
                <a:spcPct val="100800"/>
              </a:lnSpc>
              <a:spcBef>
                <a:spcPts val="60"/>
              </a:spcBef>
            </a:pPr>
            <a:r>
              <a:rPr lang="en-US" sz="2000" b="1" spc="-185" dirty="0">
                <a:solidFill>
                  <a:srgbClr val="000000"/>
                </a:solidFill>
                <a:latin typeface="VeluxForOffice"/>
              </a:rPr>
              <a:t>Simple</a:t>
            </a:r>
            <a:r>
              <a:rPr lang="en-US" sz="2000" b="1" spc="-49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273" dirty="0">
                <a:solidFill>
                  <a:srgbClr val="000000"/>
                </a:solidFill>
                <a:latin typeface="VeluxForOffice"/>
              </a:rPr>
              <a:t>LCA </a:t>
            </a:r>
            <a:r>
              <a:rPr lang="en-US" sz="2000" b="1" spc="-191" dirty="0">
                <a:solidFill>
                  <a:srgbClr val="000000"/>
                </a:solidFill>
                <a:latin typeface="VeluxForOffice"/>
              </a:rPr>
              <a:t>comparison</a:t>
            </a:r>
            <a:r>
              <a:rPr lang="en-US" sz="2000" b="1" spc="-55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173" dirty="0">
                <a:solidFill>
                  <a:srgbClr val="000000"/>
                </a:solidFill>
                <a:latin typeface="VeluxForOffice"/>
              </a:rPr>
              <a:t>tool</a:t>
            </a:r>
            <a:r>
              <a:rPr lang="en-US" sz="2000" b="1" spc="-55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30" dirty="0">
                <a:solidFill>
                  <a:srgbClr val="000000"/>
                </a:solidFill>
                <a:latin typeface="VeluxForOffice"/>
              </a:rPr>
              <a:t>- </a:t>
            </a:r>
            <a:r>
              <a:rPr lang="en-US" sz="2000" b="1" spc="-173" dirty="0">
                <a:solidFill>
                  <a:srgbClr val="000000"/>
                </a:solidFill>
                <a:latin typeface="VeluxForOffice"/>
              </a:rPr>
              <a:t>Living</a:t>
            </a:r>
            <a:r>
              <a:rPr lang="en-US" sz="2000" b="1" spc="-61" dirty="0">
                <a:solidFill>
                  <a:srgbClr val="000000"/>
                </a:solidFill>
                <a:latin typeface="VeluxForOffice"/>
              </a:rPr>
              <a:t> </a:t>
            </a:r>
            <a:r>
              <a:rPr lang="en-US" sz="2000" b="1" spc="-188" dirty="0">
                <a:solidFill>
                  <a:srgbClr val="000000"/>
                </a:solidFill>
                <a:latin typeface="VeluxForOffice"/>
              </a:rPr>
              <a:t>places</a:t>
            </a:r>
            <a:r>
              <a:rPr lang="en-US" sz="2000" b="1" dirty="0">
                <a:latin typeface="VeluxForOffice"/>
              </a:rPr>
              <a:t> </a:t>
            </a:r>
            <a:r>
              <a:rPr lang="en-US" sz="2000" b="1" spc="-288" dirty="0">
                <a:solidFill>
                  <a:srgbClr val="000000"/>
                </a:solidFill>
                <a:latin typeface="VeluxForOffice"/>
              </a:rPr>
              <a:t>C L T</a:t>
            </a:r>
            <a:endParaRPr lang="en-US" sz="2000" b="1" dirty="0">
              <a:latin typeface="VeluxForOffice"/>
            </a:endParaRPr>
          </a:p>
        </p:txBody>
      </p:sp>
      <p:sp>
        <p:nvSpPr>
          <p:cNvPr id="2033" name="object 2033">
            <a:extLst>
              <a:ext uri="{FF2B5EF4-FFF2-40B4-BE49-F238E27FC236}">
                <a16:creationId xmlns:a16="http://schemas.microsoft.com/office/drawing/2014/main" id="{986EC9DB-9675-074B-4EC0-FFCEC9A4288C}"/>
              </a:ext>
            </a:extLst>
          </p:cNvPr>
          <p:cNvSpPr txBox="1"/>
          <p:nvPr/>
        </p:nvSpPr>
        <p:spPr>
          <a:xfrm>
            <a:off x="587886" y="1913043"/>
            <a:ext cx="1656545" cy="8719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315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76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b="0" i="0" u="none" strike="noStrike" kern="1200" cap="none" spc="-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diagram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3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shows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choices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we 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have made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2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for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CLT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building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system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and </a:t>
            </a:r>
            <a:r>
              <a:rPr lang="en-US" sz="1050" b="0" i="0" u="none" strike="noStrike" kern="1200" cap="none" spc="-33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what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e </a:t>
            </a:r>
            <a:r>
              <a:rPr lang="en-US" sz="1050" b="0" i="0" u="none" strike="noStrike" kern="1200" cap="none" spc="-27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environmental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impact</a:t>
            </a:r>
            <a:r>
              <a:rPr lang="en-US" sz="1050" b="0" i="0" u="none" strike="noStrike" kern="1200" cap="none" spc="-21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15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of </a:t>
            </a:r>
            <a:r>
              <a:rPr lang="en-US" sz="1050" b="0" i="0" u="none" strike="noStrike" kern="1200" cap="none" spc="-12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this</a:t>
            </a:r>
            <a:r>
              <a:rPr lang="en-US" sz="1050" b="0" i="0" u="none" strike="noStrike" kern="1200" cap="none" spc="-49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24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home</a:t>
            </a:r>
            <a:r>
              <a:rPr lang="en-US" sz="1050" b="0" i="0" u="none" strike="noStrike" kern="1200" cap="none" spc="-36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 </a:t>
            </a:r>
            <a:r>
              <a:rPr lang="en-US" sz="1050" b="0" i="0" u="none" strike="noStrike" kern="1200" cap="none" spc="-30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would </a:t>
            </a:r>
            <a:r>
              <a:rPr lang="en-US" sz="1050" b="0" i="0" u="none" strike="noStrike" kern="1200" cap="none" spc="-15" baseline="0">
                <a:solidFill>
                  <a:srgbClr val="000000"/>
                </a:solidFill>
                <a:uFillTx/>
                <a:latin typeface="VeluxForOffice"/>
                <a:cs typeface="Verdana"/>
              </a:rPr>
              <a:t>be.</a:t>
            </a:r>
            <a:endParaRPr lang="en-US" sz="1050" b="0" i="0" u="none" strike="noStrike" kern="1200" cap="none" spc="0" baseline="0">
              <a:solidFill>
                <a:srgbClr val="000000"/>
              </a:solidFill>
              <a:uFillTx/>
              <a:latin typeface="VeluxForOffice"/>
              <a:cs typeface="Verdana"/>
            </a:endParaRPr>
          </a:p>
        </p:txBody>
      </p:sp>
      <p:sp>
        <p:nvSpPr>
          <p:cNvPr id="2034" name="object 2035">
            <a:extLst>
              <a:ext uri="{FF2B5EF4-FFF2-40B4-BE49-F238E27FC236}">
                <a16:creationId xmlns:a16="http://schemas.microsoft.com/office/drawing/2014/main" id="{0662C2D9-851D-1A34-3AB8-EA9612B3CAC8}"/>
              </a:ext>
            </a:extLst>
          </p:cNvPr>
          <p:cNvSpPr txBox="1"/>
          <p:nvPr/>
        </p:nvSpPr>
        <p:spPr>
          <a:xfrm>
            <a:off x="9863715" y="3180246"/>
            <a:ext cx="525231" cy="11543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08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697" b="1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69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</p:txBody>
      </p:sp>
      <p:pic>
        <p:nvPicPr>
          <p:cNvPr id="2035" name="object 2036">
            <a:extLst>
              <a:ext uri="{FF2B5EF4-FFF2-40B4-BE49-F238E27FC236}">
                <a16:creationId xmlns:a16="http://schemas.microsoft.com/office/drawing/2014/main" id="{1B18E4E7-10EB-2521-6157-8AD9F417D5DD}"/>
              </a:ext>
            </a:extLst>
          </p:cNvPr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10851815" y="1688988"/>
            <a:ext cx="1083426" cy="112323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036" name="object 2037">
            <a:extLst>
              <a:ext uri="{FF2B5EF4-FFF2-40B4-BE49-F238E27FC236}">
                <a16:creationId xmlns:a16="http://schemas.microsoft.com/office/drawing/2014/main" id="{C3425827-85E2-CBF8-96F0-8018C8B6D7C5}"/>
              </a:ext>
            </a:extLst>
          </p:cNvPr>
          <p:cNvSpPr txBox="1"/>
          <p:nvPr/>
        </p:nvSpPr>
        <p:spPr>
          <a:xfrm>
            <a:off x="10459922" y="3018123"/>
            <a:ext cx="1500210" cy="3008284"/>
          </a:xfrm>
          <a:prstGeom prst="rect">
            <a:avLst/>
          </a:prstGeom>
          <a:noFill/>
          <a:ln w="10469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62380" rIns="0" bIns="0" anchor="t" anchorCtr="0" compatLnSpc="1">
            <a:spAutoFit/>
          </a:bodyPr>
          <a:lstStyle/>
          <a:p>
            <a:pPr marL="81637" marR="0" lvl="0" indent="0" algn="l" defTabSz="914400" rtl="0" fontAlgn="auto" hangingPunct="1">
              <a:lnSpc>
                <a:spcPts val="860"/>
              </a:lnSpc>
              <a:spcBef>
                <a:spcPts val="49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LT</a:t>
            </a:r>
            <a:endParaRPr lang="en-US" sz="728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ts val="86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TRUCTURAL</a:t>
            </a:r>
            <a:r>
              <a:rPr lang="en-US" sz="728" b="0" i="0" u="none" strike="noStrike" kern="1200" cap="none" spc="1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728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YSTEM</a:t>
            </a:r>
            <a:endParaRPr lang="en-US" sz="728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205"/>
              </a:spcBef>
              <a:spcAft>
                <a:spcPts val="0"/>
              </a:spcAft>
              <a:buNone/>
              <a:tabLst>
                <a:tab pos="468245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697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CA:</a:t>
            </a:r>
            <a:r>
              <a:rPr lang="en-US" sz="697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	</a:t>
            </a:r>
            <a:r>
              <a:rPr lang="en-US" sz="697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3,9</a:t>
            </a:r>
            <a:r>
              <a:rPr lang="en-US" sz="697" b="0" i="0" u="none" strike="noStrike" kern="1200" cap="none" spc="-3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697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kg</a:t>
            </a:r>
            <a:r>
              <a:rPr lang="en-US" sz="697" b="0" i="0" u="none" strike="noStrike" kern="1200" cap="none" spc="-3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697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O₂eq/m²/y</a:t>
            </a:r>
            <a:endParaRPr lang="en-US" sz="69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637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OUND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crew</a:t>
            </a:r>
            <a:r>
              <a:rPr lang="en-US" sz="455" b="0" i="0" u="none" strike="noStrike" kern="1200" cap="none" spc="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ound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TERRAIN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DECK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ightweight</a:t>
            </a:r>
            <a:r>
              <a:rPr lang="en-US" sz="455" b="0" i="0" u="none" strike="noStrike" kern="1200" cap="none" spc="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en</a:t>
            </a:r>
            <a:r>
              <a:rPr lang="en-US" sz="455" b="0" i="0" u="none" strike="noStrike" kern="1200" cap="none" spc="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assette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EXTERIOR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ALL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CONSTRUC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LT</a:t>
            </a:r>
            <a:r>
              <a:rPr lang="en-US" sz="455" b="0" i="0" u="none" strike="noStrike" kern="1200" cap="none" spc="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th</a:t>
            </a:r>
            <a:r>
              <a:rPr lang="en-US" sz="455" b="0" i="0" u="none" strike="noStrike" kern="1200" cap="none" spc="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ulose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insu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ladding,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untreated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INTERIOR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ALL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LT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LOOR</a:t>
            </a:r>
            <a:r>
              <a:rPr lang="en-US" sz="455" b="0" i="0" u="none" strike="noStrike" kern="1200" cap="none" spc="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DECK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LT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deck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ROOF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LT</a:t>
            </a:r>
            <a:r>
              <a:rPr lang="en-US" sz="455" b="0" i="0" u="none" strike="noStrike" kern="1200" cap="none" spc="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th</a:t>
            </a:r>
            <a:r>
              <a:rPr lang="en-US" sz="455" b="0" i="0" u="none" strike="noStrike" kern="1200" cap="none" spc="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ulose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insu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Zink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magnesium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&amp;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asphalt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roofing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NDOW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282247" lvl="0" indent="0" algn="l" defTabSz="914400" rtl="0" fontAlgn="auto" hangingPunct="1">
              <a:lnSpc>
                <a:spcPct val="1099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>
                <a:tab pos="127841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/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aluminum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0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ndows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(incl.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3-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ayer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glass)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258372" lvl="0" indent="0" algn="l" defTabSz="914400" rtl="0" fontAlgn="auto" hangingPunct="1">
              <a:lnSpc>
                <a:spcPct val="109900"/>
              </a:lnSpc>
              <a:spcBef>
                <a:spcPts val="0"/>
              </a:spcBef>
              <a:spcAft>
                <a:spcPts val="0"/>
              </a:spcAft>
              <a:buSzPct val="100000"/>
              <a:buChar char="-"/>
              <a:tabLst>
                <a:tab pos="127841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GGL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ith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aluminum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ladding,</a:t>
            </a:r>
            <a:r>
              <a:rPr lang="en-US" sz="455" b="0" i="0" u="none" strike="noStrike" kern="1200" cap="none" spc="-9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3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wood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(incl.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3-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ayer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pane)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Modular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kylight,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3-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layer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pane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OLAR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S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7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Highly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efficient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8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olar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15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cells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24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from</a:t>
            </a:r>
            <a:r>
              <a:rPr lang="en-US" sz="455" b="0" i="0" u="none" strike="noStrike" kern="1200" cap="none" spc="-3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Sunpower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25"/>
              </a:spcBef>
              <a:spcAft>
                <a:spcPts val="0"/>
              </a:spcAft>
              <a:buSzPct val="100000"/>
              <a:buFont typeface="Verdana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51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81637" marR="0" lvl="0" indent="0" algn="l" defTabSz="914400" rtl="0" fontAlgn="auto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  <a:p>
            <a:pPr marL="127458" marR="0" lvl="0" indent="-46204" algn="l" defTabSz="914400" rtl="0" fontAlgn="auto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SzPct val="100000"/>
              <a:buChar char="-"/>
              <a:tabLst>
                <a:tab pos="12784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455" b="0" i="0" u="none" strike="noStrike" kern="1200" cap="none" spc="-21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Mechanical</a:t>
            </a:r>
            <a:r>
              <a:rPr lang="en-US" sz="455" b="0" i="0" u="none" strike="noStrike" kern="1200" cap="none" spc="12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 </a:t>
            </a:r>
            <a:r>
              <a:rPr lang="en-US" sz="455" b="0" i="0" u="none" strike="noStrike" kern="1200" cap="none" spc="-6" baseline="0">
                <a:solidFill>
                  <a:srgbClr val="000000"/>
                </a:solidFill>
                <a:uFillTx/>
                <a:latin typeface="Verdana"/>
                <a:cs typeface="Verdana"/>
              </a:rPr>
              <a:t>ventilation</a:t>
            </a:r>
            <a:endParaRPr lang="en-US" sz="455" b="0" i="0" u="none" strike="noStrike" kern="1200" cap="none" spc="0" baseline="0">
              <a:solidFill>
                <a:srgbClr val="000000"/>
              </a:solidFill>
              <a:uFillTx/>
              <a:latin typeface="Verdana"/>
              <a:cs typeface="Verdana"/>
            </a:endParaRPr>
          </a:p>
        </p:txBody>
      </p:sp>
      <p:sp>
        <p:nvSpPr>
          <p:cNvPr id="2037" name="object 2038">
            <a:extLst>
              <a:ext uri="{FF2B5EF4-FFF2-40B4-BE49-F238E27FC236}">
                <a16:creationId xmlns:a16="http://schemas.microsoft.com/office/drawing/2014/main" id="{DEA5D3F9-8B73-93A7-1E96-3F49185D9F01}"/>
              </a:ext>
            </a:extLst>
          </p:cNvPr>
          <p:cNvSpPr txBox="1"/>
          <p:nvPr/>
        </p:nvSpPr>
        <p:spPr>
          <a:xfrm>
            <a:off x="4181139" y="6303297"/>
            <a:ext cx="329997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ockwool</a:t>
            </a:r>
            <a:r>
              <a:rPr lang="en-US" sz="334" b="0" i="0" u="none" strike="noStrike" kern="1200" cap="none" spc="-24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RedAi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8" name="object 2039">
            <a:extLst>
              <a:ext uri="{FF2B5EF4-FFF2-40B4-BE49-F238E27FC236}">
                <a16:creationId xmlns:a16="http://schemas.microsoft.com/office/drawing/2014/main" id="{A6A02701-BACD-039D-05CB-052B70089638}"/>
              </a:ext>
            </a:extLst>
          </p:cNvPr>
          <p:cNvSpPr txBox="1"/>
          <p:nvPr/>
        </p:nvSpPr>
        <p:spPr>
          <a:xfrm>
            <a:off x="4999454" y="6303297"/>
            <a:ext cx="139775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laster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39" name="object 2040">
            <a:extLst>
              <a:ext uri="{FF2B5EF4-FFF2-40B4-BE49-F238E27FC236}">
                <a16:creationId xmlns:a16="http://schemas.microsoft.com/office/drawing/2014/main" id="{8D399CC6-D325-7EA4-D05F-C076A5DD3123}"/>
              </a:ext>
            </a:extLst>
          </p:cNvPr>
          <p:cNvSpPr txBox="1"/>
          <p:nvPr/>
        </p:nvSpPr>
        <p:spPr>
          <a:xfrm>
            <a:off x="8285369" y="6303297"/>
            <a:ext cx="352336" cy="1093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500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Wooden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ladding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painted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0" name="object 2041">
            <a:extLst>
              <a:ext uri="{FF2B5EF4-FFF2-40B4-BE49-F238E27FC236}">
                <a16:creationId xmlns:a16="http://schemas.microsoft.com/office/drawing/2014/main" id="{5CC4AF4A-7AAD-7107-4358-86B5A088163B}"/>
              </a:ext>
            </a:extLst>
          </p:cNvPr>
          <p:cNvSpPr txBox="1"/>
          <p:nvPr/>
        </p:nvSpPr>
        <p:spPr>
          <a:xfrm>
            <a:off x="9116211" y="6306324"/>
            <a:ext cx="335392" cy="10938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500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4900"/>
              </a:lnSpc>
              <a:spcBef>
                <a:spcPts val="4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0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Modular</a:t>
            </a:r>
            <a:r>
              <a:rPr lang="en-US" sz="334" b="0" i="0" u="none" strike="noStrike" kern="1200" cap="none" spc="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skylight,</a:t>
            </a:r>
            <a:r>
              <a:rPr lang="en-US" sz="334" b="0" i="0" u="none" strike="noStrike" kern="1200" cap="none" spc="303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12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3-</a:t>
            </a: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layer</a:t>
            </a:r>
            <a:r>
              <a:rPr lang="en-US" sz="334" b="0" i="0" u="none" strike="noStrike" kern="1200" cap="none" spc="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glass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1" name="object 2042">
            <a:extLst>
              <a:ext uri="{FF2B5EF4-FFF2-40B4-BE49-F238E27FC236}">
                <a16:creationId xmlns:a16="http://schemas.microsoft.com/office/drawing/2014/main" id="{D950E73B-13C9-E361-56E6-CC33C8D369FE}"/>
              </a:ext>
            </a:extLst>
          </p:cNvPr>
          <p:cNvSpPr txBox="1"/>
          <p:nvPr/>
        </p:nvSpPr>
        <p:spPr>
          <a:xfrm>
            <a:off x="5827315" y="6310228"/>
            <a:ext cx="294958" cy="591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334" b="0" i="0" u="none" strike="noStrike" kern="1200" cap="none" spc="-15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Cell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lock</a:t>
            </a:r>
            <a:r>
              <a:rPr lang="en-US" sz="334" b="0" i="0" u="none" strike="noStrike" kern="1200" cap="none" spc="-9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 </a:t>
            </a:r>
            <a:r>
              <a:rPr lang="en-US" sz="334" b="0" i="0" u="none" strike="noStrike" kern="1200" cap="none" spc="-6" baseline="0">
                <a:solidFill>
                  <a:srgbClr val="000000"/>
                </a:solidFill>
                <a:uFillTx/>
                <a:latin typeface="Trebuchet MS"/>
                <a:cs typeface="Trebuchet MS"/>
              </a:rPr>
              <a:t>brick</a:t>
            </a:r>
            <a:endParaRPr lang="en-US" sz="334" b="0" i="0" u="none" strike="noStrike" kern="1200" cap="none" spc="0" baseline="0">
              <a:solidFill>
                <a:srgbClr val="000000"/>
              </a:solidFill>
              <a:uFillTx/>
              <a:latin typeface="Trebuchet MS"/>
              <a:cs typeface="Trebuchet MS"/>
            </a:endParaRPr>
          </a:p>
        </p:txBody>
      </p:sp>
      <p:sp>
        <p:nvSpPr>
          <p:cNvPr id="2042" name="object 2043">
            <a:extLst>
              <a:ext uri="{FF2B5EF4-FFF2-40B4-BE49-F238E27FC236}">
                <a16:creationId xmlns:a16="http://schemas.microsoft.com/office/drawing/2014/main" id="{74688A76-F15B-B051-9964-BB909A0FBB9B}"/>
              </a:ext>
            </a:extLst>
          </p:cNvPr>
          <p:cNvSpPr txBox="1"/>
          <p:nvPr/>
        </p:nvSpPr>
        <p:spPr>
          <a:xfrm>
            <a:off x="4096201" y="6418191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54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3" name="object 2044">
            <a:extLst>
              <a:ext uri="{FF2B5EF4-FFF2-40B4-BE49-F238E27FC236}">
                <a16:creationId xmlns:a16="http://schemas.microsoft.com/office/drawing/2014/main" id="{CFC65695-5881-5833-873B-2041F7C8FBE4}"/>
              </a:ext>
            </a:extLst>
          </p:cNvPr>
          <p:cNvSpPr txBox="1"/>
          <p:nvPr/>
        </p:nvSpPr>
        <p:spPr>
          <a:xfrm>
            <a:off x="4898248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2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4" name="object 2045">
            <a:extLst>
              <a:ext uri="{FF2B5EF4-FFF2-40B4-BE49-F238E27FC236}">
                <a16:creationId xmlns:a16="http://schemas.microsoft.com/office/drawing/2014/main" id="{CEC11516-9667-0B89-6CF5-D6475904F88D}"/>
              </a:ext>
            </a:extLst>
          </p:cNvPr>
          <p:cNvSpPr txBox="1"/>
          <p:nvPr/>
        </p:nvSpPr>
        <p:spPr>
          <a:xfrm>
            <a:off x="5721547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29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5" name="object 2046">
            <a:extLst>
              <a:ext uri="{FF2B5EF4-FFF2-40B4-BE49-F238E27FC236}">
                <a16:creationId xmlns:a16="http://schemas.microsoft.com/office/drawing/2014/main" id="{0469977B-877E-F377-9D64-F4F7D8879C32}"/>
              </a:ext>
            </a:extLst>
          </p:cNvPr>
          <p:cNvSpPr txBox="1"/>
          <p:nvPr/>
        </p:nvSpPr>
        <p:spPr>
          <a:xfrm>
            <a:off x="8196827" y="6421273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8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6" name="object 2047">
            <a:extLst>
              <a:ext uri="{FF2B5EF4-FFF2-40B4-BE49-F238E27FC236}">
                <a16:creationId xmlns:a16="http://schemas.microsoft.com/office/drawing/2014/main" id="{63DB9C16-A710-4EE9-226F-FB7469D21E0B}"/>
              </a:ext>
            </a:extLst>
          </p:cNvPr>
          <p:cNvSpPr txBox="1"/>
          <p:nvPr/>
        </p:nvSpPr>
        <p:spPr>
          <a:xfrm>
            <a:off x="9026133" y="6424821"/>
            <a:ext cx="70847" cy="742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423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455" b="1" i="0" u="none" strike="noStrike" kern="1200" cap="none" spc="-15" baseline="0">
                <a:solidFill>
                  <a:srgbClr val="231F20"/>
                </a:solidFill>
                <a:uFillTx/>
                <a:latin typeface="Calibri"/>
                <a:cs typeface="Calibri"/>
              </a:rPr>
              <a:t>16</a:t>
            </a:r>
            <a:endParaRPr lang="en-DK" sz="455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047" name="object 2048">
            <a:extLst>
              <a:ext uri="{FF2B5EF4-FFF2-40B4-BE49-F238E27FC236}">
                <a16:creationId xmlns:a16="http://schemas.microsoft.com/office/drawing/2014/main" id="{49E21DD1-2559-A87C-9266-37C131E71254}"/>
              </a:ext>
            </a:extLst>
          </p:cNvPr>
          <p:cNvSpPr txBox="1"/>
          <p:nvPr/>
        </p:nvSpPr>
        <p:spPr>
          <a:xfrm>
            <a:off x="11755745" y="6504593"/>
            <a:ext cx="436255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56733544-65F5-4E59-B1BA-9D079F525EFC}" type="slidenum">
              <a:rPr sz="1400">
                <a:solidFill>
                  <a:schemeClr val="bg1">
                    <a:lumMod val="65000"/>
                  </a:schemeClr>
                </a:solidFill>
              </a:rPr>
              <a:t>21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  <p:graphicFrame>
        <p:nvGraphicFramePr>
          <p:cNvPr id="2048" name="object 2034">
            <a:extLst>
              <a:ext uri="{FF2B5EF4-FFF2-40B4-BE49-F238E27FC236}">
                <a16:creationId xmlns:a16="http://schemas.microsoft.com/office/drawing/2014/main" id="{610C3BDC-7BA5-E8EF-2AA7-BE84598A03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591524"/>
              </p:ext>
            </p:extLst>
          </p:nvPr>
        </p:nvGraphicFramePr>
        <p:xfrm>
          <a:off x="2450454" y="212735"/>
          <a:ext cx="8173524" cy="289097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678868">
                  <a:extLst>
                    <a:ext uri="{9D8B030D-6E8A-4147-A177-3AD203B41FA5}">
                      <a16:colId xmlns:a16="http://schemas.microsoft.com/office/drawing/2014/main" val="3555084202"/>
                    </a:ext>
                  </a:extLst>
                </a:gridCol>
                <a:gridCol w="830586">
                  <a:extLst>
                    <a:ext uri="{9D8B030D-6E8A-4147-A177-3AD203B41FA5}">
                      <a16:colId xmlns:a16="http://schemas.microsoft.com/office/drawing/2014/main" val="1788145421"/>
                    </a:ext>
                  </a:extLst>
                </a:gridCol>
                <a:gridCol w="823270">
                  <a:extLst>
                    <a:ext uri="{9D8B030D-6E8A-4147-A177-3AD203B41FA5}">
                      <a16:colId xmlns:a16="http://schemas.microsoft.com/office/drawing/2014/main" val="1870530255"/>
                    </a:ext>
                  </a:extLst>
                </a:gridCol>
                <a:gridCol w="883337">
                  <a:extLst>
                    <a:ext uri="{9D8B030D-6E8A-4147-A177-3AD203B41FA5}">
                      <a16:colId xmlns:a16="http://schemas.microsoft.com/office/drawing/2014/main" val="2821502948"/>
                    </a:ext>
                  </a:extLst>
                </a:gridCol>
                <a:gridCol w="722769">
                  <a:extLst>
                    <a:ext uri="{9D8B030D-6E8A-4147-A177-3AD203B41FA5}">
                      <a16:colId xmlns:a16="http://schemas.microsoft.com/office/drawing/2014/main" val="1806085916"/>
                    </a:ext>
                  </a:extLst>
                </a:gridCol>
                <a:gridCol w="850611">
                  <a:extLst>
                    <a:ext uri="{9D8B030D-6E8A-4147-A177-3AD203B41FA5}">
                      <a16:colId xmlns:a16="http://schemas.microsoft.com/office/drawing/2014/main" val="4234968892"/>
                    </a:ext>
                  </a:extLst>
                </a:gridCol>
                <a:gridCol w="878336">
                  <a:extLst>
                    <a:ext uri="{9D8B030D-6E8A-4147-A177-3AD203B41FA5}">
                      <a16:colId xmlns:a16="http://schemas.microsoft.com/office/drawing/2014/main" val="3130657326"/>
                    </a:ext>
                  </a:extLst>
                </a:gridCol>
                <a:gridCol w="772823">
                  <a:extLst>
                    <a:ext uri="{9D8B030D-6E8A-4147-A177-3AD203B41FA5}">
                      <a16:colId xmlns:a16="http://schemas.microsoft.com/office/drawing/2014/main" val="1940116964"/>
                    </a:ext>
                  </a:extLst>
                </a:gridCol>
                <a:gridCol w="805458">
                  <a:extLst>
                    <a:ext uri="{9D8B030D-6E8A-4147-A177-3AD203B41FA5}">
                      <a16:colId xmlns:a16="http://schemas.microsoft.com/office/drawing/2014/main" val="1340165813"/>
                    </a:ext>
                  </a:extLst>
                </a:gridCol>
                <a:gridCol w="927466">
                  <a:extLst>
                    <a:ext uri="{9D8B030D-6E8A-4147-A177-3AD203B41FA5}">
                      <a16:colId xmlns:a16="http://schemas.microsoft.com/office/drawing/2014/main" val="18946586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31747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Founda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17800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40">
                          <a:latin typeface="Verdana"/>
                          <a:cs typeface="Verdana"/>
                        </a:rPr>
                        <a:t>Terrain</a:t>
                      </a:r>
                      <a:r>
                        <a:rPr lang="en-US" sz="700" b="1" spc="-4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deck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30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Exterior</a:t>
                      </a:r>
                      <a:r>
                        <a:rPr lang="en-US" sz="700" b="1" spc="-5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wall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82552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Exterior</a:t>
                      </a:r>
                      <a:r>
                        <a:rPr lang="en-US" sz="700" b="1" spc="-55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>
                          <a:latin typeface="Verdana"/>
                          <a:cs typeface="Verdana"/>
                        </a:rPr>
                        <a:t>wall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9046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Interior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07338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 dirty="0">
                          <a:latin typeface="Verdana"/>
                          <a:cs typeface="Verdana"/>
                        </a:rPr>
                        <a:t>Floor</a:t>
                      </a:r>
                      <a:r>
                        <a:rPr lang="en-US" sz="700" b="1" spc="-65" dirty="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20" dirty="0">
                          <a:latin typeface="Verdana"/>
                          <a:cs typeface="Verdana"/>
                        </a:rPr>
                        <a:t>decks</a:t>
                      </a:r>
                      <a:endParaRPr lang="en-US" sz="700" dirty="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1593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20">
                          <a:latin typeface="Verdana"/>
                          <a:cs typeface="Verdana"/>
                        </a:rPr>
                        <a:t>Roof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4766" lvl="0" algn="ctr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20">
                          <a:latin typeface="Verdana"/>
                          <a:cs typeface="Verdana"/>
                        </a:rPr>
                        <a:t>Roof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6072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Window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99081" lvl="0">
                        <a:lnSpc>
                          <a:spcPts val="1335"/>
                        </a:lnSpc>
                        <a:spcBef>
                          <a:spcPts val="10"/>
                        </a:spcBef>
                      </a:pPr>
                      <a:r>
                        <a:rPr lang="en-US" sz="700" b="1" spc="-30">
                          <a:latin typeface="Verdana"/>
                          <a:cs typeface="Verdana"/>
                        </a:rPr>
                        <a:t>Solar</a:t>
                      </a:r>
                      <a:r>
                        <a:rPr lang="en-US" sz="700" b="1" spc="-70">
                          <a:latin typeface="Verdana"/>
                          <a:cs typeface="Verdana"/>
                        </a:rPr>
                        <a:t> </a:t>
                      </a:r>
                      <a:r>
                        <a:rPr lang="en-US" sz="700" b="1" spc="-10">
                          <a:latin typeface="Verdana"/>
                          <a:cs typeface="Verdana"/>
                        </a:rPr>
                        <a:t>cell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768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74657057"/>
                  </a:ext>
                </a:extLst>
              </a:tr>
              <a:tr h="110898"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271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onstruc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82552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ladding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19687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walls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</a:pPr>
                      <a:endParaRPr lang="en-DK" sz="4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2234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onstruction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R="64766" lvl="0" algn="ctr">
                        <a:lnSpc>
                          <a:spcPts val="1290"/>
                        </a:lnSpc>
                        <a:spcBef>
                          <a:spcPts val="50"/>
                        </a:spcBef>
                      </a:pPr>
                      <a:r>
                        <a:rPr lang="en-US" sz="700" b="1" spc="-10">
                          <a:latin typeface="Verdana"/>
                          <a:cs typeface="Verdana"/>
                        </a:rPr>
                        <a:t>cladding</a:t>
                      </a:r>
                      <a:endParaRPr lang="en-US" sz="700">
                        <a:latin typeface="Verdana"/>
                        <a:cs typeface="Verdana"/>
                      </a:endParaRPr>
                    </a:p>
                  </a:txBody>
                  <a:tcPr marL="0" marR="0" marT="3849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</a:pPr>
                      <a:endParaRPr lang="en-DK" sz="4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3916678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07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bject 49">
            <a:extLst>
              <a:ext uri="{FF2B5EF4-FFF2-40B4-BE49-F238E27FC236}">
                <a16:creationId xmlns:a16="http://schemas.microsoft.com/office/drawing/2014/main" id="{70C09D63-3BD8-B54E-9D0B-7B2FB06559A0}"/>
              </a:ext>
            </a:extLst>
          </p:cNvPr>
          <p:cNvSpPr/>
          <p:nvPr/>
        </p:nvSpPr>
        <p:spPr>
          <a:xfrm>
            <a:off x="9129368" y="2726833"/>
            <a:ext cx="981457" cy="1726841"/>
          </a:xfrm>
          <a:custGeom>
            <a:avLst/>
            <a:gdLst>
              <a:gd name="f0" fmla="val w"/>
              <a:gd name="f1" fmla="val h"/>
              <a:gd name="f2" fmla="val 0"/>
              <a:gd name="f3" fmla="val 360045"/>
              <a:gd name="f4" fmla="val 1390014"/>
              <a:gd name="f5" fmla="val 359664"/>
              <a:gd name="f6" fmla="val 1389888"/>
              <a:gd name="f7" fmla="*/ f0 1 360045"/>
              <a:gd name="f8" fmla="*/ f1 1 1390014"/>
              <a:gd name="f9" fmla="+- f4 0 f2"/>
              <a:gd name="f10" fmla="+- f3 0 f2"/>
              <a:gd name="f11" fmla="*/ f10 1 360045"/>
              <a:gd name="f12" fmla="*/ f9 1 139001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0045" h="139001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8A97A0"/>
          </a:solidFill>
          <a:ln cap="flat">
            <a:noFill/>
            <a:prstDash val="solid"/>
          </a:ln>
        </p:spPr>
        <p:txBody>
          <a:bodyPr vert="vert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17AF338D-0398-3FF6-2056-1BB6B71EA90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9024" y="704224"/>
            <a:ext cx="3636267" cy="383947"/>
          </a:xfrm>
        </p:spPr>
        <p:txBody>
          <a:bodyPr tIns="14474">
            <a:spAutoFit/>
          </a:bodyPr>
          <a:lstStyle/>
          <a:p>
            <a:pPr marL="15243" lvl="0">
              <a:lnSpc>
                <a:spcPct val="100000"/>
              </a:lnSpc>
              <a:spcBef>
                <a:spcPts val="115"/>
              </a:spcBef>
            </a:pPr>
            <a:r>
              <a:rPr lang="en-US" sz="2400" b="1" spc="-12" dirty="0">
                <a:solidFill>
                  <a:srgbClr val="000000"/>
                </a:solidFill>
                <a:latin typeface="VeluxForOffice"/>
                <a:cs typeface="Calibri Light"/>
              </a:rPr>
              <a:t>Life cycle phases</a:t>
            </a:r>
            <a:endParaRPr lang="en-US" sz="2400" b="1" dirty="0">
              <a:latin typeface="VeluxForOffice"/>
              <a:cs typeface="Calibri Light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9C745BEE-4564-CD46-3BEB-BD73A9FC96D8}"/>
              </a:ext>
            </a:extLst>
          </p:cNvPr>
          <p:cNvSpPr/>
          <p:nvPr/>
        </p:nvSpPr>
        <p:spPr>
          <a:xfrm>
            <a:off x="2072030" y="2544269"/>
            <a:ext cx="1380744" cy="241557"/>
          </a:xfrm>
          <a:custGeom>
            <a:avLst/>
            <a:gdLst>
              <a:gd name="f0" fmla="val w"/>
              <a:gd name="f1" fmla="val h"/>
              <a:gd name="f2" fmla="val 0"/>
              <a:gd name="f3" fmla="val 1150620"/>
              <a:gd name="f4" fmla="val 201294"/>
              <a:gd name="f5" fmla="val 359664"/>
              <a:gd name="f6" fmla="val 201155"/>
              <a:gd name="f7" fmla="val 754367"/>
              <a:gd name="f8" fmla="val 394716"/>
              <a:gd name="f9" fmla="val 789432"/>
              <a:gd name="f10" fmla="*/ f0 1 1150620"/>
              <a:gd name="f11" fmla="*/ f1 1 201294"/>
              <a:gd name="f12" fmla="+- f4 0 f2"/>
              <a:gd name="f13" fmla="+- f3 0 f2"/>
              <a:gd name="f14" fmla="*/ f13 1 1150620"/>
              <a:gd name="f15" fmla="*/ f12 1 201294"/>
              <a:gd name="f16" fmla="*/ f2 1 f14"/>
              <a:gd name="f17" fmla="*/ f3 1 f14"/>
              <a:gd name="f18" fmla="*/ f2 1 f15"/>
              <a:gd name="f19" fmla="*/ f4 1 f15"/>
              <a:gd name="f20" fmla="*/ f16 f10 1"/>
              <a:gd name="f21" fmla="*/ f17 f10 1"/>
              <a:gd name="f22" fmla="*/ f19 f11 1"/>
              <a:gd name="f23" fmla="*/ f18 f11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0" t="f23" r="f21" b="f22"/>
            <a:pathLst>
              <a:path w="1150620" h="20129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  <a:path w="1150620" h="201294">
                <a:moveTo>
                  <a:pt x="f7" y="f2"/>
                </a:moveTo>
                <a:lnTo>
                  <a:pt x="f8" y="f2"/>
                </a:lnTo>
                <a:lnTo>
                  <a:pt x="f8" y="f6"/>
                </a:lnTo>
                <a:lnTo>
                  <a:pt x="f7" y="f6"/>
                </a:lnTo>
                <a:lnTo>
                  <a:pt x="f7" y="f2"/>
                </a:lnTo>
                <a:close/>
              </a:path>
              <a:path w="1150620" h="201294">
                <a:moveTo>
                  <a:pt x="f3" y="f2"/>
                </a:moveTo>
                <a:lnTo>
                  <a:pt x="f9" y="f2"/>
                </a:lnTo>
                <a:lnTo>
                  <a:pt x="f9" y="f6"/>
                </a:lnTo>
                <a:lnTo>
                  <a:pt x="f3" y="f6"/>
                </a:lnTo>
                <a:lnTo>
                  <a:pt x="f3" y="f2"/>
                </a:lnTo>
                <a:close/>
              </a:path>
            </a:pathLst>
          </a:custGeom>
          <a:solidFill>
            <a:srgbClr val="3D5260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69F68F26-5C14-7B70-750E-28287B0AA679}"/>
              </a:ext>
            </a:extLst>
          </p:cNvPr>
          <p:cNvSpPr txBox="1"/>
          <p:nvPr/>
        </p:nvSpPr>
        <p:spPr>
          <a:xfrm>
            <a:off x="2230377" y="2580214"/>
            <a:ext cx="1080519" cy="1438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>
                <a:tab pos="473960" algn="l"/>
                <a:tab pos="947931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A1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A2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A3</a:t>
            </a:r>
            <a:endParaRPr lang="en-US" sz="840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46430EF1-A4DE-4B09-9F29-685D53D1A224}"/>
              </a:ext>
            </a:extLst>
          </p:cNvPr>
          <p:cNvSpPr/>
          <p:nvPr/>
        </p:nvSpPr>
        <p:spPr>
          <a:xfrm>
            <a:off x="2072030" y="2785653"/>
            <a:ext cx="432054" cy="1668021"/>
          </a:xfrm>
          <a:custGeom>
            <a:avLst/>
            <a:gdLst>
              <a:gd name="f0" fmla="val w"/>
              <a:gd name="f1" fmla="val h"/>
              <a:gd name="f2" fmla="val 0"/>
              <a:gd name="f3" fmla="val 360044"/>
              <a:gd name="f4" fmla="val 1390014"/>
              <a:gd name="f5" fmla="val 359663"/>
              <a:gd name="f6" fmla="val 1389888"/>
              <a:gd name="f7" fmla="*/ f0 1 360044"/>
              <a:gd name="f8" fmla="*/ f1 1 1390014"/>
              <a:gd name="f9" fmla="+- f4 0 f2"/>
              <a:gd name="f10" fmla="+- f3 0 f2"/>
              <a:gd name="f11" fmla="*/ f10 1 360044"/>
              <a:gd name="f12" fmla="*/ f9 1 139001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0044" h="139001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3D5260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A58C581B-491C-BA31-122D-831FEE7EEC57}"/>
              </a:ext>
            </a:extLst>
          </p:cNvPr>
          <p:cNvSpPr txBox="1"/>
          <p:nvPr/>
        </p:nvSpPr>
        <p:spPr>
          <a:xfrm rot="10800000">
            <a:off x="2225842" y="3452935"/>
            <a:ext cx="118879" cy="907213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Raw material supply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5AE61A86-E299-349E-59A7-51F8404C9783}"/>
              </a:ext>
            </a:extLst>
          </p:cNvPr>
          <p:cNvSpPr/>
          <p:nvPr/>
        </p:nvSpPr>
        <p:spPr>
          <a:xfrm>
            <a:off x="2545689" y="2785653"/>
            <a:ext cx="432054" cy="1668021"/>
          </a:xfrm>
          <a:custGeom>
            <a:avLst/>
            <a:gdLst>
              <a:gd name="f0" fmla="val w"/>
              <a:gd name="f1" fmla="val h"/>
              <a:gd name="f2" fmla="val 0"/>
              <a:gd name="f3" fmla="val 360044"/>
              <a:gd name="f4" fmla="val 1390014"/>
              <a:gd name="f5" fmla="val 359663"/>
              <a:gd name="f6" fmla="val 1389888"/>
              <a:gd name="f7" fmla="*/ f0 1 360044"/>
              <a:gd name="f8" fmla="*/ f1 1 1390014"/>
              <a:gd name="f9" fmla="+- f4 0 f2"/>
              <a:gd name="f10" fmla="+- f3 0 f2"/>
              <a:gd name="f11" fmla="*/ f10 1 360044"/>
              <a:gd name="f12" fmla="*/ f9 1 139001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0044" h="139001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3D5260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11783C6F-167A-FDAC-2125-1F8E5F5AE73F}"/>
              </a:ext>
            </a:extLst>
          </p:cNvPr>
          <p:cNvSpPr txBox="1"/>
          <p:nvPr/>
        </p:nvSpPr>
        <p:spPr>
          <a:xfrm rot="10800000">
            <a:off x="2699804" y="3912614"/>
            <a:ext cx="118879" cy="450342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Transport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2602BD14-9BF9-F83C-7E73-EB6379D8262F}"/>
              </a:ext>
            </a:extLst>
          </p:cNvPr>
          <p:cNvSpPr/>
          <p:nvPr/>
        </p:nvSpPr>
        <p:spPr>
          <a:xfrm>
            <a:off x="3019348" y="2785653"/>
            <a:ext cx="433581" cy="1668021"/>
          </a:xfrm>
          <a:custGeom>
            <a:avLst/>
            <a:gdLst>
              <a:gd name="f0" fmla="val w"/>
              <a:gd name="f1" fmla="val h"/>
              <a:gd name="f2" fmla="val 0"/>
              <a:gd name="f3" fmla="val 361314"/>
              <a:gd name="f4" fmla="val 1390014"/>
              <a:gd name="f5" fmla="val 361188"/>
              <a:gd name="f6" fmla="val 1389888"/>
              <a:gd name="f7" fmla="*/ f0 1 361314"/>
              <a:gd name="f8" fmla="*/ f1 1 1390014"/>
              <a:gd name="f9" fmla="+- f4 0 f2"/>
              <a:gd name="f10" fmla="+- f3 0 f2"/>
              <a:gd name="f11" fmla="*/ f10 1 361314"/>
              <a:gd name="f12" fmla="*/ f9 1 139001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1314" h="139001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3D5260"/>
          </a:solidFill>
          <a:ln cap="flat">
            <a:noFill/>
            <a:prstDash val="solid"/>
          </a:ln>
        </p:spPr>
        <p:txBody>
          <a:bodyPr vert="eaVert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3330C597-E172-7128-01E8-AE568F7B31C7}"/>
              </a:ext>
            </a:extLst>
          </p:cNvPr>
          <p:cNvSpPr txBox="1"/>
          <p:nvPr/>
        </p:nvSpPr>
        <p:spPr>
          <a:xfrm rot="10800000">
            <a:off x="3173773" y="3694347"/>
            <a:ext cx="118879" cy="668216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Manufacturing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70C1BBA9-5447-837E-C13E-80E669A3AB38}"/>
              </a:ext>
            </a:extLst>
          </p:cNvPr>
          <p:cNvSpPr txBox="1"/>
          <p:nvPr/>
        </p:nvSpPr>
        <p:spPr>
          <a:xfrm>
            <a:off x="2081174" y="2129114"/>
            <a:ext cx="1380744" cy="179277"/>
          </a:xfrm>
          <a:prstGeom prst="rect">
            <a:avLst/>
          </a:prstGeom>
          <a:noFill/>
          <a:ln w="12701" cap="flat">
            <a:solidFill>
              <a:srgbClr val="3D5260"/>
            </a:solidFill>
            <a:prstDash val="solid"/>
            <a:miter/>
          </a:ln>
        </p:spPr>
        <p:txBody>
          <a:bodyPr vert="horz" wrap="square" lIns="0" tIns="49533" rIns="0" bIns="0" anchor="t" anchorCtr="1" compatLnSpc="1">
            <a:spAutoFit/>
          </a:bodyPr>
          <a:lstStyle/>
          <a:p>
            <a:pPr marL="1527" marR="0" lvl="0" indent="0" algn="ctr" defTabSz="914400" rtl="0" fontAlgn="auto" hangingPunct="1">
              <a:lnSpc>
                <a:spcPct val="100000"/>
              </a:lnSpc>
              <a:spcBef>
                <a:spcPts val="39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3D5260"/>
                </a:solidFill>
                <a:uFillTx/>
                <a:latin typeface="Calibri"/>
                <a:cs typeface="Calibri"/>
              </a:rPr>
              <a:t>Product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02B2AC5F-F027-E154-782C-E1BACB131D58}"/>
              </a:ext>
            </a:extLst>
          </p:cNvPr>
          <p:cNvSpPr/>
          <p:nvPr/>
        </p:nvSpPr>
        <p:spPr>
          <a:xfrm>
            <a:off x="3575303" y="2544269"/>
            <a:ext cx="905256" cy="241557"/>
          </a:xfrm>
          <a:custGeom>
            <a:avLst/>
            <a:gdLst>
              <a:gd name="f0" fmla="val w"/>
              <a:gd name="f1" fmla="val h"/>
              <a:gd name="f2" fmla="val 0"/>
              <a:gd name="f3" fmla="val 754379"/>
              <a:gd name="f4" fmla="val 201294"/>
              <a:gd name="f5" fmla="val 359664"/>
              <a:gd name="f6" fmla="val 201155"/>
              <a:gd name="f7" fmla="val 754380"/>
              <a:gd name="f8" fmla="val 394716"/>
              <a:gd name="f9" fmla="*/ f0 1 754379"/>
              <a:gd name="f10" fmla="*/ f1 1 201294"/>
              <a:gd name="f11" fmla="+- f4 0 f2"/>
              <a:gd name="f12" fmla="+- f3 0 f2"/>
              <a:gd name="f13" fmla="*/ f12 1 754379"/>
              <a:gd name="f14" fmla="*/ f11 1 201294"/>
              <a:gd name="f15" fmla="*/ f2 1 f13"/>
              <a:gd name="f16" fmla="*/ f3 1 f13"/>
              <a:gd name="f17" fmla="*/ f2 1 f14"/>
              <a:gd name="f18" fmla="*/ f4 1 f14"/>
              <a:gd name="f19" fmla="*/ f15 f9 1"/>
              <a:gd name="f20" fmla="*/ f16 f9 1"/>
              <a:gd name="f21" fmla="*/ f18 f10 1"/>
              <a:gd name="f22" fmla="*/ f17 f1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9" t="f22" r="f20" b="f21"/>
            <a:pathLst>
              <a:path w="754379" h="20129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  <a:path w="754379" h="201294">
                <a:moveTo>
                  <a:pt x="f7" y="f2"/>
                </a:moveTo>
                <a:lnTo>
                  <a:pt x="f8" y="f2"/>
                </a:lnTo>
                <a:lnTo>
                  <a:pt x="f8" y="f6"/>
                </a:lnTo>
                <a:lnTo>
                  <a:pt x="f7" y="f6"/>
                </a:lnTo>
                <a:lnTo>
                  <a:pt x="f7" y="f2"/>
                </a:lnTo>
                <a:close/>
              </a:path>
            </a:pathLst>
          </a:custGeom>
          <a:solidFill>
            <a:srgbClr val="7B8993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9FD99D40-EEC7-7A56-0A78-641EC6A033C2}"/>
              </a:ext>
            </a:extLst>
          </p:cNvPr>
          <p:cNvSpPr txBox="1"/>
          <p:nvPr/>
        </p:nvSpPr>
        <p:spPr>
          <a:xfrm>
            <a:off x="3733650" y="2580214"/>
            <a:ext cx="606548" cy="1438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>
                <a:tab pos="473960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A4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A5</a:t>
            </a:r>
            <a:endParaRPr lang="en-US" sz="840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AD739CAE-D720-BC48-CD62-16AB68390A9F}"/>
              </a:ext>
            </a:extLst>
          </p:cNvPr>
          <p:cNvSpPr/>
          <p:nvPr/>
        </p:nvSpPr>
        <p:spPr>
          <a:xfrm>
            <a:off x="3575303" y="2785653"/>
            <a:ext cx="432054" cy="1668021"/>
          </a:xfrm>
          <a:custGeom>
            <a:avLst/>
            <a:gdLst>
              <a:gd name="f0" fmla="val w"/>
              <a:gd name="f1" fmla="val h"/>
              <a:gd name="f2" fmla="val 0"/>
              <a:gd name="f3" fmla="val 360045"/>
              <a:gd name="f4" fmla="val 1390014"/>
              <a:gd name="f5" fmla="val 359664"/>
              <a:gd name="f6" fmla="val 1389888"/>
              <a:gd name="f7" fmla="*/ f0 1 360045"/>
              <a:gd name="f8" fmla="*/ f1 1 1390014"/>
              <a:gd name="f9" fmla="+- f4 0 f2"/>
              <a:gd name="f10" fmla="+- f3 0 f2"/>
              <a:gd name="f11" fmla="*/ f10 1 360045"/>
              <a:gd name="f12" fmla="*/ f9 1 139001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0045" h="139001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7B8993"/>
          </a:solidFill>
          <a:ln cap="flat">
            <a:noFill/>
            <a:prstDash val="solid"/>
          </a:ln>
        </p:spPr>
        <p:txBody>
          <a:bodyPr vert="eaVert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E557CCFA-C6B3-900F-A5FB-E7499C2B281E}"/>
              </a:ext>
            </a:extLst>
          </p:cNvPr>
          <p:cNvSpPr txBox="1"/>
          <p:nvPr/>
        </p:nvSpPr>
        <p:spPr>
          <a:xfrm rot="10800000">
            <a:off x="3729116" y="3912614"/>
            <a:ext cx="118879" cy="450342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Transport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DFF44885-E93F-698F-17CC-FC16DD471096}"/>
              </a:ext>
            </a:extLst>
          </p:cNvPr>
          <p:cNvSpPr/>
          <p:nvPr/>
        </p:nvSpPr>
        <p:spPr>
          <a:xfrm>
            <a:off x="4048963" y="2785653"/>
            <a:ext cx="432054" cy="1668021"/>
          </a:xfrm>
          <a:custGeom>
            <a:avLst/>
            <a:gdLst>
              <a:gd name="f0" fmla="val w"/>
              <a:gd name="f1" fmla="val h"/>
              <a:gd name="f2" fmla="val 0"/>
              <a:gd name="f3" fmla="val 360045"/>
              <a:gd name="f4" fmla="val 1390014"/>
              <a:gd name="f5" fmla="val 359663"/>
              <a:gd name="f6" fmla="val 1389888"/>
              <a:gd name="f7" fmla="*/ f0 1 360045"/>
              <a:gd name="f8" fmla="*/ f1 1 1390014"/>
              <a:gd name="f9" fmla="+- f4 0 f2"/>
              <a:gd name="f10" fmla="+- f3 0 f2"/>
              <a:gd name="f11" fmla="*/ f10 1 360045"/>
              <a:gd name="f12" fmla="*/ f9 1 139001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0045" h="139001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7B8993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7" name="object 17">
            <a:extLst>
              <a:ext uri="{FF2B5EF4-FFF2-40B4-BE49-F238E27FC236}">
                <a16:creationId xmlns:a16="http://schemas.microsoft.com/office/drawing/2014/main" id="{C54F3D5D-DBC1-0E7E-AD24-ADD0FF814912}"/>
              </a:ext>
            </a:extLst>
          </p:cNvPr>
          <p:cNvSpPr txBox="1"/>
          <p:nvPr/>
        </p:nvSpPr>
        <p:spPr>
          <a:xfrm rot="10800000">
            <a:off x="4145369" y="3368199"/>
            <a:ext cx="234295" cy="999740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Construction/ Installation process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8" name="object 18">
            <a:extLst>
              <a:ext uri="{FF2B5EF4-FFF2-40B4-BE49-F238E27FC236}">
                <a16:creationId xmlns:a16="http://schemas.microsoft.com/office/drawing/2014/main" id="{D43CB4C6-8265-037B-C350-878255A5F9B7}"/>
              </a:ext>
            </a:extLst>
          </p:cNvPr>
          <p:cNvSpPr txBox="1"/>
          <p:nvPr/>
        </p:nvSpPr>
        <p:spPr>
          <a:xfrm>
            <a:off x="3575303" y="2129114"/>
            <a:ext cx="905256" cy="308549"/>
          </a:xfrm>
          <a:prstGeom prst="rect">
            <a:avLst/>
          </a:prstGeom>
          <a:noFill/>
          <a:ln w="12701" cap="flat">
            <a:solidFill>
              <a:srgbClr val="3D5260"/>
            </a:solidFill>
            <a:prstDash val="solid"/>
            <a:miter/>
          </a:ln>
        </p:spPr>
        <p:txBody>
          <a:bodyPr vert="horz" wrap="square" lIns="0" tIns="49533" rIns="0" bIns="0" anchor="t" anchorCtr="0" compatLnSpc="1">
            <a:spAutoFit/>
          </a:bodyPr>
          <a:lstStyle/>
          <a:p>
            <a:pPr marL="179835" marR="0" lvl="0" indent="0" algn="l" defTabSz="914400" rtl="0" fontAlgn="auto" hangingPunct="1">
              <a:lnSpc>
                <a:spcPct val="100000"/>
              </a:lnSpc>
              <a:spcBef>
                <a:spcPts val="39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3D5260"/>
                </a:solidFill>
                <a:uFillTx/>
                <a:latin typeface="Calibri"/>
                <a:cs typeface="Calibri"/>
              </a:rPr>
              <a:t>Construction process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19" name="object 19">
            <a:extLst>
              <a:ext uri="{FF2B5EF4-FFF2-40B4-BE49-F238E27FC236}">
                <a16:creationId xmlns:a16="http://schemas.microsoft.com/office/drawing/2014/main" id="{7707F583-9346-AF2C-9075-53EF0D7371A7}"/>
              </a:ext>
            </a:extLst>
          </p:cNvPr>
          <p:cNvSpPr/>
          <p:nvPr/>
        </p:nvSpPr>
        <p:spPr>
          <a:xfrm>
            <a:off x="4582972" y="2544269"/>
            <a:ext cx="1380744" cy="1278632"/>
          </a:xfrm>
          <a:custGeom>
            <a:avLst/>
            <a:gdLst>
              <a:gd name="f0" fmla="val w"/>
              <a:gd name="f1" fmla="val h"/>
              <a:gd name="f2" fmla="val 0"/>
              <a:gd name="f3" fmla="val 1150620"/>
              <a:gd name="f4" fmla="val 1065529"/>
              <a:gd name="f5" fmla="val 359664"/>
              <a:gd name="f6" fmla="val 201155"/>
              <a:gd name="f7" fmla="val 1065263"/>
              <a:gd name="f8" fmla="val 755904"/>
              <a:gd name="f9" fmla="val 394716"/>
              <a:gd name="f10" fmla="val 790956"/>
              <a:gd name="f11" fmla="*/ f0 1 1150620"/>
              <a:gd name="f12" fmla="*/ f1 1 1065529"/>
              <a:gd name="f13" fmla="+- f4 0 f2"/>
              <a:gd name="f14" fmla="+- f3 0 f2"/>
              <a:gd name="f15" fmla="*/ f14 1 1150620"/>
              <a:gd name="f16" fmla="*/ f13 1 1065529"/>
              <a:gd name="f17" fmla="*/ f2 1 f15"/>
              <a:gd name="f18" fmla="*/ f3 1 f15"/>
              <a:gd name="f19" fmla="*/ f2 1 f16"/>
              <a:gd name="f20" fmla="*/ f4 1 f16"/>
              <a:gd name="f21" fmla="*/ f17 f11 1"/>
              <a:gd name="f22" fmla="*/ f18 f11 1"/>
              <a:gd name="f23" fmla="*/ f20 f12 1"/>
              <a:gd name="f24" fmla="*/ f19 f12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1" t="f24" r="f22" b="f23"/>
            <a:pathLst>
              <a:path w="1150620" h="1065529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2" y="f7"/>
                </a:lnTo>
                <a:lnTo>
                  <a:pt x="f5" y="f7"/>
                </a:lnTo>
                <a:lnTo>
                  <a:pt x="f5" y="f6"/>
                </a:lnTo>
                <a:lnTo>
                  <a:pt x="f5" y="f2"/>
                </a:lnTo>
                <a:close/>
              </a:path>
              <a:path w="1150620" h="1065529">
                <a:moveTo>
                  <a:pt x="f8" y="f2"/>
                </a:moveTo>
                <a:lnTo>
                  <a:pt x="f9" y="f2"/>
                </a:lnTo>
                <a:lnTo>
                  <a:pt x="f9" y="f6"/>
                </a:lnTo>
                <a:lnTo>
                  <a:pt x="f8" y="f6"/>
                </a:lnTo>
                <a:lnTo>
                  <a:pt x="f8" y="f2"/>
                </a:lnTo>
                <a:close/>
              </a:path>
              <a:path w="1150620" h="1065529">
                <a:moveTo>
                  <a:pt x="f3" y="f2"/>
                </a:moveTo>
                <a:lnTo>
                  <a:pt x="f10" y="f2"/>
                </a:lnTo>
                <a:lnTo>
                  <a:pt x="f10" y="f6"/>
                </a:lnTo>
                <a:lnTo>
                  <a:pt x="f3" y="f6"/>
                </a:lnTo>
                <a:lnTo>
                  <a:pt x="f3" y="f2"/>
                </a:lnTo>
                <a:close/>
              </a:path>
            </a:pathLst>
          </a:custGeom>
          <a:solidFill>
            <a:srgbClr val="CFD3D6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0C3A5B2C-6030-22E4-6C2C-D33AC8D6A263}"/>
              </a:ext>
            </a:extLst>
          </p:cNvPr>
          <p:cNvSpPr txBox="1"/>
          <p:nvPr/>
        </p:nvSpPr>
        <p:spPr>
          <a:xfrm rot="10800000">
            <a:off x="4737398" y="3499333"/>
            <a:ext cx="118879" cy="230886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spc="-24" dirty="0">
                <a:solidFill>
                  <a:srgbClr val="FFFFFF"/>
                </a:solidFill>
                <a:latin typeface="Calibri"/>
                <a:cs typeface="Calibri"/>
              </a:rPr>
              <a:t>Use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8BD2E947-9208-0638-6AC7-C7A3F08C9D01}"/>
              </a:ext>
            </a:extLst>
          </p:cNvPr>
          <p:cNvSpPr/>
          <p:nvPr/>
        </p:nvSpPr>
        <p:spPr>
          <a:xfrm>
            <a:off x="5056632" y="2785653"/>
            <a:ext cx="433581" cy="1037085"/>
          </a:xfrm>
          <a:custGeom>
            <a:avLst/>
            <a:gdLst>
              <a:gd name="f0" fmla="val w"/>
              <a:gd name="f1" fmla="val h"/>
              <a:gd name="f2" fmla="val 0"/>
              <a:gd name="f3" fmla="val 361314"/>
              <a:gd name="f4" fmla="val 864235"/>
              <a:gd name="f5" fmla="val 361188"/>
              <a:gd name="f6" fmla="val 864107"/>
              <a:gd name="f7" fmla="*/ f0 1 361314"/>
              <a:gd name="f8" fmla="*/ f1 1 864235"/>
              <a:gd name="f9" fmla="+- f4 0 f2"/>
              <a:gd name="f10" fmla="+- f3 0 f2"/>
              <a:gd name="f11" fmla="*/ f10 1 361314"/>
              <a:gd name="f12" fmla="*/ f9 1 86423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1314" h="864235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CFD3D6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22" name="object 22">
            <a:extLst>
              <a:ext uri="{FF2B5EF4-FFF2-40B4-BE49-F238E27FC236}">
                <a16:creationId xmlns:a16="http://schemas.microsoft.com/office/drawing/2014/main" id="{B8C941E6-9C29-2298-2174-54F46AFB5657}"/>
              </a:ext>
            </a:extLst>
          </p:cNvPr>
          <p:cNvSpPr txBox="1"/>
          <p:nvPr/>
        </p:nvSpPr>
        <p:spPr>
          <a:xfrm rot="10800000">
            <a:off x="5211514" y="3019492"/>
            <a:ext cx="118879" cy="710187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Maintenance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3" name="object 23">
            <a:extLst>
              <a:ext uri="{FF2B5EF4-FFF2-40B4-BE49-F238E27FC236}">
                <a16:creationId xmlns:a16="http://schemas.microsoft.com/office/drawing/2014/main" id="{50C57823-56D0-7956-06E1-0EAC0D5137A0}"/>
              </a:ext>
            </a:extLst>
          </p:cNvPr>
          <p:cNvSpPr/>
          <p:nvPr/>
        </p:nvSpPr>
        <p:spPr>
          <a:xfrm>
            <a:off x="5532120" y="2785653"/>
            <a:ext cx="432054" cy="1037085"/>
          </a:xfrm>
          <a:custGeom>
            <a:avLst/>
            <a:gdLst>
              <a:gd name="f0" fmla="val w"/>
              <a:gd name="f1" fmla="val h"/>
              <a:gd name="f2" fmla="val 0"/>
              <a:gd name="f3" fmla="val 360045"/>
              <a:gd name="f4" fmla="val 864235"/>
              <a:gd name="f5" fmla="val 359663"/>
              <a:gd name="f6" fmla="val 864107"/>
              <a:gd name="f7" fmla="*/ f0 1 360045"/>
              <a:gd name="f8" fmla="*/ f1 1 864235"/>
              <a:gd name="f9" fmla="+- f4 0 f2"/>
              <a:gd name="f10" fmla="+- f3 0 f2"/>
              <a:gd name="f11" fmla="*/ f10 1 360045"/>
              <a:gd name="f12" fmla="*/ f9 1 86423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0045" h="864235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CFD3D6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1F2EE2D0-4ABA-A542-4FDE-D7FCD76CC86A}"/>
              </a:ext>
            </a:extLst>
          </p:cNvPr>
          <p:cNvSpPr txBox="1"/>
          <p:nvPr/>
        </p:nvSpPr>
        <p:spPr>
          <a:xfrm rot="10800000">
            <a:off x="5685475" y="3223074"/>
            <a:ext cx="118879" cy="506733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Repair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5" name="object 25">
            <a:extLst>
              <a:ext uri="{FF2B5EF4-FFF2-40B4-BE49-F238E27FC236}">
                <a16:creationId xmlns:a16="http://schemas.microsoft.com/office/drawing/2014/main" id="{240754C2-D6DD-55A1-10F2-02C5C0C47A54}"/>
              </a:ext>
            </a:extLst>
          </p:cNvPr>
          <p:cNvSpPr txBox="1"/>
          <p:nvPr/>
        </p:nvSpPr>
        <p:spPr>
          <a:xfrm>
            <a:off x="4582972" y="2121798"/>
            <a:ext cx="2340864" cy="178509"/>
          </a:xfrm>
          <a:prstGeom prst="rect">
            <a:avLst/>
          </a:prstGeom>
          <a:noFill/>
          <a:ln w="12701" cap="flat">
            <a:solidFill>
              <a:srgbClr val="3D5260"/>
            </a:solidFill>
            <a:prstDash val="solid"/>
            <a:miter/>
          </a:ln>
        </p:spPr>
        <p:txBody>
          <a:bodyPr vert="horz" wrap="square" lIns="0" tIns="48764" rIns="0" bIns="0" anchor="t" anchorCtr="1" compatLnSpc="1">
            <a:spAutoFit/>
          </a:bodyPr>
          <a:lstStyle/>
          <a:p>
            <a:pPr marL="1527" marR="0" lvl="0" indent="0" algn="ctr" defTabSz="914400" rtl="0" fontAlgn="auto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24" baseline="0" dirty="0">
                <a:solidFill>
                  <a:srgbClr val="3D5260"/>
                </a:solidFill>
                <a:uFillTx/>
                <a:latin typeface="Calibri"/>
                <a:cs typeface="Calibri"/>
              </a:rPr>
              <a:t>Use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6" name="object 26">
            <a:extLst>
              <a:ext uri="{FF2B5EF4-FFF2-40B4-BE49-F238E27FC236}">
                <a16:creationId xmlns:a16="http://schemas.microsoft.com/office/drawing/2014/main" id="{5125ABAC-69E9-F327-27DD-C5F4B803364D}"/>
              </a:ext>
            </a:extLst>
          </p:cNvPr>
          <p:cNvSpPr/>
          <p:nvPr/>
        </p:nvSpPr>
        <p:spPr>
          <a:xfrm>
            <a:off x="4584801" y="2544269"/>
            <a:ext cx="2339336" cy="1597155"/>
          </a:xfrm>
          <a:custGeom>
            <a:avLst/>
            <a:gdLst>
              <a:gd name="f0" fmla="val w"/>
              <a:gd name="f1" fmla="val h"/>
              <a:gd name="f2" fmla="val 0"/>
              <a:gd name="f3" fmla="val 1949450"/>
              <a:gd name="f4" fmla="val 1330960"/>
              <a:gd name="f5" fmla="val 1548384"/>
              <a:gd name="f6" fmla="val 1188720"/>
              <a:gd name="f7" fmla="val 201155"/>
              <a:gd name="f8" fmla="val 1065263"/>
              <a:gd name="f9" fmla="val 1949183"/>
              <a:gd name="f10" fmla="val 1097267"/>
              <a:gd name="f11" fmla="val 1330439"/>
              <a:gd name="f12" fmla="*/ f0 1 1949450"/>
              <a:gd name="f13" fmla="*/ f1 1 1330960"/>
              <a:gd name="f14" fmla="+- f4 0 f2"/>
              <a:gd name="f15" fmla="+- f3 0 f2"/>
              <a:gd name="f16" fmla="*/ f15 1 1949450"/>
              <a:gd name="f17" fmla="*/ f14 1 1330960"/>
              <a:gd name="f18" fmla="*/ f2 1 f16"/>
              <a:gd name="f19" fmla="*/ f3 1 f16"/>
              <a:gd name="f20" fmla="*/ f2 1 f17"/>
              <a:gd name="f21" fmla="*/ f4 1 f17"/>
              <a:gd name="f22" fmla="*/ f18 f12 1"/>
              <a:gd name="f23" fmla="*/ f19 f12 1"/>
              <a:gd name="f24" fmla="*/ f21 f13 1"/>
              <a:gd name="f25" fmla="*/ f20 f13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2" t="f25" r="f23" b="f24"/>
            <a:pathLst>
              <a:path w="1949450" h="1330960">
                <a:moveTo>
                  <a:pt x="f5" y="f2"/>
                </a:moveTo>
                <a:lnTo>
                  <a:pt x="f6" y="f2"/>
                </a:lnTo>
                <a:lnTo>
                  <a:pt x="f6" y="f7"/>
                </a:lnTo>
                <a:lnTo>
                  <a:pt x="f6" y="f8"/>
                </a:lnTo>
                <a:lnTo>
                  <a:pt x="f5" y="f8"/>
                </a:lnTo>
                <a:lnTo>
                  <a:pt x="f5" y="f7"/>
                </a:lnTo>
                <a:lnTo>
                  <a:pt x="f5" y="f2"/>
                </a:lnTo>
                <a:close/>
              </a:path>
              <a:path w="1949450" h="1330960">
                <a:moveTo>
                  <a:pt x="f9" y="f10"/>
                </a:moveTo>
                <a:lnTo>
                  <a:pt x="f2" y="f10"/>
                </a:lnTo>
                <a:lnTo>
                  <a:pt x="f2" y="f11"/>
                </a:lnTo>
                <a:lnTo>
                  <a:pt x="f9" y="f11"/>
                </a:lnTo>
                <a:lnTo>
                  <a:pt x="f9" y="f10"/>
                </a:lnTo>
                <a:close/>
              </a:path>
            </a:pathLst>
          </a:custGeom>
          <a:solidFill>
            <a:srgbClr val="3D5260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596169AD-A3AB-D2E3-2552-4CD8B397710A}"/>
              </a:ext>
            </a:extLst>
          </p:cNvPr>
          <p:cNvSpPr txBox="1"/>
          <p:nvPr/>
        </p:nvSpPr>
        <p:spPr>
          <a:xfrm rot="10800000">
            <a:off x="6165379" y="3019492"/>
            <a:ext cx="118879" cy="710314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Refurbishment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489894E1-6652-A586-1E20-1C0564A90365}"/>
              </a:ext>
            </a:extLst>
          </p:cNvPr>
          <p:cNvSpPr/>
          <p:nvPr/>
        </p:nvSpPr>
        <p:spPr>
          <a:xfrm>
            <a:off x="6490411" y="2544251"/>
            <a:ext cx="433581" cy="241557"/>
          </a:xfrm>
          <a:custGeom>
            <a:avLst/>
            <a:gdLst>
              <a:gd name="f0" fmla="val w"/>
              <a:gd name="f1" fmla="val h"/>
              <a:gd name="f2" fmla="val 0"/>
              <a:gd name="f3" fmla="val 361314"/>
              <a:gd name="f4" fmla="val 201294"/>
              <a:gd name="f5" fmla="val 361188"/>
              <a:gd name="f6" fmla="val 201167"/>
              <a:gd name="f7" fmla="*/ f0 1 361314"/>
              <a:gd name="f8" fmla="*/ f1 1 201294"/>
              <a:gd name="f9" fmla="+- f4 0 f2"/>
              <a:gd name="f10" fmla="+- f3 0 f2"/>
              <a:gd name="f11" fmla="*/ f10 1 361314"/>
              <a:gd name="f12" fmla="*/ f9 1 20129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1314" h="20129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CFD3D6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29" name="object 29">
            <a:extLst>
              <a:ext uri="{FF2B5EF4-FFF2-40B4-BE49-F238E27FC236}">
                <a16:creationId xmlns:a16="http://schemas.microsoft.com/office/drawing/2014/main" id="{853A2705-E500-39AF-96F3-597D1C8FF9EE}"/>
              </a:ext>
            </a:extLst>
          </p:cNvPr>
          <p:cNvSpPr txBox="1"/>
          <p:nvPr/>
        </p:nvSpPr>
        <p:spPr>
          <a:xfrm>
            <a:off x="4743907" y="2580214"/>
            <a:ext cx="2036826" cy="1438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>
                <a:tab pos="473201" algn="l"/>
                <a:tab pos="947931" algn="l"/>
                <a:tab pos="1427222" algn="l"/>
                <a:tab pos="1908051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B1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B2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B3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B4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B5</a:t>
            </a:r>
            <a:endParaRPr lang="en-US" sz="840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0" name="object 30">
            <a:extLst>
              <a:ext uri="{FF2B5EF4-FFF2-40B4-BE49-F238E27FC236}">
                <a16:creationId xmlns:a16="http://schemas.microsoft.com/office/drawing/2014/main" id="{69A57ADB-C719-A241-B1BC-E8AA373E2946}"/>
              </a:ext>
            </a:extLst>
          </p:cNvPr>
          <p:cNvSpPr/>
          <p:nvPr/>
        </p:nvSpPr>
        <p:spPr>
          <a:xfrm>
            <a:off x="6490411" y="2785653"/>
            <a:ext cx="433581" cy="1037085"/>
          </a:xfrm>
          <a:custGeom>
            <a:avLst/>
            <a:gdLst>
              <a:gd name="f0" fmla="val w"/>
              <a:gd name="f1" fmla="val h"/>
              <a:gd name="f2" fmla="val 0"/>
              <a:gd name="f3" fmla="val 361314"/>
              <a:gd name="f4" fmla="val 864235"/>
              <a:gd name="f5" fmla="val 361188"/>
              <a:gd name="f6" fmla="val 864107"/>
              <a:gd name="f7" fmla="*/ f0 1 361314"/>
              <a:gd name="f8" fmla="*/ f1 1 864235"/>
              <a:gd name="f9" fmla="+- f4 0 f2"/>
              <a:gd name="f10" fmla="+- f3 0 f2"/>
              <a:gd name="f11" fmla="*/ f10 1 361314"/>
              <a:gd name="f12" fmla="*/ f9 1 86423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1314" h="864235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CFD3D6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31" name="object 31">
            <a:extLst>
              <a:ext uri="{FF2B5EF4-FFF2-40B4-BE49-F238E27FC236}">
                <a16:creationId xmlns:a16="http://schemas.microsoft.com/office/drawing/2014/main" id="{3D09EDE1-F3D8-AF52-6130-A7CE75F35175}"/>
              </a:ext>
            </a:extLst>
          </p:cNvPr>
          <p:cNvSpPr txBox="1"/>
          <p:nvPr/>
        </p:nvSpPr>
        <p:spPr>
          <a:xfrm rot="10800000">
            <a:off x="6652563" y="3107539"/>
            <a:ext cx="115416" cy="622661"/>
          </a:xfrm>
          <a:prstGeom prst="rect">
            <a:avLst/>
          </a:prstGeom>
          <a:noFill/>
          <a:ln cap="flat">
            <a:noFill/>
          </a:ln>
        </p:spPr>
        <p:txBody>
          <a:bodyPr vert="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Replacement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2" name="object 32">
            <a:extLst>
              <a:ext uri="{FF2B5EF4-FFF2-40B4-BE49-F238E27FC236}">
                <a16:creationId xmlns:a16="http://schemas.microsoft.com/office/drawing/2014/main" id="{C9440BA3-06BF-3000-36B1-0DD9211257EA}"/>
              </a:ext>
            </a:extLst>
          </p:cNvPr>
          <p:cNvSpPr txBox="1"/>
          <p:nvPr/>
        </p:nvSpPr>
        <p:spPr>
          <a:xfrm>
            <a:off x="4651708" y="3916308"/>
            <a:ext cx="1152646" cy="1438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Operational energy use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3" name="object 33">
            <a:extLst>
              <a:ext uri="{FF2B5EF4-FFF2-40B4-BE49-F238E27FC236}">
                <a16:creationId xmlns:a16="http://schemas.microsoft.com/office/drawing/2014/main" id="{B4534853-8A04-63EB-F800-E724AFAD0603}"/>
              </a:ext>
            </a:extLst>
          </p:cNvPr>
          <p:cNvSpPr txBox="1"/>
          <p:nvPr/>
        </p:nvSpPr>
        <p:spPr>
          <a:xfrm>
            <a:off x="6700421" y="3916308"/>
            <a:ext cx="128774" cy="1438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B6</a:t>
            </a:r>
            <a:endParaRPr lang="en-US" sz="840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4" name="object 34">
            <a:extLst>
              <a:ext uri="{FF2B5EF4-FFF2-40B4-BE49-F238E27FC236}">
                <a16:creationId xmlns:a16="http://schemas.microsoft.com/office/drawing/2014/main" id="{327B288C-DB70-F830-1788-335AA2B453D7}"/>
              </a:ext>
            </a:extLst>
          </p:cNvPr>
          <p:cNvSpPr/>
          <p:nvPr/>
        </p:nvSpPr>
        <p:spPr>
          <a:xfrm>
            <a:off x="4586630" y="4171883"/>
            <a:ext cx="2340864" cy="281936"/>
          </a:xfrm>
          <a:custGeom>
            <a:avLst/>
            <a:gdLst>
              <a:gd name="f0" fmla="val w"/>
              <a:gd name="f1" fmla="val h"/>
              <a:gd name="f2" fmla="val 0"/>
              <a:gd name="f3" fmla="val 1950720"/>
              <a:gd name="f4" fmla="val 234950"/>
              <a:gd name="f5" fmla="val 1950719"/>
              <a:gd name="f6" fmla="val 234696"/>
              <a:gd name="f7" fmla="*/ f0 1 1950720"/>
              <a:gd name="f8" fmla="*/ f1 1 234950"/>
              <a:gd name="f9" fmla="+- f4 0 f2"/>
              <a:gd name="f10" fmla="+- f3 0 f2"/>
              <a:gd name="f11" fmla="*/ f10 1 1950720"/>
              <a:gd name="f12" fmla="*/ f9 1 234950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1950720" h="234950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CFD3D6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35" name="object 35">
            <a:extLst>
              <a:ext uri="{FF2B5EF4-FFF2-40B4-BE49-F238E27FC236}">
                <a16:creationId xmlns:a16="http://schemas.microsoft.com/office/drawing/2014/main" id="{9412346E-D458-1EC3-BF1F-BA3959390D6A}"/>
              </a:ext>
            </a:extLst>
          </p:cNvPr>
          <p:cNvSpPr txBox="1"/>
          <p:nvPr/>
        </p:nvSpPr>
        <p:spPr>
          <a:xfrm>
            <a:off x="4654597" y="4228274"/>
            <a:ext cx="1435306" cy="1438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Operational water use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36" name="object 36">
            <a:extLst>
              <a:ext uri="{FF2B5EF4-FFF2-40B4-BE49-F238E27FC236}">
                <a16:creationId xmlns:a16="http://schemas.microsoft.com/office/drawing/2014/main" id="{4B8DCE4B-07FB-8340-5D55-C87E198EE777}"/>
              </a:ext>
            </a:extLst>
          </p:cNvPr>
          <p:cNvSpPr txBox="1"/>
          <p:nvPr/>
        </p:nvSpPr>
        <p:spPr>
          <a:xfrm>
            <a:off x="6705907" y="4228274"/>
            <a:ext cx="128774" cy="1438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B7</a:t>
            </a:r>
            <a:endParaRPr lang="en-US" sz="840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grpSp>
        <p:nvGrpSpPr>
          <p:cNvPr id="37" name="object 37">
            <a:extLst>
              <a:ext uri="{FF2B5EF4-FFF2-40B4-BE49-F238E27FC236}">
                <a16:creationId xmlns:a16="http://schemas.microsoft.com/office/drawing/2014/main" id="{E0F300AF-C19C-BCAD-0D36-30525388772B}"/>
              </a:ext>
            </a:extLst>
          </p:cNvPr>
          <p:cNvGrpSpPr/>
          <p:nvPr/>
        </p:nvGrpSpPr>
        <p:grpSpPr>
          <a:xfrm>
            <a:off x="7046366" y="2544251"/>
            <a:ext cx="1380899" cy="1909423"/>
            <a:chOff x="7046366" y="2756001"/>
            <a:chExt cx="1380899" cy="1909423"/>
          </a:xfrm>
        </p:grpSpPr>
        <p:sp>
          <p:nvSpPr>
            <p:cNvPr id="38" name="object 38">
              <a:extLst>
                <a:ext uri="{FF2B5EF4-FFF2-40B4-BE49-F238E27FC236}">
                  <a16:creationId xmlns:a16="http://schemas.microsoft.com/office/drawing/2014/main" id="{E531DE20-EFF4-C983-3EA9-4CDF23A96770}"/>
                </a:ext>
              </a:extLst>
            </p:cNvPr>
            <p:cNvSpPr/>
            <p:nvPr/>
          </p:nvSpPr>
          <p:spPr>
            <a:xfrm>
              <a:off x="7046366" y="2756019"/>
              <a:ext cx="907542" cy="241557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756284"/>
                <a:gd name="f4" fmla="val 201294"/>
                <a:gd name="f5" fmla="val 359664"/>
                <a:gd name="f6" fmla="val 201155"/>
                <a:gd name="f7" fmla="val 755904"/>
                <a:gd name="f8" fmla="val 394716"/>
                <a:gd name="f9" fmla="*/ f0 1 756284"/>
                <a:gd name="f10" fmla="*/ f1 1 201294"/>
                <a:gd name="f11" fmla="+- f4 0 f2"/>
                <a:gd name="f12" fmla="+- f3 0 f2"/>
                <a:gd name="f13" fmla="*/ f12 1 756284"/>
                <a:gd name="f14" fmla="*/ f11 1 201294"/>
                <a:gd name="f15" fmla="*/ f2 1 f13"/>
                <a:gd name="f16" fmla="*/ f3 1 f13"/>
                <a:gd name="f17" fmla="*/ f2 1 f14"/>
                <a:gd name="f18" fmla="*/ f4 1 f14"/>
                <a:gd name="f19" fmla="*/ f15 f9 1"/>
                <a:gd name="f20" fmla="*/ f16 f9 1"/>
                <a:gd name="f21" fmla="*/ f18 f10 1"/>
                <a:gd name="f22" fmla="*/ f17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9" t="f22" r="f20" b="f21"/>
              <a:pathLst>
                <a:path w="756284" h="20129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  <a:path w="756284" h="201294">
                  <a:moveTo>
                    <a:pt x="f7" y="f2"/>
                  </a:moveTo>
                  <a:lnTo>
                    <a:pt x="f8" y="f2"/>
                  </a:lnTo>
                  <a:lnTo>
                    <a:pt x="f8" y="f6"/>
                  </a:lnTo>
                  <a:lnTo>
                    <a:pt x="f7" y="f6"/>
                  </a:lnTo>
                  <a:lnTo>
                    <a:pt x="f7" y="f2"/>
                  </a:lnTo>
                  <a:close/>
                </a:path>
              </a:pathLst>
            </a:custGeom>
            <a:solidFill>
              <a:srgbClr val="CFD3D6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39" name="object 39">
              <a:extLst>
                <a:ext uri="{FF2B5EF4-FFF2-40B4-BE49-F238E27FC236}">
                  <a16:creationId xmlns:a16="http://schemas.microsoft.com/office/drawing/2014/main" id="{27B16559-BD75-2279-EA65-29178EE4E368}"/>
                </a:ext>
              </a:extLst>
            </p:cNvPr>
            <p:cNvSpPr/>
            <p:nvPr/>
          </p:nvSpPr>
          <p:spPr>
            <a:xfrm>
              <a:off x="7993684" y="2756001"/>
              <a:ext cx="433581" cy="241557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61315"/>
                <a:gd name="f4" fmla="val 201294"/>
                <a:gd name="f5" fmla="val 361188"/>
                <a:gd name="f6" fmla="val 201167"/>
                <a:gd name="f7" fmla="*/ f0 1 361315"/>
                <a:gd name="f8" fmla="*/ f1 1 201294"/>
                <a:gd name="f9" fmla="+- f4 0 f2"/>
                <a:gd name="f10" fmla="+- f3 0 f2"/>
                <a:gd name="f11" fmla="*/ f10 1 361315"/>
                <a:gd name="f12" fmla="*/ f9 1 20129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61315" h="20129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3D526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CDD9E566-9945-AAD7-978D-F2DEC39CB707}"/>
                </a:ext>
              </a:extLst>
            </p:cNvPr>
            <p:cNvSpPr/>
            <p:nvPr/>
          </p:nvSpPr>
          <p:spPr>
            <a:xfrm>
              <a:off x="7046366" y="2997403"/>
              <a:ext cx="432054" cy="166802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60045"/>
                <a:gd name="f4" fmla="val 1390014"/>
                <a:gd name="f5" fmla="val 359663"/>
                <a:gd name="f6" fmla="val 1389888"/>
                <a:gd name="f7" fmla="*/ f0 1 360045"/>
                <a:gd name="f8" fmla="*/ f1 1 1390014"/>
                <a:gd name="f9" fmla="+- f4 0 f2"/>
                <a:gd name="f10" fmla="+- f3 0 f2"/>
                <a:gd name="f11" fmla="*/ f10 1 360045"/>
                <a:gd name="f12" fmla="*/ f9 1 139001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60045" h="1390014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CFD3D6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41" name="object 41">
            <a:extLst>
              <a:ext uri="{FF2B5EF4-FFF2-40B4-BE49-F238E27FC236}">
                <a16:creationId xmlns:a16="http://schemas.microsoft.com/office/drawing/2014/main" id="{6EB2E9E6-1202-642D-23D2-9BBB33B3E3F6}"/>
              </a:ext>
            </a:extLst>
          </p:cNvPr>
          <p:cNvSpPr txBox="1"/>
          <p:nvPr/>
        </p:nvSpPr>
        <p:spPr>
          <a:xfrm rot="10800000">
            <a:off x="7213549" y="3169262"/>
            <a:ext cx="115416" cy="1190913"/>
          </a:xfrm>
          <a:prstGeom prst="rect">
            <a:avLst/>
          </a:prstGeom>
          <a:noFill/>
          <a:ln cap="flat">
            <a:noFill/>
          </a:ln>
        </p:spPr>
        <p:txBody>
          <a:bodyPr vert="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Deconstruction/ Demolition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2" name="object 42">
            <a:extLst>
              <a:ext uri="{FF2B5EF4-FFF2-40B4-BE49-F238E27FC236}">
                <a16:creationId xmlns:a16="http://schemas.microsoft.com/office/drawing/2014/main" id="{89AB3770-FBBA-6346-0B98-47E0EB05A8D6}"/>
              </a:ext>
            </a:extLst>
          </p:cNvPr>
          <p:cNvSpPr/>
          <p:nvPr/>
        </p:nvSpPr>
        <p:spPr>
          <a:xfrm>
            <a:off x="7520025" y="2785653"/>
            <a:ext cx="433581" cy="1668021"/>
          </a:xfrm>
          <a:custGeom>
            <a:avLst/>
            <a:gdLst>
              <a:gd name="f0" fmla="val w"/>
              <a:gd name="f1" fmla="val h"/>
              <a:gd name="f2" fmla="val 0"/>
              <a:gd name="f3" fmla="val 361315"/>
              <a:gd name="f4" fmla="val 1390014"/>
              <a:gd name="f5" fmla="val 361188"/>
              <a:gd name="f6" fmla="val 1389888"/>
              <a:gd name="f7" fmla="*/ f0 1 361315"/>
              <a:gd name="f8" fmla="*/ f1 1 1390014"/>
              <a:gd name="f9" fmla="+- f4 0 f2"/>
              <a:gd name="f10" fmla="+- f3 0 f2"/>
              <a:gd name="f11" fmla="*/ f10 1 361315"/>
              <a:gd name="f12" fmla="*/ f9 1 139001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1315" h="139001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CFD3D6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43" name="object 43">
            <a:extLst>
              <a:ext uri="{FF2B5EF4-FFF2-40B4-BE49-F238E27FC236}">
                <a16:creationId xmlns:a16="http://schemas.microsoft.com/office/drawing/2014/main" id="{F2FC7DAE-1A7A-55BD-4736-5073B9E8728E}"/>
              </a:ext>
            </a:extLst>
          </p:cNvPr>
          <p:cNvSpPr txBox="1"/>
          <p:nvPr/>
        </p:nvSpPr>
        <p:spPr>
          <a:xfrm rot="10800000">
            <a:off x="7678371" y="3912614"/>
            <a:ext cx="115416" cy="450342"/>
          </a:xfrm>
          <a:prstGeom prst="rect">
            <a:avLst/>
          </a:prstGeom>
          <a:noFill/>
          <a:ln cap="flat">
            <a:noFill/>
          </a:ln>
        </p:spPr>
        <p:txBody>
          <a:bodyPr vert="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Transport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4" name="object 44">
            <a:extLst>
              <a:ext uri="{FF2B5EF4-FFF2-40B4-BE49-F238E27FC236}">
                <a16:creationId xmlns:a16="http://schemas.microsoft.com/office/drawing/2014/main" id="{217354B0-11DB-CD97-9FD7-123CD33AEDE7}"/>
              </a:ext>
            </a:extLst>
          </p:cNvPr>
          <p:cNvSpPr/>
          <p:nvPr/>
        </p:nvSpPr>
        <p:spPr>
          <a:xfrm>
            <a:off x="7993684" y="2785653"/>
            <a:ext cx="433581" cy="1668021"/>
          </a:xfrm>
          <a:custGeom>
            <a:avLst/>
            <a:gdLst>
              <a:gd name="f0" fmla="val w"/>
              <a:gd name="f1" fmla="val h"/>
              <a:gd name="f2" fmla="val 0"/>
              <a:gd name="f3" fmla="val 361315"/>
              <a:gd name="f4" fmla="val 1390014"/>
              <a:gd name="f5" fmla="val 361188"/>
              <a:gd name="f6" fmla="val 1389888"/>
              <a:gd name="f7" fmla="*/ f0 1 361315"/>
              <a:gd name="f8" fmla="*/ f1 1 1390014"/>
              <a:gd name="f9" fmla="+- f4 0 f2"/>
              <a:gd name="f10" fmla="+- f3 0 f2"/>
              <a:gd name="f11" fmla="*/ f10 1 361315"/>
              <a:gd name="f12" fmla="*/ f9 1 139001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1315" h="139001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3D5260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45" name="object 45">
            <a:extLst>
              <a:ext uri="{FF2B5EF4-FFF2-40B4-BE49-F238E27FC236}">
                <a16:creationId xmlns:a16="http://schemas.microsoft.com/office/drawing/2014/main" id="{F6AB55BA-46BF-FA44-FF45-18395339DB5F}"/>
              </a:ext>
            </a:extLst>
          </p:cNvPr>
          <p:cNvSpPr txBox="1"/>
          <p:nvPr/>
        </p:nvSpPr>
        <p:spPr>
          <a:xfrm rot="10800000">
            <a:off x="8148869" y="3556684"/>
            <a:ext cx="118879" cy="806199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spc="-12" dirty="0">
                <a:solidFill>
                  <a:srgbClr val="FFFFFF"/>
                </a:solidFill>
                <a:latin typeface="Calibri"/>
                <a:cs typeface="Calibri"/>
              </a:rPr>
              <a:t>Waste processing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6" name="object 46">
            <a:extLst>
              <a:ext uri="{FF2B5EF4-FFF2-40B4-BE49-F238E27FC236}">
                <a16:creationId xmlns:a16="http://schemas.microsoft.com/office/drawing/2014/main" id="{151C48E5-9F4E-2B22-1923-92B05C5643AB}"/>
              </a:ext>
            </a:extLst>
          </p:cNvPr>
          <p:cNvSpPr txBox="1"/>
          <p:nvPr/>
        </p:nvSpPr>
        <p:spPr>
          <a:xfrm>
            <a:off x="7046366" y="2123627"/>
            <a:ext cx="1854704" cy="178509"/>
          </a:xfrm>
          <a:prstGeom prst="rect">
            <a:avLst/>
          </a:prstGeom>
          <a:noFill/>
          <a:ln w="12701" cap="flat">
            <a:solidFill>
              <a:srgbClr val="3D5260"/>
            </a:solidFill>
            <a:prstDash val="solid"/>
            <a:miter/>
          </a:ln>
        </p:spPr>
        <p:txBody>
          <a:bodyPr vert="horz" wrap="square" lIns="0" tIns="48764" rIns="0" bIns="0" anchor="t" anchorCtr="1" compatLnSpc="1">
            <a:spAutoFit/>
          </a:bodyPr>
          <a:lstStyle/>
          <a:p>
            <a:pPr marL="1527" marR="0" lvl="0" indent="0" algn="ctr" defTabSz="914400" rtl="0" fontAlgn="auto" hangingPunct="1">
              <a:lnSpc>
                <a:spcPct val="100000"/>
              </a:lnSpc>
              <a:spcBef>
                <a:spcPts val="38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0" baseline="0" dirty="0">
                <a:solidFill>
                  <a:srgbClr val="3D5260"/>
                </a:solidFill>
                <a:uFillTx/>
                <a:latin typeface="Calibri"/>
                <a:cs typeface="Calibri"/>
              </a:rPr>
              <a:t>End of life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7" name="object 47">
            <a:extLst>
              <a:ext uri="{FF2B5EF4-FFF2-40B4-BE49-F238E27FC236}">
                <a16:creationId xmlns:a16="http://schemas.microsoft.com/office/drawing/2014/main" id="{C4DA95A3-7973-406F-7AD1-F87C7864B444}"/>
              </a:ext>
            </a:extLst>
          </p:cNvPr>
          <p:cNvSpPr/>
          <p:nvPr/>
        </p:nvSpPr>
        <p:spPr>
          <a:xfrm>
            <a:off x="8469172" y="2544251"/>
            <a:ext cx="432054" cy="241557"/>
          </a:xfrm>
          <a:custGeom>
            <a:avLst/>
            <a:gdLst>
              <a:gd name="f0" fmla="val w"/>
              <a:gd name="f1" fmla="val h"/>
              <a:gd name="f2" fmla="val 0"/>
              <a:gd name="f3" fmla="val 360045"/>
              <a:gd name="f4" fmla="val 201294"/>
              <a:gd name="f5" fmla="val 359664"/>
              <a:gd name="f6" fmla="val 201167"/>
              <a:gd name="f7" fmla="*/ f0 1 360045"/>
              <a:gd name="f8" fmla="*/ f1 1 201294"/>
              <a:gd name="f9" fmla="+- f4 0 f2"/>
              <a:gd name="f10" fmla="+- f3 0 f2"/>
              <a:gd name="f11" fmla="*/ f10 1 360045"/>
              <a:gd name="f12" fmla="*/ f9 1 20129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0045" h="20129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3D5260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48" name="object 48">
            <a:extLst>
              <a:ext uri="{FF2B5EF4-FFF2-40B4-BE49-F238E27FC236}">
                <a16:creationId xmlns:a16="http://schemas.microsoft.com/office/drawing/2014/main" id="{49219A1F-53A2-4E39-DF38-04B469668AFB}"/>
              </a:ext>
            </a:extLst>
          </p:cNvPr>
          <p:cNvSpPr txBox="1"/>
          <p:nvPr/>
        </p:nvSpPr>
        <p:spPr>
          <a:xfrm>
            <a:off x="7209129" y="2580214"/>
            <a:ext cx="1548380" cy="1438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>
                <a:tab pos="473201" algn="l"/>
                <a:tab pos="947931" algn="l"/>
                <a:tab pos="1421892" algn="l"/>
              </a:tabLs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C1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C2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C3</a:t>
            </a:r>
            <a:r>
              <a:rPr lang="en-US" sz="840" b="0" i="0" u="none" strike="noStrike" kern="1200" cap="none" spc="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	</a:t>
            </a:r>
            <a:r>
              <a:rPr lang="en-US" sz="840" b="0" i="0" u="none" strike="noStrike" kern="1200" cap="none" spc="-30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C4</a:t>
            </a:r>
            <a:endParaRPr lang="en-US" sz="840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49" name="object 49">
            <a:extLst>
              <a:ext uri="{FF2B5EF4-FFF2-40B4-BE49-F238E27FC236}">
                <a16:creationId xmlns:a16="http://schemas.microsoft.com/office/drawing/2014/main" id="{FB8D004C-6B91-947B-EF24-28015660C7F2}"/>
              </a:ext>
            </a:extLst>
          </p:cNvPr>
          <p:cNvSpPr/>
          <p:nvPr/>
        </p:nvSpPr>
        <p:spPr>
          <a:xfrm>
            <a:off x="8469172" y="2785653"/>
            <a:ext cx="432054" cy="1668021"/>
          </a:xfrm>
          <a:custGeom>
            <a:avLst/>
            <a:gdLst>
              <a:gd name="f0" fmla="val w"/>
              <a:gd name="f1" fmla="val h"/>
              <a:gd name="f2" fmla="val 0"/>
              <a:gd name="f3" fmla="val 360045"/>
              <a:gd name="f4" fmla="val 1390014"/>
              <a:gd name="f5" fmla="val 359664"/>
              <a:gd name="f6" fmla="val 1389888"/>
              <a:gd name="f7" fmla="*/ f0 1 360045"/>
              <a:gd name="f8" fmla="*/ f1 1 1390014"/>
              <a:gd name="f9" fmla="+- f4 0 f2"/>
              <a:gd name="f10" fmla="+- f3 0 f2"/>
              <a:gd name="f11" fmla="*/ f10 1 360045"/>
              <a:gd name="f12" fmla="*/ f9 1 1390014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360045" h="1390014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3D5260"/>
          </a:solidFill>
          <a:ln cap="flat">
            <a:noFill/>
            <a:prstDash val="solid"/>
          </a:ln>
        </p:spPr>
        <p:txBody>
          <a:bodyPr vert="vert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50" name="object 50">
            <a:extLst>
              <a:ext uri="{FF2B5EF4-FFF2-40B4-BE49-F238E27FC236}">
                <a16:creationId xmlns:a16="http://schemas.microsoft.com/office/drawing/2014/main" id="{0C330462-ECA3-560F-21FE-41C91B4AB2C5}"/>
              </a:ext>
            </a:extLst>
          </p:cNvPr>
          <p:cNvSpPr txBox="1"/>
          <p:nvPr/>
        </p:nvSpPr>
        <p:spPr>
          <a:xfrm rot="10800000">
            <a:off x="8623287" y="3767764"/>
            <a:ext cx="118879" cy="595118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Disposal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1" name="object 51">
            <a:extLst>
              <a:ext uri="{FF2B5EF4-FFF2-40B4-BE49-F238E27FC236}">
                <a16:creationId xmlns:a16="http://schemas.microsoft.com/office/drawing/2014/main" id="{7E1780FD-B153-CBD1-52CB-147F19A080C3}"/>
              </a:ext>
            </a:extLst>
          </p:cNvPr>
          <p:cNvSpPr txBox="1"/>
          <p:nvPr/>
        </p:nvSpPr>
        <p:spPr>
          <a:xfrm>
            <a:off x="9129368" y="2544252"/>
            <a:ext cx="981457" cy="179852"/>
          </a:xfrm>
          <a:prstGeom prst="rect">
            <a:avLst/>
          </a:prstGeom>
          <a:solidFill>
            <a:srgbClr val="8A97A0"/>
          </a:solidFill>
          <a:ln cap="flat">
            <a:noFill/>
          </a:ln>
        </p:spPr>
        <p:txBody>
          <a:bodyPr vert="horz" wrap="square" lIns="0" tIns="50292" rIns="0" bIns="0" anchor="t" anchorCtr="1" compatLnSpc="1">
            <a:spAutoFit/>
          </a:bodyPr>
          <a:lstStyle/>
          <a:p>
            <a:pPr marL="3044" marR="0" lvl="0" indent="0" algn="ctr" defTabSz="914400" rtl="0" fontAlgn="auto" hangingPunct="1">
              <a:lnSpc>
                <a:spcPct val="100000"/>
              </a:lnSpc>
              <a:spcBef>
                <a:spcPts val="39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6" baseline="0">
                <a:solidFill>
                  <a:srgbClr val="FFFFFF"/>
                </a:solidFill>
                <a:uFillTx/>
                <a:latin typeface="Calibri"/>
                <a:cs typeface="Calibri"/>
              </a:rPr>
              <a:t>D</a:t>
            </a:r>
            <a:endParaRPr lang="en-US" sz="840" b="0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2" name="object 52">
            <a:extLst>
              <a:ext uri="{FF2B5EF4-FFF2-40B4-BE49-F238E27FC236}">
                <a16:creationId xmlns:a16="http://schemas.microsoft.com/office/drawing/2014/main" id="{D57241D9-B3C0-8781-E030-D9ED97BFF467}"/>
              </a:ext>
            </a:extLst>
          </p:cNvPr>
          <p:cNvSpPr txBox="1"/>
          <p:nvPr/>
        </p:nvSpPr>
        <p:spPr>
          <a:xfrm rot="10800000">
            <a:off x="9529163" y="3213777"/>
            <a:ext cx="234295" cy="1154162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91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spc="-12" dirty="0">
                <a:solidFill>
                  <a:schemeClr val="bg1"/>
                </a:solidFill>
                <a:latin typeface="Calibri"/>
                <a:cs typeface="Calibri"/>
              </a:rPr>
              <a:t>Reuse, recycle and recovery potential </a:t>
            </a:r>
            <a:endParaRPr lang="en-US" sz="840" b="0" i="0" u="none" strike="noStrike" kern="1200" cap="none" spc="0" baseline="0" dirty="0">
              <a:solidFill>
                <a:schemeClr val="bg1"/>
              </a:solidFill>
              <a:uFillTx/>
              <a:latin typeface="Calibri"/>
              <a:cs typeface="Calibri"/>
            </a:endParaRPr>
          </a:p>
        </p:txBody>
      </p:sp>
      <p:sp>
        <p:nvSpPr>
          <p:cNvPr id="53" name="object 53">
            <a:extLst>
              <a:ext uri="{FF2B5EF4-FFF2-40B4-BE49-F238E27FC236}">
                <a16:creationId xmlns:a16="http://schemas.microsoft.com/office/drawing/2014/main" id="{F12A10D9-EF6E-D668-91B4-4C9ED5410ECE}"/>
              </a:ext>
            </a:extLst>
          </p:cNvPr>
          <p:cNvSpPr txBox="1"/>
          <p:nvPr/>
        </p:nvSpPr>
        <p:spPr>
          <a:xfrm>
            <a:off x="9127540" y="2123627"/>
            <a:ext cx="983286" cy="308549"/>
          </a:xfrm>
          <a:prstGeom prst="rect">
            <a:avLst/>
          </a:prstGeom>
          <a:noFill/>
          <a:ln w="12701" cap="flat">
            <a:solidFill>
              <a:srgbClr val="3D5260"/>
            </a:solidFill>
            <a:prstDash val="solid"/>
            <a:miter/>
          </a:ln>
        </p:spPr>
        <p:txBody>
          <a:bodyPr vert="horz" wrap="square" lIns="0" tIns="49533" rIns="0" bIns="0" anchor="t" anchorCtr="0" compatLnSpc="1">
            <a:spAutoFit/>
          </a:bodyPr>
          <a:lstStyle/>
          <a:p>
            <a:pPr marL="134874" marR="0" lvl="0" indent="0" algn="l" defTabSz="914400" rtl="0" fontAlgn="auto" hangingPunct="1">
              <a:lnSpc>
                <a:spcPct val="100000"/>
              </a:lnSpc>
              <a:spcBef>
                <a:spcPts val="39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0" baseline="0" dirty="0">
                <a:solidFill>
                  <a:srgbClr val="3D5260"/>
                </a:solidFill>
                <a:uFillTx/>
                <a:latin typeface="Calibri"/>
                <a:cs typeface="Calibri"/>
              </a:rPr>
              <a:t>Benefits beyond system boundaries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grpSp>
        <p:nvGrpSpPr>
          <p:cNvPr id="54" name="object 54">
            <a:extLst>
              <a:ext uri="{FF2B5EF4-FFF2-40B4-BE49-F238E27FC236}">
                <a16:creationId xmlns:a16="http://schemas.microsoft.com/office/drawing/2014/main" id="{19A60A6D-24CE-B8E2-0C7C-714E040A6955}"/>
              </a:ext>
            </a:extLst>
          </p:cNvPr>
          <p:cNvGrpSpPr/>
          <p:nvPr/>
        </p:nvGrpSpPr>
        <p:grpSpPr>
          <a:xfrm>
            <a:off x="1689810" y="1615221"/>
            <a:ext cx="8472761" cy="450497"/>
            <a:chOff x="1689811" y="1826971"/>
            <a:chExt cx="8295894" cy="450497"/>
          </a:xfrm>
        </p:grpSpPr>
        <p:sp>
          <p:nvSpPr>
            <p:cNvPr id="55" name="object 55">
              <a:extLst>
                <a:ext uri="{FF2B5EF4-FFF2-40B4-BE49-F238E27FC236}">
                  <a16:creationId xmlns:a16="http://schemas.microsoft.com/office/drawing/2014/main" id="{7C65D975-AE3F-927A-9BD4-B0F8EF91263C}"/>
                </a:ext>
              </a:extLst>
            </p:cNvPr>
            <p:cNvSpPr/>
            <p:nvPr/>
          </p:nvSpPr>
          <p:spPr>
            <a:xfrm>
              <a:off x="2081174" y="1936699"/>
              <a:ext cx="7853168" cy="25984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544309"/>
                <a:gd name="f4" fmla="val 216535"/>
                <a:gd name="f5" fmla="val 216408"/>
                <a:gd name="f6" fmla="val 1150620"/>
                <a:gd name="f7" fmla="val 1524"/>
                <a:gd name="f8" fmla="val 1245108"/>
                <a:gd name="f9" fmla="val 214884"/>
                <a:gd name="f10" fmla="val 6544056"/>
                <a:gd name="f11" fmla="*/ f0 1 6544309"/>
                <a:gd name="f12" fmla="*/ f1 1 216535"/>
                <a:gd name="f13" fmla="+- f4 0 f2"/>
                <a:gd name="f14" fmla="+- f3 0 f2"/>
                <a:gd name="f15" fmla="*/ f14 1 6544309"/>
                <a:gd name="f16" fmla="*/ f13 1 216535"/>
                <a:gd name="f17" fmla="*/ f2 1 f15"/>
                <a:gd name="f18" fmla="*/ f3 1 f15"/>
                <a:gd name="f19" fmla="*/ f2 1 f16"/>
                <a:gd name="f20" fmla="*/ f4 1 f16"/>
                <a:gd name="f21" fmla="*/ f17 f11 1"/>
                <a:gd name="f22" fmla="*/ f18 f11 1"/>
                <a:gd name="f23" fmla="*/ f20 f12 1"/>
                <a:gd name="f24" fmla="*/ f1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1" t="f24" r="f22" b="f23"/>
              <a:pathLst>
                <a:path w="6544309" h="216535">
                  <a:moveTo>
                    <a:pt x="f2" y="f5"/>
                  </a:moveTo>
                  <a:lnTo>
                    <a:pt x="f6" y="f5"/>
                  </a:lnTo>
                  <a:lnTo>
                    <a:pt x="f6" y="f7"/>
                  </a:lnTo>
                  <a:lnTo>
                    <a:pt x="f2" y="f7"/>
                  </a:lnTo>
                  <a:lnTo>
                    <a:pt x="f2" y="f5"/>
                  </a:lnTo>
                  <a:close/>
                </a:path>
                <a:path w="6544309" h="216535">
                  <a:moveTo>
                    <a:pt x="f8" y="f9"/>
                  </a:moveTo>
                  <a:lnTo>
                    <a:pt x="f10" y="f9"/>
                  </a:lnTo>
                  <a:lnTo>
                    <a:pt x="f10" y="f2"/>
                  </a:lnTo>
                  <a:lnTo>
                    <a:pt x="f8" y="f2"/>
                  </a:lnTo>
                  <a:lnTo>
                    <a:pt x="f8" y="f9"/>
                  </a:lnTo>
                  <a:close/>
                </a:path>
              </a:pathLst>
            </a:custGeom>
            <a:noFill/>
            <a:ln w="12701" cap="flat">
              <a:solidFill>
                <a:srgbClr val="3D526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6" name="object 56">
              <a:extLst>
                <a:ext uri="{FF2B5EF4-FFF2-40B4-BE49-F238E27FC236}">
                  <a16:creationId xmlns:a16="http://schemas.microsoft.com/office/drawing/2014/main" id="{0EFAC43F-0980-4206-C193-A782103F39BC}"/>
                </a:ext>
              </a:extLst>
            </p:cNvPr>
            <p:cNvSpPr/>
            <p:nvPr/>
          </p:nvSpPr>
          <p:spPr>
            <a:xfrm>
              <a:off x="1689811" y="2061057"/>
              <a:ext cx="8295894" cy="21641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913245"/>
                <a:gd name="f4" fmla="val 180339"/>
                <a:gd name="f5" fmla="val 6912864"/>
                <a:gd name="f6" fmla="val 179832"/>
                <a:gd name="f7" fmla="*/ f0 1 6913245"/>
                <a:gd name="f8" fmla="*/ f1 1 180339"/>
                <a:gd name="f9" fmla="+- f4 0 f2"/>
                <a:gd name="f10" fmla="+- f3 0 f2"/>
                <a:gd name="f11" fmla="*/ f10 1 6913245"/>
                <a:gd name="f12" fmla="*/ f9 1 18033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913245" h="180339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7" name="object 57">
              <a:extLst>
                <a:ext uri="{FF2B5EF4-FFF2-40B4-BE49-F238E27FC236}">
                  <a16:creationId xmlns:a16="http://schemas.microsoft.com/office/drawing/2014/main" id="{CF1F8B0F-AA5F-DADF-277C-47ED7236BD0B}"/>
                </a:ext>
              </a:extLst>
            </p:cNvPr>
            <p:cNvSpPr/>
            <p:nvPr/>
          </p:nvSpPr>
          <p:spPr>
            <a:xfrm>
              <a:off x="1689811" y="2061057"/>
              <a:ext cx="8295894" cy="21641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6913245"/>
                <a:gd name="f4" fmla="val 180339"/>
                <a:gd name="f5" fmla="val 179832"/>
                <a:gd name="f6" fmla="val 6912864"/>
                <a:gd name="f7" fmla="*/ f0 1 6913245"/>
                <a:gd name="f8" fmla="*/ f1 1 180339"/>
                <a:gd name="f9" fmla="+- f4 0 f2"/>
                <a:gd name="f10" fmla="+- f3 0 f2"/>
                <a:gd name="f11" fmla="*/ f10 1 6913245"/>
                <a:gd name="f12" fmla="*/ f9 1 18033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6913245" h="180339">
                  <a:moveTo>
                    <a:pt x="f2" y="f5"/>
                  </a:moveTo>
                  <a:lnTo>
                    <a:pt x="f6" y="f5"/>
                  </a:lnTo>
                  <a:lnTo>
                    <a:pt x="f6" y="f2"/>
                  </a:lnTo>
                  <a:lnTo>
                    <a:pt x="f2" y="f2"/>
                  </a:lnTo>
                  <a:lnTo>
                    <a:pt x="f2" y="f5"/>
                  </a:lnTo>
                  <a:close/>
                </a:path>
              </a:pathLst>
            </a:custGeom>
            <a:noFill/>
            <a:ln w="12701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58" name="object 58">
              <a:extLst>
                <a:ext uri="{FF2B5EF4-FFF2-40B4-BE49-F238E27FC236}">
                  <a16:creationId xmlns:a16="http://schemas.microsoft.com/office/drawing/2014/main" id="{EFED8AC9-6152-1853-8321-9D23B61E498E}"/>
                </a:ext>
              </a:extLst>
            </p:cNvPr>
            <p:cNvSpPr/>
            <p:nvPr/>
          </p:nvSpPr>
          <p:spPr>
            <a:xfrm>
              <a:off x="2240279" y="1826971"/>
              <a:ext cx="1044702" cy="24003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870585"/>
                <a:gd name="f4" fmla="val 200025"/>
                <a:gd name="f5" fmla="val 870203"/>
                <a:gd name="f6" fmla="val 199644"/>
                <a:gd name="f7" fmla="*/ f0 1 870585"/>
                <a:gd name="f8" fmla="*/ f1 1 200025"/>
                <a:gd name="f9" fmla="+- f4 0 f2"/>
                <a:gd name="f10" fmla="+- f3 0 f2"/>
                <a:gd name="f11" fmla="*/ f10 1 870585"/>
                <a:gd name="f12" fmla="*/ f9 1 20002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870585" h="200025">
                  <a:moveTo>
                    <a:pt x="f5" y="f2"/>
                  </a:moveTo>
                  <a:lnTo>
                    <a:pt x="f2" y="f2"/>
                  </a:lnTo>
                  <a:lnTo>
                    <a:pt x="f2" y="f6"/>
                  </a:lnTo>
                  <a:lnTo>
                    <a:pt x="f5" y="f6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59" name="object 59">
            <a:extLst>
              <a:ext uri="{FF2B5EF4-FFF2-40B4-BE49-F238E27FC236}">
                <a16:creationId xmlns:a16="http://schemas.microsoft.com/office/drawing/2014/main" id="{10C510AB-CBE6-4A3A-9476-B2FF21C59E2E}"/>
              </a:ext>
            </a:extLst>
          </p:cNvPr>
          <p:cNvSpPr txBox="1"/>
          <p:nvPr/>
        </p:nvSpPr>
        <p:spPr>
          <a:xfrm>
            <a:off x="2407158" y="1650123"/>
            <a:ext cx="710187" cy="1438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0" baseline="0" dirty="0">
                <a:solidFill>
                  <a:srgbClr val="3D5260"/>
                </a:solidFill>
                <a:uFillTx/>
                <a:latin typeface="Calibri"/>
                <a:cs typeface="Calibri"/>
              </a:rPr>
              <a:t>Based on data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0" name="object 60">
            <a:extLst>
              <a:ext uri="{FF2B5EF4-FFF2-40B4-BE49-F238E27FC236}">
                <a16:creationId xmlns:a16="http://schemas.microsoft.com/office/drawing/2014/main" id="{A15D7892-AB56-16C9-EA0E-427783F8C507}"/>
              </a:ext>
            </a:extLst>
          </p:cNvPr>
          <p:cNvSpPr/>
          <p:nvPr/>
        </p:nvSpPr>
        <p:spPr>
          <a:xfrm>
            <a:off x="5769864" y="1615221"/>
            <a:ext cx="1333496" cy="240030"/>
          </a:xfrm>
          <a:custGeom>
            <a:avLst/>
            <a:gdLst>
              <a:gd name="f0" fmla="val w"/>
              <a:gd name="f1" fmla="val h"/>
              <a:gd name="f2" fmla="val 0"/>
              <a:gd name="f3" fmla="val 1111250"/>
              <a:gd name="f4" fmla="val 200025"/>
              <a:gd name="f5" fmla="val 1110996"/>
              <a:gd name="f6" fmla="val 199644"/>
              <a:gd name="f7" fmla="*/ f0 1 1111250"/>
              <a:gd name="f8" fmla="*/ f1 1 200025"/>
              <a:gd name="f9" fmla="+- f4 0 f2"/>
              <a:gd name="f10" fmla="+- f3 0 f2"/>
              <a:gd name="f11" fmla="*/ f10 1 1111250"/>
              <a:gd name="f12" fmla="*/ f9 1 20002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1111250" h="200025">
                <a:moveTo>
                  <a:pt x="f5" y="f2"/>
                </a:moveTo>
                <a:lnTo>
                  <a:pt x="f2" y="f2"/>
                </a:lnTo>
                <a:lnTo>
                  <a:pt x="f2" y="f6"/>
                </a:lnTo>
                <a:lnTo>
                  <a:pt x="f5" y="f6"/>
                </a:lnTo>
                <a:lnTo>
                  <a:pt x="f5" y="f2"/>
                </a:lnTo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160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61" name="object 61">
            <a:extLst>
              <a:ext uri="{FF2B5EF4-FFF2-40B4-BE49-F238E27FC236}">
                <a16:creationId xmlns:a16="http://schemas.microsoft.com/office/drawing/2014/main" id="{AE5C1158-72F0-166D-5F72-11DF140CC85D}"/>
              </a:ext>
            </a:extLst>
          </p:cNvPr>
          <p:cNvSpPr txBox="1"/>
          <p:nvPr/>
        </p:nvSpPr>
        <p:spPr>
          <a:xfrm>
            <a:off x="5952442" y="1650123"/>
            <a:ext cx="1044702" cy="1438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0" baseline="0" dirty="0">
                <a:solidFill>
                  <a:srgbClr val="3D5260"/>
                </a:solidFill>
                <a:uFillTx/>
                <a:latin typeface="Calibri"/>
                <a:cs typeface="Calibri"/>
              </a:rPr>
              <a:t>Based on assumptions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2" name="object 62">
            <a:extLst>
              <a:ext uri="{FF2B5EF4-FFF2-40B4-BE49-F238E27FC236}">
                <a16:creationId xmlns:a16="http://schemas.microsoft.com/office/drawing/2014/main" id="{65E8A4CA-2A0F-410C-B265-C96421EFE8D9}"/>
              </a:ext>
            </a:extLst>
          </p:cNvPr>
          <p:cNvSpPr txBox="1"/>
          <p:nvPr/>
        </p:nvSpPr>
        <p:spPr>
          <a:xfrm>
            <a:off x="3977639" y="4782702"/>
            <a:ext cx="1044702" cy="196202"/>
          </a:xfrm>
          <a:prstGeom prst="rect">
            <a:avLst/>
          </a:prstGeom>
          <a:solidFill>
            <a:srgbClr val="3D5260"/>
          </a:solidFill>
          <a:ln cap="flat">
            <a:noFill/>
          </a:ln>
        </p:spPr>
        <p:txBody>
          <a:bodyPr vert="horz" wrap="square" lIns="0" tIns="66294" rIns="0" bIns="0" anchor="t" anchorCtr="0" compatLnSpc="1">
            <a:spAutoFit/>
          </a:bodyPr>
          <a:lstStyle/>
          <a:p>
            <a:pPr marL="114300" marR="0" lvl="0" indent="-114300" algn="ctr" defTabSz="914400" rtl="0" fontAlgn="auto" hangingPunct="1">
              <a:lnSpc>
                <a:spcPct val="100000"/>
              </a:lnSpc>
              <a:spcBef>
                <a:spcPts val="5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-12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Mandatory phases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3" name="object 63">
            <a:extLst>
              <a:ext uri="{FF2B5EF4-FFF2-40B4-BE49-F238E27FC236}">
                <a16:creationId xmlns:a16="http://schemas.microsoft.com/office/drawing/2014/main" id="{C5FAA903-8947-36EA-866D-9B846467D24F}"/>
              </a:ext>
            </a:extLst>
          </p:cNvPr>
          <p:cNvSpPr txBox="1"/>
          <p:nvPr/>
        </p:nvSpPr>
        <p:spPr>
          <a:xfrm>
            <a:off x="5191962" y="4782227"/>
            <a:ext cx="1044703" cy="196202"/>
          </a:xfrm>
          <a:prstGeom prst="rect">
            <a:avLst/>
          </a:prstGeom>
          <a:solidFill>
            <a:srgbClr val="8A97A0"/>
          </a:solidFill>
          <a:ln cap="flat">
            <a:noFill/>
          </a:ln>
        </p:spPr>
        <p:txBody>
          <a:bodyPr vert="horz" wrap="square" lIns="0" tIns="64008" rIns="0" bIns="0" anchor="t" anchorCtr="0" compatLnSpc="1">
            <a:spAutoFit/>
          </a:bodyPr>
          <a:lstStyle/>
          <a:p>
            <a:pPr marR="0" lvl="0" algn="ctr" defTabSz="914400" rtl="0" fontAlgn="auto" hangingPunct="1">
              <a:lnSpc>
                <a:spcPct val="100000"/>
              </a:lnSpc>
              <a:spcBef>
                <a:spcPts val="50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Voluntary phases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4" name="object 64">
            <a:extLst>
              <a:ext uri="{FF2B5EF4-FFF2-40B4-BE49-F238E27FC236}">
                <a16:creationId xmlns:a16="http://schemas.microsoft.com/office/drawing/2014/main" id="{F80F8A26-A815-5122-B659-FE817D60920A}"/>
              </a:ext>
            </a:extLst>
          </p:cNvPr>
          <p:cNvSpPr txBox="1"/>
          <p:nvPr/>
        </p:nvSpPr>
        <p:spPr>
          <a:xfrm>
            <a:off x="6413601" y="4784531"/>
            <a:ext cx="1044702" cy="193898"/>
          </a:xfrm>
          <a:prstGeom prst="rect">
            <a:avLst/>
          </a:prstGeom>
          <a:solidFill>
            <a:srgbClr val="CFD3D6"/>
          </a:solidFill>
          <a:ln cap="flat">
            <a:noFill/>
          </a:ln>
        </p:spPr>
        <p:txBody>
          <a:bodyPr vert="horz" wrap="square" lIns="0" tIns="64008" rIns="0" bIns="0" anchor="t" anchorCtr="0" compatLnSpc="1">
            <a:spAutoFit/>
          </a:bodyPr>
          <a:lstStyle/>
          <a:p>
            <a:pPr marR="0" lvl="0" algn="ctr" defTabSz="914400" rtl="0" fontAlgn="auto" hangingPunct="1">
              <a:lnSpc>
                <a:spcPct val="100000"/>
              </a:lnSpc>
              <a:spcBef>
                <a:spcPts val="50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40" b="0" i="0" u="none" strike="noStrike" kern="1200" cap="none" spc="0" baseline="0" dirty="0">
                <a:solidFill>
                  <a:srgbClr val="FFFFFF"/>
                </a:solidFill>
                <a:uFillTx/>
                <a:latin typeface="Calibri"/>
                <a:cs typeface="Calibri"/>
              </a:rPr>
              <a:t>Excluded phases</a:t>
            </a:r>
            <a:endParaRPr lang="en-US" sz="840" b="0" i="0" u="none" strike="noStrike" kern="1200" cap="none" spc="0" baseline="0" dirty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65" name="TextBox 69">
            <a:extLst>
              <a:ext uri="{FF2B5EF4-FFF2-40B4-BE49-F238E27FC236}">
                <a16:creationId xmlns:a16="http://schemas.microsoft.com/office/drawing/2014/main" id="{E32DFC6B-D093-20C7-A1B5-981E0BFF1786}"/>
              </a:ext>
            </a:extLst>
          </p:cNvPr>
          <p:cNvSpPr txBox="1"/>
          <p:nvPr/>
        </p:nvSpPr>
        <p:spPr>
          <a:xfrm>
            <a:off x="687902" y="5329732"/>
            <a:ext cx="10823825" cy="138499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342900" marR="0" lvl="0" indent="-34290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alibri" pitchFamily="34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4F81BD"/>
                </a:solidFill>
                <a:uFillTx/>
                <a:latin typeface="Calibri" pitchFamily="34"/>
                <a:ea typeface="Times New Roman" pitchFamily="18"/>
              </a:rPr>
              <a:t>The consideration period is 50 years and includes phases A1-A3, B4, B6 and C3-C4. The calculation completely follows the calculation method that from 2023 must be used to document the climate requirements in the Building Regulations in Denmark.</a:t>
            </a:r>
          </a:p>
          <a:p>
            <a:pPr marL="342900" marR="0" lvl="0" indent="-34290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alibri" pitchFamily="34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4F81BD"/>
                </a:solidFill>
                <a:uFillTx/>
                <a:latin typeface="Calibri" pitchFamily="34"/>
                <a:ea typeface="Times New Roman" pitchFamily="18"/>
              </a:rPr>
              <a:t>The result of the calculation is given in the unit "kg CO2eq./m² year". The climate load is divided by the building's heated area of 147 m2 (gross area) and the 50 years of lifetime.</a:t>
            </a:r>
          </a:p>
          <a:p>
            <a:pPr marL="342900" marR="0" lvl="0" indent="-34290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Calibri" pitchFamily="34"/>
              <a:buChar char="-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4F81BD"/>
                </a:solidFill>
                <a:uFillTx/>
                <a:latin typeface="Calibri" pitchFamily="34"/>
                <a:ea typeface="Times New Roman" pitchFamily="18"/>
              </a:rPr>
              <a:t>The calculation was carried out in the Danish compliant software </a:t>
            </a:r>
            <a:r>
              <a:rPr lang="en-US" sz="1400" b="0" i="0" u="none" strike="noStrike" kern="1200" cap="none" spc="0" baseline="0" dirty="0" err="1">
                <a:solidFill>
                  <a:srgbClr val="4F81BD"/>
                </a:solidFill>
                <a:uFillTx/>
                <a:latin typeface="Calibri" pitchFamily="34"/>
                <a:ea typeface="Times New Roman" pitchFamily="18"/>
              </a:rPr>
              <a:t>LCAbyg</a:t>
            </a:r>
            <a:r>
              <a:rPr lang="en-US" sz="1400" b="0" i="0" u="none" strike="noStrike" kern="1200" cap="none" spc="0" baseline="0" dirty="0">
                <a:solidFill>
                  <a:srgbClr val="4F81BD"/>
                </a:solidFill>
                <a:uFillTx/>
                <a:latin typeface="Calibri" pitchFamily="34"/>
                <a:ea typeface="Times New Roman" pitchFamily="18"/>
              </a:rPr>
              <a:t> and lifetimes of materials follow BUILD's lifetime table (AAU). The calculation is also verified by BUILD.</a:t>
            </a:r>
            <a:endParaRPr lang="en-DK" sz="1400" b="0" i="0" u="none" strike="noStrike" kern="1200" cap="none" spc="0" baseline="0" dirty="0">
              <a:solidFill>
                <a:srgbClr val="000000"/>
              </a:solidFill>
              <a:uFillTx/>
              <a:latin typeface="Calibri" pitchFamily="34"/>
              <a:ea typeface="DengXian" pitchFamily="2"/>
            </a:endParaRPr>
          </a:p>
        </p:txBody>
      </p:sp>
      <p:sp>
        <p:nvSpPr>
          <p:cNvPr id="68" name="object 2036">
            <a:extLst>
              <a:ext uri="{FF2B5EF4-FFF2-40B4-BE49-F238E27FC236}">
                <a16:creationId xmlns:a16="http://schemas.microsoft.com/office/drawing/2014/main" id="{06DE444C-7BC4-9F1A-49D3-CCFDF304792B}"/>
              </a:ext>
            </a:extLst>
          </p:cNvPr>
          <p:cNvSpPr txBox="1"/>
          <p:nvPr/>
        </p:nvSpPr>
        <p:spPr>
          <a:xfrm>
            <a:off x="11755745" y="6504593"/>
            <a:ext cx="50635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EB47A1F-B231-454C-9ADB-BF7D6CCBDA07}" type="slidenum">
              <a:rPr sz="1400">
                <a:solidFill>
                  <a:schemeClr val="bg1">
                    <a:lumMod val="65000"/>
                  </a:schemeClr>
                </a:solidFill>
              </a:rPr>
              <a:t>22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5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>
            <a:extLst>
              <a:ext uri="{FF2B5EF4-FFF2-40B4-BE49-F238E27FC236}">
                <a16:creationId xmlns:a16="http://schemas.microsoft.com/office/drawing/2014/main" id="{C9244933-D920-8197-95B1-691B7C5D9A4C}"/>
              </a:ext>
            </a:extLst>
          </p:cNvPr>
          <p:cNvGrpSpPr/>
          <p:nvPr/>
        </p:nvGrpSpPr>
        <p:grpSpPr>
          <a:xfrm>
            <a:off x="917774" y="5333622"/>
            <a:ext cx="991154" cy="1181020"/>
            <a:chOff x="917774" y="5333622"/>
            <a:chExt cx="991154" cy="1181020"/>
          </a:xfrm>
        </p:grpSpPr>
        <p:pic>
          <p:nvPicPr>
            <p:cNvPr id="3" name="object 3">
              <a:extLst>
                <a:ext uri="{FF2B5EF4-FFF2-40B4-BE49-F238E27FC236}">
                  <a16:creationId xmlns:a16="http://schemas.microsoft.com/office/drawing/2014/main" id="{72B8259E-46B5-3EBF-28F2-AB2AD44509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53489" y="5333622"/>
              <a:ext cx="855439" cy="609557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4" name="object 4">
              <a:extLst>
                <a:ext uri="{FF2B5EF4-FFF2-40B4-BE49-F238E27FC236}">
                  <a16:creationId xmlns:a16="http://schemas.microsoft.com/office/drawing/2014/main" id="{4810AB4D-5F57-AF2C-CAC8-9947C20520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7774" y="5943179"/>
              <a:ext cx="880430" cy="571463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5" name="object 5">
            <a:extLst>
              <a:ext uri="{FF2B5EF4-FFF2-40B4-BE49-F238E27FC236}">
                <a16:creationId xmlns:a16="http://schemas.microsoft.com/office/drawing/2014/main" id="{052C8111-1A8C-604F-9054-FB90F7892E2C}"/>
              </a:ext>
            </a:extLst>
          </p:cNvPr>
          <p:cNvSpPr txBox="1"/>
          <p:nvPr/>
        </p:nvSpPr>
        <p:spPr>
          <a:xfrm rot="10800000">
            <a:off x="342735" y="2590723"/>
            <a:ext cx="144655" cy="1167899"/>
          </a:xfrm>
          <a:prstGeom prst="rect">
            <a:avLst/>
          </a:prstGeom>
          <a:noFill/>
          <a:ln cap="flat">
            <a:noFill/>
          </a:ln>
        </p:spPr>
        <p:txBody>
          <a:bodyPr vert="vert" wrap="square" lIns="0" tIns="2313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940" b="0" i="0" u="none" strike="noStrike" kern="1200" cap="none" spc="0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kg</a:t>
            </a:r>
            <a:r>
              <a:rPr lang="en-US" sz="940" b="0" i="0" u="none" strike="noStrike" kern="1200" cap="none" spc="-6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 </a:t>
            </a:r>
            <a:r>
              <a:rPr lang="en-US" sz="940" b="0" i="0" u="none" strike="noStrike" kern="1200" cap="none" spc="0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CO</a:t>
            </a:r>
            <a:r>
              <a:rPr lang="en-US" sz="819" b="0" i="0" u="none" strike="noStrike" kern="1200" cap="none" spc="0" baseline="-30864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2</a:t>
            </a:r>
            <a:r>
              <a:rPr lang="en-US" sz="940" b="0" i="0" u="none" strike="noStrike" kern="1200" cap="none" spc="0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eq</a:t>
            </a:r>
            <a:r>
              <a:rPr lang="en-US" sz="940" b="0" i="0" u="none" strike="noStrike" kern="1200" cap="none" spc="-24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 </a:t>
            </a:r>
            <a:r>
              <a:rPr lang="en-US" sz="940" b="0" i="0" u="none" strike="noStrike" kern="1200" cap="none" spc="0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/</a:t>
            </a:r>
            <a:r>
              <a:rPr lang="en-US" sz="940" b="0" i="0" u="none" strike="noStrike" kern="1200" cap="none" spc="-21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 </a:t>
            </a:r>
            <a:r>
              <a:rPr lang="en-US" sz="940" b="0" i="0" u="none" strike="noStrike" kern="1200" cap="none" spc="0" baseline="0" dirty="0">
                <a:solidFill>
                  <a:srgbClr val="231F20"/>
                </a:solidFill>
                <a:uFillTx/>
                <a:latin typeface="Steradian Light"/>
                <a:cs typeface="Steradian Light"/>
              </a:rPr>
              <a:t>m²</a:t>
            </a:r>
            <a:r>
              <a:rPr lang="en-US" sz="940" b="0" i="0" u="none" strike="noStrike" kern="1200" cap="none" spc="-30" baseline="0" dirty="0">
                <a:solidFill>
                  <a:srgbClr val="231F20"/>
                </a:solidFill>
                <a:uFillTx/>
                <a:latin typeface="Steradian Light"/>
                <a:cs typeface="Steradian Light"/>
              </a:rPr>
              <a:t> </a:t>
            </a:r>
            <a:r>
              <a:rPr lang="en-US" sz="940" b="0" i="0" u="none" strike="noStrike" kern="1200" cap="none" spc="0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/</a:t>
            </a:r>
            <a:r>
              <a:rPr lang="en-US" sz="940" b="0" i="0" u="none" strike="noStrike" kern="1200" cap="none" spc="-36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 </a:t>
            </a:r>
            <a:r>
              <a:rPr lang="en-US" sz="940" b="0" i="0" u="none" strike="noStrike" kern="1200" cap="none" spc="-12" baseline="0" dirty="0">
                <a:solidFill>
                  <a:srgbClr val="231F20"/>
                </a:solidFill>
                <a:uFillTx/>
                <a:latin typeface="Steradian Regular"/>
                <a:cs typeface="Steradian Regular"/>
              </a:rPr>
              <a:t>year</a:t>
            </a:r>
            <a:endParaRPr lang="en-US" sz="940" b="0" i="0" u="none" strike="noStrike" kern="1200" cap="none" spc="0" baseline="0" dirty="0">
              <a:solidFill>
                <a:srgbClr val="000000"/>
              </a:solidFill>
              <a:uFillTx/>
              <a:latin typeface="Steradian Regular"/>
              <a:cs typeface="Steradian Regular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D8D21946-D3B4-2DFD-F265-DF6840D75A44}"/>
              </a:ext>
            </a:extLst>
          </p:cNvPr>
          <p:cNvSpPr txBox="1"/>
          <p:nvPr/>
        </p:nvSpPr>
        <p:spPr>
          <a:xfrm>
            <a:off x="571134" y="2220812"/>
            <a:ext cx="86255" cy="15243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940" b="0" i="0" u="none" strike="noStrike" kern="1200" cap="none" spc="0" baseline="0">
                <a:solidFill>
                  <a:srgbClr val="000000"/>
                </a:solidFill>
                <a:uFillTx/>
                <a:latin typeface="Steradian Medium"/>
                <a:cs typeface="Steradian Medium"/>
              </a:rPr>
              <a:t>3</a:t>
            </a: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548B2299-DABF-AD78-6519-3BE6E895377E}"/>
              </a:ext>
            </a:extLst>
          </p:cNvPr>
          <p:cNvSpPr txBox="1"/>
          <p:nvPr/>
        </p:nvSpPr>
        <p:spPr>
          <a:xfrm>
            <a:off x="571134" y="3021835"/>
            <a:ext cx="87791" cy="15243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940" b="0" i="0" u="none" strike="noStrike" kern="1200" cap="none" spc="0" baseline="0">
                <a:solidFill>
                  <a:srgbClr val="000000"/>
                </a:solidFill>
                <a:uFillTx/>
                <a:latin typeface="Steradian Medium"/>
                <a:cs typeface="Steradian Medium"/>
              </a:rPr>
              <a:t>2</a:t>
            </a:r>
          </a:p>
        </p:txBody>
      </p:sp>
      <p:sp>
        <p:nvSpPr>
          <p:cNvPr id="8" name="object 8">
            <a:extLst>
              <a:ext uri="{FF2B5EF4-FFF2-40B4-BE49-F238E27FC236}">
                <a16:creationId xmlns:a16="http://schemas.microsoft.com/office/drawing/2014/main" id="{1F0E170B-CD98-63D8-BBD0-0F441AAE6227}"/>
              </a:ext>
            </a:extLst>
          </p:cNvPr>
          <p:cNvSpPr txBox="1"/>
          <p:nvPr/>
        </p:nvSpPr>
        <p:spPr>
          <a:xfrm>
            <a:off x="571134" y="3835770"/>
            <a:ext cx="59682" cy="15243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940" b="0" i="0" u="none" strike="noStrike" kern="1200" cap="none" spc="0" baseline="0">
                <a:solidFill>
                  <a:srgbClr val="000000"/>
                </a:solidFill>
                <a:uFillTx/>
                <a:latin typeface="Steradian Medium"/>
                <a:cs typeface="Steradian Medium"/>
              </a:rPr>
              <a:t>1</a:t>
            </a:r>
          </a:p>
        </p:txBody>
      </p:sp>
      <p:sp>
        <p:nvSpPr>
          <p:cNvPr id="9" name="object 9">
            <a:extLst>
              <a:ext uri="{FF2B5EF4-FFF2-40B4-BE49-F238E27FC236}">
                <a16:creationId xmlns:a16="http://schemas.microsoft.com/office/drawing/2014/main" id="{ACA7498F-D527-A8C9-B9C4-7651E41105E1}"/>
              </a:ext>
            </a:extLst>
          </p:cNvPr>
          <p:cNvSpPr txBox="1"/>
          <p:nvPr/>
        </p:nvSpPr>
        <p:spPr>
          <a:xfrm>
            <a:off x="571134" y="4648160"/>
            <a:ext cx="91641" cy="15243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7699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940" b="0" i="0" u="none" strike="noStrike" kern="1200" cap="none" spc="0" baseline="0">
                <a:solidFill>
                  <a:srgbClr val="000000"/>
                </a:solidFill>
                <a:uFillTx/>
                <a:latin typeface="Steradian Medium"/>
                <a:cs typeface="Steradian Medium"/>
              </a:rPr>
              <a:t>0</a:t>
            </a: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AA845FCA-2C34-1E13-F32B-926C8B6E8B9F}"/>
              </a:ext>
            </a:extLst>
          </p:cNvPr>
          <p:cNvSpPr/>
          <p:nvPr/>
        </p:nvSpPr>
        <p:spPr>
          <a:xfrm>
            <a:off x="681758" y="2294257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3FC944D7-E2A1-EAAE-63C1-F1EAB024E0EB}"/>
              </a:ext>
            </a:extLst>
          </p:cNvPr>
          <p:cNvSpPr/>
          <p:nvPr/>
        </p:nvSpPr>
        <p:spPr>
          <a:xfrm>
            <a:off x="681758" y="3107798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3D690584-2E58-E33F-AB0F-4C102DA5C1CB}"/>
              </a:ext>
            </a:extLst>
          </p:cNvPr>
          <p:cNvSpPr/>
          <p:nvPr/>
        </p:nvSpPr>
        <p:spPr>
          <a:xfrm>
            <a:off x="681758" y="3921331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grpSp>
        <p:nvGrpSpPr>
          <p:cNvPr id="13" name="object 13">
            <a:extLst>
              <a:ext uri="{FF2B5EF4-FFF2-40B4-BE49-F238E27FC236}">
                <a16:creationId xmlns:a16="http://schemas.microsoft.com/office/drawing/2014/main" id="{97934426-01D7-9A0E-E171-5DEC930D7BB5}"/>
              </a:ext>
            </a:extLst>
          </p:cNvPr>
          <p:cNvGrpSpPr/>
          <p:nvPr/>
        </p:nvGrpSpPr>
        <p:grpSpPr>
          <a:xfrm>
            <a:off x="896596" y="2348042"/>
            <a:ext cx="10710568" cy="2391859"/>
            <a:chOff x="896596" y="2348042"/>
            <a:chExt cx="10710568" cy="2391859"/>
          </a:xfrm>
        </p:grpSpPr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AB9CD478-9AAA-DB90-2B28-A862F43CBC87}"/>
                </a:ext>
              </a:extLst>
            </p:cNvPr>
            <p:cNvSpPr/>
            <p:nvPr/>
          </p:nvSpPr>
          <p:spPr>
            <a:xfrm>
              <a:off x="1586264" y="2348042"/>
              <a:ext cx="0" cy="2350437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350434"/>
                <a:gd name="f5" fmla="val 2350401"/>
                <a:gd name="f6" fmla="abs f0"/>
                <a:gd name="f7" fmla="abs f1"/>
                <a:gd name="f8" fmla="abs f2"/>
                <a:gd name="f9" fmla="*/ f1 1 2350434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350434"/>
                <a:gd name="f17" fmla="*/ f12 1 21600"/>
                <a:gd name="f18" fmla="*/ f13 1 2350434"/>
                <a:gd name="f19" fmla="*/ 21600 f12 1"/>
                <a:gd name="f20" fmla="*/ 0 1 f15"/>
                <a:gd name="f21" fmla="*/ 1 1 f15"/>
                <a:gd name="f22" fmla="*/ 0 1 f16"/>
                <a:gd name="f23" fmla="*/ 2350434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350434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2C368EE5-0554-31E1-7B43-7386110EDF67}"/>
                </a:ext>
              </a:extLst>
            </p:cNvPr>
            <p:cNvSpPr/>
            <p:nvPr/>
          </p:nvSpPr>
          <p:spPr>
            <a:xfrm>
              <a:off x="1569384" y="4678600"/>
              <a:ext cx="33887" cy="3157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5880"/>
                <a:gd name="f4" fmla="val 52070"/>
                <a:gd name="f5" fmla="val 55684"/>
                <a:gd name="f6" fmla="val 27852"/>
                <a:gd name="f7" fmla="val 23653"/>
                <a:gd name="f8" fmla="val 51474"/>
                <a:gd name="f9" fmla="*/ f0 1 55880"/>
                <a:gd name="f10" fmla="*/ f1 1 52070"/>
                <a:gd name="f11" fmla="+- f4 0 f2"/>
                <a:gd name="f12" fmla="+- f3 0 f2"/>
                <a:gd name="f13" fmla="*/ f12 1 55880"/>
                <a:gd name="f14" fmla="*/ f11 1 52070"/>
                <a:gd name="f15" fmla="*/ f2 1 f13"/>
                <a:gd name="f16" fmla="*/ f3 1 f13"/>
                <a:gd name="f17" fmla="*/ f2 1 f14"/>
                <a:gd name="f18" fmla="*/ f4 1 f14"/>
                <a:gd name="f19" fmla="*/ f15 f9 1"/>
                <a:gd name="f20" fmla="*/ f16 f9 1"/>
                <a:gd name="f21" fmla="*/ f18 f10 1"/>
                <a:gd name="f22" fmla="*/ f17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9" t="f22" r="f20" b="f21"/>
              <a:pathLst>
                <a:path w="55880" h="52070">
                  <a:moveTo>
                    <a:pt x="f5" y="f2"/>
                  </a:moveTo>
                  <a:lnTo>
                    <a:pt x="f6" y="f6"/>
                  </a:lnTo>
                  <a:lnTo>
                    <a:pt x="f2" y="f2"/>
                  </a:lnTo>
                  <a:lnTo>
                    <a:pt x="f2" y="f7"/>
                  </a:lnTo>
                  <a:lnTo>
                    <a:pt x="f6" y="f8"/>
                  </a:lnTo>
                  <a:lnTo>
                    <a:pt x="f5" y="f7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66728CA1-BFFE-A2B3-3DED-0F545601513B}"/>
                </a:ext>
              </a:extLst>
            </p:cNvPr>
            <p:cNvSpPr/>
            <p:nvPr/>
          </p:nvSpPr>
          <p:spPr>
            <a:xfrm>
              <a:off x="1492337" y="2348042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65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17" name="object 17">
              <a:extLst>
                <a:ext uri="{FF2B5EF4-FFF2-40B4-BE49-F238E27FC236}">
                  <a16:creationId xmlns:a16="http://schemas.microsoft.com/office/drawing/2014/main" id="{E749348D-3B3E-8F43-1516-4CF3DC4C6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91871" y="4725911"/>
              <a:ext cx="187863" cy="894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0321F08A-5567-6B3C-7412-21DC56D4747F}"/>
                </a:ext>
              </a:extLst>
            </p:cNvPr>
            <p:cNvSpPr/>
            <p:nvPr/>
          </p:nvSpPr>
          <p:spPr>
            <a:xfrm>
              <a:off x="1491871" y="4725911"/>
              <a:ext cx="187909" cy="924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15240"/>
                <a:gd name="f5" fmla="val 309802"/>
                <a:gd name="f6" fmla="val 14784"/>
                <a:gd name="f7" fmla="*/ f0 1 309880"/>
                <a:gd name="f8" fmla="*/ f1 1 15240"/>
                <a:gd name="f9" fmla="+- f4 0 f2"/>
                <a:gd name="f10" fmla="+- f3 0 f2"/>
                <a:gd name="f11" fmla="*/ f10 1 309880"/>
                <a:gd name="f12" fmla="*/ f9 1 15240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15240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F8E6A54B-29DB-A6F4-553D-D3AABAF14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41014" y="2348042"/>
              <a:ext cx="187863" cy="238683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0" name="object 20">
              <a:extLst>
                <a:ext uri="{FF2B5EF4-FFF2-40B4-BE49-F238E27FC236}">
                  <a16:creationId xmlns:a16="http://schemas.microsoft.com/office/drawing/2014/main" id="{CB552D92-E710-162C-BAF7-DC59210116BD}"/>
                </a:ext>
              </a:extLst>
            </p:cNvPr>
            <p:cNvSpPr/>
            <p:nvPr/>
          </p:nvSpPr>
          <p:spPr>
            <a:xfrm>
              <a:off x="1241014" y="2348042"/>
              <a:ext cx="187909" cy="238701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3936365"/>
                <a:gd name="f5" fmla="val 309802"/>
                <a:gd name="f6" fmla="val 3936068"/>
                <a:gd name="f7" fmla="*/ f0 1 309880"/>
                <a:gd name="f8" fmla="*/ f1 1 3936365"/>
                <a:gd name="f9" fmla="+- f4 0 f2"/>
                <a:gd name="f10" fmla="+- f3 0 f2"/>
                <a:gd name="f11" fmla="*/ f10 1 309880"/>
                <a:gd name="f12" fmla="*/ f9 1 393636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3936365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21" name="object 21">
              <a:extLst>
                <a:ext uri="{FF2B5EF4-FFF2-40B4-BE49-F238E27FC236}">
                  <a16:creationId xmlns:a16="http://schemas.microsoft.com/office/drawing/2014/main" id="{69FAAC99-C4A6-250F-91CF-EFDA349D4556}"/>
                </a:ext>
              </a:extLst>
            </p:cNvPr>
            <p:cNvSpPr/>
            <p:nvPr/>
          </p:nvSpPr>
          <p:spPr>
            <a:xfrm>
              <a:off x="2542260" y="3341994"/>
              <a:ext cx="0" cy="1121694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121693"/>
                <a:gd name="f5" fmla="val 1121484"/>
                <a:gd name="f6" fmla="abs f0"/>
                <a:gd name="f7" fmla="abs f1"/>
                <a:gd name="f8" fmla="abs f2"/>
                <a:gd name="f9" fmla="*/ f1 1 112169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1121693"/>
                <a:gd name="f17" fmla="*/ f12 1 21600"/>
                <a:gd name="f18" fmla="*/ f13 1 1121693"/>
                <a:gd name="f19" fmla="*/ 21600 f12 1"/>
                <a:gd name="f20" fmla="*/ 0 1 f15"/>
                <a:gd name="f21" fmla="*/ 1 1 f15"/>
                <a:gd name="f22" fmla="*/ 0 1 f16"/>
                <a:gd name="f23" fmla="*/ 112169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112169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22" name="object 22">
              <a:extLst>
                <a:ext uri="{FF2B5EF4-FFF2-40B4-BE49-F238E27FC236}">
                  <a16:creationId xmlns:a16="http://schemas.microsoft.com/office/drawing/2014/main" id="{9884EC28-71D9-D296-55A3-45797CAEBA87}"/>
                </a:ext>
              </a:extLst>
            </p:cNvPr>
            <p:cNvSpPr/>
            <p:nvPr/>
          </p:nvSpPr>
          <p:spPr>
            <a:xfrm>
              <a:off x="2532138" y="4451591"/>
              <a:ext cx="20409" cy="188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654"/>
                <a:gd name="f4" fmla="val 31115"/>
                <a:gd name="f5" fmla="val 33381"/>
                <a:gd name="f6" fmla="val 16690"/>
                <a:gd name="f7" fmla="val 14156"/>
                <a:gd name="f8" fmla="val 30847"/>
                <a:gd name="f9" fmla="*/ f0 1 33654"/>
                <a:gd name="f10" fmla="*/ f1 1 31115"/>
                <a:gd name="f11" fmla="+- f4 0 f2"/>
                <a:gd name="f12" fmla="+- f3 0 f2"/>
                <a:gd name="f13" fmla="*/ f12 1 33654"/>
                <a:gd name="f14" fmla="*/ f11 1 31115"/>
                <a:gd name="f15" fmla="*/ f2 1 f13"/>
                <a:gd name="f16" fmla="*/ f3 1 f13"/>
                <a:gd name="f17" fmla="*/ f2 1 f14"/>
                <a:gd name="f18" fmla="*/ f4 1 f14"/>
                <a:gd name="f19" fmla="*/ f15 f9 1"/>
                <a:gd name="f20" fmla="*/ f16 f9 1"/>
                <a:gd name="f21" fmla="*/ f18 f10 1"/>
                <a:gd name="f22" fmla="*/ f17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9" t="f22" r="f20" b="f21"/>
              <a:pathLst>
                <a:path w="33654" h="31115">
                  <a:moveTo>
                    <a:pt x="f5" y="f2"/>
                  </a:moveTo>
                  <a:lnTo>
                    <a:pt x="f6" y="f6"/>
                  </a:lnTo>
                  <a:lnTo>
                    <a:pt x="f2" y="f2"/>
                  </a:lnTo>
                  <a:lnTo>
                    <a:pt x="f2" y="f7"/>
                  </a:lnTo>
                  <a:lnTo>
                    <a:pt x="f6" y="f8"/>
                  </a:lnTo>
                  <a:lnTo>
                    <a:pt x="f5" y="f7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23" name="object 23">
              <a:extLst>
                <a:ext uri="{FF2B5EF4-FFF2-40B4-BE49-F238E27FC236}">
                  <a16:creationId xmlns:a16="http://schemas.microsoft.com/office/drawing/2014/main" id="{3E5A81CF-B58A-C84A-DAD0-516BBBEF539E}"/>
                </a:ext>
              </a:extLst>
            </p:cNvPr>
            <p:cNvSpPr/>
            <p:nvPr/>
          </p:nvSpPr>
          <p:spPr>
            <a:xfrm>
              <a:off x="2448324" y="3341994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65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24" name="object 24">
              <a:extLst>
                <a:ext uri="{FF2B5EF4-FFF2-40B4-BE49-F238E27FC236}">
                  <a16:creationId xmlns:a16="http://schemas.microsoft.com/office/drawing/2014/main" id="{2BE281F0-717F-D564-14BF-7582FF6E5F2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47867" y="4495062"/>
              <a:ext cx="187863" cy="239819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5" name="object 25">
              <a:extLst>
                <a:ext uri="{FF2B5EF4-FFF2-40B4-BE49-F238E27FC236}">
                  <a16:creationId xmlns:a16="http://schemas.microsoft.com/office/drawing/2014/main" id="{AFBE3E49-E4F8-E7E8-AEC9-5566F7420D30}"/>
                </a:ext>
              </a:extLst>
            </p:cNvPr>
            <p:cNvSpPr/>
            <p:nvPr/>
          </p:nvSpPr>
          <p:spPr>
            <a:xfrm>
              <a:off x="2447867" y="4495062"/>
              <a:ext cx="187909" cy="23989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395604"/>
                <a:gd name="f5" fmla="val 309802"/>
                <a:gd name="f6" fmla="val 395474"/>
                <a:gd name="f7" fmla="*/ f0 1 309879"/>
                <a:gd name="f8" fmla="*/ f1 1 395604"/>
                <a:gd name="f9" fmla="+- f4 0 f2"/>
                <a:gd name="f10" fmla="+- f3 0 f2"/>
                <a:gd name="f11" fmla="*/ f10 1 309879"/>
                <a:gd name="f12" fmla="*/ f9 1 39560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395604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26" name="object 26">
              <a:extLst>
                <a:ext uri="{FF2B5EF4-FFF2-40B4-BE49-F238E27FC236}">
                  <a16:creationId xmlns:a16="http://schemas.microsoft.com/office/drawing/2014/main" id="{3067DA3E-469F-9203-B6B8-F954E345D10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197001" y="3341994"/>
              <a:ext cx="187863" cy="139287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7" name="object 27">
              <a:extLst>
                <a:ext uri="{FF2B5EF4-FFF2-40B4-BE49-F238E27FC236}">
                  <a16:creationId xmlns:a16="http://schemas.microsoft.com/office/drawing/2014/main" id="{16E8DE68-1C51-BE56-6214-1F27F9C72F51}"/>
                </a:ext>
              </a:extLst>
            </p:cNvPr>
            <p:cNvSpPr/>
            <p:nvPr/>
          </p:nvSpPr>
          <p:spPr>
            <a:xfrm>
              <a:off x="2197010" y="3341994"/>
              <a:ext cx="187909" cy="139316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2297429"/>
                <a:gd name="f5" fmla="val 309802"/>
                <a:gd name="f6" fmla="val 2296956"/>
                <a:gd name="f7" fmla="*/ f0 1 309879"/>
                <a:gd name="f8" fmla="*/ f1 1 2297429"/>
                <a:gd name="f9" fmla="+- f4 0 f2"/>
                <a:gd name="f10" fmla="+- f3 0 f2"/>
                <a:gd name="f11" fmla="*/ f10 1 309879"/>
                <a:gd name="f12" fmla="*/ f9 1 229742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229742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28" name="object 28">
              <a:extLst>
                <a:ext uri="{FF2B5EF4-FFF2-40B4-BE49-F238E27FC236}">
                  <a16:creationId xmlns:a16="http://schemas.microsoft.com/office/drawing/2014/main" id="{089D4603-5E5F-7988-7486-8766C4120E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152997" y="3595914"/>
              <a:ext cx="187863" cy="113895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9" name="object 29">
              <a:extLst>
                <a:ext uri="{FF2B5EF4-FFF2-40B4-BE49-F238E27FC236}">
                  <a16:creationId xmlns:a16="http://schemas.microsoft.com/office/drawing/2014/main" id="{2457E75B-D02B-0D8E-74FA-46EE40DA2B98}"/>
                </a:ext>
              </a:extLst>
            </p:cNvPr>
            <p:cNvSpPr/>
            <p:nvPr/>
          </p:nvSpPr>
          <p:spPr>
            <a:xfrm>
              <a:off x="3152997" y="3595914"/>
              <a:ext cx="187909" cy="113902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1878329"/>
                <a:gd name="f5" fmla="val 309802"/>
                <a:gd name="f6" fmla="val 1878225"/>
                <a:gd name="f7" fmla="*/ f0 1 309879"/>
                <a:gd name="f8" fmla="*/ f1 1 1878329"/>
                <a:gd name="f9" fmla="+- f4 0 f2"/>
                <a:gd name="f10" fmla="+- f3 0 f2"/>
                <a:gd name="f11" fmla="*/ f10 1 309879"/>
                <a:gd name="f12" fmla="*/ f9 1 187832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187832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30" name="object 30">
              <a:extLst>
                <a:ext uri="{FF2B5EF4-FFF2-40B4-BE49-F238E27FC236}">
                  <a16:creationId xmlns:a16="http://schemas.microsoft.com/office/drawing/2014/main" id="{05B67D74-9447-A951-26B8-6EA5D7A99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03854" y="4246757"/>
              <a:ext cx="187863" cy="48812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1" name="object 31">
              <a:extLst>
                <a:ext uri="{FF2B5EF4-FFF2-40B4-BE49-F238E27FC236}">
                  <a16:creationId xmlns:a16="http://schemas.microsoft.com/office/drawing/2014/main" id="{601B20A7-007A-035E-0AAD-C7EBC9E597D3}"/>
                </a:ext>
              </a:extLst>
            </p:cNvPr>
            <p:cNvSpPr/>
            <p:nvPr/>
          </p:nvSpPr>
          <p:spPr>
            <a:xfrm>
              <a:off x="3403854" y="4246747"/>
              <a:ext cx="187909" cy="48826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805179"/>
                <a:gd name="f5" fmla="val 309802"/>
                <a:gd name="f6" fmla="val 804949"/>
                <a:gd name="f7" fmla="*/ f0 1 309879"/>
                <a:gd name="f8" fmla="*/ f1 1 805179"/>
                <a:gd name="f9" fmla="+- f4 0 f2"/>
                <a:gd name="f10" fmla="+- f3 0 f2"/>
                <a:gd name="f11" fmla="*/ f10 1 309879"/>
                <a:gd name="f12" fmla="*/ f9 1 80517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80517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32" name="object 32">
              <a:extLst>
                <a:ext uri="{FF2B5EF4-FFF2-40B4-BE49-F238E27FC236}">
                  <a16:creationId xmlns:a16="http://schemas.microsoft.com/office/drawing/2014/main" id="{564A9703-14C8-0F59-E434-4225BDEA4F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08984" y="3687253"/>
              <a:ext cx="187863" cy="104761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3" name="object 33">
              <a:extLst>
                <a:ext uri="{FF2B5EF4-FFF2-40B4-BE49-F238E27FC236}">
                  <a16:creationId xmlns:a16="http://schemas.microsoft.com/office/drawing/2014/main" id="{07CB67A0-723C-408F-A13D-D78041FAF30B}"/>
                </a:ext>
              </a:extLst>
            </p:cNvPr>
            <p:cNvSpPr/>
            <p:nvPr/>
          </p:nvSpPr>
          <p:spPr>
            <a:xfrm>
              <a:off x="4108984" y="3687253"/>
              <a:ext cx="187909" cy="104776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1727834"/>
                <a:gd name="f5" fmla="val 309802"/>
                <a:gd name="f6" fmla="val 1727601"/>
                <a:gd name="f7" fmla="*/ f0 1 309879"/>
                <a:gd name="f8" fmla="*/ f1 1 1727834"/>
                <a:gd name="f9" fmla="+- f4 0 f2"/>
                <a:gd name="f10" fmla="+- f3 0 f2"/>
                <a:gd name="f11" fmla="*/ f10 1 309879"/>
                <a:gd name="f12" fmla="*/ f9 1 172783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1727834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34" name="object 34">
              <a:extLst>
                <a:ext uri="{FF2B5EF4-FFF2-40B4-BE49-F238E27FC236}">
                  <a16:creationId xmlns:a16="http://schemas.microsoft.com/office/drawing/2014/main" id="{8F62EE10-A95F-4D8C-84FC-62E4F19B80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359840" y="4572164"/>
              <a:ext cx="187863" cy="16270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5" name="object 35">
              <a:extLst>
                <a:ext uri="{FF2B5EF4-FFF2-40B4-BE49-F238E27FC236}">
                  <a16:creationId xmlns:a16="http://schemas.microsoft.com/office/drawing/2014/main" id="{2577EC61-2F7E-1F6B-2479-47238B8451ED}"/>
                </a:ext>
              </a:extLst>
            </p:cNvPr>
            <p:cNvSpPr/>
            <p:nvPr/>
          </p:nvSpPr>
          <p:spPr>
            <a:xfrm>
              <a:off x="4359840" y="4572164"/>
              <a:ext cx="187909" cy="16288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268604"/>
                <a:gd name="f5" fmla="val 309802"/>
                <a:gd name="f6" fmla="val 268316"/>
                <a:gd name="f7" fmla="*/ f0 1 309879"/>
                <a:gd name="f8" fmla="*/ f1 1 268604"/>
                <a:gd name="f9" fmla="+- f4 0 f2"/>
                <a:gd name="f10" fmla="+- f3 0 f2"/>
                <a:gd name="f11" fmla="*/ f10 1 309879"/>
                <a:gd name="f12" fmla="*/ f9 1 26860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268604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36" name="object 36">
              <a:extLst>
                <a:ext uri="{FF2B5EF4-FFF2-40B4-BE49-F238E27FC236}">
                  <a16:creationId xmlns:a16="http://schemas.microsoft.com/office/drawing/2014/main" id="{B3CD3134-0184-7DF3-04EF-FF4617727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064971" y="3758622"/>
              <a:ext cx="187863" cy="97625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7" name="object 37">
              <a:extLst>
                <a:ext uri="{FF2B5EF4-FFF2-40B4-BE49-F238E27FC236}">
                  <a16:creationId xmlns:a16="http://schemas.microsoft.com/office/drawing/2014/main" id="{3607E1D7-0DBD-69B6-BFDF-E0D7AF50CCAA}"/>
                </a:ext>
              </a:extLst>
            </p:cNvPr>
            <p:cNvSpPr/>
            <p:nvPr/>
          </p:nvSpPr>
          <p:spPr>
            <a:xfrm>
              <a:off x="5064971" y="3758622"/>
              <a:ext cx="187909" cy="97652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1610359"/>
                <a:gd name="f5" fmla="val 309802"/>
                <a:gd name="f6" fmla="val 1609909"/>
                <a:gd name="f7" fmla="*/ f0 1 309879"/>
                <a:gd name="f8" fmla="*/ f1 1 1610359"/>
                <a:gd name="f9" fmla="+- f4 0 f2"/>
                <a:gd name="f10" fmla="+- f3 0 f2"/>
                <a:gd name="f11" fmla="*/ f10 1 309879"/>
                <a:gd name="f12" fmla="*/ f9 1 161035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161035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38" name="object 38">
              <a:extLst>
                <a:ext uri="{FF2B5EF4-FFF2-40B4-BE49-F238E27FC236}">
                  <a16:creationId xmlns:a16="http://schemas.microsoft.com/office/drawing/2014/main" id="{129E7809-65F8-F196-B37E-7630E40B58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315827" y="4246757"/>
              <a:ext cx="187863" cy="48812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39" name="object 39">
              <a:extLst>
                <a:ext uri="{FF2B5EF4-FFF2-40B4-BE49-F238E27FC236}">
                  <a16:creationId xmlns:a16="http://schemas.microsoft.com/office/drawing/2014/main" id="{79C267EE-169C-B164-0296-42770B0409CE}"/>
                </a:ext>
              </a:extLst>
            </p:cNvPr>
            <p:cNvSpPr/>
            <p:nvPr/>
          </p:nvSpPr>
          <p:spPr>
            <a:xfrm>
              <a:off x="5315827" y="4246747"/>
              <a:ext cx="187909" cy="48826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805179"/>
                <a:gd name="f5" fmla="val 309802"/>
                <a:gd name="f6" fmla="val 804949"/>
                <a:gd name="f7" fmla="*/ f0 1 309879"/>
                <a:gd name="f8" fmla="*/ f1 1 805179"/>
                <a:gd name="f9" fmla="+- f4 0 f2"/>
                <a:gd name="f10" fmla="+- f3 0 f2"/>
                <a:gd name="f11" fmla="*/ f10 1 309879"/>
                <a:gd name="f12" fmla="*/ f9 1 80517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80517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40" name="object 40">
              <a:extLst>
                <a:ext uri="{FF2B5EF4-FFF2-40B4-BE49-F238E27FC236}">
                  <a16:creationId xmlns:a16="http://schemas.microsoft.com/office/drawing/2014/main" id="{C4B470E2-806D-AFFB-A5DD-1242FA1B774C}"/>
                </a:ext>
              </a:extLst>
            </p:cNvPr>
            <p:cNvSpPr/>
            <p:nvPr/>
          </p:nvSpPr>
          <p:spPr>
            <a:xfrm>
              <a:off x="6365979" y="3839382"/>
              <a:ext cx="0" cy="209863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09860"/>
                <a:gd name="f5" fmla="val 209681"/>
                <a:gd name="f6" fmla="abs f0"/>
                <a:gd name="f7" fmla="abs f1"/>
                <a:gd name="f8" fmla="abs f2"/>
                <a:gd name="f9" fmla="*/ f1 1 209860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09860"/>
                <a:gd name="f17" fmla="*/ f12 1 21600"/>
                <a:gd name="f18" fmla="*/ f13 1 209860"/>
                <a:gd name="f19" fmla="*/ 21600 f12 1"/>
                <a:gd name="f20" fmla="*/ 0 1 f15"/>
                <a:gd name="f21" fmla="*/ 1 1 f15"/>
                <a:gd name="f22" fmla="*/ 0 1 f16"/>
                <a:gd name="f23" fmla="*/ 209860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09860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41" name="object 41">
              <a:extLst>
                <a:ext uri="{FF2B5EF4-FFF2-40B4-BE49-F238E27FC236}">
                  <a16:creationId xmlns:a16="http://schemas.microsoft.com/office/drawing/2014/main" id="{1B810AAF-F8A2-4946-323D-280003D9D006}"/>
                </a:ext>
              </a:extLst>
            </p:cNvPr>
            <p:cNvSpPr/>
            <p:nvPr/>
          </p:nvSpPr>
          <p:spPr>
            <a:xfrm>
              <a:off x="6355838" y="4037176"/>
              <a:ext cx="20409" cy="188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654"/>
                <a:gd name="f4" fmla="val 31115"/>
                <a:gd name="f5" fmla="val 33412"/>
                <a:gd name="f6" fmla="val 16722"/>
                <a:gd name="f7" fmla="val 16690"/>
                <a:gd name="f8" fmla="val 14156"/>
                <a:gd name="f9" fmla="val 30878"/>
                <a:gd name="f10" fmla="*/ f0 1 33654"/>
                <a:gd name="f11" fmla="*/ f1 1 31115"/>
                <a:gd name="f12" fmla="+- f4 0 f2"/>
                <a:gd name="f13" fmla="+- f3 0 f2"/>
                <a:gd name="f14" fmla="*/ f13 1 33654"/>
                <a:gd name="f15" fmla="*/ f12 1 31115"/>
                <a:gd name="f16" fmla="*/ f2 1 f14"/>
                <a:gd name="f17" fmla="*/ f3 1 f14"/>
                <a:gd name="f18" fmla="*/ f2 1 f15"/>
                <a:gd name="f19" fmla="*/ f4 1 f15"/>
                <a:gd name="f20" fmla="*/ f16 f10 1"/>
                <a:gd name="f21" fmla="*/ f17 f10 1"/>
                <a:gd name="f22" fmla="*/ f19 f11 1"/>
                <a:gd name="f23" fmla="*/ f18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0" t="f23" r="f21" b="f22"/>
              <a:pathLst>
                <a:path w="33654" h="31115">
                  <a:moveTo>
                    <a:pt x="f5" y="f2"/>
                  </a:moveTo>
                  <a:lnTo>
                    <a:pt x="f6" y="f7"/>
                  </a:lnTo>
                  <a:lnTo>
                    <a:pt x="f2" y="f2"/>
                  </a:lnTo>
                  <a:lnTo>
                    <a:pt x="f2" y="f8"/>
                  </a:lnTo>
                  <a:lnTo>
                    <a:pt x="f6" y="f9"/>
                  </a:lnTo>
                  <a:lnTo>
                    <a:pt x="f5" y="f8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42" name="object 42">
              <a:extLst>
                <a:ext uri="{FF2B5EF4-FFF2-40B4-BE49-F238E27FC236}">
                  <a16:creationId xmlns:a16="http://schemas.microsoft.com/office/drawing/2014/main" id="{E3B19E7A-DB81-863E-5EBA-0956C2731599}"/>
                </a:ext>
              </a:extLst>
            </p:cNvPr>
            <p:cNvSpPr/>
            <p:nvPr/>
          </p:nvSpPr>
          <p:spPr>
            <a:xfrm>
              <a:off x="6272043" y="3839382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65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43" name="object 43">
              <a:extLst>
                <a:ext uri="{FF2B5EF4-FFF2-40B4-BE49-F238E27FC236}">
                  <a16:creationId xmlns:a16="http://schemas.microsoft.com/office/drawing/2014/main" id="{38F3C6D6-0357-92E9-4712-9B045B7992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272034" y="4084048"/>
              <a:ext cx="187863" cy="650833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44" name="object 44">
              <a:extLst>
                <a:ext uri="{FF2B5EF4-FFF2-40B4-BE49-F238E27FC236}">
                  <a16:creationId xmlns:a16="http://schemas.microsoft.com/office/drawing/2014/main" id="{CDE1DD21-65DD-68ED-B9AB-490071112DA5}"/>
                </a:ext>
              </a:extLst>
            </p:cNvPr>
            <p:cNvSpPr/>
            <p:nvPr/>
          </p:nvSpPr>
          <p:spPr>
            <a:xfrm>
              <a:off x="6272034" y="4084048"/>
              <a:ext cx="187909" cy="65114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1073784"/>
                <a:gd name="f5" fmla="val 309802"/>
                <a:gd name="f6" fmla="val 1073265"/>
                <a:gd name="f7" fmla="*/ f0 1 309879"/>
                <a:gd name="f8" fmla="*/ f1 1 1073784"/>
                <a:gd name="f9" fmla="+- f4 0 f2"/>
                <a:gd name="f10" fmla="+- f3 0 f2"/>
                <a:gd name="f11" fmla="*/ f10 1 309879"/>
                <a:gd name="f12" fmla="*/ f9 1 107378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1073784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45" name="object 45">
              <a:extLst>
                <a:ext uri="{FF2B5EF4-FFF2-40B4-BE49-F238E27FC236}">
                  <a16:creationId xmlns:a16="http://schemas.microsoft.com/office/drawing/2014/main" id="{FCAE680D-8EAA-B3DF-98B5-EB6072199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021186" y="3839382"/>
              <a:ext cx="187863" cy="89549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46" name="object 46">
              <a:extLst>
                <a:ext uri="{FF2B5EF4-FFF2-40B4-BE49-F238E27FC236}">
                  <a16:creationId xmlns:a16="http://schemas.microsoft.com/office/drawing/2014/main" id="{5E929ED3-C3CB-FA98-14EF-7FAB971A5DFA}"/>
                </a:ext>
              </a:extLst>
            </p:cNvPr>
            <p:cNvSpPr/>
            <p:nvPr/>
          </p:nvSpPr>
          <p:spPr>
            <a:xfrm>
              <a:off x="6021186" y="3839382"/>
              <a:ext cx="187909" cy="89566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1477009"/>
                <a:gd name="f5" fmla="val 309802"/>
                <a:gd name="f6" fmla="val 1476729"/>
                <a:gd name="f7" fmla="*/ f0 1 309879"/>
                <a:gd name="f8" fmla="*/ f1 1 1477009"/>
                <a:gd name="f9" fmla="+- f4 0 f2"/>
                <a:gd name="f10" fmla="+- f3 0 f2"/>
                <a:gd name="f11" fmla="*/ f10 1 309879"/>
                <a:gd name="f12" fmla="*/ f9 1 147700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147700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47" name="object 47">
              <a:extLst>
                <a:ext uri="{FF2B5EF4-FFF2-40B4-BE49-F238E27FC236}">
                  <a16:creationId xmlns:a16="http://schemas.microsoft.com/office/drawing/2014/main" id="{22F7F24B-E0B0-6AFC-9832-32E07E3B350C}"/>
                </a:ext>
              </a:extLst>
            </p:cNvPr>
            <p:cNvSpPr/>
            <p:nvPr/>
          </p:nvSpPr>
          <p:spPr>
            <a:xfrm>
              <a:off x="7321966" y="4246747"/>
              <a:ext cx="0" cy="298039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98040"/>
                <a:gd name="f5" fmla="val 297889"/>
                <a:gd name="f6" fmla="abs f0"/>
                <a:gd name="f7" fmla="abs f1"/>
                <a:gd name="f8" fmla="abs f2"/>
                <a:gd name="f9" fmla="*/ f1 1 298040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98040"/>
                <a:gd name="f17" fmla="*/ f12 1 21600"/>
                <a:gd name="f18" fmla="*/ f13 1 298040"/>
                <a:gd name="f19" fmla="*/ 21600 f12 1"/>
                <a:gd name="f20" fmla="*/ 0 1 f15"/>
                <a:gd name="f21" fmla="*/ 1 1 f15"/>
                <a:gd name="f22" fmla="*/ 0 1 f16"/>
                <a:gd name="f23" fmla="*/ 298040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98040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48" name="object 48">
              <a:extLst>
                <a:ext uri="{FF2B5EF4-FFF2-40B4-BE49-F238E27FC236}">
                  <a16:creationId xmlns:a16="http://schemas.microsoft.com/office/drawing/2014/main" id="{71FF2DF0-1B66-3112-88D3-58581F11EEB1}"/>
                </a:ext>
              </a:extLst>
            </p:cNvPr>
            <p:cNvSpPr/>
            <p:nvPr/>
          </p:nvSpPr>
          <p:spPr>
            <a:xfrm>
              <a:off x="7311844" y="4532735"/>
              <a:ext cx="20409" cy="188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654"/>
                <a:gd name="f4" fmla="val 31115"/>
                <a:gd name="f5" fmla="val 33412"/>
                <a:gd name="f6" fmla="val 16690"/>
                <a:gd name="f7" fmla="val 16722"/>
                <a:gd name="f8" fmla="val 14188"/>
                <a:gd name="f9" fmla="val 30878"/>
                <a:gd name="f10" fmla="*/ f0 1 33654"/>
                <a:gd name="f11" fmla="*/ f1 1 31115"/>
                <a:gd name="f12" fmla="+- f4 0 f2"/>
                <a:gd name="f13" fmla="+- f3 0 f2"/>
                <a:gd name="f14" fmla="*/ f13 1 33654"/>
                <a:gd name="f15" fmla="*/ f12 1 31115"/>
                <a:gd name="f16" fmla="*/ f2 1 f14"/>
                <a:gd name="f17" fmla="*/ f3 1 f14"/>
                <a:gd name="f18" fmla="*/ f2 1 f15"/>
                <a:gd name="f19" fmla="*/ f4 1 f15"/>
                <a:gd name="f20" fmla="*/ f16 f10 1"/>
                <a:gd name="f21" fmla="*/ f17 f10 1"/>
                <a:gd name="f22" fmla="*/ f19 f11 1"/>
                <a:gd name="f23" fmla="*/ f18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0" t="f23" r="f21" b="f22"/>
              <a:pathLst>
                <a:path w="33654" h="31115">
                  <a:moveTo>
                    <a:pt x="f5" y="f2"/>
                  </a:moveTo>
                  <a:lnTo>
                    <a:pt x="f6" y="f7"/>
                  </a:lnTo>
                  <a:lnTo>
                    <a:pt x="f2" y="f2"/>
                  </a:lnTo>
                  <a:lnTo>
                    <a:pt x="f2" y="f8"/>
                  </a:lnTo>
                  <a:lnTo>
                    <a:pt x="f6" y="f9"/>
                  </a:lnTo>
                  <a:lnTo>
                    <a:pt x="f5" y="f8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49" name="object 49">
              <a:extLst>
                <a:ext uri="{FF2B5EF4-FFF2-40B4-BE49-F238E27FC236}">
                  <a16:creationId xmlns:a16="http://schemas.microsoft.com/office/drawing/2014/main" id="{08C9CE2B-E606-F710-16BF-59CF2A50D7E7}"/>
                </a:ext>
              </a:extLst>
            </p:cNvPr>
            <p:cNvSpPr/>
            <p:nvPr/>
          </p:nvSpPr>
          <p:spPr>
            <a:xfrm>
              <a:off x="7228030" y="4246747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71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50" name="object 50">
              <a:extLst>
                <a:ext uri="{FF2B5EF4-FFF2-40B4-BE49-F238E27FC236}">
                  <a16:creationId xmlns:a16="http://schemas.microsoft.com/office/drawing/2014/main" id="{B75AA649-1F9F-91E0-8271-4FE4D4A5E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228021" y="4572164"/>
              <a:ext cx="187872" cy="16270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1" name="object 51">
              <a:extLst>
                <a:ext uri="{FF2B5EF4-FFF2-40B4-BE49-F238E27FC236}">
                  <a16:creationId xmlns:a16="http://schemas.microsoft.com/office/drawing/2014/main" id="{CCC079A4-55CA-100D-0665-2755606970B6}"/>
                </a:ext>
              </a:extLst>
            </p:cNvPr>
            <p:cNvSpPr/>
            <p:nvPr/>
          </p:nvSpPr>
          <p:spPr>
            <a:xfrm>
              <a:off x="7228021" y="4572164"/>
              <a:ext cx="187909" cy="16288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268604"/>
                <a:gd name="f5" fmla="val 309812"/>
                <a:gd name="f6" fmla="val 268316"/>
                <a:gd name="f7" fmla="*/ f0 1 309879"/>
                <a:gd name="f8" fmla="*/ f1 1 268604"/>
                <a:gd name="f9" fmla="+- f4 0 f2"/>
                <a:gd name="f10" fmla="+- f3 0 f2"/>
                <a:gd name="f11" fmla="*/ f10 1 309879"/>
                <a:gd name="f12" fmla="*/ f9 1 26860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268604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52" name="object 52">
              <a:extLst>
                <a:ext uri="{FF2B5EF4-FFF2-40B4-BE49-F238E27FC236}">
                  <a16:creationId xmlns:a16="http://schemas.microsoft.com/office/drawing/2014/main" id="{4C7936B1-DC14-9651-9E56-BC88213A5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977173" y="4246757"/>
              <a:ext cx="187863" cy="48812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3" name="object 53">
              <a:extLst>
                <a:ext uri="{FF2B5EF4-FFF2-40B4-BE49-F238E27FC236}">
                  <a16:creationId xmlns:a16="http://schemas.microsoft.com/office/drawing/2014/main" id="{C15195DE-F9EA-58EB-984A-15FE22139BC0}"/>
                </a:ext>
              </a:extLst>
            </p:cNvPr>
            <p:cNvSpPr/>
            <p:nvPr/>
          </p:nvSpPr>
          <p:spPr>
            <a:xfrm>
              <a:off x="6977173" y="4246747"/>
              <a:ext cx="187909" cy="48826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79"/>
                <a:gd name="f4" fmla="val 805179"/>
                <a:gd name="f5" fmla="val 309802"/>
                <a:gd name="f6" fmla="val 804949"/>
                <a:gd name="f7" fmla="*/ f0 1 309879"/>
                <a:gd name="f8" fmla="*/ f1 1 805179"/>
                <a:gd name="f9" fmla="+- f4 0 f2"/>
                <a:gd name="f10" fmla="+- f3 0 f2"/>
                <a:gd name="f11" fmla="*/ f10 1 309879"/>
                <a:gd name="f12" fmla="*/ f9 1 80517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79" h="80517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54" name="object 54">
              <a:extLst>
                <a:ext uri="{FF2B5EF4-FFF2-40B4-BE49-F238E27FC236}">
                  <a16:creationId xmlns:a16="http://schemas.microsoft.com/office/drawing/2014/main" id="{492F0EE5-CB18-7F78-A112-43C7B855C1EF}"/>
                </a:ext>
              </a:extLst>
            </p:cNvPr>
            <p:cNvSpPr/>
            <p:nvPr/>
          </p:nvSpPr>
          <p:spPr>
            <a:xfrm>
              <a:off x="8027106" y="4165393"/>
              <a:ext cx="0" cy="124376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24375"/>
                <a:gd name="f5" fmla="val 124000"/>
                <a:gd name="f6" fmla="abs f0"/>
                <a:gd name="f7" fmla="abs f1"/>
                <a:gd name="f8" fmla="abs f2"/>
                <a:gd name="f9" fmla="*/ f1 1 124375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124375"/>
                <a:gd name="f17" fmla="*/ f12 1 21600"/>
                <a:gd name="f18" fmla="*/ f13 1 124375"/>
                <a:gd name="f19" fmla="*/ 21600 f12 1"/>
                <a:gd name="f20" fmla="*/ 0 1 f15"/>
                <a:gd name="f21" fmla="*/ 1 1 f15"/>
                <a:gd name="f22" fmla="*/ 0 1 f16"/>
                <a:gd name="f23" fmla="*/ 124375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124375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55" name="object 55">
              <a:extLst>
                <a:ext uri="{FF2B5EF4-FFF2-40B4-BE49-F238E27FC236}">
                  <a16:creationId xmlns:a16="http://schemas.microsoft.com/office/drawing/2014/main" id="{02BE63EA-FD05-CF34-2E22-831888E59F34}"/>
                </a:ext>
              </a:extLst>
            </p:cNvPr>
            <p:cNvSpPr/>
            <p:nvPr/>
          </p:nvSpPr>
          <p:spPr>
            <a:xfrm>
              <a:off x="8016974" y="4277508"/>
              <a:ext cx="20409" cy="188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655"/>
                <a:gd name="f4" fmla="val 31115"/>
                <a:gd name="f5" fmla="val 33412"/>
                <a:gd name="f6" fmla="val 16690"/>
                <a:gd name="f7" fmla="val 16722"/>
                <a:gd name="f8" fmla="val 14188"/>
                <a:gd name="f9" fmla="val 30878"/>
                <a:gd name="f10" fmla="*/ f0 1 33655"/>
                <a:gd name="f11" fmla="*/ f1 1 31115"/>
                <a:gd name="f12" fmla="+- f4 0 f2"/>
                <a:gd name="f13" fmla="+- f3 0 f2"/>
                <a:gd name="f14" fmla="*/ f13 1 33655"/>
                <a:gd name="f15" fmla="*/ f12 1 31115"/>
                <a:gd name="f16" fmla="*/ f2 1 f14"/>
                <a:gd name="f17" fmla="*/ f3 1 f14"/>
                <a:gd name="f18" fmla="*/ f2 1 f15"/>
                <a:gd name="f19" fmla="*/ f4 1 f15"/>
                <a:gd name="f20" fmla="*/ f16 f10 1"/>
                <a:gd name="f21" fmla="*/ f17 f10 1"/>
                <a:gd name="f22" fmla="*/ f19 f11 1"/>
                <a:gd name="f23" fmla="*/ f18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0" t="f23" r="f21" b="f22"/>
              <a:pathLst>
                <a:path w="33655" h="31115">
                  <a:moveTo>
                    <a:pt x="f5" y="f2"/>
                  </a:moveTo>
                  <a:lnTo>
                    <a:pt x="f6" y="f7"/>
                  </a:lnTo>
                  <a:lnTo>
                    <a:pt x="f2" y="f2"/>
                  </a:lnTo>
                  <a:lnTo>
                    <a:pt x="f2" y="f8"/>
                  </a:lnTo>
                  <a:lnTo>
                    <a:pt x="f6" y="f9"/>
                  </a:lnTo>
                  <a:lnTo>
                    <a:pt x="f5" y="f8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56" name="object 56">
              <a:extLst>
                <a:ext uri="{FF2B5EF4-FFF2-40B4-BE49-F238E27FC236}">
                  <a16:creationId xmlns:a16="http://schemas.microsoft.com/office/drawing/2014/main" id="{F0E3944F-C344-5A5F-D8D7-0F8611E479A5}"/>
                </a:ext>
              </a:extLst>
            </p:cNvPr>
            <p:cNvSpPr/>
            <p:nvPr/>
          </p:nvSpPr>
          <p:spPr>
            <a:xfrm>
              <a:off x="7933169" y="4165393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65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57" name="object 57">
              <a:extLst>
                <a:ext uri="{FF2B5EF4-FFF2-40B4-BE49-F238E27FC236}">
                  <a16:creationId xmlns:a16="http://schemas.microsoft.com/office/drawing/2014/main" id="{A280A143-AA7A-1FC2-F851-C058B9E295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933160" y="4320576"/>
              <a:ext cx="187863" cy="41430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58" name="object 58">
              <a:extLst>
                <a:ext uri="{FF2B5EF4-FFF2-40B4-BE49-F238E27FC236}">
                  <a16:creationId xmlns:a16="http://schemas.microsoft.com/office/drawing/2014/main" id="{CCBB2BCE-953C-158E-E6F5-59CC2CAAF855}"/>
                </a:ext>
              </a:extLst>
            </p:cNvPr>
            <p:cNvSpPr/>
            <p:nvPr/>
          </p:nvSpPr>
          <p:spPr>
            <a:xfrm>
              <a:off x="7933160" y="4320567"/>
              <a:ext cx="187909" cy="41433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683259"/>
                <a:gd name="f5" fmla="val 309802"/>
                <a:gd name="f6" fmla="val 683214"/>
                <a:gd name="f7" fmla="*/ f0 1 309880"/>
                <a:gd name="f8" fmla="*/ f1 1 683259"/>
                <a:gd name="f9" fmla="+- f4 0 f2"/>
                <a:gd name="f10" fmla="+- f3 0 f2"/>
                <a:gd name="f11" fmla="*/ f10 1 309880"/>
                <a:gd name="f12" fmla="*/ f9 1 68325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68325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59" name="object 59">
              <a:extLst>
                <a:ext uri="{FF2B5EF4-FFF2-40B4-BE49-F238E27FC236}">
                  <a16:creationId xmlns:a16="http://schemas.microsoft.com/office/drawing/2014/main" id="{B2C7EBE2-9DD8-48A6-6513-B61980E699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8184017" y="4165393"/>
              <a:ext cx="187863" cy="569479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60" name="object 60">
              <a:extLst>
                <a:ext uri="{FF2B5EF4-FFF2-40B4-BE49-F238E27FC236}">
                  <a16:creationId xmlns:a16="http://schemas.microsoft.com/office/drawing/2014/main" id="{20D337D2-BFFF-AF0B-75E6-E5440167CDFD}"/>
                </a:ext>
              </a:extLst>
            </p:cNvPr>
            <p:cNvSpPr/>
            <p:nvPr/>
          </p:nvSpPr>
          <p:spPr>
            <a:xfrm>
              <a:off x="8184017" y="4165393"/>
              <a:ext cx="187909" cy="56950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939165"/>
                <a:gd name="f5" fmla="val 309802"/>
                <a:gd name="f6" fmla="val 939112"/>
                <a:gd name="f7" fmla="*/ f0 1 309880"/>
                <a:gd name="f8" fmla="*/ f1 1 939165"/>
                <a:gd name="f9" fmla="+- f4 0 f2"/>
                <a:gd name="f10" fmla="+- f3 0 f2"/>
                <a:gd name="f11" fmla="*/ f10 1 309880"/>
                <a:gd name="f12" fmla="*/ f9 1 93916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939165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61" name="object 61">
              <a:extLst>
                <a:ext uri="{FF2B5EF4-FFF2-40B4-BE49-F238E27FC236}">
                  <a16:creationId xmlns:a16="http://schemas.microsoft.com/office/drawing/2014/main" id="{70320854-443E-BB52-49CD-244D19507A27}"/>
                </a:ext>
              </a:extLst>
            </p:cNvPr>
            <p:cNvSpPr/>
            <p:nvPr/>
          </p:nvSpPr>
          <p:spPr>
            <a:xfrm>
              <a:off x="9234178" y="4340126"/>
              <a:ext cx="0" cy="200619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00619"/>
                <a:gd name="f5" fmla="val 200494"/>
                <a:gd name="f6" fmla="abs f0"/>
                <a:gd name="f7" fmla="abs f1"/>
                <a:gd name="f8" fmla="abs f2"/>
                <a:gd name="f9" fmla="*/ f1 1 200619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00619"/>
                <a:gd name="f17" fmla="*/ f12 1 21600"/>
                <a:gd name="f18" fmla="*/ f13 1 200619"/>
                <a:gd name="f19" fmla="*/ 21600 f12 1"/>
                <a:gd name="f20" fmla="*/ 0 1 f15"/>
                <a:gd name="f21" fmla="*/ 1 1 f15"/>
                <a:gd name="f22" fmla="*/ 0 1 f16"/>
                <a:gd name="f23" fmla="*/ 200619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00619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62" name="object 62">
              <a:extLst>
                <a:ext uri="{FF2B5EF4-FFF2-40B4-BE49-F238E27FC236}">
                  <a16:creationId xmlns:a16="http://schemas.microsoft.com/office/drawing/2014/main" id="{739A216B-FA76-496B-2B84-7B101A35D991}"/>
                </a:ext>
              </a:extLst>
            </p:cNvPr>
            <p:cNvSpPr/>
            <p:nvPr/>
          </p:nvSpPr>
          <p:spPr>
            <a:xfrm>
              <a:off x="9224037" y="4528721"/>
              <a:ext cx="20409" cy="188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655"/>
                <a:gd name="f4" fmla="val 31115"/>
                <a:gd name="f5" fmla="val 33412"/>
                <a:gd name="f6" fmla="val 16722"/>
                <a:gd name="f7" fmla="val 16690"/>
                <a:gd name="f8" fmla="val 14156"/>
                <a:gd name="f9" fmla="val 30878"/>
                <a:gd name="f10" fmla="*/ f0 1 33655"/>
                <a:gd name="f11" fmla="*/ f1 1 31115"/>
                <a:gd name="f12" fmla="+- f4 0 f2"/>
                <a:gd name="f13" fmla="+- f3 0 f2"/>
                <a:gd name="f14" fmla="*/ f13 1 33655"/>
                <a:gd name="f15" fmla="*/ f12 1 31115"/>
                <a:gd name="f16" fmla="*/ f2 1 f14"/>
                <a:gd name="f17" fmla="*/ f3 1 f14"/>
                <a:gd name="f18" fmla="*/ f2 1 f15"/>
                <a:gd name="f19" fmla="*/ f4 1 f15"/>
                <a:gd name="f20" fmla="*/ f16 f10 1"/>
                <a:gd name="f21" fmla="*/ f17 f10 1"/>
                <a:gd name="f22" fmla="*/ f19 f11 1"/>
                <a:gd name="f23" fmla="*/ f18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0" t="f23" r="f21" b="f22"/>
              <a:pathLst>
                <a:path w="33655" h="31115">
                  <a:moveTo>
                    <a:pt x="f5" y="f2"/>
                  </a:moveTo>
                  <a:lnTo>
                    <a:pt x="f6" y="f7"/>
                  </a:lnTo>
                  <a:lnTo>
                    <a:pt x="f2" y="f2"/>
                  </a:lnTo>
                  <a:lnTo>
                    <a:pt x="f2" y="f8"/>
                  </a:lnTo>
                  <a:lnTo>
                    <a:pt x="f6" y="f9"/>
                  </a:lnTo>
                  <a:lnTo>
                    <a:pt x="f5" y="f8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63" name="object 63">
              <a:extLst>
                <a:ext uri="{FF2B5EF4-FFF2-40B4-BE49-F238E27FC236}">
                  <a16:creationId xmlns:a16="http://schemas.microsoft.com/office/drawing/2014/main" id="{082E6E79-9442-1BF5-98DB-3F1C2FBB32BD}"/>
                </a:ext>
              </a:extLst>
            </p:cNvPr>
            <p:cNvSpPr/>
            <p:nvPr/>
          </p:nvSpPr>
          <p:spPr>
            <a:xfrm>
              <a:off x="9140232" y="4340126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71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64" name="object 64">
              <a:extLst>
                <a:ext uri="{FF2B5EF4-FFF2-40B4-BE49-F238E27FC236}">
                  <a16:creationId xmlns:a16="http://schemas.microsoft.com/office/drawing/2014/main" id="{843A208B-282B-10D2-65F0-DC59D7F73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139784" y="4572164"/>
              <a:ext cx="187863" cy="16270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65" name="object 65">
              <a:extLst>
                <a:ext uri="{FF2B5EF4-FFF2-40B4-BE49-F238E27FC236}">
                  <a16:creationId xmlns:a16="http://schemas.microsoft.com/office/drawing/2014/main" id="{F8EDE8A7-2D75-9E34-82D5-A2165F91FD9D}"/>
                </a:ext>
              </a:extLst>
            </p:cNvPr>
            <p:cNvSpPr/>
            <p:nvPr/>
          </p:nvSpPr>
          <p:spPr>
            <a:xfrm>
              <a:off x="9139784" y="4572164"/>
              <a:ext cx="187909" cy="16288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268604"/>
                <a:gd name="f5" fmla="val 309802"/>
                <a:gd name="f6" fmla="val 268316"/>
                <a:gd name="f7" fmla="*/ f0 1 309880"/>
                <a:gd name="f8" fmla="*/ f1 1 268604"/>
                <a:gd name="f9" fmla="+- f4 0 f2"/>
                <a:gd name="f10" fmla="+- f3 0 f2"/>
                <a:gd name="f11" fmla="*/ f10 1 309880"/>
                <a:gd name="f12" fmla="*/ f9 1 268604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268604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66" name="object 66">
              <a:extLst>
                <a:ext uri="{FF2B5EF4-FFF2-40B4-BE49-F238E27FC236}">
                  <a16:creationId xmlns:a16="http://schemas.microsoft.com/office/drawing/2014/main" id="{E8ED32B6-DAA9-F9A3-0514-B1E570644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888918" y="4340135"/>
              <a:ext cx="187872" cy="394737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67" name="object 67">
              <a:extLst>
                <a:ext uri="{FF2B5EF4-FFF2-40B4-BE49-F238E27FC236}">
                  <a16:creationId xmlns:a16="http://schemas.microsoft.com/office/drawing/2014/main" id="{ABAD9C72-99DC-F724-CE9C-4490AD28D5C1}"/>
                </a:ext>
              </a:extLst>
            </p:cNvPr>
            <p:cNvSpPr/>
            <p:nvPr/>
          </p:nvSpPr>
          <p:spPr>
            <a:xfrm>
              <a:off x="8888928" y="4340135"/>
              <a:ext cx="187909" cy="395075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651509"/>
                <a:gd name="f5" fmla="val 309812"/>
                <a:gd name="f6" fmla="val 650954"/>
                <a:gd name="f7" fmla="*/ f0 1 309880"/>
                <a:gd name="f8" fmla="*/ f1 1 651509"/>
                <a:gd name="f9" fmla="+- f4 0 f2"/>
                <a:gd name="f10" fmla="+- f3 0 f2"/>
                <a:gd name="f11" fmla="*/ f10 1 309880"/>
                <a:gd name="f12" fmla="*/ f9 1 65150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65150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68" name="object 68">
              <a:extLst>
                <a:ext uri="{FF2B5EF4-FFF2-40B4-BE49-F238E27FC236}">
                  <a16:creationId xmlns:a16="http://schemas.microsoft.com/office/drawing/2014/main" id="{602BEABA-8827-416A-9C7B-1C5DF12E0367}"/>
                </a:ext>
              </a:extLst>
            </p:cNvPr>
            <p:cNvSpPr/>
            <p:nvPr/>
          </p:nvSpPr>
          <p:spPr>
            <a:xfrm>
              <a:off x="9939546" y="4594256"/>
              <a:ext cx="0" cy="105119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05123"/>
                <a:gd name="f5" fmla="val 105079"/>
                <a:gd name="f6" fmla="abs f0"/>
                <a:gd name="f7" fmla="abs f1"/>
                <a:gd name="f8" fmla="abs f2"/>
                <a:gd name="f9" fmla="*/ f1 1 105123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105123"/>
                <a:gd name="f17" fmla="*/ f12 1 21600"/>
                <a:gd name="f18" fmla="*/ f13 1 105123"/>
                <a:gd name="f19" fmla="*/ 21600 f12 1"/>
                <a:gd name="f20" fmla="*/ 0 1 f15"/>
                <a:gd name="f21" fmla="*/ 1 1 f15"/>
                <a:gd name="f22" fmla="*/ 0 1 f16"/>
                <a:gd name="f23" fmla="*/ 105123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105123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69" name="object 69">
              <a:extLst>
                <a:ext uri="{FF2B5EF4-FFF2-40B4-BE49-F238E27FC236}">
                  <a16:creationId xmlns:a16="http://schemas.microsoft.com/office/drawing/2014/main" id="{1FAE845B-AA5E-2A39-66FA-CC14FC50EC0A}"/>
                </a:ext>
              </a:extLst>
            </p:cNvPr>
            <p:cNvSpPr/>
            <p:nvPr/>
          </p:nvSpPr>
          <p:spPr>
            <a:xfrm>
              <a:off x="9929423" y="4687433"/>
              <a:ext cx="20409" cy="188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655"/>
                <a:gd name="f4" fmla="val 31115"/>
                <a:gd name="f5" fmla="val 33412"/>
                <a:gd name="f6" fmla="val 16690"/>
                <a:gd name="f7" fmla="val 16722"/>
                <a:gd name="f8" fmla="val 14188"/>
                <a:gd name="f9" fmla="val 30878"/>
                <a:gd name="f10" fmla="*/ f0 1 33655"/>
                <a:gd name="f11" fmla="*/ f1 1 31115"/>
                <a:gd name="f12" fmla="+- f4 0 f2"/>
                <a:gd name="f13" fmla="+- f3 0 f2"/>
                <a:gd name="f14" fmla="*/ f13 1 33655"/>
                <a:gd name="f15" fmla="*/ f12 1 31115"/>
                <a:gd name="f16" fmla="*/ f2 1 f14"/>
                <a:gd name="f17" fmla="*/ f3 1 f14"/>
                <a:gd name="f18" fmla="*/ f2 1 f15"/>
                <a:gd name="f19" fmla="*/ f4 1 f15"/>
                <a:gd name="f20" fmla="*/ f16 f10 1"/>
                <a:gd name="f21" fmla="*/ f17 f10 1"/>
                <a:gd name="f22" fmla="*/ f19 f11 1"/>
                <a:gd name="f23" fmla="*/ f18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0" t="f23" r="f21" b="f22"/>
              <a:pathLst>
                <a:path w="33655" h="31115">
                  <a:moveTo>
                    <a:pt x="f5" y="f2"/>
                  </a:moveTo>
                  <a:lnTo>
                    <a:pt x="f6" y="f7"/>
                  </a:lnTo>
                  <a:lnTo>
                    <a:pt x="f2" y="f2"/>
                  </a:lnTo>
                  <a:lnTo>
                    <a:pt x="f2" y="f8"/>
                  </a:lnTo>
                  <a:lnTo>
                    <a:pt x="f6" y="f9"/>
                  </a:lnTo>
                  <a:lnTo>
                    <a:pt x="f5" y="f8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70" name="object 70">
              <a:extLst>
                <a:ext uri="{FF2B5EF4-FFF2-40B4-BE49-F238E27FC236}">
                  <a16:creationId xmlns:a16="http://schemas.microsoft.com/office/drawing/2014/main" id="{5AFDF9D4-25A4-EA67-FE68-F8300DDF861D}"/>
                </a:ext>
              </a:extLst>
            </p:cNvPr>
            <p:cNvSpPr/>
            <p:nvPr/>
          </p:nvSpPr>
          <p:spPr>
            <a:xfrm>
              <a:off x="9845609" y="4594256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65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71" name="object 71">
              <a:extLst>
                <a:ext uri="{FF2B5EF4-FFF2-40B4-BE49-F238E27FC236}">
                  <a16:creationId xmlns:a16="http://schemas.microsoft.com/office/drawing/2014/main" id="{B051A09B-1C97-A375-B46B-57261189D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845161" y="4725911"/>
              <a:ext cx="187845" cy="8942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2" name="object 72">
              <a:extLst>
                <a:ext uri="{FF2B5EF4-FFF2-40B4-BE49-F238E27FC236}">
                  <a16:creationId xmlns:a16="http://schemas.microsoft.com/office/drawing/2014/main" id="{8632C96B-47E8-73A9-3FE4-F5710EE36808}"/>
                </a:ext>
              </a:extLst>
            </p:cNvPr>
            <p:cNvSpPr/>
            <p:nvPr/>
          </p:nvSpPr>
          <p:spPr>
            <a:xfrm>
              <a:off x="9845134" y="4725911"/>
              <a:ext cx="187909" cy="924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15240"/>
                <a:gd name="f5" fmla="val 309802"/>
                <a:gd name="f6" fmla="val 14784"/>
                <a:gd name="f7" fmla="*/ f0 1 309880"/>
                <a:gd name="f8" fmla="*/ f1 1 15240"/>
                <a:gd name="f9" fmla="+- f4 0 f2"/>
                <a:gd name="f10" fmla="+- f3 0 f2"/>
                <a:gd name="f11" fmla="*/ f10 1 309880"/>
                <a:gd name="f12" fmla="*/ f9 1 15240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15240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73" name="object 73">
              <a:extLst>
                <a:ext uri="{FF2B5EF4-FFF2-40B4-BE49-F238E27FC236}">
                  <a16:creationId xmlns:a16="http://schemas.microsoft.com/office/drawing/2014/main" id="{02097164-F811-EA70-854B-5F3AAF7DC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10095990" y="4594256"/>
              <a:ext cx="187863" cy="140616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4" name="object 74">
              <a:extLst>
                <a:ext uri="{FF2B5EF4-FFF2-40B4-BE49-F238E27FC236}">
                  <a16:creationId xmlns:a16="http://schemas.microsoft.com/office/drawing/2014/main" id="{F78B2C3E-4CA0-C07E-D4AF-97F937AFF795}"/>
                </a:ext>
              </a:extLst>
            </p:cNvPr>
            <p:cNvSpPr/>
            <p:nvPr/>
          </p:nvSpPr>
          <p:spPr>
            <a:xfrm>
              <a:off x="10095990" y="4594256"/>
              <a:ext cx="187909" cy="14093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232409"/>
                <a:gd name="f5" fmla="val 309802"/>
                <a:gd name="f6" fmla="val 231888"/>
                <a:gd name="f7" fmla="*/ f0 1 309880"/>
                <a:gd name="f8" fmla="*/ f1 1 232409"/>
                <a:gd name="f9" fmla="+- f4 0 f2"/>
                <a:gd name="f10" fmla="+- f3 0 f2"/>
                <a:gd name="f11" fmla="*/ f10 1 309880"/>
                <a:gd name="f12" fmla="*/ f9 1 23240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232409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75" name="object 75">
              <a:extLst>
                <a:ext uri="{FF2B5EF4-FFF2-40B4-BE49-F238E27FC236}">
                  <a16:creationId xmlns:a16="http://schemas.microsoft.com/office/drawing/2014/main" id="{C3C1DD00-E4DB-93ED-855F-04CB046FE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10801121" y="4695197"/>
              <a:ext cx="187872" cy="3967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6" name="object 76">
              <a:extLst>
                <a:ext uri="{FF2B5EF4-FFF2-40B4-BE49-F238E27FC236}">
                  <a16:creationId xmlns:a16="http://schemas.microsoft.com/office/drawing/2014/main" id="{C399F3EE-1A95-02AD-54F8-B515BF697D05}"/>
                </a:ext>
              </a:extLst>
            </p:cNvPr>
            <p:cNvSpPr/>
            <p:nvPr/>
          </p:nvSpPr>
          <p:spPr>
            <a:xfrm>
              <a:off x="10801121" y="4695197"/>
              <a:ext cx="187909" cy="4005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66040"/>
                <a:gd name="f5" fmla="val 309812"/>
                <a:gd name="f6" fmla="val 65432"/>
                <a:gd name="f7" fmla="*/ f0 1 309880"/>
                <a:gd name="f8" fmla="*/ f1 1 66040"/>
                <a:gd name="f9" fmla="+- f4 0 f2"/>
                <a:gd name="f10" fmla="+- f3 0 f2"/>
                <a:gd name="f11" fmla="*/ f10 1 309880"/>
                <a:gd name="f12" fmla="*/ f9 1 66040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66040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77" name="object 77">
              <a:extLst>
                <a:ext uri="{FF2B5EF4-FFF2-40B4-BE49-F238E27FC236}">
                  <a16:creationId xmlns:a16="http://schemas.microsoft.com/office/drawing/2014/main" id="{7E303C0D-FDE0-D7F8-B473-E009D228AA23}"/>
                </a:ext>
              </a:extLst>
            </p:cNvPr>
            <p:cNvSpPr/>
            <p:nvPr/>
          </p:nvSpPr>
          <p:spPr>
            <a:xfrm>
              <a:off x="11051977" y="4729889"/>
              <a:ext cx="187909" cy="1001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16509"/>
                <a:gd name="f5" fmla="val 16428"/>
                <a:gd name="f6" fmla="val 309812"/>
                <a:gd name="f7" fmla="*/ f0 1 309880"/>
                <a:gd name="f8" fmla="*/ f1 1 16509"/>
                <a:gd name="f9" fmla="+- f4 0 f2"/>
                <a:gd name="f10" fmla="+- f3 0 f2"/>
                <a:gd name="f11" fmla="*/ f10 1 309880"/>
                <a:gd name="f12" fmla="*/ f9 1 16509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16509">
                  <a:moveTo>
                    <a:pt x="f2" y="f5"/>
                  </a:moveTo>
                  <a:lnTo>
                    <a:pt x="f6" y="f5"/>
                  </a:lnTo>
                  <a:lnTo>
                    <a:pt x="f6" y="f2"/>
                  </a:lnTo>
                  <a:lnTo>
                    <a:pt x="f2" y="f2"/>
                  </a:lnTo>
                  <a:lnTo>
                    <a:pt x="f2" y="f5"/>
                  </a:lnTo>
                  <a:close/>
                </a:path>
              </a:pathLst>
            </a:custGeom>
            <a:solidFill>
              <a:srgbClr val="83A467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78" name="object 78">
              <a:extLst>
                <a:ext uri="{FF2B5EF4-FFF2-40B4-BE49-F238E27FC236}">
                  <a16:creationId xmlns:a16="http://schemas.microsoft.com/office/drawing/2014/main" id="{AA489070-8E10-B436-5936-42CBD4650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1051968" y="4695197"/>
              <a:ext cx="187872" cy="39675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79" name="object 79">
              <a:extLst>
                <a:ext uri="{FF2B5EF4-FFF2-40B4-BE49-F238E27FC236}">
                  <a16:creationId xmlns:a16="http://schemas.microsoft.com/office/drawing/2014/main" id="{03F81A5C-4EF7-108B-CB10-81504F7F86DC}"/>
                </a:ext>
              </a:extLst>
            </p:cNvPr>
            <p:cNvSpPr/>
            <p:nvPr/>
          </p:nvSpPr>
          <p:spPr>
            <a:xfrm>
              <a:off x="11051977" y="4695197"/>
              <a:ext cx="187909" cy="4005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09880"/>
                <a:gd name="f4" fmla="val 66040"/>
                <a:gd name="f5" fmla="val 309812"/>
                <a:gd name="f6" fmla="val 65432"/>
                <a:gd name="f7" fmla="*/ f0 1 309880"/>
                <a:gd name="f8" fmla="*/ f1 1 66040"/>
                <a:gd name="f9" fmla="+- f4 0 f2"/>
                <a:gd name="f10" fmla="+- f3 0 f2"/>
                <a:gd name="f11" fmla="*/ f10 1 309880"/>
                <a:gd name="f12" fmla="*/ f9 1 66040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309880" h="66040">
                  <a:moveTo>
                    <a:pt x="f5" y="f6"/>
                  </a:moveTo>
                  <a:lnTo>
                    <a:pt x="f2" y="f6"/>
                  </a:lnTo>
                  <a:lnTo>
                    <a:pt x="f2" y="f2"/>
                  </a:lnTo>
                  <a:lnTo>
                    <a:pt x="f5" y="f2"/>
                  </a:lnTo>
                  <a:lnTo>
                    <a:pt x="f5" y="f6"/>
                  </a:lnTo>
                  <a:close/>
                </a:path>
              </a:pathLst>
            </a:custGeom>
            <a:noFill/>
            <a:ln w="16431" cap="flat">
              <a:solidFill>
                <a:srgbClr val="98BF87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80" name="object 80">
              <a:extLst>
                <a:ext uri="{FF2B5EF4-FFF2-40B4-BE49-F238E27FC236}">
                  <a16:creationId xmlns:a16="http://schemas.microsoft.com/office/drawing/2014/main" id="{E5CA9FE5-574F-0DE3-B6D7-1C139C6FE942}"/>
                </a:ext>
              </a:extLst>
            </p:cNvPr>
            <p:cNvSpPr/>
            <p:nvPr/>
          </p:nvSpPr>
          <p:spPr>
            <a:xfrm>
              <a:off x="896596" y="4734872"/>
              <a:ext cx="10710568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0710571"/>
                <a:gd name="f5" fmla="val 10710396"/>
                <a:gd name="f6" fmla="abs f0"/>
                <a:gd name="f7" fmla="abs f1"/>
                <a:gd name="f8" fmla="abs f2"/>
                <a:gd name="f9" fmla="*/ f0 1 10710571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0710571"/>
                <a:gd name="f16" fmla="*/ f10 1 0"/>
                <a:gd name="f17" fmla="*/ f12 1 10710571"/>
                <a:gd name="f18" fmla="*/ f13 1 21600"/>
                <a:gd name="f19" fmla="*/ 21600 f13 1"/>
                <a:gd name="f20" fmla="*/ 0 1 f15"/>
                <a:gd name="f21" fmla="*/ 10710571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0710571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16431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</p:grpSp>
      <p:sp>
        <p:nvSpPr>
          <p:cNvPr id="81" name="object 81">
            <a:extLst>
              <a:ext uri="{FF2B5EF4-FFF2-40B4-BE49-F238E27FC236}">
                <a16:creationId xmlns:a16="http://schemas.microsoft.com/office/drawing/2014/main" id="{8AC65055-E635-DB97-C404-8CC45797D74E}"/>
              </a:ext>
            </a:extLst>
          </p:cNvPr>
          <p:cNvSpPr/>
          <p:nvPr/>
        </p:nvSpPr>
        <p:spPr>
          <a:xfrm>
            <a:off x="1438470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82" name="object 82">
            <a:extLst>
              <a:ext uri="{FF2B5EF4-FFF2-40B4-BE49-F238E27FC236}">
                <a16:creationId xmlns:a16="http://schemas.microsoft.com/office/drawing/2014/main" id="{140117F7-5BED-9E17-87EB-5600559EF35E}"/>
              </a:ext>
            </a:extLst>
          </p:cNvPr>
          <p:cNvSpPr/>
          <p:nvPr/>
        </p:nvSpPr>
        <p:spPr>
          <a:xfrm>
            <a:off x="2394456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grpSp>
        <p:nvGrpSpPr>
          <p:cNvPr id="83" name="object 83">
            <a:extLst>
              <a:ext uri="{FF2B5EF4-FFF2-40B4-BE49-F238E27FC236}">
                <a16:creationId xmlns:a16="http://schemas.microsoft.com/office/drawing/2014/main" id="{0D3A28ED-6980-2327-38D3-344E7127DF7B}"/>
              </a:ext>
            </a:extLst>
          </p:cNvPr>
          <p:cNvGrpSpPr/>
          <p:nvPr/>
        </p:nvGrpSpPr>
        <p:grpSpPr>
          <a:xfrm>
            <a:off x="3404311" y="3595914"/>
            <a:ext cx="187909" cy="618116"/>
            <a:chOff x="3404311" y="3595914"/>
            <a:chExt cx="187909" cy="618116"/>
          </a:xfrm>
        </p:grpSpPr>
        <p:sp>
          <p:nvSpPr>
            <p:cNvPr id="84" name="object 84">
              <a:extLst>
                <a:ext uri="{FF2B5EF4-FFF2-40B4-BE49-F238E27FC236}">
                  <a16:creationId xmlns:a16="http://schemas.microsoft.com/office/drawing/2014/main" id="{D6394118-6DC6-2AB9-E7FB-1690D0888B04}"/>
                </a:ext>
              </a:extLst>
            </p:cNvPr>
            <p:cNvSpPr/>
            <p:nvPr/>
          </p:nvSpPr>
          <p:spPr>
            <a:xfrm>
              <a:off x="3498247" y="3595914"/>
              <a:ext cx="0" cy="611477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611482"/>
                <a:gd name="f5" fmla="val 611151"/>
                <a:gd name="f6" fmla="abs f0"/>
                <a:gd name="f7" fmla="abs f1"/>
                <a:gd name="f8" fmla="abs f2"/>
                <a:gd name="f9" fmla="*/ f1 1 611482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611482"/>
                <a:gd name="f17" fmla="*/ f12 1 21600"/>
                <a:gd name="f18" fmla="*/ f13 1 611482"/>
                <a:gd name="f19" fmla="*/ 21600 f12 1"/>
                <a:gd name="f20" fmla="*/ 0 1 f15"/>
                <a:gd name="f21" fmla="*/ 1 1 f15"/>
                <a:gd name="f22" fmla="*/ 0 1 f16"/>
                <a:gd name="f23" fmla="*/ 611482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611482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85" name="object 85">
              <a:extLst>
                <a:ext uri="{FF2B5EF4-FFF2-40B4-BE49-F238E27FC236}">
                  <a16:creationId xmlns:a16="http://schemas.microsoft.com/office/drawing/2014/main" id="{997050E2-A17C-2BDF-4063-575A1D465170}"/>
                </a:ext>
              </a:extLst>
            </p:cNvPr>
            <p:cNvSpPr/>
            <p:nvPr/>
          </p:nvSpPr>
          <p:spPr>
            <a:xfrm>
              <a:off x="3488125" y="4195166"/>
              <a:ext cx="20409" cy="188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654"/>
                <a:gd name="f4" fmla="val 31115"/>
                <a:gd name="f5" fmla="val 33381"/>
                <a:gd name="f6" fmla="val 16690"/>
                <a:gd name="f7" fmla="val 16722"/>
                <a:gd name="f8" fmla="val 14188"/>
                <a:gd name="f9" fmla="val 30878"/>
                <a:gd name="f10" fmla="*/ f0 1 33654"/>
                <a:gd name="f11" fmla="*/ f1 1 31115"/>
                <a:gd name="f12" fmla="+- f4 0 f2"/>
                <a:gd name="f13" fmla="+- f3 0 f2"/>
                <a:gd name="f14" fmla="*/ f13 1 33654"/>
                <a:gd name="f15" fmla="*/ f12 1 31115"/>
                <a:gd name="f16" fmla="*/ f2 1 f14"/>
                <a:gd name="f17" fmla="*/ f3 1 f14"/>
                <a:gd name="f18" fmla="*/ f2 1 f15"/>
                <a:gd name="f19" fmla="*/ f4 1 f15"/>
                <a:gd name="f20" fmla="*/ f16 f10 1"/>
                <a:gd name="f21" fmla="*/ f17 f10 1"/>
                <a:gd name="f22" fmla="*/ f19 f11 1"/>
                <a:gd name="f23" fmla="*/ f18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0" t="f23" r="f21" b="f22"/>
              <a:pathLst>
                <a:path w="33654" h="31115">
                  <a:moveTo>
                    <a:pt x="f5" y="f2"/>
                  </a:moveTo>
                  <a:lnTo>
                    <a:pt x="f6" y="f7"/>
                  </a:lnTo>
                  <a:lnTo>
                    <a:pt x="f2" y="f2"/>
                  </a:lnTo>
                  <a:lnTo>
                    <a:pt x="f2" y="f8"/>
                  </a:lnTo>
                  <a:lnTo>
                    <a:pt x="f6" y="f9"/>
                  </a:lnTo>
                  <a:lnTo>
                    <a:pt x="f5" y="f8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86" name="object 86">
              <a:extLst>
                <a:ext uri="{FF2B5EF4-FFF2-40B4-BE49-F238E27FC236}">
                  <a16:creationId xmlns:a16="http://schemas.microsoft.com/office/drawing/2014/main" id="{3A162D83-9AF0-A0EF-355B-70F178981DD9}"/>
                </a:ext>
              </a:extLst>
            </p:cNvPr>
            <p:cNvSpPr/>
            <p:nvPr/>
          </p:nvSpPr>
          <p:spPr>
            <a:xfrm>
              <a:off x="3404311" y="3595914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65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</p:grpSp>
      <p:sp>
        <p:nvSpPr>
          <p:cNvPr id="87" name="object 87">
            <a:extLst>
              <a:ext uri="{FF2B5EF4-FFF2-40B4-BE49-F238E27FC236}">
                <a16:creationId xmlns:a16="http://schemas.microsoft.com/office/drawing/2014/main" id="{12C9D746-79E0-ABFC-AD61-6F5E0420C188}"/>
              </a:ext>
            </a:extLst>
          </p:cNvPr>
          <p:cNvSpPr/>
          <p:nvPr/>
        </p:nvSpPr>
        <p:spPr>
          <a:xfrm>
            <a:off x="3350443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grpSp>
        <p:nvGrpSpPr>
          <p:cNvPr id="88" name="object 88">
            <a:extLst>
              <a:ext uri="{FF2B5EF4-FFF2-40B4-BE49-F238E27FC236}">
                <a16:creationId xmlns:a16="http://schemas.microsoft.com/office/drawing/2014/main" id="{BF5B8103-0A49-ADEA-6056-6F1E103BFAA8}"/>
              </a:ext>
            </a:extLst>
          </p:cNvPr>
          <p:cNvGrpSpPr/>
          <p:nvPr/>
        </p:nvGrpSpPr>
        <p:grpSpPr>
          <a:xfrm>
            <a:off x="4360307" y="3687244"/>
            <a:ext cx="187909" cy="850100"/>
            <a:chOff x="4360307" y="3687244"/>
            <a:chExt cx="187909" cy="850100"/>
          </a:xfrm>
        </p:grpSpPr>
        <p:sp>
          <p:nvSpPr>
            <p:cNvPr id="89" name="object 89">
              <a:extLst>
                <a:ext uri="{FF2B5EF4-FFF2-40B4-BE49-F238E27FC236}">
                  <a16:creationId xmlns:a16="http://schemas.microsoft.com/office/drawing/2014/main" id="{D5182382-BDA9-3FB4-10CF-BC87AC825A9D}"/>
                </a:ext>
              </a:extLst>
            </p:cNvPr>
            <p:cNvSpPr/>
            <p:nvPr/>
          </p:nvSpPr>
          <p:spPr>
            <a:xfrm>
              <a:off x="4454234" y="3687244"/>
              <a:ext cx="0" cy="843287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843291"/>
                <a:gd name="f5" fmla="val 843119"/>
                <a:gd name="f6" fmla="abs f0"/>
                <a:gd name="f7" fmla="abs f1"/>
                <a:gd name="f8" fmla="abs f2"/>
                <a:gd name="f9" fmla="*/ f1 1 843291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843291"/>
                <a:gd name="f17" fmla="*/ f12 1 21600"/>
                <a:gd name="f18" fmla="*/ f13 1 843291"/>
                <a:gd name="f19" fmla="*/ 21600 f12 1"/>
                <a:gd name="f20" fmla="*/ 0 1 f15"/>
                <a:gd name="f21" fmla="*/ 1 1 f15"/>
                <a:gd name="f22" fmla="*/ 0 1 f16"/>
                <a:gd name="f23" fmla="*/ 843291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843291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90" name="object 90">
              <a:extLst>
                <a:ext uri="{FF2B5EF4-FFF2-40B4-BE49-F238E27FC236}">
                  <a16:creationId xmlns:a16="http://schemas.microsoft.com/office/drawing/2014/main" id="{7F7E7FB8-9717-D5D0-9337-D799985E0F24}"/>
                </a:ext>
              </a:extLst>
            </p:cNvPr>
            <p:cNvSpPr/>
            <p:nvPr/>
          </p:nvSpPr>
          <p:spPr>
            <a:xfrm>
              <a:off x="4444112" y="4518480"/>
              <a:ext cx="20409" cy="188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654"/>
                <a:gd name="f4" fmla="val 31115"/>
                <a:gd name="f5" fmla="val 33381"/>
                <a:gd name="f6" fmla="val 16690"/>
                <a:gd name="f7" fmla="val 14156"/>
                <a:gd name="f8" fmla="val 30878"/>
                <a:gd name="f9" fmla="*/ f0 1 33654"/>
                <a:gd name="f10" fmla="*/ f1 1 31115"/>
                <a:gd name="f11" fmla="+- f4 0 f2"/>
                <a:gd name="f12" fmla="+- f3 0 f2"/>
                <a:gd name="f13" fmla="*/ f12 1 33654"/>
                <a:gd name="f14" fmla="*/ f11 1 31115"/>
                <a:gd name="f15" fmla="*/ f2 1 f13"/>
                <a:gd name="f16" fmla="*/ f3 1 f13"/>
                <a:gd name="f17" fmla="*/ f2 1 f14"/>
                <a:gd name="f18" fmla="*/ f4 1 f14"/>
                <a:gd name="f19" fmla="*/ f15 f9 1"/>
                <a:gd name="f20" fmla="*/ f16 f9 1"/>
                <a:gd name="f21" fmla="*/ f18 f10 1"/>
                <a:gd name="f22" fmla="*/ f17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9" t="f22" r="f20" b="f21"/>
              <a:pathLst>
                <a:path w="33654" h="31115">
                  <a:moveTo>
                    <a:pt x="f5" y="f2"/>
                  </a:moveTo>
                  <a:lnTo>
                    <a:pt x="f6" y="f6"/>
                  </a:lnTo>
                  <a:lnTo>
                    <a:pt x="f2" y="f2"/>
                  </a:lnTo>
                  <a:lnTo>
                    <a:pt x="f2" y="f7"/>
                  </a:lnTo>
                  <a:lnTo>
                    <a:pt x="f6" y="f8"/>
                  </a:lnTo>
                  <a:lnTo>
                    <a:pt x="f5" y="f7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91" name="object 91">
              <a:extLst>
                <a:ext uri="{FF2B5EF4-FFF2-40B4-BE49-F238E27FC236}">
                  <a16:creationId xmlns:a16="http://schemas.microsoft.com/office/drawing/2014/main" id="{35755DEE-2E44-8E6F-D272-31B70BCFAFB5}"/>
                </a:ext>
              </a:extLst>
            </p:cNvPr>
            <p:cNvSpPr/>
            <p:nvPr/>
          </p:nvSpPr>
          <p:spPr>
            <a:xfrm>
              <a:off x="4360307" y="3687244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65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</p:grpSp>
      <p:sp>
        <p:nvSpPr>
          <p:cNvPr id="92" name="object 92">
            <a:extLst>
              <a:ext uri="{FF2B5EF4-FFF2-40B4-BE49-F238E27FC236}">
                <a16:creationId xmlns:a16="http://schemas.microsoft.com/office/drawing/2014/main" id="{173CCB05-3B1A-7E24-8032-32F09EED511C}"/>
              </a:ext>
            </a:extLst>
          </p:cNvPr>
          <p:cNvSpPr/>
          <p:nvPr/>
        </p:nvSpPr>
        <p:spPr>
          <a:xfrm>
            <a:off x="4306430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grpSp>
        <p:nvGrpSpPr>
          <p:cNvPr id="93" name="object 93">
            <a:extLst>
              <a:ext uri="{FF2B5EF4-FFF2-40B4-BE49-F238E27FC236}">
                <a16:creationId xmlns:a16="http://schemas.microsoft.com/office/drawing/2014/main" id="{A290C5A5-9A7B-0999-CB13-426D18EBD3D4}"/>
              </a:ext>
            </a:extLst>
          </p:cNvPr>
          <p:cNvGrpSpPr/>
          <p:nvPr/>
        </p:nvGrpSpPr>
        <p:grpSpPr>
          <a:xfrm>
            <a:off x="5316294" y="3758622"/>
            <a:ext cx="187909" cy="455408"/>
            <a:chOff x="5316294" y="3758622"/>
            <a:chExt cx="187909" cy="455408"/>
          </a:xfrm>
        </p:grpSpPr>
        <p:sp>
          <p:nvSpPr>
            <p:cNvPr id="94" name="object 94">
              <a:extLst>
                <a:ext uri="{FF2B5EF4-FFF2-40B4-BE49-F238E27FC236}">
                  <a16:creationId xmlns:a16="http://schemas.microsoft.com/office/drawing/2014/main" id="{5D9A965C-1151-A973-3DF3-E28041DF0C85}"/>
                </a:ext>
              </a:extLst>
            </p:cNvPr>
            <p:cNvSpPr/>
            <p:nvPr/>
          </p:nvSpPr>
          <p:spPr>
            <a:xfrm>
              <a:off x="5410221" y="3758622"/>
              <a:ext cx="0" cy="44859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448600"/>
                <a:gd name="f5" fmla="val 448443"/>
                <a:gd name="f6" fmla="abs f0"/>
                <a:gd name="f7" fmla="abs f1"/>
                <a:gd name="f8" fmla="abs f2"/>
                <a:gd name="f9" fmla="*/ f1 1 448600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448600"/>
                <a:gd name="f17" fmla="*/ f12 1 21600"/>
                <a:gd name="f18" fmla="*/ f13 1 448600"/>
                <a:gd name="f19" fmla="*/ 21600 f12 1"/>
                <a:gd name="f20" fmla="*/ 0 1 f15"/>
                <a:gd name="f21" fmla="*/ 1 1 f15"/>
                <a:gd name="f22" fmla="*/ 0 1 f16"/>
                <a:gd name="f23" fmla="*/ 448600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448600">
                  <a:moveTo>
                    <a:pt x="f29" y="f3"/>
                  </a:moveTo>
                  <a:lnTo>
                    <a:pt x="f29" y="f5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95" name="object 95">
              <a:extLst>
                <a:ext uri="{FF2B5EF4-FFF2-40B4-BE49-F238E27FC236}">
                  <a16:creationId xmlns:a16="http://schemas.microsoft.com/office/drawing/2014/main" id="{132E2A3C-5C8D-6F41-6E00-FD0A3EF2DEB6}"/>
                </a:ext>
              </a:extLst>
            </p:cNvPr>
            <p:cNvSpPr/>
            <p:nvPr/>
          </p:nvSpPr>
          <p:spPr>
            <a:xfrm>
              <a:off x="5400089" y="4195166"/>
              <a:ext cx="20409" cy="188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3654"/>
                <a:gd name="f4" fmla="val 31115"/>
                <a:gd name="f5" fmla="val 33412"/>
                <a:gd name="f6" fmla="val 16722"/>
                <a:gd name="f7" fmla="val 14188"/>
                <a:gd name="f8" fmla="val 30878"/>
                <a:gd name="f9" fmla="*/ f0 1 33654"/>
                <a:gd name="f10" fmla="*/ f1 1 31115"/>
                <a:gd name="f11" fmla="+- f4 0 f2"/>
                <a:gd name="f12" fmla="+- f3 0 f2"/>
                <a:gd name="f13" fmla="*/ f12 1 33654"/>
                <a:gd name="f14" fmla="*/ f11 1 31115"/>
                <a:gd name="f15" fmla="*/ f2 1 f13"/>
                <a:gd name="f16" fmla="*/ f3 1 f13"/>
                <a:gd name="f17" fmla="*/ f2 1 f14"/>
                <a:gd name="f18" fmla="*/ f4 1 f14"/>
                <a:gd name="f19" fmla="*/ f15 f9 1"/>
                <a:gd name="f20" fmla="*/ f16 f9 1"/>
                <a:gd name="f21" fmla="*/ f18 f10 1"/>
                <a:gd name="f22" fmla="*/ f17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9" t="f22" r="f20" b="f21"/>
              <a:pathLst>
                <a:path w="33654" h="31115">
                  <a:moveTo>
                    <a:pt x="f5" y="f2"/>
                  </a:moveTo>
                  <a:lnTo>
                    <a:pt x="f6" y="f6"/>
                  </a:lnTo>
                  <a:lnTo>
                    <a:pt x="f2" y="f2"/>
                  </a:lnTo>
                  <a:lnTo>
                    <a:pt x="f2" y="f7"/>
                  </a:lnTo>
                  <a:lnTo>
                    <a:pt x="f6" y="f8"/>
                  </a:lnTo>
                  <a:lnTo>
                    <a:pt x="f5" y="f7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000000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96" name="object 96">
              <a:extLst>
                <a:ext uri="{FF2B5EF4-FFF2-40B4-BE49-F238E27FC236}">
                  <a16:creationId xmlns:a16="http://schemas.microsoft.com/office/drawing/2014/main" id="{AB901195-6A8D-4DD6-E9D4-3455557F6D81}"/>
                </a:ext>
              </a:extLst>
            </p:cNvPr>
            <p:cNvSpPr/>
            <p:nvPr/>
          </p:nvSpPr>
          <p:spPr>
            <a:xfrm>
              <a:off x="5316294" y="3758622"/>
              <a:ext cx="187909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187912"/>
                <a:gd name="f5" fmla="val 187865"/>
                <a:gd name="f6" fmla="abs f0"/>
                <a:gd name="f7" fmla="abs f1"/>
                <a:gd name="f8" fmla="abs f2"/>
                <a:gd name="f9" fmla="*/ f0 1 18791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187912"/>
                <a:gd name="f16" fmla="*/ f10 1 0"/>
                <a:gd name="f17" fmla="*/ f12 1 187912"/>
                <a:gd name="f18" fmla="*/ f13 1 21600"/>
                <a:gd name="f19" fmla="*/ 21600 f13 1"/>
                <a:gd name="f20" fmla="*/ 0 1 f15"/>
                <a:gd name="f21" fmla="*/ 18791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18791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9857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</p:grpSp>
      <p:pic>
        <p:nvPicPr>
          <p:cNvPr id="97" name="object 97">
            <a:extLst>
              <a:ext uri="{FF2B5EF4-FFF2-40B4-BE49-F238E27FC236}">
                <a16:creationId xmlns:a16="http://schemas.microsoft.com/office/drawing/2014/main" id="{CC1BEC0B-B38E-65A1-EE8B-862BA8116FD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887446" y="5333622"/>
            <a:ext cx="688296" cy="11810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8" name="object 98">
            <a:extLst>
              <a:ext uri="{FF2B5EF4-FFF2-40B4-BE49-F238E27FC236}">
                <a16:creationId xmlns:a16="http://schemas.microsoft.com/office/drawing/2014/main" id="{2720EF6D-D040-1B08-C58E-2E7A2BC171BF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754657" y="5333622"/>
            <a:ext cx="684803" cy="11810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9" name="object 99">
            <a:extLst>
              <a:ext uri="{FF2B5EF4-FFF2-40B4-BE49-F238E27FC236}">
                <a16:creationId xmlns:a16="http://schemas.microsoft.com/office/drawing/2014/main" id="{96381272-CA21-5EF9-66AC-9D68ACEF4502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811353" y="5333622"/>
            <a:ext cx="684803" cy="11810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0" name="object 100">
            <a:extLst>
              <a:ext uri="{FF2B5EF4-FFF2-40B4-BE49-F238E27FC236}">
                <a16:creationId xmlns:a16="http://schemas.microsoft.com/office/drawing/2014/main" id="{34B51163-CE06-A8BE-B56D-8D72EA1B7EB8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934038" y="5333622"/>
            <a:ext cx="684812" cy="11810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1" name="object 101">
            <a:extLst>
              <a:ext uri="{FF2B5EF4-FFF2-40B4-BE49-F238E27FC236}">
                <a16:creationId xmlns:a16="http://schemas.microsoft.com/office/drawing/2014/main" id="{3974ADF9-9D94-2E80-4B5A-6A90432E5523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873617" y="5333622"/>
            <a:ext cx="684803" cy="11810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2" name="object 102">
            <a:extLst>
              <a:ext uri="{FF2B5EF4-FFF2-40B4-BE49-F238E27FC236}">
                <a16:creationId xmlns:a16="http://schemas.microsoft.com/office/drawing/2014/main" id="{4E544AC8-D78C-EAE6-2663-BB2087F1D20C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698949" y="5333622"/>
            <a:ext cx="684803" cy="11810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3" name="object 103">
            <a:extLst>
              <a:ext uri="{FF2B5EF4-FFF2-40B4-BE49-F238E27FC236}">
                <a16:creationId xmlns:a16="http://schemas.microsoft.com/office/drawing/2014/main" id="{7B50A482-41F9-9D87-9865-7E341BB5C078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0664976" y="5333622"/>
            <a:ext cx="828135" cy="118102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04" name="object 104">
            <a:extLst>
              <a:ext uri="{FF2B5EF4-FFF2-40B4-BE49-F238E27FC236}">
                <a16:creationId xmlns:a16="http://schemas.microsoft.com/office/drawing/2014/main" id="{A42E56DC-D720-C9BC-057A-EC184591BE28}"/>
              </a:ext>
            </a:extLst>
          </p:cNvPr>
          <p:cNvSpPr/>
          <p:nvPr/>
        </p:nvSpPr>
        <p:spPr>
          <a:xfrm>
            <a:off x="5262426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pic>
        <p:nvPicPr>
          <p:cNvPr id="105" name="object 105">
            <a:extLst>
              <a:ext uri="{FF2B5EF4-FFF2-40B4-BE49-F238E27FC236}">
                <a16:creationId xmlns:a16="http://schemas.microsoft.com/office/drawing/2014/main" id="{AD7E8716-4008-B3BA-DF3B-A58C12783111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975893" y="5333622"/>
            <a:ext cx="687793" cy="11810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6" name="object 106">
            <a:extLst>
              <a:ext uri="{FF2B5EF4-FFF2-40B4-BE49-F238E27FC236}">
                <a16:creationId xmlns:a16="http://schemas.microsoft.com/office/drawing/2014/main" id="{894734B9-B316-9743-B4D5-B33A4BC1B243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3023719" y="5333622"/>
            <a:ext cx="684803" cy="11810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7" name="object 107">
            <a:extLst>
              <a:ext uri="{FF2B5EF4-FFF2-40B4-BE49-F238E27FC236}">
                <a16:creationId xmlns:a16="http://schemas.microsoft.com/office/drawing/2014/main" id="{63A83B9E-3F30-C456-7F12-5810873E462B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2063654" y="5333622"/>
            <a:ext cx="684812" cy="118102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08" name="object 108">
            <a:extLst>
              <a:ext uri="{FF2B5EF4-FFF2-40B4-BE49-F238E27FC236}">
                <a16:creationId xmlns:a16="http://schemas.microsoft.com/office/drawing/2014/main" id="{E0018A52-85B4-9A72-86A8-835A7264B2AE}"/>
              </a:ext>
            </a:extLst>
          </p:cNvPr>
          <p:cNvSpPr/>
          <p:nvPr/>
        </p:nvSpPr>
        <p:spPr>
          <a:xfrm>
            <a:off x="6218642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09" name="object 109">
            <a:extLst>
              <a:ext uri="{FF2B5EF4-FFF2-40B4-BE49-F238E27FC236}">
                <a16:creationId xmlns:a16="http://schemas.microsoft.com/office/drawing/2014/main" id="{EEDB4BC5-5FBE-F6B4-56EF-F9BA13BFC3BF}"/>
              </a:ext>
            </a:extLst>
          </p:cNvPr>
          <p:cNvSpPr/>
          <p:nvPr/>
        </p:nvSpPr>
        <p:spPr>
          <a:xfrm>
            <a:off x="7174629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0" name="object 110">
            <a:extLst>
              <a:ext uri="{FF2B5EF4-FFF2-40B4-BE49-F238E27FC236}">
                <a16:creationId xmlns:a16="http://schemas.microsoft.com/office/drawing/2014/main" id="{D8B1B265-4CC1-C07A-4D9A-A98038DEA530}"/>
              </a:ext>
            </a:extLst>
          </p:cNvPr>
          <p:cNvSpPr/>
          <p:nvPr/>
        </p:nvSpPr>
        <p:spPr>
          <a:xfrm>
            <a:off x="8130625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1" name="object 111">
            <a:extLst>
              <a:ext uri="{FF2B5EF4-FFF2-40B4-BE49-F238E27FC236}">
                <a16:creationId xmlns:a16="http://schemas.microsoft.com/office/drawing/2014/main" id="{ABADBA13-F2ED-2A82-AC3E-8A86794E818A}"/>
              </a:ext>
            </a:extLst>
          </p:cNvPr>
          <p:cNvSpPr/>
          <p:nvPr/>
        </p:nvSpPr>
        <p:spPr>
          <a:xfrm>
            <a:off x="9086374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2" name="object 112">
            <a:extLst>
              <a:ext uri="{FF2B5EF4-FFF2-40B4-BE49-F238E27FC236}">
                <a16:creationId xmlns:a16="http://schemas.microsoft.com/office/drawing/2014/main" id="{643CCC0D-A615-4AFA-D4C6-13808CCD32EE}"/>
              </a:ext>
            </a:extLst>
          </p:cNvPr>
          <p:cNvSpPr/>
          <p:nvPr/>
        </p:nvSpPr>
        <p:spPr>
          <a:xfrm>
            <a:off x="10042599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3" name="object 113">
            <a:extLst>
              <a:ext uri="{FF2B5EF4-FFF2-40B4-BE49-F238E27FC236}">
                <a16:creationId xmlns:a16="http://schemas.microsoft.com/office/drawing/2014/main" id="{F32442E7-F1BC-8469-CB14-455541471087}"/>
              </a:ext>
            </a:extLst>
          </p:cNvPr>
          <p:cNvSpPr/>
          <p:nvPr/>
        </p:nvSpPr>
        <p:spPr>
          <a:xfrm>
            <a:off x="10998586" y="4824100"/>
            <a:ext cx="0" cy="45436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8"/>
              <a:gd name="f6" fmla="abs f0"/>
              <a:gd name="f7" fmla="abs f1"/>
              <a:gd name="f8" fmla="abs f2"/>
              <a:gd name="f9" fmla="*/ f1 1 45438"/>
              <a:gd name="f10" fmla="+- f4 0 f3"/>
              <a:gd name="f11" fmla="+- f3 0 f3"/>
              <a:gd name="f12" fmla="?: f6 f0 1"/>
              <a:gd name="f13" fmla="?: f7 f1 1"/>
              <a:gd name="f14" fmla="?: f8 f2 1"/>
              <a:gd name="f15" fmla="*/ f11 1 0"/>
              <a:gd name="f16" fmla="*/ f10 1 45438"/>
              <a:gd name="f17" fmla="*/ f12 1 21600"/>
              <a:gd name="f18" fmla="*/ f13 1 45438"/>
              <a:gd name="f19" fmla="*/ 21600 f12 1"/>
              <a:gd name="f20" fmla="*/ 0 1 f15"/>
              <a:gd name="f21" fmla="*/ 1 1 f15"/>
              <a:gd name="f22" fmla="*/ 0 1 f16"/>
              <a:gd name="f23" fmla="*/ 45438 1 f16"/>
              <a:gd name="f24" fmla="min f18 f17"/>
              <a:gd name="f25" fmla="*/ f19 1 f14"/>
              <a:gd name="f26" fmla="*/ f23 f9 1"/>
              <a:gd name="f27" fmla="*/ f22 f9 1"/>
              <a:gd name="f28" fmla="val f25"/>
              <a:gd name="f29" fmla="*/ f3 f24 1"/>
              <a:gd name="f30" fmla="+- f28 0 f3"/>
              <a:gd name="f31" fmla="*/ f30 1 0"/>
              <a:gd name="f32" fmla="*/ f20 f31 1"/>
              <a:gd name="f33" fmla="*/ f21 f31 1"/>
              <a:gd name="f34" fmla="*/ f32 f24 1"/>
              <a:gd name="f35" fmla="*/ f33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34" t="f27" r="f35" b="f26"/>
            <a:pathLst>
              <a:path h="45438">
                <a:moveTo>
                  <a:pt x="f29" y="f3"/>
                </a:moveTo>
                <a:lnTo>
                  <a:pt x="f29" y="f5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4" name="object 114">
            <a:extLst>
              <a:ext uri="{FF2B5EF4-FFF2-40B4-BE49-F238E27FC236}">
                <a16:creationId xmlns:a16="http://schemas.microsoft.com/office/drawing/2014/main" id="{EC1A19D5-4EED-7AC6-2DDB-97A27B7DD97E}"/>
              </a:ext>
            </a:extLst>
          </p:cNvPr>
          <p:cNvSpPr/>
          <p:nvPr/>
        </p:nvSpPr>
        <p:spPr>
          <a:xfrm>
            <a:off x="681758" y="1968840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5" name="object 115">
            <a:extLst>
              <a:ext uri="{FF2B5EF4-FFF2-40B4-BE49-F238E27FC236}">
                <a16:creationId xmlns:a16="http://schemas.microsoft.com/office/drawing/2014/main" id="{93727032-1EDC-EDD4-95CA-A855B897E30E}"/>
              </a:ext>
            </a:extLst>
          </p:cNvPr>
          <p:cNvSpPr/>
          <p:nvPr/>
        </p:nvSpPr>
        <p:spPr>
          <a:xfrm>
            <a:off x="681758" y="2131548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6" name="object 116">
            <a:extLst>
              <a:ext uri="{FF2B5EF4-FFF2-40B4-BE49-F238E27FC236}">
                <a16:creationId xmlns:a16="http://schemas.microsoft.com/office/drawing/2014/main" id="{25080A45-896F-4DD4-F36E-F0BA1E262441}"/>
              </a:ext>
            </a:extLst>
          </p:cNvPr>
          <p:cNvSpPr/>
          <p:nvPr/>
        </p:nvSpPr>
        <p:spPr>
          <a:xfrm>
            <a:off x="681758" y="2456965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7" name="object 117">
            <a:extLst>
              <a:ext uri="{FF2B5EF4-FFF2-40B4-BE49-F238E27FC236}">
                <a16:creationId xmlns:a16="http://schemas.microsoft.com/office/drawing/2014/main" id="{BB59277C-0425-39D9-4ED1-F5B51508D731}"/>
              </a:ext>
            </a:extLst>
          </p:cNvPr>
          <p:cNvSpPr/>
          <p:nvPr/>
        </p:nvSpPr>
        <p:spPr>
          <a:xfrm>
            <a:off x="681758" y="2619673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8" name="object 118">
            <a:extLst>
              <a:ext uri="{FF2B5EF4-FFF2-40B4-BE49-F238E27FC236}">
                <a16:creationId xmlns:a16="http://schemas.microsoft.com/office/drawing/2014/main" id="{2C56B3DB-8DA5-D735-67A3-B88D42EB1D00}"/>
              </a:ext>
            </a:extLst>
          </p:cNvPr>
          <p:cNvSpPr/>
          <p:nvPr/>
        </p:nvSpPr>
        <p:spPr>
          <a:xfrm>
            <a:off x="681758" y="2782382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19" name="object 119">
            <a:extLst>
              <a:ext uri="{FF2B5EF4-FFF2-40B4-BE49-F238E27FC236}">
                <a16:creationId xmlns:a16="http://schemas.microsoft.com/office/drawing/2014/main" id="{3CA6472C-AE4F-ED16-D7AD-F2145D0E4589}"/>
              </a:ext>
            </a:extLst>
          </p:cNvPr>
          <p:cNvSpPr/>
          <p:nvPr/>
        </p:nvSpPr>
        <p:spPr>
          <a:xfrm>
            <a:off x="681758" y="2945090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0" name="object 120">
            <a:extLst>
              <a:ext uri="{FF2B5EF4-FFF2-40B4-BE49-F238E27FC236}">
                <a16:creationId xmlns:a16="http://schemas.microsoft.com/office/drawing/2014/main" id="{32BCD262-92BA-B70A-7726-AA21A37C09E9}"/>
              </a:ext>
            </a:extLst>
          </p:cNvPr>
          <p:cNvSpPr/>
          <p:nvPr/>
        </p:nvSpPr>
        <p:spPr>
          <a:xfrm>
            <a:off x="681758" y="3270507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1" name="object 121">
            <a:extLst>
              <a:ext uri="{FF2B5EF4-FFF2-40B4-BE49-F238E27FC236}">
                <a16:creationId xmlns:a16="http://schemas.microsoft.com/office/drawing/2014/main" id="{BE43B70D-DF22-A1A8-4207-7F3F094FC40E}"/>
              </a:ext>
            </a:extLst>
          </p:cNvPr>
          <p:cNvSpPr/>
          <p:nvPr/>
        </p:nvSpPr>
        <p:spPr>
          <a:xfrm>
            <a:off x="681758" y="3433215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2" name="object 122">
            <a:extLst>
              <a:ext uri="{FF2B5EF4-FFF2-40B4-BE49-F238E27FC236}">
                <a16:creationId xmlns:a16="http://schemas.microsoft.com/office/drawing/2014/main" id="{F7BC0F46-B332-B1A7-A6BE-875AE01D6395}"/>
              </a:ext>
            </a:extLst>
          </p:cNvPr>
          <p:cNvSpPr/>
          <p:nvPr/>
        </p:nvSpPr>
        <p:spPr>
          <a:xfrm>
            <a:off x="681758" y="3595914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3" name="object 123">
            <a:extLst>
              <a:ext uri="{FF2B5EF4-FFF2-40B4-BE49-F238E27FC236}">
                <a16:creationId xmlns:a16="http://schemas.microsoft.com/office/drawing/2014/main" id="{A8E3F7E3-F6FA-9686-B074-B85CC01C27FE}"/>
              </a:ext>
            </a:extLst>
          </p:cNvPr>
          <p:cNvSpPr/>
          <p:nvPr/>
        </p:nvSpPr>
        <p:spPr>
          <a:xfrm>
            <a:off x="681758" y="3758622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4" name="object 124">
            <a:extLst>
              <a:ext uri="{FF2B5EF4-FFF2-40B4-BE49-F238E27FC236}">
                <a16:creationId xmlns:a16="http://schemas.microsoft.com/office/drawing/2014/main" id="{1BB022A1-5FD1-A1A6-30EE-4818BA62CD35}"/>
              </a:ext>
            </a:extLst>
          </p:cNvPr>
          <p:cNvSpPr/>
          <p:nvPr/>
        </p:nvSpPr>
        <p:spPr>
          <a:xfrm>
            <a:off x="681758" y="4084039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5" name="object 125">
            <a:extLst>
              <a:ext uri="{FF2B5EF4-FFF2-40B4-BE49-F238E27FC236}">
                <a16:creationId xmlns:a16="http://schemas.microsoft.com/office/drawing/2014/main" id="{F1E88438-CA8D-2E6A-BCAC-DB6FB537DFDB}"/>
              </a:ext>
            </a:extLst>
          </p:cNvPr>
          <p:cNvSpPr/>
          <p:nvPr/>
        </p:nvSpPr>
        <p:spPr>
          <a:xfrm>
            <a:off x="681758" y="4246747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6" name="object 126">
            <a:extLst>
              <a:ext uri="{FF2B5EF4-FFF2-40B4-BE49-F238E27FC236}">
                <a16:creationId xmlns:a16="http://schemas.microsoft.com/office/drawing/2014/main" id="{03661205-4690-D915-CC31-4EDAFF460A27}"/>
              </a:ext>
            </a:extLst>
          </p:cNvPr>
          <p:cNvSpPr/>
          <p:nvPr/>
        </p:nvSpPr>
        <p:spPr>
          <a:xfrm>
            <a:off x="681758" y="4409456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7" name="object 127">
            <a:extLst>
              <a:ext uri="{FF2B5EF4-FFF2-40B4-BE49-F238E27FC236}">
                <a16:creationId xmlns:a16="http://schemas.microsoft.com/office/drawing/2014/main" id="{F5DC8B3B-8243-62B4-F86E-0C71D3CAB3AF}"/>
              </a:ext>
            </a:extLst>
          </p:cNvPr>
          <p:cNvSpPr/>
          <p:nvPr/>
        </p:nvSpPr>
        <p:spPr>
          <a:xfrm>
            <a:off x="681758" y="4572164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8" name="object 128">
            <a:extLst>
              <a:ext uri="{FF2B5EF4-FFF2-40B4-BE49-F238E27FC236}">
                <a16:creationId xmlns:a16="http://schemas.microsoft.com/office/drawing/2014/main" id="{D748F215-33C4-05AA-00C9-5AF179D77398}"/>
              </a:ext>
            </a:extLst>
          </p:cNvPr>
          <p:cNvSpPr/>
          <p:nvPr/>
        </p:nvSpPr>
        <p:spPr>
          <a:xfrm>
            <a:off x="681758" y="4734872"/>
            <a:ext cx="45436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45438"/>
              <a:gd name="f5" fmla="val 45177"/>
              <a:gd name="f6" fmla="abs f0"/>
              <a:gd name="f7" fmla="abs f1"/>
              <a:gd name="f8" fmla="abs f2"/>
              <a:gd name="f9" fmla="*/ f0 1 45438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45438"/>
              <a:gd name="f16" fmla="*/ f10 1 0"/>
              <a:gd name="f17" fmla="*/ f12 1 45438"/>
              <a:gd name="f18" fmla="*/ f13 1 21600"/>
              <a:gd name="f19" fmla="*/ 21600 f13 1"/>
              <a:gd name="f20" fmla="*/ 0 1 f15"/>
              <a:gd name="f21" fmla="*/ 45438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45438">
                <a:moveTo>
                  <a:pt x="f5" y="f29"/>
                </a:moveTo>
                <a:lnTo>
                  <a:pt x="f3" y="f29"/>
                </a:lnTo>
              </a:path>
            </a:pathLst>
          </a:custGeom>
          <a:noFill/>
          <a:ln w="16431" cap="flat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129" name="object 130">
            <a:extLst>
              <a:ext uri="{FF2B5EF4-FFF2-40B4-BE49-F238E27FC236}">
                <a16:creationId xmlns:a16="http://schemas.microsoft.com/office/drawing/2014/main" id="{94C70EEB-DFDC-D372-AA85-D500E213BD8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7886" y="785826"/>
            <a:ext cx="8406481" cy="275466"/>
          </a:xfrm>
        </p:spPr>
        <p:txBody>
          <a:bodyPr tIns="30422">
            <a:spAutoFit/>
          </a:bodyPr>
          <a:lstStyle/>
          <a:p>
            <a:pPr marL="7699" marR="3081" lvl="0">
              <a:lnSpc>
                <a:spcPts val="1650"/>
              </a:lnSpc>
              <a:spcBef>
                <a:spcPts val="240"/>
              </a:spcBef>
            </a:pPr>
            <a:r>
              <a:rPr lang="en-US" sz="2400" b="1" dirty="0">
                <a:latin typeface="VeluxForOffice"/>
              </a:rPr>
              <a:t>Optimization</a:t>
            </a:r>
            <a:r>
              <a:rPr lang="en-US" sz="2400" b="1" spc="3" dirty="0">
                <a:latin typeface="VeluxForOffice"/>
              </a:rPr>
              <a:t> </a:t>
            </a:r>
            <a:r>
              <a:rPr lang="en-US" sz="2400" b="1" spc="-15" dirty="0">
                <a:latin typeface="VeluxForOffice"/>
              </a:rPr>
              <a:t>on </a:t>
            </a:r>
            <a:r>
              <a:rPr lang="en-US" sz="2400" b="1" dirty="0">
                <a:latin typeface="VeluxForOffice"/>
              </a:rPr>
              <a:t>each</a:t>
            </a:r>
            <a:r>
              <a:rPr lang="en-US" sz="2400" b="1" spc="-12" dirty="0">
                <a:latin typeface="VeluxForOffice"/>
              </a:rPr>
              <a:t> </a:t>
            </a:r>
            <a:r>
              <a:rPr lang="en-US" sz="2400" b="1" spc="-6" dirty="0">
                <a:latin typeface="VeluxForOffice"/>
              </a:rPr>
              <a:t>component</a:t>
            </a:r>
          </a:p>
        </p:txBody>
      </p:sp>
      <p:sp>
        <p:nvSpPr>
          <p:cNvPr id="130" name="object 131">
            <a:extLst>
              <a:ext uri="{FF2B5EF4-FFF2-40B4-BE49-F238E27FC236}">
                <a16:creationId xmlns:a16="http://schemas.microsoft.com/office/drawing/2014/main" id="{EC95EDBA-67E9-B324-2C4B-F001D8AEF5EF}"/>
              </a:ext>
            </a:extLst>
          </p:cNvPr>
          <p:cNvSpPr txBox="1"/>
          <p:nvPr/>
        </p:nvSpPr>
        <p:spPr>
          <a:xfrm>
            <a:off x="2153585" y="4931139"/>
            <a:ext cx="520220" cy="2285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0" compatLnSpc="1">
            <a:spAutoFit/>
          </a:bodyPr>
          <a:lstStyle/>
          <a:p>
            <a:pPr marL="7699" marR="3081" lvl="0" indent="13094" algn="l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TERRAIN </a:t>
            </a:r>
            <a:r>
              <a:rPr lang="en-US" sz="788" b="1" i="0" u="none" strike="noStrike" kern="1200" cap="none" spc="0" baseline="0">
                <a:solidFill>
                  <a:srgbClr val="000000"/>
                </a:solidFill>
                <a:uFillTx/>
                <a:latin typeface="Arial"/>
                <a:cs typeface="Arial"/>
              </a:rPr>
              <a:t>BUILD</a:t>
            </a:r>
            <a:r>
              <a:rPr lang="en-US" sz="788" b="1" i="0" u="none" strike="noStrike" kern="1200" cap="none" spc="161" baseline="0">
                <a:solidFill>
                  <a:srgbClr val="000000"/>
                </a:solidFill>
                <a:uFillTx/>
                <a:latin typeface="Arial"/>
                <a:cs typeface="Arial"/>
              </a:rPr>
              <a:t> </a:t>
            </a:r>
            <a:r>
              <a:rPr lang="en-US" sz="788" b="1" i="0" u="none" strike="noStrike" kern="1200" cap="none" spc="15" baseline="0">
                <a:solidFill>
                  <a:srgbClr val="000000"/>
                </a:solidFill>
                <a:uFillTx/>
                <a:latin typeface="Arial"/>
                <a:cs typeface="Arial"/>
              </a:rPr>
              <a:t>UP</a:t>
            </a:r>
            <a:endParaRPr lang="en-US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31" name="object 132">
            <a:extLst>
              <a:ext uri="{FF2B5EF4-FFF2-40B4-BE49-F238E27FC236}">
                <a16:creationId xmlns:a16="http://schemas.microsoft.com/office/drawing/2014/main" id="{05B61030-73A6-A8AC-B2B8-0ABA65E367A5}"/>
              </a:ext>
            </a:extLst>
          </p:cNvPr>
          <p:cNvSpPr txBox="1"/>
          <p:nvPr/>
        </p:nvSpPr>
        <p:spPr>
          <a:xfrm>
            <a:off x="5022671" y="4931139"/>
            <a:ext cx="509055" cy="2285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0" compatLnSpc="1">
            <a:spAutoFit/>
          </a:bodyPr>
          <a:lstStyle/>
          <a:p>
            <a:pPr marL="7699" marR="3081" lvl="0" indent="13862" algn="l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WINDOW </a:t>
            </a:r>
            <a:r>
              <a:rPr lang="en-US" sz="788" b="1" i="0" u="none" strike="noStrike" kern="1200" cap="none" spc="0" baseline="0">
                <a:solidFill>
                  <a:srgbClr val="000000"/>
                </a:solidFill>
                <a:uFillTx/>
                <a:latin typeface="Arial"/>
                <a:cs typeface="Arial"/>
              </a:rPr>
              <a:t>&amp;</a:t>
            </a:r>
            <a:r>
              <a:rPr lang="en-US" sz="788" b="1" i="0" u="none" strike="noStrike" kern="1200" cap="none" spc="18" baseline="0">
                <a:solidFill>
                  <a:srgbClr val="000000"/>
                </a:solidFill>
                <a:uFillTx/>
                <a:latin typeface="Arial"/>
                <a:cs typeface="Arial"/>
              </a:rPr>
              <a:t> </a:t>
            </a:r>
            <a:r>
              <a:rPr lang="en-US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DOORS</a:t>
            </a:r>
            <a:endParaRPr lang="en-US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32" name="object 133">
            <a:extLst>
              <a:ext uri="{FF2B5EF4-FFF2-40B4-BE49-F238E27FC236}">
                <a16:creationId xmlns:a16="http://schemas.microsoft.com/office/drawing/2014/main" id="{DBDE446F-3194-AC3C-E1DC-A2793E89919A}"/>
              </a:ext>
            </a:extLst>
          </p:cNvPr>
          <p:cNvSpPr txBox="1"/>
          <p:nvPr/>
        </p:nvSpPr>
        <p:spPr>
          <a:xfrm>
            <a:off x="7013786" y="4931139"/>
            <a:ext cx="349639" cy="2285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0" compatLnSpc="1">
            <a:spAutoFit/>
          </a:bodyPr>
          <a:lstStyle/>
          <a:p>
            <a:pPr marL="24259" marR="3081" lvl="0" indent="-16943" algn="l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INNER </a:t>
            </a:r>
            <a:r>
              <a:rPr lang="en-US" sz="788" b="1" i="0" u="none" strike="noStrike" kern="1200" cap="none" spc="-12" baseline="0">
                <a:solidFill>
                  <a:srgbClr val="000000"/>
                </a:solidFill>
                <a:uFillTx/>
                <a:latin typeface="Arial"/>
                <a:cs typeface="Arial"/>
              </a:rPr>
              <a:t>WALL</a:t>
            </a:r>
            <a:endParaRPr lang="en-US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33" name="object 134">
            <a:extLst>
              <a:ext uri="{FF2B5EF4-FFF2-40B4-BE49-F238E27FC236}">
                <a16:creationId xmlns:a16="http://schemas.microsoft.com/office/drawing/2014/main" id="{7FDDDE0A-750A-967A-784A-A4B1ED6DA4AF}"/>
              </a:ext>
            </a:extLst>
          </p:cNvPr>
          <p:cNvSpPr txBox="1"/>
          <p:nvPr/>
        </p:nvSpPr>
        <p:spPr>
          <a:xfrm>
            <a:off x="8878019" y="4931139"/>
            <a:ext cx="441280" cy="2285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0" compatLnSpc="1">
            <a:spAutoFit/>
          </a:bodyPr>
          <a:lstStyle/>
          <a:p>
            <a:pPr marL="7699" marR="3081" lvl="0" indent="26188" algn="l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SOLAR </a:t>
            </a:r>
            <a:r>
              <a:rPr lang="en-US" sz="788" b="1" i="0" u="none" strike="noStrike" kern="1200" cap="none" spc="-6" baseline="0">
                <a:solidFill>
                  <a:srgbClr val="000000"/>
                </a:solidFill>
                <a:uFillTx/>
                <a:latin typeface="Arial"/>
                <a:cs typeface="Arial"/>
              </a:rPr>
              <a:t>PANELS</a:t>
            </a:r>
            <a:endParaRPr lang="en-US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34" name="object 135">
            <a:extLst>
              <a:ext uri="{FF2B5EF4-FFF2-40B4-BE49-F238E27FC236}">
                <a16:creationId xmlns:a16="http://schemas.microsoft.com/office/drawing/2014/main" id="{663170C9-9113-42DE-9DBC-FD4BC290377D}"/>
              </a:ext>
            </a:extLst>
          </p:cNvPr>
          <p:cNvSpPr txBox="1"/>
          <p:nvPr/>
        </p:nvSpPr>
        <p:spPr>
          <a:xfrm>
            <a:off x="9791952" y="4931139"/>
            <a:ext cx="525615" cy="2285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0" compatLnSpc="1">
            <a:spAutoFit/>
          </a:bodyPr>
          <a:lstStyle/>
          <a:p>
            <a:pPr marL="7699" marR="3081" lvl="0" indent="82405" algn="l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LEVEL </a:t>
            </a:r>
            <a:r>
              <a:rPr lang="en-US" sz="788" b="1" i="0" u="none" strike="noStrike" kern="1200" cap="none" spc="0" baseline="0">
                <a:solidFill>
                  <a:srgbClr val="000000"/>
                </a:solidFill>
                <a:uFillTx/>
                <a:latin typeface="Arial"/>
                <a:cs typeface="Arial"/>
              </a:rPr>
              <a:t>BUILD-</a:t>
            </a:r>
            <a:r>
              <a:rPr lang="en-US" sz="788" b="1" i="0" u="none" strike="noStrike" kern="1200" cap="none" spc="15" baseline="0">
                <a:solidFill>
                  <a:srgbClr val="000000"/>
                </a:solidFill>
                <a:uFillTx/>
                <a:latin typeface="Arial"/>
                <a:cs typeface="Arial"/>
              </a:rPr>
              <a:t>UP</a:t>
            </a:r>
            <a:endParaRPr lang="en-US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35" name="object 136">
            <a:extLst>
              <a:ext uri="{FF2B5EF4-FFF2-40B4-BE49-F238E27FC236}">
                <a16:creationId xmlns:a16="http://schemas.microsoft.com/office/drawing/2014/main" id="{93548F59-133B-D5FB-D21F-E7CB622FB946}"/>
              </a:ext>
            </a:extLst>
          </p:cNvPr>
          <p:cNvSpPr txBox="1"/>
          <p:nvPr/>
        </p:nvSpPr>
        <p:spPr>
          <a:xfrm>
            <a:off x="10755657" y="4931139"/>
            <a:ext cx="507126" cy="24016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9244" rIns="0" bIns="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ts val="895"/>
              </a:lnSpc>
              <a:spcBef>
                <a:spcPts val="7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i="0" u="none" strike="noStrike" kern="1200" cap="none" spc="-12" baseline="0">
                <a:solidFill>
                  <a:srgbClr val="000000"/>
                </a:solidFill>
                <a:uFillTx/>
                <a:latin typeface="Arial"/>
                <a:cs typeface="Arial"/>
              </a:rPr>
              <a:t>INT.</a:t>
            </a:r>
            <a:endParaRPr lang="en-US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  <a:p>
            <a:pPr marL="0" marR="0" lvl="0" indent="0" algn="ctr" defTabSz="914400" rtl="0" fontAlgn="auto" hangingPunct="1">
              <a:lnSpc>
                <a:spcPts val="895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FITTINGS</a:t>
            </a:r>
            <a:endParaRPr lang="en-US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36" name="object 137">
            <a:extLst>
              <a:ext uri="{FF2B5EF4-FFF2-40B4-BE49-F238E27FC236}">
                <a16:creationId xmlns:a16="http://schemas.microsoft.com/office/drawing/2014/main" id="{050B2E85-CC70-DF1A-207D-DD243A1C91A1}"/>
              </a:ext>
            </a:extLst>
          </p:cNvPr>
          <p:cNvSpPr txBox="1"/>
          <p:nvPr/>
        </p:nvSpPr>
        <p:spPr>
          <a:xfrm>
            <a:off x="1199400" y="2100038"/>
            <a:ext cx="491343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0" baseline="0">
                <a:solidFill>
                  <a:srgbClr val="000101"/>
                </a:solidFill>
                <a:uFillTx/>
                <a:latin typeface="Arial"/>
                <a:cs typeface="Arial"/>
              </a:rPr>
              <a:t>-</a:t>
            </a:r>
            <a:r>
              <a:rPr lang="en-DK" sz="1273" b="1" i="0" u="none" strike="noStrike" kern="1200" cap="none" spc="-12" baseline="0">
                <a:solidFill>
                  <a:srgbClr val="000101"/>
                </a:solidFill>
                <a:uFillTx/>
                <a:latin typeface="Arial"/>
                <a:cs typeface="Arial"/>
              </a:rPr>
              <a:t>100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37" name="object 138">
            <a:extLst>
              <a:ext uri="{FF2B5EF4-FFF2-40B4-BE49-F238E27FC236}">
                <a16:creationId xmlns:a16="http://schemas.microsoft.com/office/drawing/2014/main" id="{9A66956D-29AC-8EB0-7AB7-ED022C034AB6}"/>
              </a:ext>
            </a:extLst>
          </p:cNvPr>
          <p:cNvSpPr txBox="1"/>
          <p:nvPr/>
        </p:nvSpPr>
        <p:spPr>
          <a:xfrm>
            <a:off x="2176326" y="3085359"/>
            <a:ext cx="399693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0" baseline="0">
                <a:solidFill>
                  <a:srgbClr val="000101"/>
                </a:solidFill>
                <a:uFillTx/>
                <a:latin typeface="Arial"/>
                <a:cs typeface="Arial"/>
              </a:rPr>
              <a:t>-</a:t>
            </a:r>
            <a:r>
              <a:rPr lang="en-DK" sz="1273" b="1" i="0" u="none" strike="noStrike" kern="1200" cap="none" spc="-15" baseline="0">
                <a:solidFill>
                  <a:srgbClr val="000101"/>
                </a:solidFill>
                <a:uFillTx/>
                <a:latin typeface="Arial"/>
                <a:cs typeface="Arial"/>
              </a:rPr>
              <a:t>89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38" name="object 139">
            <a:extLst>
              <a:ext uri="{FF2B5EF4-FFF2-40B4-BE49-F238E27FC236}">
                <a16:creationId xmlns:a16="http://schemas.microsoft.com/office/drawing/2014/main" id="{FC722FA1-4678-3A70-1BEF-C4AC7D04CA93}"/>
              </a:ext>
            </a:extLst>
          </p:cNvPr>
          <p:cNvSpPr txBox="1"/>
          <p:nvPr/>
        </p:nvSpPr>
        <p:spPr>
          <a:xfrm>
            <a:off x="3170206" y="3395258"/>
            <a:ext cx="399693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0" baseline="0">
                <a:solidFill>
                  <a:srgbClr val="000101"/>
                </a:solidFill>
                <a:uFillTx/>
                <a:latin typeface="Arial"/>
                <a:cs typeface="Arial"/>
              </a:rPr>
              <a:t>-</a:t>
            </a:r>
            <a:r>
              <a:rPr lang="en-DK" sz="1273" b="1" i="0" u="none" strike="noStrike" kern="1200" cap="none" spc="-15" baseline="0">
                <a:solidFill>
                  <a:srgbClr val="000101"/>
                </a:solidFill>
                <a:uFillTx/>
                <a:latin typeface="Arial"/>
                <a:cs typeface="Arial"/>
              </a:rPr>
              <a:t>62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39" name="object 140">
            <a:extLst>
              <a:ext uri="{FF2B5EF4-FFF2-40B4-BE49-F238E27FC236}">
                <a16:creationId xmlns:a16="http://schemas.microsoft.com/office/drawing/2014/main" id="{5B329604-736E-E215-63DF-32899C6D2135}"/>
              </a:ext>
            </a:extLst>
          </p:cNvPr>
          <p:cNvSpPr txBox="1"/>
          <p:nvPr/>
        </p:nvSpPr>
        <p:spPr>
          <a:xfrm>
            <a:off x="4107640" y="3457629"/>
            <a:ext cx="399693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0" baseline="0">
                <a:solidFill>
                  <a:srgbClr val="000101"/>
                </a:solidFill>
                <a:uFillTx/>
                <a:latin typeface="Arial"/>
                <a:cs typeface="Arial"/>
              </a:rPr>
              <a:t>-</a:t>
            </a:r>
            <a:r>
              <a:rPr lang="en-DK" sz="1273" b="1" i="0" u="none" strike="noStrike" kern="1200" cap="none" spc="-15" baseline="0">
                <a:solidFill>
                  <a:srgbClr val="000101"/>
                </a:solidFill>
                <a:uFillTx/>
                <a:latin typeface="Arial"/>
                <a:cs typeface="Arial"/>
              </a:rPr>
              <a:t>92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40" name="object 141">
            <a:extLst>
              <a:ext uri="{FF2B5EF4-FFF2-40B4-BE49-F238E27FC236}">
                <a16:creationId xmlns:a16="http://schemas.microsoft.com/office/drawing/2014/main" id="{914AC608-53B0-C97E-366C-C07C38AC13FA}"/>
              </a:ext>
            </a:extLst>
          </p:cNvPr>
          <p:cNvSpPr txBox="1"/>
          <p:nvPr/>
        </p:nvSpPr>
        <p:spPr>
          <a:xfrm>
            <a:off x="5072716" y="3520001"/>
            <a:ext cx="399693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0" baseline="0">
                <a:solidFill>
                  <a:srgbClr val="000101"/>
                </a:solidFill>
                <a:uFillTx/>
                <a:latin typeface="Arial"/>
                <a:cs typeface="Arial"/>
              </a:rPr>
              <a:t>-</a:t>
            </a:r>
            <a:r>
              <a:rPr lang="en-DK" sz="1273" b="1" i="0" u="none" strike="noStrike" kern="1200" cap="none" spc="-15" baseline="0">
                <a:solidFill>
                  <a:srgbClr val="000101"/>
                </a:solidFill>
                <a:uFillTx/>
                <a:latin typeface="Arial"/>
                <a:cs typeface="Arial"/>
              </a:rPr>
              <a:t>48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41" name="object 142">
            <a:extLst>
              <a:ext uri="{FF2B5EF4-FFF2-40B4-BE49-F238E27FC236}">
                <a16:creationId xmlns:a16="http://schemas.microsoft.com/office/drawing/2014/main" id="{9F5FADFE-8589-A6BF-B26B-9413F7247CD5}"/>
              </a:ext>
            </a:extLst>
          </p:cNvPr>
          <p:cNvSpPr txBox="1"/>
          <p:nvPr/>
        </p:nvSpPr>
        <p:spPr>
          <a:xfrm>
            <a:off x="6031702" y="3604930"/>
            <a:ext cx="399693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0" baseline="0">
                <a:solidFill>
                  <a:srgbClr val="000101"/>
                </a:solidFill>
                <a:uFillTx/>
                <a:latin typeface="Arial"/>
                <a:cs typeface="Arial"/>
              </a:rPr>
              <a:t>-</a:t>
            </a:r>
            <a:r>
              <a:rPr lang="en-DK" sz="1273" b="1" i="0" u="none" strike="noStrike" kern="1200" cap="none" spc="-15" baseline="0">
                <a:solidFill>
                  <a:srgbClr val="000101"/>
                </a:solidFill>
                <a:uFillTx/>
                <a:latin typeface="Arial"/>
                <a:cs typeface="Arial"/>
              </a:rPr>
              <a:t>25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42" name="object 143">
            <a:extLst>
              <a:ext uri="{FF2B5EF4-FFF2-40B4-BE49-F238E27FC236}">
                <a16:creationId xmlns:a16="http://schemas.microsoft.com/office/drawing/2014/main" id="{6DBBA1E2-C5CF-9D95-2E2D-27DFD6D6FEC9}"/>
              </a:ext>
            </a:extLst>
          </p:cNvPr>
          <p:cNvSpPr txBox="1"/>
          <p:nvPr/>
        </p:nvSpPr>
        <p:spPr>
          <a:xfrm>
            <a:off x="6986902" y="4030355"/>
            <a:ext cx="399693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0" baseline="0">
                <a:solidFill>
                  <a:srgbClr val="000101"/>
                </a:solidFill>
                <a:uFillTx/>
                <a:latin typeface="Arial"/>
                <a:cs typeface="Arial"/>
              </a:rPr>
              <a:t>-</a:t>
            </a:r>
            <a:r>
              <a:rPr lang="en-DK" sz="1273" b="1" i="0" u="none" strike="noStrike" kern="1200" cap="none" spc="-15" baseline="0">
                <a:solidFill>
                  <a:srgbClr val="000101"/>
                </a:solidFill>
                <a:uFillTx/>
                <a:latin typeface="Arial"/>
                <a:cs typeface="Arial"/>
              </a:rPr>
              <a:t>81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43" name="object 144">
            <a:extLst>
              <a:ext uri="{FF2B5EF4-FFF2-40B4-BE49-F238E27FC236}">
                <a16:creationId xmlns:a16="http://schemas.microsoft.com/office/drawing/2014/main" id="{19CA30A0-4E39-6507-388C-C94354481F52}"/>
              </a:ext>
            </a:extLst>
          </p:cNvPr>
          <p:cNvSpPr txBox="1"/>
          <p:nvPr/>
        </p:nvSpPr>
        <p:spPr>
          <a:xfrm>
            <a:off x="7921374" y="3905768"/>
            <a:ext cx="441280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-12" baseline="0">
                <a:solidFill>
                  <a:srgbClr val="000101"/>
                </a:solidFill>
                <a:uFillTx/>
                <a:latin typeface="Arial"/>
                <a:cs typeface="Arial"/>
              </a:rPr>
              <a:t>+44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44" name="object 145">
            <a:extLst>
              <a:ext uri="{FF2B5EF4-FFF2-40B4-BE49-F238E27FC236}">
                <a16:creationId xmlns:a16="http://schemas.microsoft.com/office/drawing/2014/main" id="{C6168DC3-FD75-BF5E-3DA4-925C18C6FC6D}"/>
              </a:ext>
            </a:extLst>
          </p:cNvPr>
          <p:cNvSpPr txBox="1"/>
          <p:nvPr/>
        </p:nvSpPr>
        <p:spPr>
          <a:xfrm>
            <a:off x="8897148" y="4092735"/>
            <a:ext cx="399693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0" baseline="0">
                <a:solidFill>
                  <a:srgbClr val="000101"/>
                </a:solidFill>
                <a:uFillTx/>
                <a:latin typeface="Arial"/>
                <a:cs typeface="Arial"/>
              </a:rPr>
              <a:t>-</a:t>
            </a:r>
            <a:r>
              <a:rPr lang="en-DK" sz="1273" b="1" i="0" u="none" strike="noStrike" kern="1200" cap="none" spc="-15" baseline="0">
                <a:solidFill>
                  <a:srgbClr val="000101"/>
                </a:solidFill>
                <a:uFillTx/>
                <a:latin typeface="Arial"/>
                <a:cs typeface="Arial"/>
              </a:rPr>
              <a:t>72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45" name="object 146">
            <a:extLst>
              <a:ext uri="{FF2B5EF4-FFF2-40B4-BE49-F238E27FC236}">
                <a16:creationId xmlns:a16="http://schemas.microsoft.com/office/drawing/2014/main" id="{7D23EEC7-DE33-D354-00B3-6FF1D26ABFAF}"/>
              </a:ext>
            </a:extLst>
          </p:cNvPr>
          <p:cNvSpPr txBox="1"/>
          <p:nvPr/>
        </p:nvSpPr>
        <p:spPr>
          <a:xfrm>
            <a:off x="9745702" y="4341571"/>
            <a:ext cx="532546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-6" baseline="0">
                <a:solidFill>
                  <a:srgbClr val="000101"/>
                </a:solidFill>
                <a:uFillTx/>
                <a:latin typeface="Arial"/>
                <a:cs typeface="Arial"/>
              </a:rPr>
              <a:t>+100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46" name="object 147">
            <a:extLst>
              <a:ext uri="{FF2B5EF4-FFF2-40B4-BE49-F238E27FC236}">
                <a16:creationId xmlns:a16="http://schemas.microsoft.com/office/drawing/2014/main" id="{77F911EF-9DA1-6E04-77DF-430BBE317FEE}"/>
              </a:ext>
            </a:extLst>
          </p:cNvPr>
          <p:cNvSpPr txBox="1"/>
          <p:nvPr/>
        </p:nvSpPr>
        <p:spPr>
          <a:xfrm>
            <a:off x="10898889" y="4421718"/>
            <a:ext cx="216795" cy="20638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DK" sz="1273" b="1" i="0" u="none" strike="noStrike" kern="1200" cap="none" spc="0" baseline="0">
                <a:solidFill>
                  <a:srgbClr val="000101"/>
                </a:solidFill>
                <a:uFillTx/>
                <a:latin typeface="Arial"/>
                <a:cs typeface="Arial"/>
              </a:rPr>
              <a:t>-</a:t>
            </a:r>
            <a:r>
              <a:rPr lang="en-DK" sz="1273" b="1" i="0" u="none" strike="noStrike" kern="1200" cap="none" spc="-30" baseline="0">
                <a:solidFill>
                  <a:srgbClr val="000101"/>
                </a:solidFill>
                <a:uFillTx/>
                <a:latin typeface="Arial"/>
                <a:cs typeface="Arial"/>
              </a:rPr>
              <a:t>%</a:t>
            </a:r>
            <a:endParaRPr lang="en-DK" sz="1273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47" name="object 148">
            <a:extLst>
              <a:ext uri="{FF2B5EF4-FFF2-40B4-BE49-F238E27FC236}">
                <a16:creationId xmlns:a16="http://schemas.microsoft.com/office/drawing/2014/main" id="{3C41BE14-2D63-E2B1-B9A8-807461A6AA41}"/>
              </a:ext>
            </a:extLst>
          </p:cNvPr>
          <p:cNvSpPr txBox="1"/>
          <p:nvPr/>
        </p:nvSpPr>
        <p:spPr>
          <a:xfrm>
            <a:off x="609112" y="1303898"/>
            <a:ext cx="3534119" cy="33381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3081" lvl="0" indent="0" algn="l" defTabSz="914400" rtl="0" fontAlgn="auto" hangingPunct="1">
              <a:lnSpc>
                <a:spcPct val="103099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Diagram</a:t>
            </a:r>
            <a:r>
              <a:rPr lang="en-US" sz="1050" b="0" i="0" u="none" strike="noStrike" kern="1200" cap="none" spc="61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showing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the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comparison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between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each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element.</a:t>
            </a:r>
            <a:r>
              <a:rPr lang="en-US" sz="1050" b="0" i="0" u="none" strike="noStrike" kern="1200" cap="none" spc="49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This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shows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where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we</a:t>
            </a:r>
            <a:r>
              <a:rPr lang="en-US" sz="1050" b="0" i="0" u="none" strike="noStrike" kern="1200" cap="none" spc="64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-15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get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the</a:t>
            </a:r>
            <a:r>
              <a:rPr lang="en-US" sz="1050" b="0" i="0" u="none" strike="noStrike" kern="1200" cap="none" spc="45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biggest</a:t>
            </a:r>
            <a:r>
              <a:rPr lang="en-US" sz="1050" b="0" i="0" u="none" strike="noStrike" kern="1200" cap="none" spc="49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 </a:t>
            </a:r>
            <a:r>
              <a:rPr lang="en-US" sz="1050" b="0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  <a:cs typeface="Arial"/>
              </a:rPr>
              <a:t>savings.</a:t>
            </a:r>
            <a:endParaRPr lang="en-US" sz="105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Arial"/>
            </a:endParaRPr>
          </a:p>
        </p:txBody>
      </p:sp>
      <p:sp>
        <p:nvSpPr>
          <p:cNvPr id="148" name="object 131">
            <a:extLst>
              <a:ext uri="{FF2B5EF4-FFF2-40B4-BE49-F238E27FC236}">
                <a16:creationId xmlns:a16="http://schemas.microsoft.com/office/drawing/2014/main" id="{C858B051-88C8-F7E5-D2F1-0D5C6CDE22E4}"/>
              </a:ext>
            </a:extLst>
          </p:cNvPr>
          <p:cNvSpPr txBox="1"/>
          <p:nvPr/>
        </p:nvSpPr>
        <p:spPr>
          <a:xfrm>
            <a:off x="1073185" y="4930453"/>
            <a:ext cx="730569" cy="12592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0" compatLnSpc="1">
            <a:spAutoFit/>
          </a:bodyPr>
          <a:lstStyle/>
          <a:p>
            <a:pPr marL="7699" marR="3081" lvl="0" indent="13094" algn="l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OPERATIONS</a:t>
            </a:r>
            <a:endParaRPr lang="da-DK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49" name="object 131">
            <a:extLst>
              <a:ext uri="{FF2B5EF4-FFF2-40B4-BE49-F238E27FC236}">
                <a16:creationId xmlns:a16="http://schemas.microsoft.com/office/drawing/2014/main" id="{033FD2AD-F015-7C86-6585-DD19C7BF8A2F}"/>
              </a:ext>
            </a:extLst>
          </p:cNvPr>
          <p:cNvSpPr txBox="1"/>
          <p:nvPr/>
        </p:nvSpPr>
        <p:spPr>
          <a:xfrm>
            <a:off x="2943526" y="4934550"/>
            <a:ext cx="813834" cy="12592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0" compatLnSpc="1">
            <a:spAutoFit/>
          </a:bodyPr>
          <a:lstStyle/>
          <a:p>
            <a:pPr marL="7699" marR="3081" lvl="0" indent="13094" algn="l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OUTERWALLS</a:t>
            </a:r>
            <a:endParaRPr lang="da-DK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50" name="object 131">
            <a:extLst>
              <a:ext uri="{FF2B5EF4-FFF2-40B4-BE49-F238E27FC236}">
                <a16:creationId xmlns:a16="http://schemas.microsoft.com/office/drawing/2014/main" id="{89B35184-5027-263B-F338-63392DD88716}"/>
              </a:ext>
            </a:extLst>
          </p:cNvPr>
          <p:cNvSpPr txBox="1"/>
          <p:nvPr/>
        </p:nvSpPr>
        <p:spPr>
          <a:xfrm>
            <a:off x="3899513" y="4932986"/>
            <a:ext cx="813834" cy="12592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0" compatLnSpc="1">
            <a:spAutoFit/>
          </a:bodyPr>
          <a:lstStyle/>
          <a:p>
            <a:pPr marL="7699" marR="3081" lvl="0" indent="13094" algn="l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FOUNDATION</a:t>
            </a:r>
            <a:endParaRPr lang="da-DK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51" name="object 131">
            <a:extLst>
              <a:ext uri="{FF2B5EF4-FFF2-40B4-BE49-F238E27FC236}">
                <a16:creationId xmlns:a16="http://schemas.microsoft.com/office/drawing/2014/main" id="{F079E5FF-6935-BB04-A3E1-528141EBB239}"/>
              </a:ext>
            </a:extLst>
          </p:cNvPr>
          <p:cNvSpPr txBox="1"/>
          <p:nvPr/>
        </p:nvSpPr>
        <p:spPr>
          <a:xfrm>
            <a:off x="5811725" y="4921419"/>
            <a:ext cx="813834" cy="12592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1" compatLnSpc="1">
            <a:spAutoFit/>
          </a:bodyPr>
          <a:lstStyle/>
          <a:p>
            <a:pPr marL="7699" marR="3081" lvl="0" indent="13094" algn="ctr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ROOF</a:t>
            </a:r>
            <a:endParaRPr lang="da-DK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52" name="object 131">
            <a:extLst>
              <a:ext uri="{FF2B5EF4-FFF2-40B4-BE49-F238E27FC236}">
                <a16:creationId xmlns:a16="http://schemas.microsoft.com/office/drawing/2014/main" id="{46916A2E-19AD-26A1-979E-1FBAB660BF8B}"/>
              </a:ext>
            </a:extLst>
          </p:cNvPr>
          <p:cNvSpPr txBox="1"/>
          <p:nvPr/>
        </p:nvSpPr>
        <p:spPr>
          <a:xfrm>
            <a:off x="7723708" y="4921419"/>
            <a:ext cx="813834" cy="12592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3106" rIns="0" bIns="0" anchor="t" anchorCtr="0" compatLnSpc="1">
            <a:spAutoFit/>
          </a:bodyPr>
          <a:lstStyle/>
          <a:p>
            <a:pPr marL="7699" marR="3081" lvl="0" indent="13094" algn="l" defTabSz="914400" rtl="0" fontAlgn="auto" hangingPunct="1">
              <a:lnSpc>
                <a:spcPts val="850"/>
              </a:lnSpc>
              <a:spcBef>
                <a:spcPts val="1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88" b="1" i="0" u="none" strike="noStrike" kern="1200" cap="none" spc="24" baseline="0">
                <a:solidFill>
                  <a:srgbClr val="000000"/>
                </a:solidFill>
                <a:uFillTx/>
                <a:latin typeface="Arial"/>
                <a:cs typeface="Arial"/>
              </a:rPr>
              <a:t>INSTALATIONS</a:t>
            </a:r>
            <a:endParaRPr lang="da-DK" sz="78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154" name="object 2036">
            <a:extLst>
              <a:ext uri="{FF2B5EF4-FFF2-40B4-BE49-F238E27FC236}">
                <a16:creationId xmlns:a16="http://schemas.microsoft.com/office/drawing/2014/main" id="{C6D92C21-014A-683F-E8C9-543E6D3D94AF}"/>
              </a:ext>
            </a:extLst>
          </p:cNvPr>
          <p:cNvSpPr txBox="1"/>
          <p:nvPr/>
        </p:nvSpPr>
        <p:spPr>
          <a:xfrm>
            <a:off x="11755745" y="6504593"/>
            <a:ext cx="50635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EB47A1F-B231-454C-9ADB-BF7D6CCBDA07}" type="slidenum">
              <a:rPr sz="1400">
                <a:solidFill>
                  <a:schemeClr val="bg1">
                    <a:lumMod val="65000"/>
                  </a:schemeClr>
                </a:solidFill>
              </a:rPr>
              <a:t>23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5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CD5CDA4A-7A52-C783-0AF5-1297E0AE4CE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84803" y="876909"/>
            <a:ext cx="4702146" cy="445503"/>
          </a:xfrm>
        </p:spPr>
        <p:txBody>
          <a:bodyPr tIns="14474">
            <a:spAutoFit/>
          </a:bodyPr>
          <a:lstStyle/>
          <a:p>
            <a:pPr marL="15243" lvl="0">
              <a:lnSpc>
                <a:spcPct val="100000"/>
              </a:lnSpc>
              <a:spcBef>
                <a:spcPts val="115"/>
              </a:spcBef>
            </a:pPr>
            <a:r>
              <a:rPr lang="en-US" sz="2800" b="1" spc="-12" dirty="0">
                <a:solidFill>
                  <a:srgbClr val="000000"/>
                </a:solidFill>
                <a:latin typeface="VeluxForOffice"/>
                <a:cs typeface="Calibri Light"/>
              </a:rPr>
              <a:t>Preconditions</a:t>
            </a: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0A488F0B-1A44-873F-40C2-9456029A1C76}"/>
              </a:ext>
            </a:extLst>
          </p:cNvPr>
          <p:cNvSpPr txBox="1"/>
          <p:nvPr/>
        </p:nvSpPr>
        <p:spPr>
          <a:xfrm>
            <a:off x="5184803" y="1472458"/>
            <a:ext cx="1965805" cy="289162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15243" marR="6099" lvl="0" indent="0" algn="l" defTabSz="914400" rtl="0" fontAlgn="auto" hangingPunct="1">
              <a:lnSpc>
                <a:spcPct val="1413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b="1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Typology: Construction: Ventilation: Heating:</a:t>
            </a:r>
            <a:endParaRPr lang="en-US" sz="1920" b="1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Calibri Light"/>
            </a:endParaRPr>
          </a:p>
          <a:p>
            <a:pPr marL="15243" marR="463299" lvl="0" indent="0" algn="l" defTabSz="914400" rtl="0" fontAlgn="auto" hangingPunct="1">
              <a:lnSpc>
                <a:spcPct val="1413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LCA</a:t>
            </a:r>
            <a:r>
              <a:rPr lang="en-US" sz="1920" b="1" i="0" u="none" strike="noStrike" kern="1200" cap="none" spc="-4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 </a:t>
            </a:r>
            <a:r>
              <a:rPr lang="en-US" sz="1920" b="1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method: Tool: </a:t>
            </a:r>
            <a:r>
              <a:rPr lang="en-US" sz="1920" b="1" i="0" u="none" strike="noStrike" kern="1200" cap="none" spc="-12" baseline="0" dirty="0" err="1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Dataquality</a:t>
            </a:r>
            <a:r>
              <a:rPr lang="en-US" sz="1920" b="1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:</a:t>
            </a:r>
            <a:endParaRPr lang="en-US" sz="1920" b="1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Calibri Light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7E34E45F-E556-38EE-A979-84ED273B2269}"/>
              </a:ext>
            </a:extLst>
          </p:cNvPr>
          <p:cNvSpPr txBox="1"/>
          <p:nvPr/>
        </p:nvSpPr>
        <p:spPr>
          <a:xfrm>
            <a:off x="7086379" y="1428136"/>
            <a:ext cx="5774573" cy="422891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15243" marR="625605" lvl="0" indent="0" algn="l" defTabSz="914400" rtl="0" fontAlgn="auto" hangingPunct="1">
              <a:lnSpc>
                <a:spcPct val="1413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One family house</a:t>
            </a:r>
          </a:p>
          <a:p>
            <a:pPr marL="15243" marR="625605" lvl="0" indent="0" algn="l" defTabSz="914400" rtl="0" fontAlgn="auto" hangingPunct="1">
              <a:lnSpc>
                <a:spcPct val="1413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Timber frame and screw pile foundations</a:t>
            </a:r>
          </a:p>
          <a:p>
            <a:pPr marL="15243" marR="625605" lvl="0" indent="0" algn="l" defTabSz="914400" rtl="0" fontAlgn="auto" hangingPunct="1">
              <a:lnSpc>
                <a:spcPct val="1413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Natural ventilation</a:t>
            </a:r>
            <a:endParaRPr lang="en-US" sz="192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Calibri Light"/>
            </a:endParaRPr>
          </a:p>
          <a:p>
            <a:pPr marL="15243" marR="0" lvl="0" indent="0" algn="l" defTabSz="914400" rtl="0" fontAlgn="auto" hangingPunct="1">
              <a:lnSpc>
                <a:spcPct val="100000"/>
              </a:lnSpc>
              <a:spcBef>
                <a:spcPts val="9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Heat pump </a:t>
            </a:r>
            <a:r>
              <a:rPr lang="en-US" sz="192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(air to water)</a:t>
            </a:r>
            <a:r>
              <a:rPr lang="en-US" sz="1920" i="0" u="none" strike="noStrike" kern="1200" cap="none" spc="-36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 with </a:t>
            </a:r>
            <a:r>
              <a:rPr lang="en-US" sz="192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radiators</a:t>
            </a:r>
            <a:endParaRPr lang="en-US" sz="192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Calibri Light"/>
            </a:endParaRPr>
          </a:p>
          <a:p>
            <a:pPr marL="15243" marR="1546863" lvl="0" indent="0" algn="l" defTabSz="914400" rtl="0" fontAlgn="auto" hangingPunct="1">
              <a:lnSpc>
                <a:spcPct val="1413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Danish Building regulations </a:t>
            </a:r>
            <a:r>
              <a:rPr lang="en-US" sz="192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2023 </a:t>
            </a:r>
          </a:p>
          <a:p>
            <a:pPr marL="15243" marR="1546863" lvl="0" indent="0" algn="l" defTabSz="914400" rtl="0" fontAlgn="auto" hangingPunct="1">
              <a:lnSpc>
                <a:spcPct val="1413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i="0" u="none" strike="noStrike" kern="1200" cap="none" spc="-12" baseline="0" dirty="0" err="1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LCAbyg</a:t>
            </a:r>
            <a:r>
              <a:rPr lang="en-US" sz="1920" i="0" u="none" strike="noStrike" kern="1200" cap="none" spc="-12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; product specific + generic EPDs </a:t>
            </a:r>
            <a:endParaRPr lang="en-US" sz="192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  <a:cs typeface="Calibri Light"/>
            </a:endParaRPr>
          </a:p>
          <a:p>
            <a:pPr marL="15243" marR="0" lvl="0" indent="0" algn="l" defTabSz="914400" rtl="0" fontAlgn="auto" hangingPunct="1">
              <a:lnSpc>
                <a:spcPct val="100000"/>
              </a:lnSpc>
              <a:spcBef>
                <a:spcPts val="9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3.</a:t>
            </a:r>
            <a:r>
              <a:rPr lang="en-US" sz="1920" i="0" u="none" strike="noStrike" kern="1200" cap="none" spc="-30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 </a:t>
            </a:r>
            <a:r>
              <a:rPr lang="en-US" sz="192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Party verified by AAU / </a:t>
            </a:r>
            <a:r>
              <a:rPr lang="en-US" sz="192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BUILD</a:t>
            </a:r>
          </a:p>
          <a:p>
            <a:pPr marL="15243" marR="0" lvl="0" indent="0" algn="l" defTabSz="914400" rtl="0" fontAlgn="auto" hangingPunct="1">
              <a:lnSpc>
                <a:spcPct val="100000"/>
              </a:lnSpc>
              <a:spcBef>
                <a:spcPts val="9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920" i="0" u="none" strike="noStrike" kern="1200" cap="none" spc="-24" baseline="0" dirty="0">
              <a:solidFill>
                <a:srgbClr val="000000"/>
              </a:solidFill>
              <a:uFillTx/>
              <a:latin typeface="VeluxForOffice"/>
              <a:cs typeface="Calibri Light"/>
            </a:endParaRPr>
          </a:p>
          <a:p>
            <a:pPr marL="15243" marR="0" lvl="0" indent="0" algn="l" defTabSz="914400" rtl="0" fontAlgn="auto" hangingPunct="1">
              <a:lnSpc>
                <a:spcPct val="100000"/>
              </a:lnSpc>
              <a:spcBef>
                <a:spcPts val="9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920" i="0" u="none" strike="noStrike" kern="1200" cap="none" spc="-24" baseline="0" dirty="0">
              <a:solidFill>
                <a:srgbClr val="000000"/>
              </a:solidFill>
              <a:uFillTx/>
              <a:latin typeface="VeluxForOffice"/>
              <a:cs typeface="Calibri Light"/>
            </a:endParaRPr>
          </a:p>
          <a:p>
            <a:pPr marL="15243" marR="0" lvl="0" indent="0" algn="l" defTabSz="914400" rtl="0" fontAlgn="auto" hangingPunct="1">
              <a:lnSpc>
                <a:spcPct val="100000"/>
              </a:lnSpc>
              <a:spcBef>
                <a:spcPts val="9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3.8 kg CO</a:t>
            </a:r>
            <a:r>
              <a:rPr lang="en-US" sz="1920" i="0" u="none" strike="noStrike" kern="1200" cap="none" spc="-24" baseline="-2500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2</a:t>
            </a:r>
            <a:r>
              <a:rPr lang="en-US" sz="192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 eq/m</a:t>
            </a:r>
            <a:r>
              <a:rPr lang="en-US" sz="1920" i="0" u="none" strike="noStrike" kern="1200" cap="none" spc="-24" baseline="3000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2</a:t>
            </a:r>
            <a:r>
              <a:rPr lang="en-US" sz="1920" i="0" u="none" strike="noStrike" kern="1200" cap="none" spc="-24" baseline="0" dirty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/y</a:t>
            </a: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4E1CC723-EA2C-34C5-88D1-1F8525ACB817}"/>
              </a:ext>
            </a:extLst>
          </p:cNvPr>
          <p:cNvSpPr txBox="1"/>
          <p:nvPr/>
        </p:nvSpPr>
        <p:spPr>
          <a:xfrm>
            <a:off x="5184803" y="5346971"/>
            <a:ext cx="1085091" cy="31008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4474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ct val="100000"/>
              </a:lnSpc>
              <a:spcBef>
                <a:spcPts val="11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920" b="1" i="0" u="none" strike="noStrike" kern="1200" cap="none" spc="-12" baseline="0">
                <a:solidFill>
                  <a:srgbClr val="000000"/>
                </a:solidFill>
                <a:uFillTx/>
                <a:latin typeface="VeluxForOffice"/>
                <a:cs typeface="Calibri Light"/>
              </a:rPr>
              <a:t>Results:</a:t>
            </a:r>
            <a:endParaRPr lang="en-US" sz="1920" b="1" i="0" u="none" strike="noStrike" kern="1200" cap="none" spc="0" baseline="0">
              <a:solidFill>
                <a:srgbClr val="000000"/>
              </a:solidFill>
              <a:uFillTx/>
              <a:latin typeface="VeluxForOffice"/>
              <a:cs typeface="Calibri Light"/>
            </a:endParaRPr>
          </a:p>
        </p:txBody>
      </p:sp>
      <p:grpSp>
        <p:nvGrpSpPr>
          <p:cNvPr id="7" name="object 6">
            <a:extLst>
              <a:ext uri="{FF2B5EF4-FFF2-40B4-BE49-F238E27FC236}">
                <a16:creationId xmlns:a16="http://schemas.microsoft.com/office/drawing/2014/main" id="{DE7DAFC5-B36F-A612-ADCE-66E1156CDD99}"/>
              </a:ext>
            </a:extLst>
          </p:cNvPr>
          <p:cNvGrpSpPr/>
          <p:nvPr/>
        </p:nvGrpSpPr>
        <p:grpSpPr>
          <a:xfrm>
            <a:off x="1099108" y="872337"/>
            <a:ext cx="3122063" cy="5128101"/>
            <a:chOff x="1099108" y="872337"/>
            <a:chExt cx="3122063" cy="5128101"/>
          </a:xfrm>
        </p:grpSpPr>
        <p:sp>
          <p:nvSpPr>
            <p:cNvPr id="8" name="object 7">
              <a:extLst>
                <a:ext uri="{FF2B5EF4-FFF2-40B4-BE49-F238E27FC236}">
                  <a16:creationId xmlns:a16="http://schemas.microsoft.com/office/drawing/2014/main" id="{A04C74AB-66EB-FCD8-E131-D07ECAABD807}"/>
                </a:ext>
              </a:extLst>
            </p:cNvPr>
            <p:cNvSpPr/>
            <p:nvPr/>
          </p:nvSpPr>
          <p:spPr>
            <a:xfrm>
              <a:off x="2494483" y="872337"/>
              <a:ext cx="1725930" cy="237134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38275"/>
                <a:gd name="f4" fmla="val 1976120"/>
                <a:gd name="f5" fmla="val 568451"/>
                <a:gd name="f6" fmla="val 868171"/>
                <a:gd name="f7" fmla="val 133223"/>
                <a:gd name="f8" fmla="val 1437893"/>
                <a:gd name="f9" fmla="val 1373886"/>
                <a:gd name="f10" fmla="val 868680"/>
                <a:gd name="f11" fmla="val 134112"/>
                <a:gd name="f12" fmla="val 1437131"/>
                <a:gd name="f13" fmla="val 1975739"/>
                <a:gd name="f14" fmla="val 1374648"/>
                <a:gd name="f15" fmla="val 735076"/>
                <a:gd name="f16" fmla="val 12064"/>
                <a:gd name="f17" fmla="val 720851"/>
                <a:gd name="f18" fmla="*/ f0 1 1438275"/>
                <a:gd name="f19" fmla="*/ f1 1 1976120"/>
                <a:gd name="f20" fmla="+- f4 0 f2"/>
                <a:gd name="f21" fmla="+- f3 0 f2"/>
                <a:gd name="f22" fmla="*/ f21 1 1438275"/>
                <a:gd name="f23" fmla="*/ f20 1 1976120"/>
                <a:gd name="f24" fmla="*/ f2 1 f22"/>
                <a:gd name="f25" fmla="*/ f3 1 f22"/>
                <a:gd name="f26" fmla="*/ f2 1 f23"/>
                <a:gd name="f27" fmla="*/ f4 1 f23"/>
                <a:gd name="f28" fmla="*/ f24 f18 1"/>
                <a:gd name="f29" fmla="*/ f25 f18 1"/>
                <a:gd name="f30" fmla="*/ f27 f19 1"/>
                <a:gd name="f31" fmla="*/ f26 f1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8" t="f31" r="f29" b="f30"/>
              <a:pathLst>
                <a:path w="1438275" h="1976120">
                  <a:moveTo>
                    <a:pt x="f5" y="f2"/>
                  </a:moveTo>
                  <a:lnTo>
                    <a:pt x="f6" y="f7"/>
                  </a:lnTo>
                </a:path>
                <a:path w="1438275" h="1976120">
                  <a:moveTo>
                    <a:pt x="f8" y="f9"/>
                  </a:moveTo>
                  <a:lnTo>
                    <a:pt x="f10" y="f11"/>
                  </a:lnTo>
                </a:path>
                <a:path w="1438275" h="1976120">
                  <a:moveTo>
                    <a:pt x="f12" y="f13"/>
                  </a:moveTo>
                  <a:lnTo>
                    <a:pt x="f12" y="f14"/>
                  </a:lnTo>
                </a:path>
                <a:path w="1438275" h="1976120">
                  <a:moveTo>
                    <a:pt x="f2" y="f15"/>
                  </a:moveTo>
                  <a:lnTo>
                    <a:pt x="f16" y="f17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9" name="object 8">
              <a:extLst>
                <a:ext uri="{FF2B5EF4-FFF2-40B4-BE49-F238E27FC236}">
                  <a16:creationId xmlns:a16="http://schemas.microsoft.com/office/drawing/2014/main" id="{9BC3D434-F0DE-3B57-6E58-923E8A99CA72}"/>
                </a:ext>
              </a:extLst>
            </p:cNvPr>
            <p:cNvSpPr/>
            <p:nvPr/>
          </p:nvSpPr>
          <p:spPr>
            <a:xfrm>
              <a:off x="2551176" y="918057"/>
              <a:ext cx="592074" cy="76428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493394"/>
                <a:gd name="f4" fmla="val 636905"/>
                <a:gd name="f5" fmla="val 636777"/>
                <a:gd name="f6" fmla="val 493013"/>
                <a:gd name="f7" fmla="*/ f0 1 493394"/>
                <a:gd name="f8" fmla="*/ f1 1 636905"/>
                <a:gd name="f9" fmla="+- f4 0 f2"/>
                <a:gd name="f10" fmla="+- f3 0 f2"/>
                <a:gd name="f11" fmla="*/ f10 1 493394"/>
                <a:gd name="f12" fmla="*/ f9 1 63690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493394" h="636905">
                  <a:moveTo>
                    <a:pt x="f2" y="f5"/>
                  </a:moveTo>
                  <a:lnTo>
                    <a:pt x="f6" y="f2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0" name="object 9">
              <a:extLst>
                <a:ext uri="{FF2B5EF4-FFF2-40B4-BE49-F238E27FC236}">
                  <a16:creationId xmlns:a16="http://schemas.microsoft.com/office/drawing/2014/main" id="{CB1F3DFA-7F3F-34CD-14CD-6171D69776F6}"/>
                </a:ext>
              </a:extLst>
            </p:cNvPr>
            <p:cNvSpPr/>
            <p:nvPr/>
          </p:nvSpPr>
          <p:spPr>
            <a:xfrm>
              <a:off x="2494483" y="872337"/>
              <a:ext cx="681986" cy="160401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68325"/>
                <a:gd name="f4" fmla="val 1336675"/>
                <a:gd name="f5" fmla="val 557783"/>
                <a:gd name="f6" fmla="val 15748"/>
                <a:gd name="f7" fmla="val 1336293"/>
                <a:gd name="f8" fmla="val 1318260"/>
                <a:gd name="f9" fmla="*/ f0 1 568325"/>
                <a:gd name="f10" fmla="*/ f1 1 1336675"/>
                <a:gd name="f11" fmla="+- f4 0 f2"/>
                <a:gd name="f12" fmla="+- f3 0 f2"/>
                <a:gd name="f13" fmla="*/ f12 1 568325"/>
                <a:gd name="f14" fmla="*/ f11 1 1336675"/>
                <a:gd name="f15" fmla="*/ f2 1 f13"/>
                <a:gd name="f16" fmla="*/ f3 1 f13"/>
                <a:gd name="f17" fmla="*/ f2 1 f14"/>
                <a:gd name="f18" fmla="*/ f4 1 f14"/>
                <a:gd name="f19" fmla="*/ f15 f9 1"/>
                <a:gd name="f20" fmla="*/ f16 f9 1"/>
                <a:gd name="f21" fmla="*/ f18 f10 1"/>
                <a:gd name="f22" fmla="*/ f17 f1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9" t="f22" r="f20" b="f21"/>
              <a:pathLst>
                <a:path w="568325" h="1336675">
                  <a:moveTo>
                    <a:pt x="f5" y="f6"/>
                  </a:moveTo>
                  <a:lnTo>
                    <a:pt x="f3" y="f2"/>
                  </a:lnTo>
                </a:path>
                <a:path w="568325" h="1336675">
                  <a:moveTo>
                    <a:pt x="f2" y="f7"/>
                  </a:moveTo>
                  <a:lnTo>
                    <a:pt x="f2" y="f8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1" name="object 10">
              <a:extLst>
                <a:ext uri="{FF2B5EF4-FFF2-40B4-BE49-F238E27FC236}">
                  <a16:creationId xmlns:a16="http://schemas.microsoft.com/office/drawing/2014/main" id="{B78C7791-F6A0-4F11-3926-FCA9EE32C14B}"/>
                </a:ext>
              </a:extLst>
            </p:cNvPr>
            <p:cNvSpPr/>
            <p:nvPr/>
          </p:nvSpPr>
          <p:spPr>
            <a:xfrm>
              <a:off x="2494483" y="1814169"/>
              <a:ext cx="0" cy="564642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564641"/>
                <a:gd name="f5" fmla="val 564335"/>
                <a:gd name="f6" fmla="abs f0"/>
                <a:gd name="f7" fmla="abs f1"/>
                <a:gd name="f8" fmla="abs f2"/>
                <a:gd name="f9" fmla="*/ f1 1 564641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564641"/>
                <a:gd name="f17" fmla="*/ f12 1 21600"/>
                <a:gd name="f18" fmla="*/ f13 1 564641"/>
                <a:gd name="f19" fmla="*/ 21600 f12 1"/>
                <a:gd name="f20" fmla="*/ 0 1 f15"/>
                <a:gd name="f21" fmla="*/ 1 1 f15"/>
                <a:gd name="f22" fmla="*/ 0 1 f16"/>
                <a:gd name="f23" fmla="*/ 564641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564641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2" name="object 11">
              <a:extLst>
                <a:ext uri="{FF2B5EF4-FFF2-40B4-BE49-F238E27FC236}">
                  <a16:creationId xmlns:a16="http://schemas.microsoft.com/office/drawing/2014/main" id="{1FCAA333-F06F-5C41-E017-0EC95487D5BA}"/>
                </a:ext>
              </a:extLst>
            </p:cNvPr>
            <p:cNvSpPr/>
            <p:nvPr/>
          </p:nvSpPr>
          <p:spPr>
            <a:xfrm>
              <a:off x="1099108" y="872337"/>
              <a:ext cx="3121917" cy="331698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601595"/>
                <a:gd name="f4" fmla="val 2764154"/>
                <a:gd name="f5" fmla="val 1162812"/>
                <a:gd name="f6" fmla="val 754126"/>
                <a:gd name="f7" fmla="val 734567"/>
                <a:gd name="f8" fmla="val 868171"/>
                <a:gd name="f9" fmla="val 922654"/>
                <a:gd name="f10" fmla="val 568451"/>
                <a:gd name="f11" fmla="val 789431"/>
                <a:gd name="f12" fmla="val 1523491"/>
                <a:gd name="f13" fmla="val 568070"/>
                <a:gd name="f14" fmla="val 2125091"/>
                <a:gd name="f15" fmla="val 1524000"/>
                <a:gd name="f16" fmla="val 790193"/>
                <a:gd name="f17" fmla="val 1732661"/>
                <a:gd name="f18" fmla="val 2031364"/>
                <a:gd name="f19" fmla="val 134112"/>
                <a:gd name="f20" fmla="val 867156"/>
                <a:gd name="f21" fmla="val 922781"/>
                <a:gd name="f22" fmla="val 1437132"/>
                <a:gd name="f23" fmla="val 2763647"/>
                <a:gd name="f24" fmla="val 2162556"/>
                <a:gd name="f25" fmla="val 2163318"/>
                <a:gd name="f26" fmla="val 2601341"/>
                <a:gd name="f27" fmla="val 1374648"/>
                <a:gd name="f28" fmla="val 1082039"/>
                <a:gd name="f29" fmla="val 1391412"/>
                <a:gd name="f30" fmla="val 1098423"/>
                <a:gd name="f31" fmla="val 1380743"/>
                <a:gd name="f32" fmla="val 1147571"/>
                <a:gd name="f33" fmla="val 1347215"/>
                <a:gd name="f34" fmla="val 1163955"/>
                <a:gd name="f35" fmla="val 1336548"/>
                <a:gd name="f36" fmla="val 458723"/>
                <a:gd name="f37" fmla="val 1814702"/>
                <a:gd name="f38" fmla="val 1083183"/>
                <a:gd name="f39" fmla="val 2125599"/>
                <a:gd name="f40" fmla="val 1813559"/>
                <a:gd name="f41" fmla="val 871727"/>
                <a:gd name="f42" fmla="val 932688"/>
                <a:gd name="f43" fmla="val 886713"/>
                <a:gd name="f44" fmla="val 922019"/>
                <a:gd name="f45" fmla="*/ f0 1 2601595"/>
                <a:gd name="f46" fmla="*/ f1 1 2764154"/>
                <a:gd name="f47" fmla="+- f4 0 f2"/>
                <a:gd name="f48" fmla="+- f3 0 f2"/>
                <a:gd name="f49" fmla="*/ f48 1 2601595"/>
                <a:gd name="f50" fmla="*/ f47 1 2764154"/>
                <a:gd name="f51" fmla="*/ f2 1 f49"/>
                <a:gd name="f52" fmla="*/ f3 1 f49"/>
                <a:gd name="f53" fmla="*/ f2 1 f50"/>
                <a:gd name="f54" fmla="*/ f4 1 f50"/>
                <a:gd name="f55" fmla="*/ f51 f45 1"/>
                <a:gd name="f56" fmla="*/ f52 f45 1"/>
                <a:gd name="f57" fmla="*/ f54 f46 1"/>
                <a:gd name="f58" fmla="*/ f53 f4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55" t="f58" r="f56" b="f57"/>
              <a:pathLst>
                <a:path w="2601595" h="2764154">
                  <a:moveTo>
                    <a:pt x="f5" y="f6"/>
                  </a:moveTo>
                  <a:lnTo>
                    <a:pt x="f5" y="f7"/>
                  </a:lnTo>
                </a:path>
                <a:path w="2601595" h="2764154">
                  <a:moveTo>
                    <a:pt x="f8" y="f9"/>
                  </a:moveTo>
                  <a:lnTo>
                    <a:pt x="f10" y="f11"/>
                  </a:lnTo>
                </a:path>
                <a:path w="2601595" h="2764154">
                  <a:moveTo>
                    <a:pt x="f2" y="f12"/>
                  </a:moveTo>
                  <a:lnTo>
                    <a:pt x="f13" y="f11"/>
                  </a:lnTo>
                </a:path>
                <a:path w="2601595" h="2764154">
                  <a:moveTo>
                    <a:pt x="f2" y="f14"/>
                  </a:moveTo>
                  <a:lnTo>
                    <a:pt x="f2" y="f15"/>
                  </a:lnTo>
                </a:path>
                <a:path w="2601595" h="2764154">
                  <a:moveTo>
                    <a:pt x="f10" y="f16"/>
                  </a:moveTo>
                  <a:lnTo>
                    <a:pt x="f17" y="f2"/>
                  </a:lnTo>
                </a:path>
                <a:path w="2601595" h="2764154">
                  <a:moveTo>
                    <a:pt x="f18" y="f19"/>
                  </a:moveTo>
                  <a:lnTo>
                    <a:pt x="f20" y="f21"/>
                  </a:lnTo>
                </a:path>
                <a:path w="2601595" h="2764154">
                  <a:moveTo>
                    <a:pt x="f22" y="f23"/>
                  </a:moveTo>
                  <a:lnTo>
                    <a:pt x="f22" y="f24"/>
                  </a:lnTo>
                </a:path>
                <a:path w="2601595" h="2764154">
                  <a:moveTo>
                    <a:pt x="f22" y="f25"/>
                  </a:moveTo>
                  <a:lnTo>
                    <a:pt x="f26" y="f27"/>
                  </a:lnTo>
                </a:path>
                <a:path w="2601595" h="2764154">
                  <a:moveTo>
                    <a:pt x="f28" y="f29"/>
                  </a:moveTo>
                  <a:lnTo>
                    <a:pt x="f30" y="f31"/>
                  </a:lnTo>
                </a:path>
                <a:path w="2601595" h="2764154">
                  <a:moveTo>
                    <a:pt x="f32" y="f33"/>
                  </a:moveTo>
                  <a:lnTo>
                    <a:pt x="f34" y="f35"/>
                  </a:lnTo>
                </a:path>
                <a:path w="2601595" h="2764154">
                  <a:moveTo>
                    <a:pt x="f36" y="f37"/>
                  </a:moveTo>
                  <a:lnTo>
                    <a:pt x="f38" y="f29"/>
                  </a:lnTo>
                </a:path>
                <a:path w="2601595" h="2764154">
                  <a:moveTo>
                    <a:pt x="f2" y="f39"/>
                  </a:moveTo>
                  <a:lnTo>
                    <a:pt x="f36" y="f40"/>
                  </a:lnTo>
                </a:path>
                <a:path w="2601595" h="2764154">
                  <a:moveTo>
                    <a:pt x="f41" y="f42"/>
                  </a:moveTo>
                  <a:lnTo>
                    <a:pt x="f43" y="f44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3" name="object 12">
              <a:extLst>
                <a:ext uri="{FF2B5EF4-FFF2-40B4-BE49-F238E27FC236}">
                  <a16:creationId xmlns:a16="http://schemas.microsoft.com/office/drawing/2014/main" id="{FC03BAA1-777C-2BA2-1A13-2F9F9EC1DCB2}"/>
                </a:ext>
              </a:extLst>
            </p:cNvPr>
            <p:cNvSpPr/>
            <p:nvPr/>
          </p:nvSpPr>
          <p:spPr>
            <a:xfrm>
              <a:off x="2218334" y="1784908"/>
              <a:ext cx="231644" cy="15849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3039"/>
                <a:gd name="f4" fmla="val 132080"/>
                <a:gd name="f5" fmla="val 131699"/>
                <a:gd name="f6" fmla="*/ f0 1 193039"/>
                <a:gd name="f7" fmla="*/ f1 1 132080"/>
                <a:gd name="f8" fmla="+- f4 0 f2"/>
                <a:gd name="f9" fmla="+- f3 0 f2"/>
                <a:gd name="f10" fmla="*/ f9 1 193039"/>
                <a:gd name="f11" fmla="*/ f8 1 132080"/>
                <a:gd name="f12" fmla="*/ f2 1 f10"/>
                <a:gd name="f13" fmla="*/ f3 1 f10"/>
                <a:gd name="f14" fmla="*/ f2 1 f11"/>
                <a:gd name="f15" fmla="*/ f4 1 f11"/>
                <a:gd name="f16" fmla="*/ f12 f6 1"/>
                <a:gd name="f17" fmla="*/ f13 f6 1"/>
                <a:gd name="f18" fmla="*/ f15 f7 1"/>
                <a:gd name="f19" fmla="*/ f14 f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6" t="f19" r="f17" b="f18"/>
              <a:pathLst>
                <a:path w="193039" h="132080">
                  <a:moveTo>
                    <a:pt x="f2" y="f5"/>
                  </a:moveTo>
                  <a:lnTo>
                    <a:pt x="f3" y="f2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4" name="object 13">
              <a:extLst>
                <a:ext uri="{FF2B5EF4-FFF2-40B4-BE49-F238E27FC236}">
                  <a16:creationId xmlns:a16="http://schemas.microsoft.com/office/drawing/2014/main" id="{61AD408B-8801-6733-E6E6-C40D45532309}"/>
                </a:ext>
              </a:extLst>
            </p:cNvPr>
            <p:cNvSpPr/>
            <p:nvPr/>
          </p:nvSpPr>
          <p:spPr>
            <a:xfrm>
              <a:off x="1099108" y="1753819"/>
              <a:ext cx="1724402" cy="2436117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37005"/>
                <a:gd name="f4" fmla="val 2030095"/>
                <a:gd name="f5" fmla="val 1147571"/>
                <a:gd name="f6" fmla="val 10668"/>
                <a:gd name="f7" fmla="val 1163955"/>
                <a:gd name="f8" fmla="val 789305"/>
                <a:gd name="f9" fmla="val 872744"/>
                <a:gd name="f10" fmla="val 198120"/>
                <a:gd name="f11" fmla="val 1436370"/>
                <a:gd name="f12" fmla="val 1428750"/>
                <a:gd name="f13" fmla="val 867156"/>
                <a:gd name="f14" fmla="val 187451"/>
                <a:gd name="f15" fmla="val 1389888"/>
                <a:gd name="f16" fmla="val 1436496"/>
                <a:gd name="f17" fmla="val 2029841"/>
                <a:gd name="f18" fmla="val 1162812"/>
                <a:gd name="f19" fmla="val 601980"/>
                <a:gd name="f20" fmla="val 1180211"/>
                <a:gd name="f21" fmla="val 608838"/>
                <a:gd name="f22" fmla="*/ f0 1 1437005"/>
                <a:gd name="f23" fmla="*/ f1 1 2030095"/>
                <a:gd name="f24" fmla="+- f4 0 f2"/>
                <a:gd name="f25" fmla="+- f3 0 f2"/>
                <a:gd name="f26" fmla="*/ f25 1 1437005"/>
                <a:gd name="f27" fmla="*/ f24 1 2030095"/>
                <a:gd name="f28" fmla="*/ f2 1 f26"/>
                <a:gd name="f29" fmla="*/ f3 1 f26"/>
                <a:gd name="f30" fmla="*/ f2 1 f27"/>
                <a:gd name="f31" fmla="*/ f4 1 f27"/>
                <a:gd name="f32" fmla="*/ f28 f22 1"/>
                <a:gd name="f33" fmla="*/ f29 f22 1"/>
                <a:gd name="f34" fmla="*/ f31 f23 1"/>
                <a:gd name="f35" fmla="*/ f30 f2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2" t="f35" r="f33" b="f34"/>
              <a:pathLst>
                <a:path w="1437005" h="2030095">
                  <a:moveTo>
                    <a:pt x="f5" y="f6"/>
                  </a:moveTo>
                  <a:lnTo>
                    <a:pt x="f7" y="f2"/>
                  </a:lnTo>
                </a:path>
                <a:path w="1437005" h="2030095">
                  <a:moveTo>
                    <a:pt x="f2" y="f8"/>
                  </a:moveTo>
                  <a:lnTo>
                    <a:pt x="f9" y="f10"/>
                  </a:lnTo>
                </a:path>
                <a:path w="1437005" h="2030095">
                  <a:moveTo>
                    <a:pt x="f11" y="f12"/>
                  </a:moveTo>
                  <a:lnTo>
                    <a:pt x="f13" y="f14"/>
                  </a:lnTo>
                </a:path>
                <a:path w="1437005" h="2030095">
                  <a:moveTo>
                    <a:pt x="f2" y="f15"/>
                  </a:moveTo>
                  <a:lnTo>
                    <a:pt x="f16" y="f17"/>
                  </a:lnTo>
                </a:path>
                <a:path w="1437005" h="2030095">
                  <a:moveTo>
                    <a:pt x="f18" y="f19"/>
                  </a:moveTo>
                  <a:lnTo>
                    <a:pt x="f20" y="f21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1428E275-90CF-C054-F6D5-15EBDD481273}"/>
                </a:ext>
              </a:extLst>
            </p:cNvPr>
            <p:cNvSpPr/>
            <p:nvPr/>
          </p:nvSpPr>
          <p:spPr>
            <a:xfrm>
              <a:off x="2582265" y="2514600"/>
              <a:ext cx="1584956" cy="70484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320800"/>
                <a:gd name="f4" fmla="val 587375"/>
                <a:gd name="f5" fmla="val 1320419"/>
                <a:gd name="f6" fmla="*/ f0 1 1320800"/>
                <a:gd name="f7" fmla="*/ f1 1 587375"/>
                <a:gd name="f8" fmla="+- f4 0 f2"/>
                <a:gd name="f9" fmla="+- f3 0 f2"/>
                <a:gd name="f10" fmla="*/ f9 1 1320800"/>
                <a:gd name="f11" fmla="*/ f8 1 587375"/>
                <a:gd name="f12" fmla="*/ f2 1 f10"/>
                <a:gd name="f13" fmla="*/ f3 1 f10"/>
                <a:gd name="f14" fmla="*/ f2 1 f11"/>
                <a:gd name="f15" fmla="*/ f4 1 f11"/>
                <a:gd name="f16" fmla="*/ f12 f6 1"/>
                <a:gd name="f17" fmla="*/ f13 f6 1"/>
                <a:gd name="f18" fmla="*/ f15 f7 1"/>
                <a:gd name="f19" fmla="*/ f14 f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6" t="f19" r="f17" b="f18"/>
              <a:pathLst>
                <a:path w="1320800" h="587375">
                  <a:moveTo>
                    <a:pt x="f2" y="f2"/>
                  </a:moveTo>
                  <a:lnTo>
                    <a:pt x="f5" y="f4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2C8FE617-88A9-F977-8063-82C1D26CB0B4}"/>
                </a:ext>
              </a:extLst>
            </p:cNvPr>
            <p:cNvSpPr/>
            <p:nvPr/>
          </p:nvSpPr>
          <p:spPr>
            <a:xfrm>
              <a:off x="2823667" y="3233318"/>
              <a:ext cx="1397504" cy="955547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164589"/>
                <a:gd name="f4" fmla="val 796289"/>
                <a:gd name="f5" fmla="val 1146047"/>
                <a:gd name="f6" fmla="val 1163446"/>
                <a:gd name="f7" fmla="val 8255"/>
                <a:gd name="f8" fmla="val 796290"/>
                <a:gd name="f9" fmla="val 1164208"/>
                <a:gd name="f10" fmla="val 7619"/>
                <a:gd name="f11" fmla="*/ f0 1 1164589"/>
                <a:gd name="f12" fmla="*/ f1 1 796289"/>
                <a:gd name="f13" fmla="+- f4 0 f2"/>
                <a:gd name="f14" fmla="+- f3 0 f2"/>
                <a:gd name="f15" fmla="*/ f14 1 1164589"/>
                <a:gd name="f16" fmla="*/ f13 1 796289"/>
                <a:gd name="f17" fmla="*/ f2 1 f15"/>
                <a:gd name="f18" fmla="*/ f3 1 f15"/>
                <a:gd name="f19" fmla="*/ f2 1 f16"/>
                <a:gd name="f20" fmla="*/ f4 1 f16"/>
                <a:gd name="f21" fmla="*/ f17 f11 1"/>
                <a:gd name="f22" fmla="*/ f18 f11 1"/>
                <a:gd name="f23" fmla="*/ f20 f12 1"/>
                <a:gd name="f24" fmla="*/ f1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1" t="f24" r="f22" b="f23"/>
              <a:pathLst>
                <a:path w="1164589" h="796289">
                  <a:moveTo>
                    <a:pt x="f5" y="f2"/>
                  </a:moveTo>
                  <a:lnTo>
                    <a:pt x="f6" y="f7"/>
                  </a:lnTo>
                </a:path>
                <a:path w="1164589" h="796289">
                  <a:moveTo>
                    <a:pt x="f2" y="f8"/>
                  </a:moveTo>
                  <a:lnTo>
                    <a:pt x="f9" y="f10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7" name="object 16">
              <a:extLst>
                <a:ext uri="{FF2B5EF4-FFF2-40B4-BE49-F238E27FC236}">
                  <a16:creationId xmlns:a16="http://schemas.microsoft.com/office/drawing/2014/main" id="{7BDE165C-B759-EBAA-330E-E0963B48B48E}"/>
                </a:ext>
              </a:extLst>
            </p:cNvPr>
            <p:cNvSpPr/>
            <p:nvPr/>
          </p:nvSpPr>
          <p:spPr>
            <a:xfrm>
              <a:off x="2538374" y="1075334"/>
              <a:ext cx="385575" cy="35280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321310"/>
                <a:gd name="f4" fmla="val 294005"/>
                <a:gd name="f5" fmla="val 321056"/>
                <a:gd name="f6" fmla="val 126492"/>
                <a:gd name="f7" fmla="val 131190"/>
                <a:gd name="f8" fmla="val 293750"/>
                <a:gd name="f9" fmla="val 194563"/>
                <a:gd name="f10" fmla="val 162560"/>
                <a:gd name="f11" fmla="*/ f0 1 321310"/>
                <a:gd name="f12" fmla="*/ f1 1 294005"/>
                <a:gd name="f13" fmla="+- f4 0 f2"/>
                <a:gd name="f14" fmla="+- f3 0 f2"/>
                <a:gd name="f15" fmla="*/ f14 1 321310"/>
                <a:gd name="f16" fmla="*/ f13 1 294005"/>
                <a:gd name="f17" fmla="*/ f2 1 f15"/>
                <a:gd name="f18" fmla="*/ f3 1 f15"/>
                <a:gd name="f19" fmla="*/ f2 1 f16"/>
                <a:gd name="f20" fmla="*/ f4 1 f16"/>
                <a:gd name="f21" fmla="*/ f17 f11 1"/>
                <a:gd name="f22" fmla="*/ f18 f11 1"/>
                <a:gd name="f23" fmla="*/ f20 f12 1"/>
                <a:gd name="f24" fmla="*/ f1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1" t="f24" r="f22" b="f23"/>
              <a:pathLst>
                <a:path w="321310" h="294005">
                  <a:moveTo>
                    <a:pt x="f5" y="f2"/>
                  </a:moveTo>
                  <a:lnTo>
                    <a:pt x="f6" y="f7"/>
                  </a:lnTo>
                  <a:lnTo>
                    <a:pt x="f2" y="f8"/>
                  </a:lnTo>
                  <a:lnTo>
                    <a:pt x="f9" y="f10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74C3EA">
                <a:alpha val="12156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8" name="object 17">
              <a:extLst>
                <a:ext uri="{FF2B5EF4-FFF2-40B4-BE49-F238E27FC236}">
                  <a16:creationId xmlns:a16="http://schemas.microsoft.com/office/drawing/2014/main" id="{DA5B8671-300E-144C-1CE3-AD524E2177E6}"/>
                </a:ext>
              </a:extLst>
            </p:cNvPr>
            <p:cNvSpPr/>
            <p:nvPr/>
          </p:nvSpPr>
          <p:spPr>
            <a:xfrm>
              <a:off x="1099108" y="1819656"/>
              <a:ext cx="1724402" cy="2369823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437005"/>
                <a:gd name="f4" fmla="val 1974850"/>
                <a:gd name="f5" fmla="val 1335532"/>
                <a:gd name="f6" fmla="val 734441"/>
                <a:gd name="f7" fmla="val 568325"/>
                <a:gd name="f8" fmla="val 867537"/>
                <a:gd name="f9" fmla="val 133096"/>
                <a:gd name="f10" fmla="val 1436496"/>
                <a:gd name="f11" fmla="val 1373505"/>
                <a:gd name="f12" fmla="val 1974596"/>
                <a:gd name="f13" fmla="*/ f0 1 1437005"/>
                <a:gd name="f14" fmla="*/ f1 1 1974850"/>
                <a:gd name="f15" fmla="+- f4 0 f2"/>
                <a:gd name="f16" fmla="+- f3 0 f2"/>
                <a:gd name="f17" fmla="*/ f16 1 1437005"/>
                <a:gd name="f18" fmla="*/ f15 1 1974850"/>
                <a:gd name="f19" fmla="*/ f2 1 f17"/>
                <a:gd name="f20" fmla="*/ f3 1 f17"/>
                <a:gd name="f21" fmla="*/ f2 1 f18"/>
                <a:gd name="f22" fmla="*/ f4 1 f18"/>
                <a:gd name="f23" fmla="*/ f19 f13 1"/>
                <a:gd name="f24" fmla="*/ f20 f13 1"/>
                <a:gd name="f25" fmla="*/ f22 f14 1"/>
                <a:gd name="f26" fmla="*/ f21 f1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3" t="f26" r="f24" b="f25"/>
              <a:pathLst>
                <a:path w="1437005" h="1974850">
                  <a:moveTo>
                    <a:pt x="f2" y="f5"/>
                  </a:moveTo>
                  <a:lnTo>
                    <a:pt x="f2" y="f6"/>
                  </a:lnTo>
                  <a:lnTo>
                    <a:pt x="f7" y="f2"/>
                  </a:lnTo>
                  <a:lnTo>
                    <a:pt x="f8" y="f9"/>
                  </a:lnTo>
                  <a:lnTo>
                    <a:pt x="f10" y="f11"/>
                  </a:lnTo>
                  <a:lnTo>
                    <a:pt x="f10" y="f12"/>
                  </a:lnTo>
                  <a:lnTo>
                    <a:pt x="f2" y="f5"/>
                  </a:lnTo>
                  <a:close/>
                </a:path>
              </a:pathLst>
            </a:custGeom>
            <a:noFill/>
            <a:ln w="3758" cap="flat">
              <a:solidFill>
                <a:srgbClr val="4D4D4E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19" name="object 18">
              <a:extLst>
                <a:ext uri="{FF2B5EF4-FFF2-40B4-BE49-F238E27FC236}">
                  <a16:creationId xmlns:a16="http://schemas.microsoft.com/office/drawing/2014/main" id="{23AB6681-ECE8-5F98-8FAA-341D8DC5C83C}"/>
                </a:ext>
              </a:extLst>
            </p:cNvPr>
            <p:cNvSpPr/>
            <p:nvPr/>
          </p:nvSpPr>
          <p:spPr>
            <a:xfrm>
              <a:off x="1411833" y="1490472"/>
              <a:ext cx="2514600" cy="265937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095500"/>
                <a:gd name="f4" fmla="val 2216150"/>
                <a:gd name="f5" fmla="val 1660525"/>
                <a:gd name="f6" fmla="val 1920113"/>
                <a:gd name="f7" fmla="val 1405127"/>
                <a:gd name="f8" fmla="val 1225296"/>
                <a:gd name="f9" fmla="val 1700910"/>
                <a:gd name="f10" fmla="val 2215769"/>
                <a:gd name="f11" fmla="val 794130"/>
                <a:gd name="f12" fmla="val 994155"/>
                <a:gd name="f13" fmla="val 89026"/>
                <a:gd name="f14" fmla="val 605409"/>
                <a:gd name="f15" fmla="val 352805"/>
                <a:gd name="f16" fmla="val 405384"/>
                <a:gd name="f17" fmla="val 263778"/>
                <a:gd name="f18" fmla="val 1615440"/>
                <a:gd name="f19" fmla="val 548131"/>
                <a:gd name="f20" fmla="val 1906270"/>
                <a:gd name="f21" fmla="val 350519"/>
                <a:gd name="f22" fmla="val 2095373"/>
                <a:gd name="f23" fmla="val 763777"/>
                <a:gd name="f24" fmla="val 1804542"/>
                <a:gd name="f25" fmla="val 961263"/>
                <a:gd name="f26" fmla="val 242443"/>
                <a:gd name="f27" fmla="val 595122"/>
                <a:gd name="f28" fmla="val 400050"/>
                <a:gd name="f29" fmla="val 391667"/>
                <a:gd name="f30" fmla="val 157606"/>
                <a:gd name="f31" fmla="val 556005"/>
                <a:gd name="f32" fmla="val 759460"/>
                <a:gd name="f33" fmla="*/ f0 1 2095500"/>
                <a:gd name="f34" fmla="*/ f1 1 2216150"/>
                <a:gd name="f35" fmla="+- f4 0 f2"/>
                <a:gd name="f36" fmla="+- f3 0 f2"/>
                <a:gd name="f37" fmla="*/ f36 1 2095500"/>
                <a:gd name="f38" fmla="*/ f35 1 2216150"/>
                <a:gd name="f39" fmla="*/ f2 1 f37"/>
                <a:gd name="f40" fmla="*/ f3 1 f37"/>
                <a:gd name="f41" fmla="*/ f2 1 f38"/>
                <a:gd name="f42" fmla="*/ f4 1 f38"/>
                <a:gd name="f43" fmla="*/ f39 f33 1"/>
                <a:gd name="f44" fmla="*/ f40 f33 1"/>
                <a:gd name="f45" fmla="*/ f42 f34 1"/>
                <a:gd name="f46" fmla="*/ f41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3" t="f46" r="f44" b="f45"/>
              <a:pathLst>
                <a:path w="2095500" h="2216150">
                  <a:moveTo>
                    <a:pt x="f5" y="f6"/>
                  </a:moveTo>
                  <a:lnTo>
                    <a:pt x="f5" y="f7"/>
                  </a:lnTo>
                  <a:lnTo>
                    <a:pt x="f8" y="f9"/>
                  </a:lnTo>
                  <a:lnTo>
                    <a:pt x="f8" y="f10"/>
                  </a:lnTo>
                </a:path>
                <a:path w="2095500" h="2216150">
                  <a:moveTo>
                    <a:pt x="f11" y="f2"/>
                  </a:move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1" y="f2"/>
                  </a:lnTo>
                  <a:close/>
                </a:path>
                <a:path w="2095500" h="2216150">
                  <a:moveTo>
                    <a:pt x="f18" y="f19"/>
                  </a:move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18" y="f19"/>
                  </a:lnTo>
                  <a:close/>
                </a:path>
                <a:path w="2095500" h="2216150">
                  <a:moveTo>
                    <a:pt x="f26" y="f27"/>
                  </a:moveTo>
                  <a:lnTo>
                    <a:pt x="f28" y="f29"/>
                  </a:lnTo>
                  <a:lnTo>
                    <a:pt x="f30" y="f31"/>
                  </a:lnTo>
                  <a:lnTo>
                    <a:pt x="f2" y="f32"/>
                  </a:lnTo>
                  <a:lnTo>
                    <a:pt x="f26" y="f27"/>
                  </a:lnTo>
                  <a:close/>
                </a:path>
              </a:pathLst>
            </a:custGeom>
            <a:noFill/>
            <a:ln w="3758" cap="flat">
              <a:solidFill>
                <a:srgbClr val="4D4D4E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20" name="object 19">
              <a:extLst>
                <a:ext uri="{FF2B5EF4-FFF2-40B4-BE49-F238E27FC236}">
                  <a16:creationId xmlns:a16="http://schemas.microsoft.com/office/drawing/2014/main" id="{E325DBC8-5E5D-C213-1E46-F6D9446444D4}"/>
                </a:ext>
              </a:extLst>
            </p:cNvPr>
            <p:cNvSpPr/>
            <p:nvPr/>
          </p:nvSpPr>
          <p:spPr>
            <a:xfrm>
              <a:off x="1099108" y="872337"/>
              <a:ext cx="3121148" cy="3316986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600960"/>
                <a:gd name="f4" fmla="val 2764154"/>
                <a:gd name="f5" fmla="val 2600452"/>
                <a:gd name="f6" fmla="val 1974850"/>
                <a:gd name="f7" fmla="val 1373886"/>
                <a:gd name="f8" fmla="val 2032000"/>
                <a:gd name="f9" fmla="val 133096"/>
                <a:gd name="f10" fmla="val 1732661"/>
                <a:gd name="f11" fmla="val 569213"/>
                <a:gd name="f12" fmla="val 788924"/>
                <a:gd name="f13" fmla="val 1523873"/>
                <a:gd name="f14" fmla="val 2124837"/>
                <a:gd name="f15" fmla="val 59791"/>
                <a:gd name="f16" fmla="val 2151379"/>
                <a:gd name="f17" fmla="val 1437132"/>
                <a:gd name="f18" fmla="val 2763774"/>
                <a:gd name="f19" fmla="val 568451"/>
                <a:gd name="f20" fmla="val 789431"/>
                <a:gd name="f21" fmla="val 867790"/>
                <a:gd name="f22" fmla="val 922527"/>
                <a:gd name="f23" fmla="val 1436877"/>
                <a:gd name="f24" fmla="val 2162810"/>
                <a:gd name="f25" fmla="val 2764028"/>
                <a:gd name="f26" fmla="*/ f0 1 2600960"/>
                <a:gd name="f27" fmla="*/ f1 1 2764154"/>
                <a:gd name="f28" fmla="+- f4 0 f2"/>
                <a:gd name="f29" fmla="+- f3 0 f2"/>
                <a:gd name="f30" fmla="*/ f29 1 2600960"/>
                <a:gd name="f31" fmla="*/ f28 1 2764154"/>
                <a:gd name="f32" fmla="*/ f2 1 f30"/>
                <a:gd name="f33" fmla="*/ f3 1 f30"/>
                <a:gd name="f34" fmla="*/ f2 1 f31"/>
                <a:gd name="f35" fmla="*/ f4 1 f31"/>
                <a:gd name="f36" fmla="*/ f32 f26 1"/>
                <a:gd name="f37" fmla="*/ f33 f26 1"/>
                <a:gd name="f38" fmla="*/ f35 f27 1"/>
                <a:gd name="f39" fmla="*/ f34 f2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6" t="f39" r="f37" b="f38"/>
              <a:pathLst>
                <a:path w="2600960" h="2764154">
                  <a:moveTo>
                    <a:pt x="f5" y="f6"/>
                  </a:moveTo>
                  <a:lnTo>
                    <a:pt x="f5" y="f7"/>
                  </a:lnTo>
                  <a:lnTo>
                    <a:pt x="f8" y="f9"/>
                  </a:lnTo>
                  <a:lnTo>
                    <a:pt x="f10" y="f2"/>
                  </a:lnTo>
                  <a:lnTo>
                    <a:pt x="f11" y="f12"/>
                  </a:lnTo>
                  <a:lnTo>
                    <a:pt x="f2" y="f13"/>
                  </a:lnTo>
                  <a:lnTo>
                    <a:pt x="f2" y="f14"/>
                  </a:lnTo>
                  <a:lnTo>
                    <a:pt x="f15" y="f16"/>
                  </a:lnTo>
                  <a:lnTo>
                    <a:pt x="f17" y="f18"/>
                  </a:lnTo>
                  <a:lnTo>
                    <a:pt x="f5" y="f6"/>
                  </a:lnTo>
                  <a:close/>
                </a:path>
                <a:path w="2600960" h="2764154">
                  <a:moveTo>
                    <a:pt x="f19" y="f20"/>
                  </a:moveTo>
                  <a:lnTo>
                    <a:pt x="f21" y="f22"/>
                  </a:lnTo>
                  <a:lnTo>
                    <a:pt x="f23" y="f24"/>
                  </a:lnTo>
                  <a:lnTo>
                    <a:pt x="f23" y="f25"/>
                  </a:lnTo>
                </a:path>
              </a:pathLst>
            </a:custGeom>
            <a:noFill/>
            <a:ln w="15032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21" name="object 20">
              <a:extLst>
                <a:ext uri="{FF2B5EF4-FFF2-40B4-BE49-F238E27FC236}">
                  <a16:creationId xmlns:a16="http://schemas.microsoft.com/office/drawing/2014/main" id="{C3FED475-FE1C-28C8-4D3E-1C012FACA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40787" y="4732934"/>
              <a:ext cx="258318" cy="184407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2" name="object 21">
              <a:extLst>
                <a:ext uri="{FF2B5EF4-FFF2-40B4-BE49-F238E27FC236}">
                  <a16:creationId xmlns:a16="http://schemas.microsoft.com/office/drawing/2014/main" id="{269C7AC8-108B-F083-E8B6-76DEC2069517}"/>
                </a:ext>
              </a:extLst>
            </p:cNvPr>
            <p:cNvSpPr/>
            <p:nvPr/>
          </p:nvSpPr>
          <p:spPr>
            <a:xfrm>
              <a:off x="1100937" y="4767526"/>
              <a:ext cx="3118103" cy="1232912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598420"/>
                <a:gd name="f4" fmla="val 1027429"/>
                <a:gd name="f5" fmla="val 1822577"/>
                <a:gd name="f6" fmla="val 57404"/>
                <a:gd name="f7" fmla="val 1783715"/>
                <a:gd name="f8" fmla="val 18923"/>
                <a:gd name="f9" fmla="val 1737614"/>
                <a:gd name="f10" fmla="val 3048"/>
                <a:gd name="f11" fmla="val 1686687"/>
                <a:gd name="f12" fmla="val 1636268"/>
                <a:gd name="f13" fmla="val 7620"/>
                <a:gd name="f14" fmla="val 1591437"/>
                <a:gd name="f15" fmla="val 23368"/>
                <a:gd name="f16" fmla="val 1544320"/>
                <a:gd name="f17" fmla="val 54991"/>
                <a:gd name="f18" fmla="val 1515364"/>
                <a:gd name="f19" fmla="val 95758"/>
                <a:gd name="f20" fmla="val 1515237"/>
                <a:gd name="f21" fmla="val 138684"/>
                <a:gd name="f22" fmla="val 1554099"/>
                <a:gd name="f23" fmla="val 177165"/>
                <a:gd name="f24" fmla="val 1600200"/>
                <a:gd name="f25" fmla="val 193167"/>
                <a:gd name="f26" fmla="val 1651000"/>
                <a:gd name="f27" fmla="val 196088"/>
                <a:gd name="f28" fmla="val 1701419"/>
                <a:gd name="f29" fmla="val 188468"/>
                <a:gd name="f30" fmla="val 1746377"/>
                <a:gd name="f31" fmla="val 172720"/>
                <a:gd name="f32" fmla="val 1793494"/>
                <a:gd name="f33" fmla="val 141097"/>
                <a:gd name="f34" fmla="val 1822323"/>
                <a:gd name="f35" fmla="val 100469"/>
                <a:gd name="f36" fmla="val 1895856"/>
                <a:gd name="f37" fmla="val 649033"/>
                <a:gd name="f38" fmla="val 1888109"/>
                <a:gd name="f39" fmla="val 587641"/>
                <a:gd name="f40" fmla="val 1864233"/>
                <a:gd name="f41" fmla="val 528015"/>
                <a:gd name="f42" fmla="val 1829562"/>
                <a:gd name="f43" fmla="val 473075"/>
                <a:gd name="f44" fmla="val 1788160"/>
                <a:gd name="f45" fmla="val 423799"/>
                <a:gd name="f46" fmla="val 1682242"/>
                <a:gd name="f47" fmla="val 330327"/>
                <a:gd name="f48" fmla="val 1616964"/>
                <a:gd name="f49" fmla="val 286893"/>
                <a:gd name="f50" fmla="val 1548257"/>
                <a:gd name="f51" fmla="val 249936"/>
                <a:gd name="f52" fmla="val 1475486"/>
                <a:gd name="f53" fmla="val 218821"/>
                <a:gd name="f54" fmla="val 1397127"/>
                <a:gd name="f55" fmla="val 192532"/>
                <a:gd name="f56" fmla="val 1319911"/>
                <a:gd name="f57" fmla="val 173482"/>
                <a:gd name="f58" fmla="val 1243076"/>
                <a:gd name="f59" fmla="val 161290"/>
                <a:gd name="f60" fmla="val 1166241"/>
                <a:gd name="f61" fmla="val 155829"/>
                <a:gd name="f62" fmla="val 1088644"/>
                <a:gd name="f63" fmla="val 156972"/>
                <a:gd name="f64" fmla="val 1009777"/>
                <a:gd name="f65" fmla="val 164211"/>
                <a:gd name="f66" fmla="val 929005"/>
                <a:gd name="f67" fmla="val 177419"/>
                <a:gd name="f68" fmla="val 855853"/>
                <a:gd name="f69" fmla="val 194183"/>
                <a:gd name="f70" fmla="val 779145"/>
                <a:gd name="f71" fmla="val 215773"/>
                <a:gd name="f72" fmla="val 700659"/>
                <a:gd name="f73" fmla="val 241681"/>
                <a:gd name="f74" fmla="val 622300"/>
                <a:gd name="f75" fmla="val 270891"/>
                <a:gd name="f76" fmla="val 545846"/>
                <a:gd name="f77" fmla="val 302641"/>
                <a:gd name="f78" fmla="val 336169"/>
                <a:gd name="f79" fmla="val 405765"/>
                <a:gd name="f80" fmla="val 370713"/>
                <a:gd name="f81" fmla="val 332447"/>
                <a:gd name="f82" fmla="val 413004"/>
                <a:gd name="f83" fmla="val 262026"/>
                <a:gd name="f84" fmla="val 459232"/>
                <a:gd name="f85" fmla="val 194538"/>
                <a:gd name="f86" fmla="val 510146"/>
                <a:gd name="f87" fmla="val 129971"/>
                <a:gd name="f88" fmla="val 566826"/>
                <a:gd name="f89" fmla="val 54229"/>
                <a:gd name="f90" fmla="val 651979"/>
                <a:gd name="f91" fmla="val 3606"/>
                <a:gd name="f92" fmla="val 757923"/>
                <a:gd name="f93" fmla="val 825830"/>
                <a:gd name="f94" fmla="val 20485"/>
                <a:gd name="f95" fmla="val 882142"/>
                <a:gd name="f96" fmla="val 109956"/>
                <a:gd name="f97" fmla="val 964806"/>
                <a:gd name="f98" fmla="val 180746"/>
                <a:gd name="f99" fmla="val 997915"/>
                <a:gd name="f100" fmla="val 258025"/>
                <a:gd name="f101" fmla="val 1018781"/>
                <a:gd name="f102" fmla="val 337350"/>
                <a:gd name="f103" fmla="val 1026934"/>
                <a:gd name="f104" fmla="val 414274"/>
                <a:gd name="f105" fmla="val 1021880"/>
                <a:gd name="f106" fmla="val 476250"/>
                <a:gd name="f107" fmla="val 1006094"/>
                <a:gd name="f108" fmla="val 534162"/>
                <a:gd name="f109" fmla="val 981964"/>
                <a:gd name="f110" fmla="val 646176"/>
                <a:gd name="f111" fmla="val 924687"/>
                <a:gd name="f112" fmla="val 717550"/>
                <a:gd name="f113" fmla="val 893902"/>
                <a:gd name="f114" fmla="val 789559"/>
                <a:gd name="f115" fmla="val 870927"/>
                <a:gd name="f116" fmla="val 863473"/>
                <a:gd name="f117" fmla="val 855662"/>
                <a:gd name="f118" fmla="val 940181"/>
                <a:gd name="f119" fmla="val 848004"/>
                <a:gd name="f120" fmla="val 1019810"/>
                <a:gd name="f121" fmla="val 846518"/>
                <a:gd name="f122" fmla="val 1099058"/>
                <a:gd name="f123" fmla="val 849020"/>
                <a:gd name="f124" fmla="val 1178179"/>
                <a:gd name="f125" fmla="val 854138"/>
                <a:gd name="f126" fmla="val 1336167"/>
                <a:gd name="f127" fmla="val 866736"/>
                <a:gd name="f128" fmla="val 1415161"/>
                <a:gd name="f129" fmla="val 871499"/>
                <a:gd name="f130" fmla="val 1494409"/>
                <a:gd name="f131" fmla="val 873404"/>
                <a:gd name="f132" fmla="val 1575562"/>
                <a:gd name="f133" fmla="val 870724"/>
                <a:gd name="f134" fmla="val 1657985"/>
                <a:gd name="f135" fmla="val 859523"/>
                <a:gd name="f136" fmla="val 1738249"/>
                <a:gd name="f137" fmla="val 835177"/>
                <a:gd name="f138" fmla="val 1812417"/>
                <a:gd name="f139" fmla="val 793076"/>
                <a:gd name="f140" fmla="val 1883791"/>
                <a:gd name="f141" fmla="val 704342"/>
                <a:gd name="f142" fmla="val 2133473"/>
                <a:gd name="f143" fmla="val 214884"/>
                <a:gd name="f144" fmla="val 2127885"/>
                <a:gd name="f145" fmla="val 186944"/>
                <a:gd name="f146" fmla="val 2107819"/>
                <a:gd name="f147" fmla="val 160782"/>
                <a:gd name="f148" fmla="val 2056638"/>
                <a:gd name="f149" fmla="val 133096"/>
                <a:gd name="f150" fmla="val 1995678"/>
                <a:gd name="f151" fmla="val 122555"/>
                <a:gd name="f152" fmla="val 1933702"/>
                <a:gd name="f153" fmla="val 124968"/>
                <a:gd name="f154" fmla="val 1851533"/>
                <a:gd name="f155" fmla="val 145669"/>
                <a:gd name="f156" fmla="val 1776857"/>
                <a:gd name="f157" fmla="val 194818"/>
                <a:gd name="f158" fmla="val 1750949"/>
                <a:gd name="f159" fmla="val 1756537"/>
                <a:gd name="f160" fmla="val 278003"/>
                <a:gd name="f161" fmla="val 1776603"/>
                <a:gd name="f162" fmla="val 304038"/>
                <a:gd name="f163" fmla="val 1827784"/>
                <a:gd name="f164" fmla="val 331724"/>
                <a:gd name="f165" fmla="val 1888744"/>
                <a:gd name="f166" fmla="val 342265"/>
                <a:gd name="f167" fmla="val 1950720"/>
                <a:gd name="f168" fmla="val 339852"/>
                <a:gd name="f169" fmla="val 2032889"/>
                <a:gd name="f170" fmla="val 319151"/>
                <a:gd name="f171" fmla="val 2107565"/>
                <a:gd name="f172" fmla="val 270002"/>
                <a:gd name="f173" fmla="val 2416302"/>
                <a:gd name="f174" fmla="val 420751"/>
                <a:gd name="f175" fmla="val 2404491"/>
                <a:gd name="f176" fmla="val 384048"/>
                <a:gd name="f177" fmla="val 2351786"/>
                <a:gd name="f178" fmla="val 2279396"/>
                <a:gd name="f179" fmla="val 318643"/>
                <a:gd name="f180" fmla="val 2203577"/>
                <a:gd name="f181" fmla="val 314071"/>
                <a:gd name="f182" fmla="val 2140839"/>
                <a:gd name="f183" fmla="val 319659"/>
                <a:gd name="f184" fmla="val 2072513"/>
                <a:gd name="f185" fmla="val 336931"/>
                <a:gd name="f186" fmla="val 2008759"/>
                <a:gd name="f187" fmla="val 369062"/>
                <a:gd name="f188" fmla="val 1959229"/>
                <a:gd name="f189" fmla="val 421640"/>
                <a:gd name="f190" fmla="val 455676"/>
                <a:gd name="f191" fmla="val 1962658"/>
                <a:gd name="f192" fmla="val 492404"/>
                <a:gd name="f193" fmla="val 2015236"/>
                <a:gd name="f194" fmla="val 536511"/>
                <a:gd name="f195" fmla="val 2087753"/>
                <a:gd name="f196" fmla="val 557695"/>
                <a:gd name="f197" fmla="val 2163572"/>
                <a:gd name="f198" fmla="val 562317"/>
                <a:gd name="f199" fmla="val 2226310"/>
                <a:gd name="f200" fmla="val 556679"/>
                <a:gd name="f201" fmla="val 2294636"/>
                <a:gd name="f202" fmla="val 539483"/>
                <a:gd name="f203" fmla="val 2358390"/>
                <a:gd name="f204" fmla="val 507339"/>
                <a:gd name="f205" fmla="val 2407907"/>
                <a:gd name="f206" fmla="val 454660"/>
                <a:gd name="f207" fmla="val 2598039"/>
                <a:gd name="f208" fmla="val 754748"/>
                <a:gd name="f209" fmla="val 2560447"/>
                <a:gd name="f210" fmla="val 668502"/>
                <a:gd name="f211" fmla="val 2481072"/>
                <a:gd name="f212" fmla="val 620509"/>
                <a:gd name="f213" fmla="val 2392032"/>
                <a:gd name="f214" fmla="val 593877"/>
                <a:gd name="f215" fmla="val 2300351"/>
                <a:gd name="f216" fmla="val 583806"/>
                <a:gd name="f217" fmla="val 2253869"/>
                <a:gd name="f218" fmla="val 583603"/>
                <a:gd name="f219" fmla="val 2208149"/>
                <a:gd name="f220" fmla="val 586879"/>
                <a:gd name="f221" fmla="val 2117471"/>
                <a:gd name="f222" fmla="val 605802"/>
                <a:gd name="f223" fmla="val 2034032"/>
                <a:gd name="f224" fmla="val 644017"/>
                <a:gd name="f225" fmla="val 1978787"/>
                <a:gd name="f226" fmla="val 721372"/>
                <a:gd name="f227" fmla="val 1986407"/>
                <a:gd name="f228" fmla="val 769188"/>
                <a:gd name="f229" fmla="val 2056765"/>
                <a:gd name="f230" fmla="val 836536"/>
                <a:gd name="f231" fmla="val 2140077"/>
                <a:gd name="f232" fmla="val 871359"/>
                <a:gd name="f233" fmla="val 2230120"/>
                <a:gd name="f234" fmla="val 889012"/>
                <a:gd name="f235" fmla="val 2322957"/>
                <a:gd name="f236" fmla="val 892517"/>
                <a:gd name="f237" fmla="val 2368677"/>
                <a:gd name="f238" fmla="val 889266"/>
                <a:gd name="f239" fmla="val 2459355"/>
                <a:gd name="f240" fmla="val 870305"/>
                <a:gd name="f241" fmla="val 2542667"/>
                <a:gd name="f242" fmla="val 832104"/>
                <a:gd name="f243" fmla="*/ f0 1 2598420"/>
                <a:gd name="f244" fmla="*/ f1 1 1027429"/>
                <a:gd name="f245" fmla="+- f4 0 f2"/>
                <a:gd name="f246" fmla="+- f3 0 f2"/>
                <a:gd name="f247" fmla="*/ f246 1 2598420"/>
                <a:gd name="f248" fmla="*/ f245 1 1027429"/>
                <a:gd name="f249" fmla="*/ f2 1 f247"/>
                <a:gd name="f250" fmla="*/ f3 1 f247"/>
                <a:gd name="f251" fmla="*/ f2 1 f248"/>
                <a:gd name="f252" fmla="*/ f4 1 f248"/>
                <a:gd name="f253" fmla="*/ f249 f243 1"/>
                <a:gd name="f254" fmla="*/ f250 f243 1"/>
                <a:gd name="f255" fmla="*/ f252 f244 1"/>
                <a:gd name="f256" fmla="*/ f251 f24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53" t="f256" r="f254" b="f255"/>
              <a:pathLst>
                <a:path w="2598420" h="1027429">
                  <a:moveTo>
                    <a:pt x="f5" y="f6"/>
                  </a:moveTo>
                  <a:lnTo>
                    <a:pt x="f7" y="f8"/>
                  </a:lnTo>
                  <a:lnTo>
                    <a:pt x="f9" y="f10"/>
                  </a:lnTo>
                  <a:lnTo>
                    <a:pt x="f11" y="f2"/>
                  </a:lnTo>
                  <a:lnTo>
                    <a:pt x="f12" y="f13"/>
                  </a:lnTo>
                  <a:lnTo>
                    <a:pt x="f14" y="f15"/>
                  </a:lnTo>
                  <a:lnTo>
                    <a:pt x="f16" y="f17"/>
                  </a:lnTo>
                  <a:lnTo>
                    <a:pt x="f18" y="f19"/>
                  </a:lnTo>
                  <a:lnTo>
                    <a:pt x="f20" y="f21"/>
                  </a:lnTo>
                  <a:lnTo>
                    <a:pt x="f22" y="f23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31"/>
                  </a:lnTo>
                  <a:lnTo>
                    <a:pt x="f32" y="f33"/>
                  </a:lnTo>
                  <a:lnTo>
                    <a:pt x="f34" y="f35"/>
                  </a:lnTo>
                  <a:lnTo>
                    <a:pt x="f5" y="f6"/>
                  </a:lnTo>
                  <a:close/>
                </a:path>
                <a:path w="2598420" h="1027429">
                  <a:moveTo>
                    <a:pt x="f36" y="f37"/>
                  </a:moveTo>
                  <a:lnTo>
                    <a:pt x="f38" y="f39"/>
                  </a:lnTo>
                  <a:lnTo>
                    <a:pt x="f40" y="f41"/>
                  </a:lnTo>
                  <a:lnTo>
                    <a:pt x="f42" y="f43"/>
                  </a:lnTo>
                  <a:lnTo>
                    <a:pt x="f44" y="f45"/>
                  </a:lnTo>
                  <a:lnTo>
                    <a:pt x="f46" y="f47"/>
                  </a:lnTo>
                  <a:lnTo>
                    <a:pt x="f48" y="f49"/>
                  </a:lnTo>
                  <a:lnTo>
                    <a:pt x="f50" y="f51"/>
                  </a:lnTo>
                  <a:lnTo>
                    <a:pt x="f52" y="f53"/>
                  </a:lnTo>
                  <a:lnTo>
                    <a:pt x="f54" y="f55"/>
                  </a:lnTo>
                  <a:lnTo>
                    <a:pt x="f56" y="f57"/>
                  </a:lnTo>
                  <a:lnTo>
                    <a:pt x="f58" y="f59"/>
                  </a:lnTo>
                  <a:lnTo>
                    <a:pt x="f60" y="f61"/>
                  </a:lnTo>
                  <a:lnTo>
                    <a:pt x="f62" y="f63"/>
                  </a:lnTo>
                  <a:lnTo>
                    <a:pt x="f64" y="f65"/>
                  </a:lnTo>
                  <a:lnTo>
                    <a:pt x="f66" y="f67"/>
                  </a:lnTo>
                  <a:lnTo>
                    <a:pt x="f68" y="f69"/>
                  </a:lnTo>
                  <a:lnTo>
                    <a:pt x="f70" y="f71"/>
                  </a:lnTo>
                  <a:lnTo>
                    <a:pt x="f72" y="f73"/>
                  </a:lnTo>
                  <a:lnTo>
                    <a:pt x="f74" y="f75"/>
                  </a:lnTo>
                  <a:lnTo>
                    <a:pt x="f76" y="f77"/>
                  </a:lnTo>
                  <a:lnTo>
                    <a:pt x="f43" y="f78"/>
                  </a:lnTo>
                  <a:lnTo>
                    <a:pt x="f79" y="f80"/>
                  </a:lnTo>
                  <a:lnTo>
                    <a:pt x="f81" y="f82"/>
                  </a:lnTo>
                  <a:lnTo>
                    <a:pt x="f83" y="f84"/>
                  </a:lnTo>
                  <a:lnTo>
                    <a:pt x="f85" y="f86"/>
                  </a:lnTo>
                  <a:lnTo>
                    <a:pt x="f87" y="f88"/>
                  </a:lnTo>
                  <a:lnTo>
                    <a:pt x="f89" y="f90"/>
                  </a:lnTo>
                  <a:lnTo>
                    <a:pt x="f91" y="f92"/>
                  </a:lnTo>
                  <a:lnTo>
                    <a:pt x="f2" y="f93"/>
                  </a:lnTo>
                  <a:lnTo>
                    <a:pt x="f94" y="f95"/>
                  </a:lnTo>
                  <a:lnTo>
                    <a:pt x="f96" y="f97"/>
                  </a:lnTo>
                  <a:lnTo>
                    <a:pt x="f98" y="f99"/>
                  </a:lnTo>
                  <a:lnTo>
                    <a:pt x="f100" y="f101"/>
                  </a:lnTo>
                  <a:lnTo>
                    <a:pt x="f102" y="f103"/>
                  </a:lnTo>
                  <a:lnTo>
                    <a:pt x="f104" y="f105"/>
                  </a:lnTo>
                  <a:lnTo>
                    <a:pt x="f106" y="f107"/>
                  </a:lnTo>
                  <a:lnTo>
                    <a:pt x="f108" y="f109"/>
                  </a:lnTo>
                  <a:lnTo>
                    <a:pt x="f110" y="f111"/>
                  </a:lnTo>
                  <a:lnTo>
                    <a:pt x="f112" y="f113"/>
                  </a:lnTo>
                  <a:lnTo>
                    <a:pt x="f114" y="f115"/>
                  </a:lnTo>
                  <a:lnTo>
                    <a:pt x="f116" y="f117"/>
                  </a:lnTo>
                  <a:lnTo>
                    <a:pt x="f118" y="f119"/>
                  </a:lnTo>
                  <a:lnTo>
                    <a:pt x="f120" y="f121"/>
                  </a:lnTo>
                  <a:lnTo>
                    <a:pt x="f122" y="f123"/>
                  </a:lnTo>
                  <a:lnTo>
                    <a:pt x="f124" y="f125"/>
                  </a:lnTo>
                  <a:lnTo>
                    <a:pt x="f126" y="f127"/>
                  </a:lnTo>
                  <a:lnTo>
                    <a:pt x="f128" y="f129"/>
                  </a:lnTo>
                  <a:lnTo>
                    <a:pt x="f130" y="f131"/>
                  </a:lnTo>
                  <a:lnTo>
                    <a:pt x="f132" y="f133"/>
                  </a:lnTo>
                  <a:lnTo>
                    <a:pt x="f134" y="f135"/>
                  </a:lnTo>
                  <a:lnTo>
                    <a:pt x="f136" y="f137"/>
                  </a:lnTo>
                  <a:lnTo>
                    <a:pt x="f138" y="f139"/>
                  </a:lnTo>
                  <a:lnTo>
                    <a:pt x="f140" y="f141"/>
                  </a:lnTo>
                  <a:lnTo>
                    <a:pt x="f36" y="f37"/>
                  </a:lnTo>
                  <a:close/>
                </a:path>
                <a:path w="2598420" h="1027429">
                  <a:moveTo>
                    <a:pt x="f142" y="f143"/>
                  </a:moveTo>
                  <a:lnTo>
                    <a:pt x="f144" y="f145"/>
                  </a:lnTo>
                  <a:lnTo>
                    <a:pt x="f146" y="f147"/>
                  </a:lnTo>
                  <a:lnTo>
                    <a:pt x="f148" y="f149"/>
                  </a:lnTo>
                  <a:lnTo>
                    <a:pt x="f150" y="f151"/>
                  </a:lnTo>
                  <a:lnTo>
                    <a:pt x="f152" y="f153"/>
                  </a:lnTo>
                  <a:lnTo>
                    <a:pt x="f154" y="f155"/>
                  </a:lnTo>
                  <a:lnTo>
                    <a:pt x="f156" y="f157"/>
                  </a:lnTo>
                  <a:lnTo>
                    <a:pt x="f158" y="f51"/>
                  </a:lnTo>
                  <a:lnTo>
                    <a:pt x="f159" y="f160"/>
                  </a:lnTo>
                  <a:lnTo>
                    <a:pt x="f161" y="f162"/>
                  </a:lnTo>
                  <a:lnTo>
                    <a:pt x="f163" y="f164"/>
                  </a:lnTo>
                  <a:lnTo>
                    <a:pt x="f165" y="f166"/>
                  </a:lnTo>
                  <a:lnTo>
                    <a:pt x="f167" y="f168"/>
                  </a:lnTo>
                  <a:lnTo>
                    <a:pt x="f169" y="f170"/>
                  </a:lnTo>
                  <a:lnTo>
                    <a:pt x="f171" y="f172"/>
                  </a:lnTo>
                  <a:lnTo>
                    <a:pt x="f142" y="f143"/>
                  </a:lnTo>
                  <a:close/>
                </a:path>
                <a:path w="2598420" h="1027429">
                  <a:moveTo>
                    <a:pt x="f173" y="f174"/>
                  </a:moveTo>
                  <a:lnTo>
                    <a:pt x="f175" y="f176"/>
                  </a:lnTo>
                  <a:lnTo>
                    <a:pt x="f177" y="f168"/>
                  </a:lnTo>
                  <a:lnTo>
                    <a:pt x="f178" y="f179"/>
                  </a:lnTo>
                  <a:lnTo>
                    <a:pt x="f180" y="f181"/>
                  </a:lnTo>
                  <a:lnTo>
                    <a:pt x="f182" y="f183"/>
                  </a:lnTo>
                  <a:lnTo>
                    <a:pt x="f184" y="f185"/>
                  </a:lnTo>
                  <a:lnTo>
                    <a:pt x="f186" y="f187"/>
                  </a:lnTo>
                  <a:lnTo>
                    <a:pt x="f188" y="f189"/>
                  </a:lnTo>
                  <a:lnTo>
                    <a:pt x="f167" y="f190"/>
                  </a:lnTo>
                  <a:lnTo>
                    <a:pt x="f191" y="f192"/>
                  </a:lnTo>
                  <a:lnTo>
                    <a:pt x="f193" y="f194"/>
                  </a:lnTo>
                  <a:lnTo>
                    <a:pt x="f195" y="f196"/>
                  </a:lnTo>
                  <a:lnTo>
                    <a:pt x="f197" y="f198"/>
                  </a:lnTo>
                  <a:lnTo>
                    <a:pt x="f199" y="f200"/>
                  </a:lnTo>
                  <a:lnTo>
                    <a:pt x="f201" y="f202"/>
                  </a:lnTo>
                  <a:lnTo>
                    <a:pt x="f203" y="f204"/>
                  </a:lnTo>
                  <a:lnTo>
                    <a:pt x="f205" y="f206"/>
                  </a:lnTo>
                  <a:lnTo>
                    <a:pt x="f173" y="f174"/>
                  </a:lnTo>
                  <a:close/>
                </a:path>
                <a:path w="2598420" h="1027429">
                  <a:moveTo>
                    <a:pt x="f207" y="f208"/>
                  </a:moveTo>
                  <a:lnTo>
                    <a:pt x="f209" y="f210"/>
                  </a:lnTo>
                  <a:lnTo>
                    <a:pt x="f211" y="f212"/>
                  </a:lnTo>
                  <a:lnTo>
                    <a:pt x="f213" y="f214"/>
                  </a:lnTo>
                  <a:lnTo>
                    <a:pt x="f215" y="f216"/>
                  </a:lnTo>
                  <a:lnTo>
                    <a:pt x="f217" y="f218"/>
                  </a:lnTo>
                  <a:lnTo>
                    <a:pt x="f219" y="f220"/>
                  </a:lnTo>
                  <a:lnTo>
                    <a:pt x="f221" y="f222"/>
                  </a:lnTo>
                  <a:lnTo>
                    <a:pt x="f223" y="f224"/>
                  </a:lnTo>
                  <a:lnTo>
                    <a:pt x="f225" y="f226"/>
                  </a:lnTo>
                  <a:lnTo>
                    <a:pt x="f227" y="f228"/>
                  </a:lnTo>
                  <a:lnTo>
                    <a:pt x="f229" y="f230"/>
                  </a:lnTo>
                  <a:lnTo>
                    <a:pt x="f231" y="f232"/>
                  </a:lnTo>
                  <a:lnTo>
                    <a:pt x="f233" y="f234"/>
                  </a:lnTo>
                  <a:lnTo>
                    <a:pt x="f235" y="f236"/>
                  </a:lnTo>
                  <a:lnTo>
                    <a:pt x="f237" y="f238"/>
                  </a:lnTo>
                  <a:lnTo>
                    <a:pt x="f239" y="f240"/>
                  </a:lnTo>
                  <a:lnTo>
                    <a:pt x="f241" y="f242"/>
                  </a:lnTo>
                  <a:lnTo>
                    <a:pt x="f207" y="f208"/>
                  </a:lnTo>
                  <a:close/>
                </a:path>
              </a:pathLst>
            </a:custGeom>
            <a:solidFill>
              <a:srgbClr val="ACC493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sp>
          <p:nvSpPr>
            <p:cNvPr id="23" name="object 22">
              <a:extLst>
                <a:ext uri="{FF2B5EF4-FFF2-40B4-BE49-F238E27FC236}">
                  <a16:creationId xmlns:a16="http://schemas.microsoft.com/office/drawing/2014/main" id="{F38E4A38-F342-F35A-80F6-05788BF84235}"/>
                </a:ext>
              </a:extLst>
            </p:cNvPr>
            <p:cNvSpPr/>
            <p:nvPr/>
          </p:nvSpPr>
          <p:spPr>
            <a:xfrm>
              <a:off x="1099108" y="3242462"/>
              <a:ext cx="3120389" cy="237515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600325"/>
                <a:gd name="f4" fmla="val 1979295"/>
                <a:gd name="f5" fmla="val 2599943"/>
                <a:gd name="f6" fmla="val 1978850"/>
                <a:gd name="f7" fmla="*/ f0 1 2600325"/>
                <a:gd name="f8" fmla="*/ f1 1 1979295"/>
                <a:gd name="f9" fmla="+- f4 0 f2"/>
                <a:gd name="f10" fmla="+- f3 0 f2"/>
                <a:gd name="f11" fmla="*/ f10 1 2600325"/>
                <a:gd name="f12" fmla="*/ f9 1 1979295"/>
                <a:gd name="f13" fmla="*/ f2 1 f11"/>
                <a:gd name="f14" fmla="*/ f3 1 f11"/>
                <a:gd name="f15" fmla="*/ f2 1 f12"/>
                <a:gd name="f16" fmla="*/ f4 1 f12"/>
                <a:gd name="f17" fmla="*/ f13 f7 1"/>
                <a:gd name="f18" fmla="*/ f14 f7 1"/>
                <a:gd name="f19" fmla="*/ f16 f8 1"/>
                <a:gd name="f20" fmla="*/ f15 f8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17" t="f20" r="f18" b="f19"/>
              <a:pathLst>
                <a:path w="2600325" h="1979295">
                  <a:moveTo>
                    <a:pt x="f5" y="f2"/>
                  </a:moveTo>
                  <a:lnTo>
                    <a:pt x="f5" y="f6"/>
                  </a:lnTo>
                </a:path>
                <a:path w="2600325" h="1979295">
                  <a:moveTo>
                    <a:pt x="f2" y="f2"/>
                  </a:moveTo>
                  <a:lnTo>
                    <a:pt x="f2" y="f6"/>
                  </a:lnTo>
                </a:path>
              </a:pathLst>
            </a:custGeom>
            <a:noFill/>
            <a:ln w="3758" cap="flat">
              <a:solidFill>
                <a:srgbClr val="4D4D4E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24" name="object 23">
              <a:extLst>
                <a:ext uri="{FF2B5EF4-FFF2-40B4-BE49-F238E27FC236}">
                  <a16:creationId xmlns:a16="http://schemas.microsoft.com/office/drawing/2014/main" id="{7474D91C-920C-8762-3ADB-7876A19F0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68219" y="5471769"/>
              <a:ext cx="156362" cy="223799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25" name="object 24">
              <a:extLst>
                <a:ext uri="{FF2B5EF4-FFF2-40B4-BE49-F238E27FC236}">
                  <a16:creationId xmlns:a16="http://schemas.microsoft.com/office/drawing/2014/main" id="{3F13DE7B-F0E8-0ED6-908A-1071B46E92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11095" y="5144414"/>
              <a:ext cx="341985" cy="380390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6" name="object 25">
              <a:extLst>
                <a:ext uri="{FF2B5EF4-FFF2-40B4-BE49-F238E27FC236}">
                  <a16:creationId xmlns:a16="http://schemas.microsoft.com/office/drawing/2014/main" id="{E72BAF2B-BD4A-9503-619A-1054A16F721D}"/>
                </a:ext>
              </a:extLst>
            </p:cNvPr>
            <p:cNvSpPr/>
            <p:nvPr/>
          </p:nvSpPr>
          <p:spPr>
            <a:xfrm>
              <a:off x="2291486" y="5148072"/>
              <a:ext cx="334514" cy="376431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278764"/>
                <a:gd name="f4" fmla="val 313689"/>
                <a:gd name="f5" fmla="val 163067"/>
                <a:gd name="f6" fmla="val 98551"/>
                <a:gd name="f7" fmla="val 11048"/>
                <a:gd name="f8" fmla="val 26288"/>
                <a:gd name="f9" fmla="val 68071"/>
                <a:gd name="f10" fmla="val 156705"/>
                <a:gd name="f11" fmla="val 2793"/>
                <a:gd name="f12" fmla="val 188810"/>
                <a:gd name="f13" fmla="val 47370"/>
                <a:gd name="f14" fmla="val 268985"/>
                <a:gd name="f15" fmla="val 100837"/>
                <a:gd name="f16" fmla="val 302348"/>
                <a:gd name="f17" fmla="val 313461"/>
                <a:gd name="f18" fmla="val 196976"/>
                <a:gd name="f19" fmla="val 310680"/>
                <a:gd name="f20" fmla="val 227583"/>
                <a:gd name="f21" fmla="val 254761"/>
                <a:gd name="f22" fmla="val 288442"/>
                <a:gd name="f23" fmla="val 278638"/>
                <a:gd name="f24" fmla="val 141477"/>
                <a:gd name="f25" fmla="val 266826"/>
                <a:gd name="f26" fmla="val 85851"/>
                <a:gd name="f27" fmla="val 236575"/>
                <a:gd name="f28" fmla="val 55625"/>
                <a:gd name="f29" fmla="val 178295"/>
                <a:gd name="f30" fmla="val 53339"/>
                <a:gd name="f31" fmla="val 133349"/>
                <a:gd name="f32" fmla="val 76834"/>
                <a:gd name="f33" fmla="val 46481"/>
                <a:gd name="f34" fmla="val 44322"/>
                <a:gd name="f35" fmla="val 253110"/>
                <a:gd name="f36" fmla="val 24891"/>
                <a:gd name="f37" fmla="val 225297"/>
                <a:gd name="f38" fmla="val 195198"/>
                <a:gd name="f39" fmla="*/ f0 1 278764"/>
                <a:gd name="f40" fmla="*/ f1 1 313689"/>
                <a:gd name="f41" fmla="+- f4 0 f2"/>
                <a:gd name="f42" fmla="+- f3 0 f2"/>
                <a:gd name="f43" fmla="*/ f42 1 278764"/>
                <a:gd name="f44" fmla="*/ f41 1 313689"/>
                <a:gd name="f45" fmla="*/ f2 1 f43"/>
                <a:gd name="f46" fmla="*/ f3 1 f43"/>
                <a:gd name="f47" fmla="*/ f2 1 f44"/>
                <a:gd name="f48" fmla="*/ f4 1 f44"/>
                <a:gd name="f49" fmla="*/ f45 f39 1"/>
                <a:gd name="f50" fmla="*/ f46 f39 1"/>
                <a:gd name="f51" fmla="*/ f48 f40 1"/>
                <a:gd name="f52" fmla="*/ f47 f4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49" t="f52" r="f50" b="f51"/>
              <a:pathLst>
                <a:path w="278764" h="313689">
                  <a:moveTo>
                    <a:pt x="f5" y="f2"/>
                  </a:moveTo>
                  <a:lnTo>
                    <a:pt x="f6" y="f7"/>
                  </a:lnTo>
                  <a:lnTo>
                    <a:pt x="f8" y="f9"/>
                  </a:lnTo>
                  <a:lnTo>
                    <a:pt x="f2" y="f10"/>
                  </a:lnTo>
                  <a:lnTo>
                    <a:pt x="f11" y="f12"/>
                  </a:lnTo>
                  <a:lnTo>
                    <a:pt x="f13" y="f14"/>
                  </a:lnTo>
                  <a:lnTo>
                    <a:pt x="f15" y="f16"/>
                  </a:lnTo>
                  <a:lnTo>
                    <a:pt x="f5" y="f17"/>
                  </a:lnTo>
                  <a:lnTo>
                    <a:pt x="f18" y="f19"/>
                  </a:lnTo>
                  <a:lnTo>
                    <a:pt x="f20" y="f16"/>
                  </a:lnTo>
                  <a:lnTo>
                    <a:pt x="f21" y="f22"/>
                  </a:lnTo>
                  <a:lnTo>
                    <a:pt x="f23" y="f14"/>
                  </a:lnTo>
                  <a:lnTo>
                    <a:pt x="f5" y="f14"/>
                  </a:lnTo>
                  <a:lnTo>
                    <a:pt x="f24" y="f25"/>
                  </a:lnTo>
                  <a:lnTo>
                    <a:pt x="f26" y="f27"/>
                  </a:lnTo>
                  <a:lnTo>
                    <a:pt x="f28" y="f29"/>
                  </a:lnTo>
                  <a:lnTo>
                    <a:pt x="f30" y="f10"/>
                  </a:lnTo>
                  <a:lnTo>
                    <a:pt x="f28" y="f31"/>
                  </a:lnTo>
                  <a:lnTo>
                    <a:pt x="f26" y="f32"/>
                  </a:lnTo>
                  <a:lnTo>
                    <a:pt x="f24" y="f33"/>
                  </a:lnTo>
                  <a:lnTo>
                    <a:pt x="f5" y="f34"/>
                  </a:lnTo>
                  <a:lnTo>
                    <a:pt x="f23" y="f34"/>
                  </a:lnTo>
                  <a:lnTo>
                    <a:pt x="f35" y="f36"/>
                  </a:lnTo>
                  <a:lnTo>
                    <a:pt x="f37" y="f7"/>
                  </a:lnTo>
                  <a:lnTo>
                    <a:pt x="f38" y="f11"/>
                  </a:lnTo>
                  <a:lnTo>
                    <a:pt x="f5" y="f2"/>
                  </a:lnTo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2160" b="1" i="0" u="none" strike="noStrike" kern="1200" cap="none" spc="0" baseline="0">
                <a:solidFill>
                  <a:srgbClr val="000000"/>
                </a:solidFill>
                <a:uFillTx/>
                <a:latin typeface="Calibri"/>
              </a:endParaRPr>
            </a:p>
          </p:txBody>
        </p:sp>
        <p:pic>
          <p:nvPicPr>
            <p:cNvPr id="27" name="object 26">
              <a:extLst>
                <a:ext uri="{FF2B5EF4-FFF2-40B4-BE49-F238E27FC236}">
                  <a16:creationId xmlns:a16="http://schemas.microsoft.com/office/drawing/2014/main" id="{D733D374-CB46-015B-7D6C-351F96ADE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87168" y="5201262"/>
              <a:ext cx="195681" cy="269592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28" name="object 27">
            <a:extLst>
              <a:ext uri="{FF2B5EF4-FFF2-40B4-BE49-F238E27FC236}">
                <a16:creationId xmlns:a16="http://schemas.microsoft.com/office/drawing/2014/main" id="{862368D0-9049-0C54-6893-515D8D5CDBA3}"/>
              </a:ext>
            </a:extLst>
          </p:cNvPr>
          <p:cNvSpPr txBox="1"/>
          <p:nvPr/>
        </p:nvSpPr>
        <p:spPr>
          <a:xfrm>
            <a:off x="470486" y="6403753"/>
            <a:ext cx="448056" cy="33342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15243" marR="0" lvl="0" indent="0" algn="l" defTabSz="914400" rtl="0" fontAlgn="auto" hangingPunct="1">
              <a:lnSpc>
                <a:spcPts val="1255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1" i="0" u="none" strike="noStrike" kern="1200" cap="none" spc="0" baseline="0">
                <a:solidFill>
                  <a:srgbClr val="9DA2AB"/>
                </a:solidFill>
                <a:uFillTx/>
                <a:latin typeface="Calibri"/>
                <a:cs typeface="Calibri"/>
              </a:rPr>
              <a:t>Side</a:t>
            </a:r>
            <a:r>
              <a:rPr lang="en-US" sz="1200" b="1" i="0" u="none" strike="noStrike" kern="1200" cap="none" spc="-36" baseline="0">
                <a:solidFill>
                  <a:srgbClr val="9DA2AB"/>
                </a:solidFill>
                <a:uFillTx/>
                <a:latin typeface="Calibri"/>
                <a:cs typeface="Calibri"/>
              </a:rPr>
              <a:t> </a:t>
            </a:r>
            <a:fld id="{CEA77925-AA9F-4500-8F37-65FFE745CB13}" type="slidenum">
              <a:rPr/>
              <a:t>24</a:t>
            </a:fld>
            <a:endParaRPr sz="1200" b="1" i="0" u="none" strike="noStrike" kern="1200" cap="none" spc="0" baseline="0">
              <a:solidFill>
                <a:srgbClr val="000000"/>
              </a:solidFill>
              <a:uFillTx/>
              <a:latin typeface="Calibri"/>
              <a:cs typeface="Calibri"/>
            </a:endParaRPr>
          </a:p>
        </p:txBody>
      </p:sp>
      <p:sp>
        <p:nvSpPr>
          <p:cNvPr id="29" name="object 2036">
            <a:extLst>
              <a:ext uri="{FF2B5EF4-FFF2-40B4-BE49-F238E27FC236}">
                <a16:creationId xmlns:a16="http://schemas.microsoft.com/office/drawing/2014/main" id="{F1F03551-E079-CBC1-CEA2-24DA3EB34C28}"/>
              </a:ext>
            </a:extLst>
          </p:cNvPr>
          <p:cNvSpPr txBox="1"/>
          <p:nvPr/>
        </p:nvSpPr>
        <p:spPr>
          <a:xfrm>
            <a:off x="11755745" y="6504593"/>
            <a:ext cx="50635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EB47A1F-B231-454C-9ADB-BF7D6CCBDA07}" type="slidenum">
              <a:rPr sz="1400">
                <a:solidFill>
                  <a:schemeClr val="bg1">
                    <a:lumMod val="65000"/>
                  </a:schemeClr>
                </a:solidFill>
              </a:rPr>
              <a:t>24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D808A69C-C388-0367-869A-AD260A655550}"/>
              </a:ext>
            </a:extLst>
          </p:cNvPr>
          <p:cNvSpPr/>
          <p:nvPr/>
        </p:nvSpPr>
        <p:spPr>
          <a:xfrm>
            <a:off x="0" y="6616800"/>
            <a:ext cx="3468414" cy="241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luxForOffice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CB7155-F323-33FF-AB94-E8D4B8DC9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9008" y="1453896"/>
            <a:ext cx="5757816" cy="1975104"/>
          </a:xfrm>
        </p:spPr>
        <p:txBody>
          <a:bodyPr/>
          <a:lstStyle/>
          <a:p>
            <a:pPr>
              <a:buNone/>
            </a:pPr>
            <a:r>
              <a:rPr lang="el-GR" sz="2400" b="1" i="0" dirty="0"/>
              <a:t>φ</a:t>
            </a:r>
            <a:r>
              <a:rPr lang="en-GB" sz="2400" b="1" i="0" dirty="0"/>
              <a:t>sense </a:t>
            </a:r>
            <a:r>
              <a:rPr lang="en-GB" sz="2000" b="1" i="0" dirty="0"/>
              <a:t>– Phygital and Cognitive Paradigm for activehouse In-Use Rating</a:t>
            </a:r>
          </a:p>
          <a:p>
            <a:r>
              <a:rPr lang="en-GB" sz="1200" i="0" dirty="0"/>
              <a:t>Effects on Comfort during Sustainable Operational Management Practices Estimated via IoT Devices in a Multi-purpose and BIM-Based Framework. </a:t>
            </a:r>
          </a:p>
          <a:p>
            <a:endParaRPr lang="en-GB" sz="1400" i="0" dirty="0"/>
          </a:p>
          <a:p>
            <a:r>
              <a:rPr lang="en-GB" sz="1200" i="0" dirty="0"/>
              <a:t>Supervisor: Prof. Eng. Marco Imperadori</a:t>
            </a:r>
          </a:p>
          <a:p>
            <a:r>
              <a:rPr lang="en-GB" sz="1200" i="0" dirty="0"/>
              <a:t>Co-Supervisor: Arch. Lone </a:t>
            </a:r>
            <a:r>
              <a:rPr lang="en-GB" sz="1200" i="0" dirty="0" err="1"/>
              <a:t>Feifer</a:t>
            </a:r>
            <a:endParaRPr lang="en-GB" sz="1200" i="0" dirty="0"/>
          </a:p>
          <a:p>
            <a:endParaRPr lang="en-GB" sz="1400" i="0" dirty="0"/>
          </a:p>
          <a:p>
            <a:endParaRPr lang="en-GB" sz="1400" i="0" dirty="0"/>
          </a:p>
          <a:p>
            <a:endParaRPr lang="en-GB" sz="1400" i="0" dirty="0"/>
          </a:p>
          <a:p>
            <a:endParaRPr lang="en-GB" sz="2000" i="0" dirty="0"/>
          </a:p>
        </p:txBody>
      </p:sp>
      <p:pic>
        <p:nvPicPr>
          <p:cNvPr id="12" name="Picture Placeholder 11" descr="A cityscape with trees and buildings&#10;&#10;Description automatically generated">
            <a:extLst>
              <a:ext uri="{FF2B5EF4-FFF2-40B4-BE49-F238E27FC236}">
                <a16:creationId xmlns:a16="http://schemas.microsoft.com/office/drawing/2014/main" id="{65EF6CBE-F029-03FA-E8FF-389612C6E08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1997" b="-21141"/>
          <a:stretch/>
        </p:blipFill>
        <p:spPr>
          <a:xfrm flipH="1">
            <a:off x="5931408" y="2613069"/>
            <a:ext cx="4641472" cy="4564063"/>
          </a:xfr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FD1240B-F5B6-32CF-FB3D-443899A8F8C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all" spc="0" normalizeH="0" baseline="0" noProof="0">
              <a:ln>
                <a:noFill/>
              </a:ln>
              <a:solidFill>
                <a:srgbClr val="B0B0B0"/>
              </a:solidFill>
              <a:effectLst/>
              <a:uLnTx/>
              <a:uFillTx/>
              <a:latin typeface="VeluxForOffice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9FFA649-B073-A14C-99B5-642E800D434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all" spc="0" normalizeH="0" baseline="0" noProof="0">
              <a:ln>
                <a:noFill/>
              </a:ln>
              <a:solidFill>
                <a:srgbClr val="B0B0B0"/>
              </a:solidFill>
              <a:effectLst/>
              <a:uLnTx/>
              <a:uFillTx/>
              <a:latin typeface="VeluxForOffice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23B98A-8C2C-55F3-C38B-9E8F48799EB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B0B0B0"/>
              </a:solidFill>
              <a:effectLst/>
              <a:uLnTx/>
              <a:uFillTx/>
              <a:latin typeface="VeluxForOffice"/>
              <a:ea typeface="+mn-ea"/>
              <a:cs typeface="+mn-cs"/>
            </a:endParaRPr>
          </a:p>
        </p:txBody>
      </p:sp>
      <p:grpSp>
        <p:nvGrpSpPr>
          <p:cNvPr id="17" name="Gruppo 25">
            <a:extLst>
              <a:ext uri="{FF2B5EF4-FFF2-40B4-BE49-F238E27FC236}">
                <a16:creationId xmlns:a16="http://schemas.microsoft.com/office/drawing/2014/main" id="{3C0E1723-116A-3361-3C6C-62B039632D81}"/>
              </a:ext>
            </a:extLst>
          </p:cNvPr>
          <p:cNvGrpSpPr/>
          <p:nvPr/>
        </p:nvGrpSpPr>
        <p:grpSpPr>
          <a:xfrm>
            <a:off x="806926" y="5356877"/>
            <a:ext cx="3468414" cy="635876"/>
            <a:chOff x="0" y="6222124"/>
            <a:chExt cx="3468414" cy="635876"/>
          </a:xfrm>
        </p:grpSpPr>
        <p:pic>
          <p:nvPicPr>
            <p:cNvPr id="18" name="Immagine 26" descr="Immagine che contiene luna, nero, natura, notte&#10;&#10;Descrizione generata automaticamente">
              <a:extLst>
                <a:ext uri="{FF2B5EF4-FFF2-40B4-BE49-F238E27FC236}">
                  <a16:creationId xmlns:a16="http://schemas.microsoft.com/office/drawing/2014/main" id="{B8754AC7-0B57-CDBA-0E5D-E947DFD268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7177" t="40240" r="12586" b="30839"/>
            <a:stretch/>
          </p:blipFill>
          <p:spPr>
            <a:xfrm>
              <a:off x="933451" y="6222124"/>
              <a:ext cx="2534963" cy="635876"/>
            </a:xfrm>
            <a:prstGeom prst="rect">
              <a:avLst/>
            </a:prstGeom>
          </p:spPr>
        </p:pic>
        <p:pic>
          <p:nvPicPr>
            <p:cNvPr id="19" name="Immagine 27" descr="Immagine che contiene nero, oscurità&#10;&#10;Descrizione generata automaticamente">
              <a:extLst>
                <a:ext uri="{FF2B5EF4-FFF2-40B4-BE49-F238E27FC236}">
                  <a16:creationId xmlns:a16="http://schemas.microsoft.com/office/drawing/2014/main" id="{023DB3C9-CFD2-1BA5-F7E3-4F2F9102DF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8993" t="-1" r="73570" b="-18571"/>
            <a:stretch/>
          </p:blipFill>
          <p:spPr>
            <a:xfrm>
              <a:off x="0" y="6237655"/>
              <a:ext cx="933451" cy="620345"/>
            </a:xfrm>
            <a:prstGeom prst="rect">
              <a:avLst/>
            </a:prstGeom>
          </p:spPr>
        </p:pic>
      </p:grpSp>
      <p:sp>
        <p:nvSpPr>
          <p:cNvPr id="5" name="Subtitle 4">
            <a:extLst>
              <a:ext uri="{FF2B5EF4-FFF2-40B4-BE49-F238E27FC236}">
                <a16:creationId xmlns:a16="http://schemas.microsoft.com/office/drawing/2014/main" id="{21BD525A-EC2E-749E-0B67-41B8CF2CB5D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11" name="object 130">
            <a:extLst>
              <a:ext uri="{FF2B5EF4-FFF2-40B4-BE49-F238E27FC236}">
                <a16:creationId xmlns:a16="http://schemas.microsoft.com/office/drawing/2014/main" id="{D3C3DD7E-D818-32AE-14A2-A0758420080B}"/>
              </a:ext>
            </a:extLst>
          </p:cNvPr>
          <p:cNvSpPr txBox="1">
            <a:spLocks/>
          </p:cNvSpPr>
          <p:nvPr/>
        </p:nvSpPr>
        <p:spPr>
          <a:xfrm>
            <a:off x="358870" y="904170"/>
            <a:ext cx="8406481" cy="26437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30422" rIns="0" bIns="0" anchor="t" anchorCtr="0" compatLnSpc="1">
            <a:spAutoFit/>
          </a:bodyPr>
          <a:lstStyle>
            <a:lvl1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3200" b="0" i="0" u="none" strike="noStrike" kern="1200" cap="none" spc="0" baseline="0">
                <a:solidFill>
                  <a:srgbClr val="28231F"/>
                </a:solidFill>
                <a:uFillTx/>
                <a:latin typeface="VELUX Transform Office"/>
              </a:defRPr>
            </a:lvl1pPr>
          </a:lstStyle>
          <a:p>
            <a:pPr marL="7699" marR="3081">
              <a:lnSpc>
                <a:spcPts val="1650"/>
              </a:lnSpc>
              <a:spcBef>
                <a:spcPts val="240"/>
              </a:spcBef>
            </a:pPr>
            <a:r>
              <a:rPr lang="en-US" sz="2400" b="1" dirty="0">
                <a:latin typeface="VeluxForOffice"/>
              </a:rPr>
              <a:t>Monitoring Collaboration</a:t>
            </a:r>
            <a:endParaRPr lang="en-US" sz="2400" b="1" spc="-6" dirty="0">
              <a:latin typeface="VeluxForOffice"/>
            </a:endParaRPr>
          </a:p>
        </p:txBody>
      </p:sp>
      <p:pic>
        <p:nvPicPr>
          <p:cNvPr id="14" name="Picture 13" descr="A person with long brown hair&#10;&#10;Description automatically generated">
            <a:extLst>
              <a:ext uri="{FF2B5EF4-FFF2-40B4-BE49-F238E27FC236}">
                <a16:creationId xmlns:a16="http://schemas.microsoft.com/office/drawing/2014/main" id="{D82EB1E0-9FAC-BAE9-A397-A511BC6AE0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3182" y="1485501"/>
            <a:ext cx="3245666" cy="324566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92E4B0A-F54B-F3F4-6C70-F8B972B01BC3}"/>
              </a:ext>
            </a:extLst>
          </p:cNvPr>
          <p:cNvSpPr txBox="1"/>
          <p:nvPr/>
        </p:nvSpPr>
        <p:spPr>
          <a:xfrm>
            <a:off x="1155544" y="4936253"/>
            <a:ext cx="368540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/>
              <a:t>PhD student: Nicole di Santo </a:t>
            </a:r>
            <a:endParaRPr lang="en-DK" sz="2000" b="1" dirty="0" err="1"/>
          </a:p>
        </p:txBody>
      </p:sp>
    </p:spTree>
    <p:extLst>
      <p:ext uri="{BB962C8B-B14F-4D97-AF65-F5344CB8AC3E}">
        <p14:creationId xmlns:p14="http://schemas.microsoft.com/office/powerpoint/2010/main" val="7630400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749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D57096A-D3E9-7920-AA7D-78EEF41B606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11479258" cy="457200"/>
          </a:xfrm>
        </p:spPr>
        <p:txBody>
          <a:bodyPr/>
          <a:lstStyle/>
          <a:p>
            <a:pPr lvl="0"/>
            <a:r>
              <a:rPr lang="en-GB" sz="2400" b="1" dirty="0">
                <a:latin typeface="VeluxForOffice"/>
              </a:rPr>
              <a:t>Monitoring of the timber frame and CLT buildings of Living Places </a:t>
            </a:r>
            <a:br>
              <a:rPr lang="en-GB" sz="2400" b="1" dirty="0">
                <a:latin typeface="VeluxForOffice"/>
              </a:rPr>
            </a:br>
            <a:endParaRPr lang="en-GB" sz="2400" b="1" dirty="0">
              <a:latin typeface="VeluxForOffice"/>
            </a:endParaRPr>
          </a:p>
        </p:txBody>
      </p:sp>
      <p:sp>
        <p:nvSpPr>
          <p:cNvPr id="4" name="Segnaposto data 4">
            <a:extLst>
              <a:ext uri="{FF2B5EF4-FFF2-40B4-BE49-F238E27FC236}">
                <a16:creationId xmlns:a16="http://schemas.microsoft.com/office/drawing/2014/main" id="{D9FA51C7-1C31-B001-5FF6-6F72AC012E75}"/>
              </a:ext>
            </a:extLst>
          </p:cNvPr>
          <p:cNvSpPr txBox="1"/>
          <p:nvPr/>
        </p:nvSpPr>
        <p:spPr>
          <a:xfrm>
            <a:off x="849596" y="6361197"/>
            <a:ext cx="2199598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all" spc="0" baseline="0">
              <a:solidFill>
                <a:srgbClr val="B0B0B0"/>
              </a:solidFill>
              <a:uFillTx/>
              <a:latin typeface="VeluxForOffice"/>
            </a:endParaRPr>
          </a:p>
        </p:txBody>
      </p:sp>
      <p:sp>
        <p:nvSpPr>
          <p:cNvPr id="5" name="Segnaposto piè di pagina 5">
            <a:extLst>
              <a:ext uri="{FF2B5EF4-FFF2-40B4-BE49-F238E27FC236}">
                <a16:creationId xmlns:a16="http://schemas.microsoft.com/office/drawing/2014/main" id="{03B08913-49CC-807F-7C04-A08B98253188}"/>
              </a:ext>
            </a:extLst>
          </p:cNvPr>
          <p:cNvSpPr txBox="1"/>
          <p:nvPr/>
        </p:nvSpPr>
        <p:spPr>
          <a:xfrm>
            <a:off x="4262402" y="6361197"/>
            <a:ext cx="7567199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all" spc="0" baseline="0">
              <a:solidFill>
                <a:srgbClr val="B0B0B0"/>
              </a:solidFill>
              <a:uFillTx/>
              <a:latin typeface="VeluxForOffice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BE9325A-D8C5-3477-F8B5-79A45AC9DA9B}"/>
              </a:ext>
            </a:extLst>
          </p:cNvPr>
          <p:cNvSpPr txBox="1"/>
          <p:nvPr/>
        </p:nvSpPr>
        <p:spPr>
          <a:xfrm>
            <a:off x="358874" y="1663695"/>
            <a:ext cx="6593016" cy="456480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1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pic>
        <p:nvPicPr>
          <p:cNvPr id="8" name="Immagine 87">
            <a:extLst>
              <a:ext uri="{FF2B5EF4-FFF2-40B4-BE49-F238E27FC236}">
                <a16:creationId xmlns:a16="http://schemas.microsoft.com/office/drawing/2014/main" id="{4E42E944-526B-DF07-4935-21B353418C2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4490" r="-1"/>
          <a:stretch>
            <a:fillRect/>
          </a:stretch>
        </p:blipFill>
        <p:spPr>
          <a:xfrm>
            <a:off x="5112895" y="2059228"/>
            <a:ext cx="6715563" cy="4039169"/>
          </a:xfrm>
          <a:prstGeom prst="rect">
            <a:avLst/>
          </a:prstGeom>
          <a:noFill/>
          <a:ln w="28575" cap="flat">
            <a:solidFill>
              <a:srgbClr val="000000"/>
            </a:solidFill>
            <a:prstDash val="solid"/>
            <a:miter/>
          </a:ln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B5CA4AB9-C8D3-5BFE-CEBF-254DC3A4FF2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79" r="2079"/>
          <a:stretch>
            <a:fillRect/>
          </a:stretch>
        </p:blipFill>
        <p:spPr>
          <a:xfrm>
            <a:off x="358874" y="2059228"/>
            <a:ext cx="4551928" cy="403916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0" name="object 2036">
            <a:extLst>
              <a:ext uri="{FF2B5EF4-FFF2-40B4-BE49-F238E27FC236}">
                <a16:creationId xmlns:a16="http://schemas.microsoft.com/office/drawing/2014/main" id="{A7E98906-771C-2ADD-87DB-05D6B9C695A9}"/>
              </a:ext>
            </a:extLst>
          </p:cNvPr>
          <p:cNvSpPr txBox="1"/>
          <p:nvPr/>
        </p:nvSpPr>
        <p:spPr>
          <a:xfrm>
            <a:off x="11755745" y="6504593"/>
            <a:ext cx="50635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EB47A1F-B231-454C-9ADB-BF7D6CCBDA07}" type="slidenum">
              <a:rPr sz="1400">
                <a:solidFill>
                  <a:schemeClr val="bg1">
                    <a:lumMod val="65000"/>
                  </a:schemeClr>
                </a:solidFill>
              </a:rPr>
              <a:t>26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749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E0F79C7-26E6-1508-7531-9E38DD1404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11479258" cy="457200"/>
          </a:xfrm>
        </p:spPr>
        <p:txBody>
          <a:bodyPr/>
          <a:lstStyle/>
          <a:p>
            <a:pPr lvl="0"/>
            <a:r>
              <a:rPr lang="en-GB" sz="2400" b="1" dirty="0">
                <a:latin typeface="VeluxForOffice"/>
              </a:rPr>
              <a:t>Monitoring outcomes from the Active House IN-use assessment</a:t>
            </a:r>
          </a:p>
        </p:txBody>
      </p:sp>
      <p:sp>
        <p:nvSpPr>
          <p:cNvPr id="4" name="Segnaposto data 4">
            <a:extLst>
              <a:ext uri="{FF2B5EF4-FFF2-40B4-BE49-F238E27FC236}">
                <a16:creationId xmlns:a16="http://schemas.microsoft.com/office/drawing/2014/main" id="{A2525C6E-8A83-53BA-34A7-1AA7351FA345}"/>
              </a:ext>
            </a:extLst>
          </p:cNvPr>
          <p:cNvSpPr txBox="1"/>
          <p:nvPr/>
        </p:nvSpPr>
        <p:spPr>
          <a:xfrm>
            <a:off x="849596" y="6361197"/>
            <a:ext cx="2199598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all" spc="0" baseline="0">
              <a:solidFill>
                <a:srgbClr val="B0B0B0"/>
              </a:solidFill>
              <a:uFillTx/>
              <a:latin typeface="VeluxForOffice"/>
            </a:endParaRPr>
          </a:p>
        </p:txBody>
      </p:sp>
      <p:sp>
        <p:nvSpPr>
          <p:cNvPr id="5" name="Segnaposto piè di pagina 5">
            <a:extLst>
              <a:ext uri="{FF2B5EF4-FFF2-40B4-BE49-F238E27FC236}">
                <a16:creationId xmlns:a16="http://schemas.microsoft.com/office/drawing/2014/main" id="{93706F0D-F0F6-3176-EFC4-01A59E9213A9}"/>
              </a:ext>
            </a:extLst>
          </p:cNvPr>
          <p:cNvSpPr txBox="1"/>
          <p:nvPr/>
        </p:nvSpPr>
        <p:spPr>
          <a:xfrm>
            <a:off x="4262402" y="6361197"/>
            <a:ext cx="7567199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all" spc="0" baseline="0">
              <a:solidFill>
                <a:srgbClr val="B0B0B0"/>
              </a:solidFill>
              <a:uFillTx/>
              <a:latin typeface="VeluxForOffice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6DE8949-4929-ABFA-B47B-08088CD380AC}"/>
              </a:ext>
            </a:extLst>
          </p:cNvPr>
          <p:cNvSpPr txBox="1"/>
          <p:nvPr/>
        </p:nvSpPr>
        <p:spPr>
          <a:xfrm>
            <a:off x="358874" y="1663695"/>
            <a:ext cx="6593016" cy="456480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1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pic>
        <p:nvPicPr>
          <p:cNvPr id="8" name="Immagine 8">
            <a:extLst>
              <a:ext uri="{FF2B5EF4-FFF2-40B4-BE49-F238E27FC236}">
                <a16:creationId xmlns:a16="http://schemas.microsoft.com/office/drawing/2014/main" id="{1D683EC4-048D-A5D3-4458-271E1607814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97" t="4238" r="17" b="6867"/>
          <a:stretch>
            <a:fillRect/>
          </a:stretch>
        </p:blipFill>
        <p:spPr>
          <a:xfrm>
            <a:off x="5322201" y="2041178"/>
            <a:ext cx="6506266" cy="4057220"/>
          </a:xfrm>
          <a:prstGeom prst="rect">
            <a:avLst/>
          </a:prstGeom>
          <a:noFill/>
          <a:ln w="38103" cap="flat">
            <a:solidFill>
              <a:srgbClr val="FFFFFF"/>
            </a:solidFill>
            <a:prstDash val="solid"/>
            <a:miter/>
          </a:ln>
        </p:spPr>
      </p:pic>
      <p:grpSp>
        <p:nvGrpSpPr>
          <p:cNvPr id="9" name="Group 14">
            <a:extLst>
              <a:ext uri="{FF2B5EF4-FFF2-40B4-BE49-F238E27FC236}">
                <a16:creationId xmlns:a16="http://schemas.microsoft.com/office/drawing/2014/main" id="{7CBF99B5-481E-B7E3-6FAD-9B8477F67643}"/>
              </a:ext>
            </a:extLst>
          </p:cNvPr>
          <p:cNvGrpSpPr/>
          <p:nvPr/>
        </p:nvGrpSpPr>
        <p:grpSpPr>
          <a:xfrm>
            <a:off x="883493" y="2082015"/>
            <a:ext cx="3914080" cy="3975546"/>
            <a:chOff x="883493" y="2082015"/>
            <a:chExt cx="3914080" cy="3975546"/>
          </a:xfrm>
        </p:grpSpPr>
        <p:pic>
          <p:nvPicPr>
            <p:cNvPr id="10" name="Immagine 4">
              <a:extLst>
                <a:ext uri="{FF2B5EF4-FFF2-40B4-BE49-F238E27FC236}">
                  <a16:creationId xmlns:a16="http://schemas.microsoft.com/office/drawing/2014/main" id="{C3B9F4D2-8025-4B12-B090-35AC415E8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23106" t="11250" r="22497" b="11414"/>
            <a:stretch>
              <a:fillRect/>
            </a:stretch>
          </p:blipFill>
          <p:spPr>
            <a:xfrm>
              <a:off x="1035055" y="2447583"/>
              <a:ext cx="3610965" cy="360997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" name="Content Placeholder 8">
              <a:extLst>
                <a:ext uri="{FF2B5EF4-FFF2-40B4-BE49-F238E27FC236}">
                  <a16:creationId xmlns:a16="http://schemas.microsoft.com/office/drawing/2014/main" id="{E3E786A8-1E6A-9FAC-9DE1-FE8CE008AD92}"/>
                </a:ext>
              </a:extLst>
            </p:cNvPr>
            <p:cNvSpPr txBox="1"/>
            <p:nvPr/>
          </p:nvSpPr>
          <p:spPr>
            <a:xfrm>
              <a:off x="883493" y="2082015"/>
              <a:ext cx="3914080" cy="284232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100000"/>
                <a:buFont typeface="Arial" pitchFamily="34"/>
                <a:buChar char="​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1600" b="1" i="1" u="none" strike="noStrike" kern="1200" cap="none" spc="0" baseline="0">
                <a:solidFill>
                  <a:srgbClr val="4C972A"/>
                </a:solidFill>
                <a:uFillTx/>
                <a:latin typeface="VeluxForOffice"/>
              </a:endParaRPr>
            </a:p>
          </p:txBody>
        </p:sp>
      </p:grp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EC4E9B60-EC0C-93FD-751E-C6755F7A6E96}"/>
              </a:ext>
            </a:extLst>
          </p:cNvPr>
          <p:cNvSpPr txBox="1"/>
          <p:nvPr/>
        </p:nvSpPr>
        <p:spPr>
          <a:xfrm>
            <a:off x="894155" y="1913528"/>
            <a:ext cx="3914080" cy="28423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1" i="1" u="none" strike="noStrike" kern="1200" cap="none" spc="0" baseline="0">
                <a:solidFill>
                  <a:srgbClr val="4C972A"/>
                </a:solidFill>
                <a:uFillTx/>
                <a:latin typeface="VeluxForOffice"/>
              </a:rPr>
              <a:t>Overall score </a:t>
            </a:r>
            <a:r>
              <a:rPr lang="en-GB" sz="1600" b="1" i="1" u="none" strike="noStrike" kern="1200" cap="none" spc="0" baseline="0">
                <a:solidFill>
                  <a:srgbClr val="4C972A"/>
                </a:solidFill>
                <a:uFillTx/>
                <a:latin typeface="VeluxForOffice"/>
              </a:rPr>
              <a:t>1.3</a:t>
            </a:r>
          </a:p>
          <a:p>
            <a:pPr marL="0" marR="0" lvl="0" indent="0" algn="ctr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1" i="1" u="none" strike="noStrike" kern="1200" cap="none" spc="0" baseline="0">
                <a:solidFill>
                  <a:srgbClr val="4C972A"/>
                </a:solidFill>
                <a:uFillTx/>
                <a:latin typeface="VeluxForOffice"/>
              </a:rPr>
              <a:t>CLT – Hybrid ventilation case</a:t>
            </a:r>
            <a:endParaRPr lang="en-GB" sz="1600" b="0" i="1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3" name="object 2036">
            <a:extLst>
              <a:ext uri="{FF2B5EF4-FFF2-40B4-BE49-F238E27FC236}">
                <a16:creationId xmlns:a16="http://schemas.microsoft.com/office/drawing/2014/main" id="{A55D3CD7-16CA-2417-A746-EFEC907C4B3C}"/>
              </a:ext>
            </a:extLst>
          </p:cNvPr>
          <p:cNvSpPr txBox="1"/>
          <p:nvPr/>
        </p:nvSpPr>
        <p:spPr>
          <a:xfrm>
            <a:off x="11755745" y="6504593"/>
            <a:ext cx="50635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EB47A1F-B231-454C-9ADB-BF7D6CCBDA07}" type="slidenum">
              <a:rPr sz="1400">
                <a:solidFill>
                  <a:schemeClr val="bg1">
                    <a:lumMod val="65000"/>
                  </a:schemeClr>
                </a:solidFill>
              </a:rPr>
              <a:t>27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749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5250A0A-6802-2625-85F7-72006374761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11479258" cy="457200"/>
          </a:xfrm>
        </p:spPr>
        <p:txBody>
          <a:bodyPr/>
          <a:lstStyle/>
          <a:p>
            <a:pPr lvl="0"/>
            <a:r>
              <a:rPr lang="en-GB" sz="2400" b="1" dirty="0">
                <a:latin typeface="VeluxForOffice"/>
              </a:rPr>
              <a:t>Monitoring outcomes from the Active House IN-use assessment</a:t>
            </a:r>
          </a:p>
          <a:p>
            <a:pPr lvl="0"/>
            <a:endParaRPr lang="en-GB" sz="2400" b="1" dirty="0">
              <a:latin typeface="VeluxForOffice"/>
            </a:endParaRPr>
          </a:p>
        </p:txBody>
      </p:sp>
      <p:sp>
        <p:nvSpPr>
          <p:cNvPr id="4" name="Segnaposto data 4">
            <a:extLst>
              <a:ext uri="{FF2B5EF4-FFF2-40B4-BE49-F238E27FC236}">
                <a16:creationId xmlns:a16="http://schemas.microsoft.com/office/drawing/2014/main" id="{D1E1C3F9-BDB5-5323-536E-0828E7F51160}"/>
              </a:ext>
            </a:extLst>
          </p:cNvPr>
          <p:cNvSpPr txBox="1"/>
          <p:nvPr/>
        </p:nvSpPr>
        <p:spPr>
          <a:xfrm>
            <a:off x="849596" y="6361197"/>
            <a:ext cx="2199598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all" spc="0" baseline="0">
              <a:solidFill>
                <a:srgbClr val="B0B0B0"/>
              </a:solidFill>
              <a:uFillTx/>
              <a:latin typeface="VeluxForOffice"/>
            </a:endParaRPr>
          </a:p>
        </p:txBody>
      </p:sp>
      <p:sp>
        <p:nvSpPr>
          <p:cNvPr id="5" name="Segnaposto piè di pagina 5">
            <a:extLst>
              <a:ext uri="{FF2B5EF4-FFF2-40B4-BE49-F238E27FC236}">
                <a16:creationId xmlns:a16="http://schemas.microsoft.com/office/drawing/2014/main" id="{046FF9B4-A8C9-A5CF-77B7-73FFDCAD2709}"/>
              </a:ext>
            </a:extLst>
          </p:cNvPr>
          <p:cNvSpPr txBox="1"/>
          <p:nvPr/>
        </p:nvSpPr>
        <p:spPr>
          <a:xfrm>
            <a:off x="4262402" y="6361197"/>
            <a:ext cx="7567199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all" spc="0" baseline="0">
              <a:solidFill>
                <a:srgbClr val="B0B0B0"/>
              </a:solidFill>
              <a:uFillTx/>
              <a:latin typeface="VeluxForOffice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F589BF7-B90F-BB66-0395-C6FDBF49166E}"/>
              </a:ext>
            </a:extLst>
          </p:cNvPr>
          <p:cNvSpPr txBox="1"/>
          <p:nvPr/>
        </p:nvSpPr>
        <p:spPr>
          <a:xfrm>
            <a:off x="358874" y="1663695"/>
            <a:ext cx="6593016" cy="456480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1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pic>
        <p:nvPicPr>
          <p:cNvPr id="8" name="Immagine 8">
            <a:extLst>
              <a:ext uri="{FF2B5EF4-FFF2-40B4-BE49-F238E27FC236}">
                <a16:creationId xmlns:a16="http://schemas.microsoft.com/office/drawing/2014/main" id="{5B45BF79-050F-375A-3F6D-75E223F428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50" t="52397" b="3414"/>
          <a:stretch>
            <a:fillRect/>
          </a:stretch>
        </p:blipFill>
        <p:spPr>
          <a:xfrm>
            <a:off x="5343525" y="2041178"/>
            <a:ext cx="6484933" cy="4057220"/>
          </a:xfrm>
          <a:prstGeom prst="rect">
            <a:avLst/>
          </a:prstGeom>
          <a:noFill/>
          <a:ln w="38103" cap="flat">
            <a:solidFill>
              <a:srgbClr val="FFFFFF"/>
            </a:solidFill>
            <a:prstDash val="solid"/>
            <a:miter/>
          </a:ln>
        </p:spPr>
      </p:pic>
      <p:grpSp>
        <p:nvGrpSpPr>
          <p:cNvPr id="9" name="Group 10">
            <a:extLst>
              <a:ext uri="{FF2B5EF4-FFF2-40B4-BE49-F238E27FC236}">
                <a16:creationId xmlns:a16="http://schemas.microsoft.com/office/drawing/2014/main" id="{8378AD9D-FF92-E088-4210-921861B84C39}"/>
              </a:ext>
            </a:extLst>
          </p:cNvPr>
          <p:cNvGrpSpPr/>
          <p:nvPr/>
        </p:nvGrpSpPr>
        <p:grpSpPr>
          <a:xfrm>
            <a:off x="894155" y="1913528"/>
            <a:ext cx="3914080" cy="4144033"/>
            <a:chOff x="894155" y="1913528"/>
            <a:chExt cx="3914080" cy="4144033"/>
          </a:xfrm>
        </p:grpSpPr>
        <p:pic>
          <p:nvPicPr>
            <p:cNvPr id="10" name="Immagine 4">
              <a:extLst>
                <a:ext uri="{FF2B5EF4-FFF2-40B4-BE49-F238E27FC236}">
                  <a16:creationId xmlns:a16="http://schemas.microsoft.com/office/drawing/2014/main" id="{B48985B5-6B8F-30A4-1D11-E0C0E76954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22799" t="5534" r="22699" b="55979"/>
            <a:stretch>
              <a:fillRect/>
            </a:stretch>
          </p:blipFill>
          <p:spPr>
            <a:xfrm>
              <a:off x="1045716" y="2447583"/>
              <a:ext cx="3610965" cy="3609978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11" name="Content Placeholder 8">
              <a:extLst>
                <a:ext uri="{FF2B5EF4-FFF2-40B4-BE49-F238E27FC236}">
                  <a16:creationId xmlns:a16="http://schemas.microsoft.com/office/drawing/2014/main" id="{7108C290-A76D-7D28-8495-4438221E3DB5}"/>
                </a:ext>
              </a:extLst>
            </p:cNvPr>
            <p:cNvSpPr txBox="1"/>
            <p:nvPr/>
          </p:nvSpPr>
          <p:spPr>
            <a:xfrm>
              <a:off x="894155" y="1913528"/>
              <a:ext cx="3914080" cy="284232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0" rIns="0" bIns="0" anchor="t" anchorCtr="1" compatLnSpc="1">
              <a:noAutofit/>
            </a:bodyPr>
            <a:lstStyle/>
            <a:p>
              <a:pPr marL="0" marR="0" lvl="0" indent="0" algn="ctr" defTabSz="914400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100000"/>
                <a:buFont typeface="Arial" pitchFamily="34"/>
                <a:buChar char="​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GB" sz="1400" b="1" i="1" u="none" strike="noStrike" kern="1200" cap="none" spc="0" baseline="0">
                  <a:solidFill>
                    <a:srgbClr val="4C972A"/>
                  </a:solidFill>
                  <a:uFillTx/>
                  <a:latin typeface="VeluxForOffice"/>
                </a:rPr>
                <a:t>Overall score </a:t>
              </a:r>
              <a:r>
                <a:rPr lang="en-GB" sz="1600" b="1" i="1" u="none" strike="noStrike" kern="1200" cap="none" spc="0" baseline="0">
                  <a:solidFill>
                    <a:srgbClr val="4C972A"/>
                  </a:solidFill>
                  <a:uFillTx/>
                  <a:latin typeface="VeluxForOffice"/>
                </a:rPr>
                <a:t>1.4</a:t>
              </a:r>
            </a:p>
            <a:p>
              <a:pPr marL="0" marR="0" lvl="0" indent="0" algn="ctr" defTabSz="914400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SzPct val="100000"/>
                <a:buFont typeface="Arial" pitchFamily="34"/>
                <a:buChar char="​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GB" sz="1600" b="1" i="1" u="none" strike="noStrike" kern="1200" cap="none" spc="0" baseline="0">
                  <a:solidFill>
                    <a:srgbClr val="4C972A"/>
                  </a:solidFill>
                  <a:uFillTx/>
                  <a:latin typeface="VeluxForOffice"/>
                </a:rPr>
                <a:t>Timber frame – Natural ventilation case</a:t>
              </a:r>
              <a:endParaRPr lang="en-GB" sz="1600" b="0" i="1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12" name="object 2036">
            <a:extLst>
              <a:ext uri="{FF2B5EF4-FFF2-40B4-BE49-F238E27FC236}">
                <a16:creationId xmlns:a16="http://schemas.microsoft.com/office/drawing/2014/main" id="{3AB27EF3-3F4C-0F03-3A48-03E9BD513ABF}"/>
              </a:ext>
            </a:extLst>
          </p:cNvPr>
          <p:cNvSpPr txBox="1"/>
          <p:nvPr/>
        </p:nvSpPr>
        <p:spPr>
          <a:xfrm>
            <a:off x="11755745" y="6504593"/>
            <a:ext cx="50635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EB47A1F-B231-454C-9ADB-BF7D6CCBDA07}" type="slidenum">
              <a:rPr sz="1400">
                <a:solidFill>
                  <a:schemeClr val="bg1">
                    <a:lumMod val="65000"/>
                  </a:schemeClr>
                </a:solidFill>
              </a:rPr>
              <a:t>28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749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B1A0FB4-E573-AEEE-B155-43887ABBAC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9200" y="759601"/>
            <a:ext cx="11479258" cy="457200"/>
          </a:xfrm>
        </p:spPr>
        <p:txBody>
          <a:bodyPr/>
          <a:lstStyle/>
          <a:p>
            <a:pPr lvl="0"/>
            <a:r>
              <a:rPr lang="en-GB" sz="2400" b="1" dirty="0">
                <a:latin typeface="VeluxForOffice"/>
              </a:rPr>
              <a:t>Monitoring outcomes from the Active House IN-use assessment</a:t>
            </a:r>
          </a:p>
          <a:p>
            <a:pPr lvl="0"/>
            <a:endParaRPr lang="en-GB" sz="2400" b="1" dirty="0">
              <a:latin typeface="VeluxForOffice"/>
            </a:endParaRPr>
          </a:p>
        </p:txBody>
      </p:sp>
      <p:sp>
        <p:nvSpPr>
          <p:cNvPr id="4" name="Segnaposto data 4">
            <a:extLst>
              <a:ext uri="{FF2B5EF4-FFF2-40B4-BE49-F238E27FC236}">
                <a16:creationId xmlns:a16="http://schemas.microsoft.com/office/drawing/2014/main" id="{675E9EA1-7A1C-886E-913D-2F38B2758A97}"/>
              </a:ext>
            </a:extLst>
          </p:cNvPr>
          <p:cNvSpPr txBox="1"/>
          <p:nvPr/>
        </p:nvSpPr>
        <p:spPr>
          <a:xfrm>
            <a:off x="849596" y="6361197"/>
            <a:ext cx="2199598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all" spc="0" baseline="0">
              <a:solidFill>
                <a:srgbClr val="B0B0B0"/>
              </a:solidFill>
              <a:uFillTx/>
              <a:latin typeface="VeluxForOffice"/>
            </a:endParaRPr>
          </a:p>
        </p:txBody>
      </p:sp>
      <p:sp>
        <p:nvSpPr>
          <p:cNvPr id="5" name="Segnaposto piè di pagina 5">
            <a:extLst>
              <a:ext uri="{FF2B5EF4-FFF2-40B4-BE49-F238E27FC236}">
                <a16:creationId xmlns:a16="http://schemas.microsoft.com/office/drawing/2014/main" id="{733E3028-0F06-C3A4-E061-0964E66CFE9B}"/>
              </a:ext>
            </a:extLst>
          </p:cNvPr>
          <p:cNvSpPr txBox="1"/>
          <p:nvPr/>
        </p:nvSpPr>
        <p:spPr>
          <a:xfrm>
            <a:off x="4262402" y="6361197"/>
            <a:ext cx="7567199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all" spc="0" baseline="0">
              <a:solidFill>
                <a:srgbClr val="B0B0B0"/>
              </a:solidFill>
              <a:uFillTx/>
              <a:latin typeface="VeluxForOffice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376FD81-01EA-7845-9B91-828C12280F51}"/>
              </a:ext>
            </a:extLst>
          </p:cNvPr>
          <p:cNvSpPr txBox="1"/>
          <p:nvPr/>
        </p:nvSpPr>
        <p:spPr>
          <a:xfrm>
            <a:off x="358874" y="1663695"/>
            <a:ext cx="6593016" cy="456480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000" b="0" i="1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pic>
        <p:nvPicPr>
          <p:cNvPr id="8" name="Segnaposto immagine 16">
            <a:extLst>
              <a:ext uri="{FF2B5EF4-FFF2-40B4-BE49-F238E27FC236}">
                <a16:creationId xmlns:a16="http://schemas.microsoft.com/office/drawing/2014/main" id="{BBAB84FA-29E1-B546-4A82-007CF35332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2700" t="10552" r="10875" b="5051"/>
          <a:stretch>
            <a:fillRect/>
          </a:stretch>
        </p:blipFill>
        <p:spPr>
          <a:xfrm>
            <a:off x="5343525" y="2037274"/>
            <a:ext cx="6505763" cy="4041346"/>
          </a:xfrm>
          <a:prstGeom prst="rect">
            <a:avLst/>
          </a:prstGeom>
          <a:noFill/>
          <a:ln w="28575" cap="flat">
            <a:solidFill>
              <a:srgbClr val="000000"/>
            </a:solidFill>
            <a:prstDash val="solid"/>
            <a:miter/>
          </a:ln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AD6439F-DD30-D32F-FFA3-2F74A812DDBF}"/>
              </a:ext>
            </a:extLst>
          </p:cNvPr>
          <p:cNvSpPr txBox="1"/>
          <p:nvPr/>
        </p:nvSpPr>
        <p:spPr>
          <a:xfrm>
            <a:off x="358874" y="2037264"/>
            <a:ext cx="4803681" cy="406113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</a:endParaRPr>
          </a:p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The results of this experiment indicate that:</a:t>
            </a:r>
          </a:p>
          <a:p>
            <a:pPr marL="457200" marR="0" lvl="0" indent="-45720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The actual </a:t>
            </a:r>
            <a:r>
              <a:rPr lang="en-GB" sz="1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IAQ</a:t>
            </a: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 performances are at the </a:t>
            </a:r>
            <a:r>
              <a:rPr lang="en-GB" sz="1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best level </a:t>
            </a: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according to the active house protocol 3.0 compared to simulated data. Lower values suggest an empty indoor space.</a:t>
            </a:r>
          </a:p>
          <a:p>
            <a:pPr marL="457200" marR="0" lvl="0" indent="-45720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</a:endParaRPr>
          </a:p>
          <a:p>
            <a:pPr marL="457200" marR="0" lvl="0" indent="-45720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The </a:t>
            </a:r>
            <a:r>
              <a:rPr lang="en-GB" sz="1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thermal environment </a:t>
            </a: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appears to achieve </a:t>
            </a:r>
            <a:r>
              <a:rPr lang="en-GB" sz="1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better</a:t>
            </a: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 building </a:t>
            </a:r>
            <a:r>
              <a:rPr lang="en-GB" sz="1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performance</a:t>
            </a: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 in the building with </a:t>
            </a:r>
            <a:r>
              <a:rPr lang="en-GB" sz="1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hybrid ventilation</a:t>
            </a: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, confirming the simulated/predicted performances. Higher scores demonstrate the free contribution to heat gains.</a:t>
            </a:r>
          </a:p>
          <a:p>
            <a:pPr marL="457200" marR="0" lvl="0" indent="-45720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Arial" pitchFamily="34"/>
              <a:buChar char="•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400" b="0" i="0" u="none" strike="noStrike" kern="1200" cap="none" spc="0" baseline="0" dirty="0">
              <a:solidFill>
                <a:srgbClr val="000000"/>
              </a:solidFill>
              <a:uFillTx/>
              <a:latin typeface="VeluxForOffice"/>
            </a:endParaRPr>
          </a:p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As the buildings are not occupied, any evaluation feedback was performed to compare measured and perceived comfort performances.</a:t>
            </a:r>
            <a:endParaRPr lang="en-GB" sz="1800" b="0" i="1" u="none" strike="noStrike" kern="1200" cap="none" spc="0" baseline="0" dirty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10" name="object 2036">
            <a:extLst>
              <a:ext uri="{FF2B5EF4-FFF2-40B4-BE49-F238E27FC236}">
                <a16:creationId xmlns:a16="http://schemas.microsoft.com/office/drawing/2014/main" id="{E1BE4C32-D044-6BDB-08BF-DB819D9D95A7}"/>
              </a:ext>
            </a:extLst>
          </p:cNvPr>
          <p:cNvSpPr txBox="1"/>
          <p:nvPr/>
        </p:nvSpPr>
        <p:spPr>
          <a:xfrm>
            <a:off x="11755745" y="6504593"/>
            <a:ext cx="506359" cy="22399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467" rIns="0" bIns="0" anchor="t" anchorCtr="0" compatLnSpc="1">
            <a:spAutoFit/>
          </a:bodyPr>
          <a:lstStyle/>
          <a:p>
            <a:pPr marL="23106" marR="0" lvl="0" indent="0" algn="l" defTabSz="914400" rtl="0" fontAlgn="auto" hangingPunct="1">
              <a:lnSpc>
                <a:spcPct val="100000"/>
              </a:lnSpc>
              <a:spcBef>
                <a:spcPts val="6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EB47A1F-B231-454C-9ADB-BF7D6CCBDA07}" type="slidenum">
              <a:rPr sz="1400">
                <a:solidFill>
                  <a:schemeClr val="bg1">
                    <a:lumMod val="65000"/>
                  </a:schemeClr>
                </a:solidFill>
              </a:rPr>
              <a:t>29</a:t>
            </a:fld>
            <a:endParaRPr lang="en-DK" sz="1400" b="0" i="0" u="none" strike="noStrike" kern="1200" cap="none" spc="0" baseline="0" dirty="0">
              <a:solidFill>
                <a:schemeClr val="bg1">
                  <a:lumMod val="65000"/>
                </a:schemeClr>
              </a:solidFill>
              <a:uFillTx/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348044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>
            <a:extLst>
              <a:ext uri="{FF2B5EF4-FFF2-40B4-BE49-F238E27FC236}">
                <a16:creationId xmlns:a16="http://schemas.microsoft.com/office/drawing/2014/main" id="{830471A5-29B2-9F6D-7D07-DCC711740511}"/>
              </a:ext>
            </a:extLst>
          </p:cNvPr>
          <p:cNvSpPr/>
          <p:nvPr/>
        </p:nvSpPr>
        <p:spPr>
          <a:xfrm>
            <a:off x="859" y="237"/>
            <a:ext cx="12190287" cy="6857039"/>
          </a:xfrm>
          <a:prstGeom prst="rect">
            <a:avLst/>
          </a:prstGeom>
          <a:blipFill>
            <a:blip r:embed="rId3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F731A000-2A3A-C0E3-3B36-A42292997FD6}"/>
              </a:ext>
            </a:extLst>
          </p:cNvPr>
          <p:cNvSpPr/>
          <p:nvPr/>
        </p:nvSpPr>
        <p:spPr>
          <a:xfrm>
            <a:off x="10969261" y="337148"/>
            <a:ext cx="896779" cy="297390"/>
          </a:xfrm>
          <a:prstGeom prst="rect">
            <a:avLst/>
          </a:prstGeom>
          <a:blipFill>
            <a:blip r:embed="rId4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DBA43D52-CD7E-1E55-5B0D-9F6C8F6D27C9}"/>
              </a:ext>
            </a:extLst>
          </p:cNvPr>
          <p:cNvSpPr txBox="1"/>
          <p:nvPr/>
        </p:nvSpPr>
        <p:spPr>
          <a:xfrm>
            <a:off x="10947809" y="656539"/>
            <a:ext cx="940423" cy="2615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8864" rIns="0" bIns="0" anchor="t" anchorCtr="1" compatLnSpc="1">
            <a:spAutoFit/>
          </a:bodyPr>
          <a:lstStyle/>
          <a:p>
            <a:pPr marL="15014" marR="3081" lvl="0" indent="-7699" algn="ctr" defTabSz="914400" rtl="0" fontAlgn="auto" hangingPunct="1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US</a:t>
            </a:r>
            <a:r>
              <a:rPr lang="en-GB" sz="788" b="0" i="0" u="none" strike="noStrike" kern="1200" cap="none" spc="-55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T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A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NAB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LITY  </a:t>
            </a:r>
            <a:r>
              <a:rPr lang="en-GB" sz="788" b="0" i="0" u="none" strike="noStrike" kern="1200" cap="none" spc="-6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TRATEGY</a:t>
            </a:r>
            <a:r>
              <a:rPr lang="en-GB" sz="788" b="0" i="0" u="none" strike="noStrike" kern="1200" cap="none" spc="-49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 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2030</a:t>
            </a:r>
          </a:p>
        </p:txBody>
      </p:sp>
      <p:pic>
        <p:nvPicPr>
          <p:cNvPr id="5" name="Picture 16">
            <a:extLst>
              <a:ext uri="{FF2B5EF4-FFF2-40B4-BE49-F238E27FC236}">
                <a16:creationId xmlns:a16="http://schemas.microsoft.com/office/drawing/2014/main" id="{30E11D1F-6880-FDE2-0373-2BA61619A2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0475" y="582280"/>
            <a:ext cx="5830689" cy="5600453"/>
          </a:xfrm>
          <a:prstGeom prst="rect">
            <a:avLst/>
          </a:prstGeom>
          <a:noFill/>
          <a:ln cap="flat">
            <a:noFill/>
          </a:ln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4550EFFB-6E4F-122B-50E3-6318D1FCD14D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58874" y="323423"/>
            <a:ext cx="9508726" cy="302017"/>
          </a:xfrm>
        </p:spPr>
        <p:txBody>
          <a:bodyPr/>
          <a:lstStyle/>
          <a:p>
            <a:endParaRPr lang="en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E6226C-3CAC-68A1-BCDE-A2815FBC4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04718A-097A-783A-8790-6137619CD25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8865" y="1663695"/>
            <a:ext cx="11476469" cy="4564803"/>
          </a:xfrm>
        </p:spPr>
        <p:txBody>
          <a:bodyPr/>
          <a:lstStyle/>
          <a:p>
            <a:endParaRPr lang="en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B4D4A9-10D6-FA9A-6FB0-96D01FDB76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" y="0"/>
            <a:ext cx="1219107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6401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0E7E99-0547-26D7-4A3B-F92C873489F5}"/>
              </a:ext>
            </a:extLst>
          </p:cNvPr>
          <p:cNvSpPr txBox="1"/>
          <p:nvPr/>
        </p:nvSpPr>
        <p:spPr>
          <a:xfrm>
            <a:off x="0" y="6858000"/>
            <a:ext cx="0" cy="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B631A798-B152-4373-B3E2-A435E7E287C0}" type="slidenum">
              <a:rPr/>
              <a:t>31</a:t>
            </a:fld>
            <a:endParaRPr lang="en-DK" sz="1000" b="0" i="0" u="none" strike="noStrike" kern="1200" cap="none" spc="0" baseline="0">
              <a:solidFill>
                <a:srgbClr val="000000"/>
              </a:solidFill>
              <a:uFillTx/>
              <a:latin typeface="VELUX Transform Office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5BA37E-C54D-C123-9FBC-F362E567280F}"/>
              </a:ext>
            </a:extLst>
          </p:cNvPr>
          <p:cNvSpPr txBox="1"/>
          <p:nvPr/>
        </p:nvSpPr>
        <p:spPr>
          <a:xfrm>
            <a:off x="0" y="6858000"/>
            <a:ext cx="0" cy="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000" b="0" i="0" u="none" strike="noStrike" kern="1200" cap="none" spc="0" baseline="0">
              <a:solidFill>
                <a:srgbClr val="000000"/>
              </a:solidFill>
              <a:uFillTx/>
              <a:latin typeface="VELUX Transform Office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9E7B57-A716-F8C3-FF89-085AC5E2714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66262" y="5595432"/>
            <a:ext cx="4909826" cy="494471"/>
          </a:xfrm>
        </p:spPr>
        <p:txBody>
          <a:bodyPr/>
          <a:lstStyle/>
          <a:p>
            <a:r>
              <a:rPr lang="en-US" sz="1800" dirty="0"/>
              <a:t>ambra.guglietti@velux.com</a:t>
            </a:r>
            <a:endParaRPr lang="en-DK" sz="18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0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>
            <a:extLst>
              <a:ext uri="{FF2B5EF4-FFF2-40B4-BE49-F238E27FC236}">
                <a16:creationId xmlns:a16="http://schemas.microsoft.com/office/drawing/2014/main" id="{AE0FBE0D-85EE-9F79-046A-B07DF226D32A}"/>
              </a:ext>
            </a:extLst>
          </p:cNvPr>
          <p:cNvSpPr/>
          <p:nvPr/>
        </p:nvSpPr>
        <p:spPr>
          <a:xfrm>
            <a:off x="859" y="960"/>
            <a:ext cx="12190287" cy="6857039"/>
          </a:xfrm>
          <a:prstGeom prst="rect">
            <a:avLst/>
          </a:prstGeom>
          <a:blipFill>
            <a:blip r:embed="rId3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pic>
        <p:nvPicPr>
          <p:cNvPr id="3" name="Picture 20">
            <a:extLst>
              <a:ext uri="{FF2B5EF4-FFF2-40B4-BE49-F238E27FC236}">
                <a16:creationId xmlns:a16="http://schemas.microsoft.com/office/drawing/2014/main" id="{A1D8A98F-679E-551A-3A03-425EEB3C79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0475" y="581924"/>
            <a:ext cx="5831055" cy="56008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Rectangle: Rounded Corners 5">
            <a:extLst>
              <a:ext uri="{FF2B5EF4-FFF2-40B4-BE49-F238E27FC236}">
                <a16:creationId xmlns:a16="http://schemas.microsoft.com/office/drawing/2014/main" id="{D8849227-7C8A-7C91-2FB5-E0A3E59FA430}"/>
              </a:ext>
            </a:extLst>
          </p:cNvPr>
          <p:cNvSpPr/>
          <p:nvPr/>
        </p:nvSpPr>
        <p:spPr>
          <a:xfrm>
            <a:off x="3912525" y="2865565"/>
            <a:ext cx="4319808" cy="536048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noFill/>
          <a:ln w="38103" cap="flat">
            <a:solidFill>
              <a:srgbClr val="00B050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2000" b="0" i="0" u="none" strike="noStrike" kern="1200" cap="none" spc="0" baseline="0">
              <a:solidFill>
                <a:srgbClr val="FFFFFF"/>
              </a:solidFill>
              <a:uFillTx/>
              <a:latin typeface="VeluxForOffice"/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C8D18E72-4944-1030-21D0-7E9071C5D8F6}"/>
              </a:ext>
            </a:extLst>
          </p:cNvPr>
          <p:cNvSpPr/>
          <p:nvPr/>
        </p:nvSpPr>
        <p:spPr>
          <a:xfrm>
            <a:off x="10969261" y="337148"/>
            <a:ext cx="896779" cy="297390"/>
          </a:xfrm>
          <a:prstGeom prst="rect">
            <a:avLst/>
          </a:prstGeom>
          <a:blipFill>
            <a:blip r:embed="rId5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786D49F9-60FE-B2AA-462C-4CAAD8FB2193}"/>
              </a:ext>
            </a:extLst>
          </p:cNvPr>
          <p:cNvSpPr txBox="1"/>
          <p:nvPr/>
        </p:nvSpPr>
        <p:spPr>
          <a:xfrm>
            <a:off x="10947809" y="656539"/>
            <a:ext cx="940423" cy="2615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8864" rIns="0" bIns="0" anchor="t" anchorCtr="1" compatLnSpc="1">
            <a:spAutoFit/>
          </a:bodyPr>
          <a:lstStyle/>
          <a:p>
            <a:pPr marL="15014" marR="3081" lvl="0" indent="-7699" algn="ctr" defTabSz="914400" rtl="0" fontAlgn="auto" hangingPunct="1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US</a:t>
            </a:r>
            <a:r>
              <a:rPr lang="en-GB" sz="788" b="0" i="0" u="none" strike="noStrike" kern="1200" cap="none" spc="-55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T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A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NAB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LITY  </a:t>
            </a:r>
            <a:r>
              <a:rPr lang="en-GB" sz="788" b="0" i="0" u="none" strike="noStrike" kern="1200" cap="none" spc="-6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TRATEGY</a:t>
            </a:r>
            <a:r>
              <a:rPr lang="en-GB" sz="788" b="0" i="0" u="none" strike="noStrike" kern="1200" cap="none" spc="-49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 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2030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4424FE28-4AE6-8D0C-05E5-FCC581072CCB}"/>
              </a:ext>
            </a:extLst>
          </p:cNvPr>
          <p:cNvSpPr/>
          <p:nvPr/>
        </p:nvSpPr>
        <p:spPr>
          <a:xfrm>
            <a:off x="419865" y="6019751"/>
            <a:ext cx="2899534" cy="634968"/>
          </a:xfrm>
          <a:custGeom>
            <a:avLst/>
            <a:gdLst>
              <a:gd name="f0" fmla="val w"/>
              <a:gd name="f1" fmla="val h"/>
              <a:gd name="f2" fmla="val 0"/>
              <a:gd name="f3" fmla="val 4781550"/>
              <a:gd name="f4" fmla="val 1047115"/>
              <a:gd name="f5" fmla="val 4781514"/>
              <a:gd name="f6" fmla="val 1047088"/>
              <a:gd name="f7" fmla="*/ f0 1 4781550"/>
              <a:gd name="f8" fmla="*/ f1 1 1047115"/>
              <a:gd name="f9" fmla="+- f4 0 f2"/>
              <a:gd name="f10" fmla="+- f3 0 f2"/>
              <a:gd name="f11" fmla="*/ f10 1 4781550"/>
              <a:gd name="f12" fmla="*/ f9 1 104711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4781550" h="1047115">
                <a:moveTo>
                  <a:pt x="f2" y="f2"/>
                </a:moveTo>
                <a:lnTo>
                  <a:pt x="f5" y="f2"/>
                </a:lnTo>
                <a:lnTo>
                  <a:pt x="f5" y="f6"/>
                </a:lnTo>
                <a:lnTo>
                  <a:pt x="f2" y="f6"/>
                </a:lnTo>
                <a:lnTo>
                  <a:pt x="f2" y="f2"/>
                </a:lnTo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698B3467-7205-6626-3EC7-70C07C8ACEB1}"/>
              </a:ext>
            </a:extLst>
          </p:cNvPr>
          <p:cNvSpPr/>
          <p:nvPr/>
        </p:nvSpPr>
        <p:spPr>
          <a:xfrm>
            <a:off x="429" y="0"/>
            <a:ext cx="12191146" cy="6857515"/>
          </a:xfrm>
          <a:prstGeom prst="rect">
            <a:avLst/>
          </a:prstGeom>
          <a:blipFill>
            <a:blip r:embed="rId3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4" name="object 5">
            <a:extLst>
              <a:ext uri="{FF2B5EF4-FFF2-40B4-BE49-F238E27FC236}">
                <a16:creationId xmlns:a16="http://schemas.microsoft.com/office/drawing/2014/main" id="{790B8DC1-121D-12CC-E069-B2A880EE9301}"/>
              </a:ext>
            </a:extLst>
          </p:cNvPr>
          <p:cNvSpPr/>
          <p:nvPr/>
        </p:nvSpPr>
        <p:spPr>
          <a:xfrm>
            <a:off x="616131" y="2275950"/>
            <a:ext cx="3606128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3606130"/>
              <a:gd name="f5" fmla="val 3605894"/>
              <a:gd name="f6" fmla="abs f0"/>
              <a:gd name="f7" fmla="abs f1"/>
              <a:gd name="f8" fmla="abs f2"/>
              <a:gd name="f9" fmla="*/ f0 1 3606130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3606130"/>
              <a:gd name="f16" fmla="*/ f10 1 0"/>
              <a:gd name="f17" fmla="*/ f12 1 3606130"/>
              <a:gd name="f18" fmla="*/ f13 1 21600"/>
              <a:gd name="f19" fmla="*/ 21600 f13 1"/>
              <a:gd name="f20" fmla="*/ 0 1 f15"/>
              <a:gd name="f21" fmla="*/ 3606130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3606130">
                <a:moveTo>
                  <a:pt x="f3" y="f29"/>
                </a:moveTo>
                <a:lnTo>
                  <a:pt x="f5" y="f29"/>
                </a:lnTo>
              </a:path>
            </a:pathLst>
          </a:custGeom>
          <a:noFill/>
          <a:ln w="52358" cap="flat">
            <a:solidFill>
              <a:srgbClr val="FFFFFF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5" name="object 7">
            <a:extLst>
              <a:ext uri="{FF2B5EF4-FFF2-40B4-BE49-F238E27FC236}">
                <a16:creationId xmlns:a16="http://schemas.microsoft.com/office/drawing/2014/main" id="{9AFAC4D2-97F5-39DA-7947-DBEC21DDDC6C}"/>
              </a:ext>
            </a:extLst>
          </p:cNvPr>
          <p:cNvSpPr txBox="1"/>
          <p:nvPr/>
        </p:nvSpPr>
        <p:spPr>
          <a:xfrm>
            <a:off x="895142" y="2020833"/>
            <a:ext cx="3553029" cy="20769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304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PIONEER CLIMATE AND NATURE ACTION</a:t>
            </a:r>
          </a:p>
        </p:txBody>
      </p:sp>
      <p:sp>
        <p:nvSpPr>
          <p:cNvPr id="6" name="object 7">
            <a:extLst>
              <a:ext uri="{FF2B5EF4-FFF2-40B4-BE49-F238E27FC236}">
                <a16:creationId xmlns:a16="http://schemas.microsoft.com/office/drawing/2014/main" id="{2C22048E-B0B8-9E82-010C-8BF5FE575055}"/>
              </a:ext>
            </a:extLst>
          </p:cNvPr>
          <p:cNvSpPr txBox="1"/>
          <p:nvPr/>
        </p:nvSpPr>
        <p:spPr>
          <a:xfrm>
            <a:off x="1292266" y="2275950"/>
            <a:ext cx="5369484" cy="395107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76477" rIns="0" bIns="0" anchor="t" anchorCtr="0" compatLnSpc="1">
            <a:spAutoFit/>
          </a:bodyPr>
          <a:lstStyle/>
          <a:p>
            <a:pPr marL="0" marR="10012" lvl="0" indent="0" algn="l" defTabSz="914400" rtl="0" fontAlgn="auto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852" b="1" i="0" u="none" strike="noStrike" kern="1200" cap="none" spc="-91" baseline="0" dirty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how </a:t>
            </a:r>
            <a:r>
              <a:rPr lang="en-GB" sz="6852" b="1" i="0" u="none" strike="noStrike" kern="1200" cap="none" spc="-118" baseline="0" dirty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how  </a:t>
            </a:r>
            <a:br>
              <a:rPr lang="en-GB" sz="6852" b="1" i="0" u="none" strike="noStrike" kern="1200" cap="none" spc="-118" baseline="0" dirty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</a:br>
            <a:r>
              <a:rPr lang="en-GB" sz="6852" b="1" i="0" u="none" strike="noStrike" kern="1200" cap="none" spc="-61" baseline="0" dirty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to </a:t>
            </a:r>
            <a:r>
              <a:rPr lang="en-GB" sz="6852" b="1" i="0" u="none" strike="noStrike" kern="1200" cap="none" spc="-118" baseline="0" dirty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build  </a:t>
            </a:r>
            <a:r>
              <a:rPr lang="en-GB" sz="6852" b="1" i="0" u="none" strike="noStrike" kern="1200" cap="none" spc="-121" baseline="0" dirty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ustainably</a:t>
            </a:r>
            <a:endParaRPr lang="en-GB" sz="2183" b="1" i="0" u="none" strike="noStrike" kern="1200" cap="none" spc="-18" baseline="0" dirty="0">
              <a:solidFill>
                <a:srgbClr val="FFFFFF"/>
              </a:solidFill>
              <a:uFillTx/>
              <a:latin typeface="VELUXforOffice" pitchFamily="2"/>
              <a:cs typeface="Helvetica"/>
            </a:endParaRPr>
          </a:p>
          <a:p>
            <a:pPr marL="0" marR="10012" lvl="0" indent="0" algn="l" defTabSz="914400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183" b="0" i="0" u="none" strike="noStrike" kern="1200" cap="none" spc="-18" baseline="0" dirty="0">
              <a:solidFill>
                <a:srgbClr val="FFFFFF"/>
              </a:solidFill>
              <a:uFillTx/>
              <a:latin typeface="VELUXforOffice" pitchFamily="2"/>
              <a:cs typeface="Helvetica"/>
            </a:endParaRPr>
          </a:p>
          <a:p>
            <a:pPr marL="0" marR="10012" lvl="0" indent="0" algn="l" defTabSz="914400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183" b="0" i="0" u="none" strike="noStrike" kern="1200" cap="none" spc="-18" baseline="0" dirty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nspire and advocate for sustainable buildings and communities as a strong lever for the green transition and quality of life.</a:t>
            </a:r>
            <a:endParaRPr lang="en-GB" sz="2183" b="0" i="0" u="none" strike="noStrike" kern="1200" cap="none" spc="0" baseline="0" dirty="0">
              <a:solidFill>
                <a:srgbClr val="FFFFFF"/>
              </a:solidFill>
              <a:uFillTx/>
              <a:latin typeface="VELUXforOffice" pitchFamily="2"/>
              <a:cs typeface="Helvetica"/>
            </a:endParaRPr>
          </a:p>
        </p:txBody>
      </p:sp>
      <p:pic>
        <p:nvPicPr>
          <p:cNvPr id="7" name="Picture 17">
            <a:extLst>
              <a:ext uri="{FF2B5EF4-FFF2-40B4-BE49-F238E27FC236}">
                <a16:creationId xmlns:a16="http://schemas.microsoft.com/office/drawing/2014/main" id="{0B1C4A48-C780-025C-E44C-9519A4F59F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240" y="2054373"/>
            <a:ext cx="443154" cy="44315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object 8">
            <a:extLst>
              <a:ext uri="{FF2B5EF4-FFF2-40B4-BE49-F238E27FC236}">
                <a16:creationId xmlns:a16="http://schemas.microsoft.com/office/drawing/2014/main" id="{3CC71D55-55E1-B3BE-B47E-5EE8E9FE8D32}"/>
              </a:ext>
            </a:extLst>
          </p:cNvPr>
          <p:cNvSpPr/>
          <p:nvPr/>
        </p:nvSpPr>
        <p:spPr>
          <a:xfrm>
            <a:off x="10969608" y="336928"/>
            <a:ext cx="896843" cy="297408"/>
          </a:xfrm>
          <a:prstGeom prst="rect">
            <a:avLst/>
          </a:prstGeom>
          <a:blipFill>
            <a:blip r:embed="rId5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9" name="object 8">
            <a:extLst>
              <a:ext uri="{FF2B5EF4-FFF2-40B4-BE49-F238E27FC236}">
                <a16:creationId xmlns:a16="http://schemas.microsoft.com/office/drawing/2014/main" id="{BBA86C5C-F4B5-2329-83B5-077C104CE97E}"/>
              </a:ext>
            </a:extLst>
          </p:cNvPr>
          <p:cNvSpPr txBox="1"/>
          <p:nvPr/>
        </p:nvSpPr>
        <p:spPr>
          <a:xfrm>
            <a:off x="10947809" y="656539"/>
            <a:ext cx="940423" cy="2615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8864" rIns="0" bIns="0" anchor="t" anchorCtr="1" compatLnSpc="1">
            <a:spAutoFit/>
          </a:bodyPr>
          <a:lstStyle/>
          <a:p>
            <a:pPr marL="15014" marR="3081" lvl="0" indent="-7699" algn="ctr" defTabSz="914400" rtl="0" fontAlgn="auto" hangingPunct="1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US</a:t>
            </a:r>
            <a:r>
              <a:rPr lang="en-GB" sz="788" b="0" i="0" u="none" strike="noStrike" kern="1200" cap="none" spc="-55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T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A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NAB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LITY  </a:t>
            </a:r>
            <a:r>
              <a:rPr lang="en-GB" sz="788" b="0" i="0" u="none" strike="noStrike" kern="1200" cap="none" spc="-6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TRATEGY</a:t>
            </a:r>
            <a:r>
              <a:rPr lang="en-GB" sz="788" b="0" i="0" u="none" strike="noStrike" kern="1200" cap="none" spc="-49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 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2030</a:t>
            </a:r>
          </a:p>
        </p:txBody>
      </p:sp>
      <p:pic>
        <p:nvPicPr>
          <p:cNvPr id="10" name="Picture 19">
            <a:extLst>
              <a:ext uri="{FF2B5EF4-FFF2-40B4-BE49-F238E27FC236}">
                <a16:creationId xmlns:a16="http://schemas.microsoft.com/office/drawing/2014/main" id="{118B150F-18AA-6786-B286-3D6EEFE754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3768" y="291894"/>
            <a:ext cx="638918" cy="613800"/>
          </a:xfrm>
          <a:prstGeom prst="rect">
            <a:avLst/>
          </a:prstGeom>
          <a:noFill/>
          <a:ln cap="flat"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0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A tree with a sunset in the background&#10;&#10;Description automatically generated">
            <a:extLst>
              <a:ext uri="{FF2B5EF4-FFF2-40B4-BE49-F238E27FC236}">
                <a16:creationId xmlns:a16="http://schemas.microsoft.com/office/drawing/2014/main" id="{41268DAE-0683-2B29-3DA5-A9729724CD7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29" y="0"/>
            <a:ext cx="12191146" cy="68580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object 8">
            <a:extLst>
              <a:ext uri="{FF2B5EF4-FFF2-40B4-BE49-F238E27FC236}">
                <a16:creationId xmlns:a16="http://schemas.microsoft.com/office/drawing/2014/main" id="{0F5DBB0C-2EBA-3BC6-0FE5-11A57BE0B7FA}"/>
              </a:ext>
            </a:extLst>
          </p:cNvPr>
          <p:cNvSpPr/>
          <p:nvPr/>
        </p:nvSpPr>
        <p:spPr>
          <a:xfrm>
            <a:off x="10969608" y="336928"/>
            <a:ext cx="896843" cy="297408"/>
          </a:xfrm>
          <a:prstGeom prst="rect">
            <a:avLst/>
          </a:prstGeom>
          <a:blipFill>
            <a:blip r:embed="rId4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0F8DD2F6-E906-9BFB-3B8E-374162BC67F2}"/>
              </a:ext>
            </a:extLst>
          </p:cNvPr>
          <p:cNvSpPr txBox="1"/>
          <p:nvPr/>
        </p:nvSpPr>
        <p:spPr>
          <a:xfrm>
            <a:off x="10947809" y="656539"/>
            <a:ext cx="940423" cy="2615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8864" rIns="0" bIns="0" anchor="t" anchorCtr="1" compatLnSpc="1">
            <a:spAutoFit/>
          </a:bodyPr>
          <a:lstStyle/>
          <a:p>
            <a:pPr marL="15014" marR="3081" lvl="0" indent="-7699" algn="ctr" defTabSz="914400" rtl="0" fontAlgn="auto" hangingPunct="1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US</a:t>
            </a:r>
            <a:r>
              <a:rPr lang="en-GB" sz="788" b="0" i="0" u="none" strike="noStrike" kern="1200" cap="none" spc="-55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T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A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NAB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LITY  </a:t>
            </a:r>
            <a:r>
              <a:rPr lang="en-GB" sz="788" b="0" i="0" u="none" strike="noStrike" kern="1200" cap="none" spc="-6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TRATEGY</a:t>
            </a:r>
            <a:r>
              <a:rPr lang="en-GB" sz="788" b="0" i="0" u="none" strike="noStrike" kern="1200" cap="none" spc="-49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 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2030</a:t>
            </a:r>
          </a:p>
        </p:txBody>
      </p:sp>
      <p:pic>
        <p:nvPicPr>
          <p:cNvPr id="5" name="Picture 16">
            <a:extLst>
              <a:ext uri="{FF2B5EF4-FFF2-40B4-BE49-F238E27FC236}">
                <a16:creationId xmlns:a16="http://schemas.microsoft.com/office/drawing/2014/main" id="{ADD85928-4578-FBE4-B658-BCB8ED0289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768" y="291894"/>
            <a:ext cx="638918" cy="6138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object 7">
            <a:extLst>
              <a:ext uri="{FF2B5EF4-FFF2-40B4-BE49-F238E27FC236}">
                <a16:creationId xmlns:a16="http://schemas.microsoft.com/office/drawing/2014/main" id="{A821ECAB-55BB-93A1-06C1-4A870B50B080}"/>
              </a:ext>
            </a:extLst>
          </p:cNvPr>
          <p:cNvSpPr txBox="1"/>
          <p:nvPr/>
        </p:nvSpPr>
        <p:spPr>
          <a:xfrm>
            <a:off x="548640" y="3489249"/>
            <a:ext cx="8917969" cy="165029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76459" rIns="0" bIns="0" anchor="t" anchorCtr="0" compatLnSpc="1">
            <a:spAutoFit/>
          </a:bodyPr>
          <a:lstStyle/>
          <a:p>
            <a:pPr marL="0" marR="10012" lvl="0" indent="0" algn="l" defTabSz="914400" rtl="0" fontAlgn="auto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600" b="1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Build for Life</a:t>
            </a:r>
            <a:endParaRPr lang="en-GB" sz="6600" b="0" i="0" u="none" strike="noStrike" kern="1200" cap="none" spc="0" baseline="0">
              <a:solidFill>
                <a:srgbClr val="FFFFFF"/>
              </a:solidFill>
              <a:uFillTx/>
              <a:latin typeface="VELUXforOffice" pitchFamily="2"/>
              <a:cs typeface="Helvetica"/>
            </a:endParaRPr>
          </a:p>
          <a:p>
            <a:pPr marL="0" marR="10012" lvl="0" indent="0" algn="l" defTabSz="914400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2000" b="0" i="0" u="none" strike="noStrike" kern="1200" cap="none" spc="0" baseline="0">
                <a:solidFill>
                  <a:srgbClr val="FFFFFF"/>
                </a:solidFill>
                <a:uFillTx/>
                <a:latin typeface="VeluxForOffice"/>
                <a:cs typeface="Trebuchet MS"/>
              </a:rPr>
              <a:t>How we build and transform buildings today has an enormous impact on people and communities, as well as the ecosystems that sustain us tomorrow.</a:t>
            </a: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forOffice" pitchFamily="2"/>
              <a:cs typeface="Helvetica"/>
            </a:endParaRPr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81057014-0648-1FD6-6E6F-9C1C9BB55742}"/>
              </a:ext>
            </a:extLst>
          </p:cNvPr>
          <p:cNvSpPr/>
          <p:nvPr/>
        </p:nvSpPr>
        <p:spPr>
          <a:xfrm>
            <a:off x="616131" y="3299539"/>
            <a:ext cx="3606128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3606130"/>
              <a:gd name="f5" fmla="val 3605894"/>
              <a:gd name="f6" fmla="abs f0"/>
              <a:gd name="f7" fmla="abs f1"/>
              <a:gd name="f8" fmla="abs f2"/>
              <a:gd name="f9" fmla="*/ f0 1 3606130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3606130"/>
              <a:gd name="f16" fmla="*/ f10 1 0"/>
              <a:gd name="f17" fmla="*/ f12 1 3606130"/>
              <a:gd name="f18" fmla="*/ f13 1 21600"/>
              <a:gd name="f19" fmla="*/ 21600 f13 1"/>
              <a:gd name="f20" fmla="*/ 0 1 f15"/>
              <a:gd name="f21" fmla="*/ 3606130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3606130">
                <a:moveTo>
                  <a:pt x="f3" y="f29"/>
                </a:moveTo>
                <a:lnTo>
                  <a:pt x="f5" y="f29"/>
                </a:lnTo>
              </a:path>
            </a:pathLst>
          </a:custGeom>
          <a:noFill/>
          <a:ln w="52358" cap="flat">
            <a:solidFill>
              <a:srgbClr val="FFFFFF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8" name="object 7">
            <a:extLst>
              <a:ext uri="{FF2B5EF4-FFF2-40B4-BE49-F238E27FC236}">
                <a16:creationId xmlns:a16="http://schemas.microsoft.com/office/drawing/2014/main" id="{A9599938-E148-6939-E59E-2C57CFBFED03}"/>
              </a:ext>
            </a:extLst>
          </p:cNvPr>
          <p:cNvSpPr txBox="1"/>
          <p:nvPr/>
        </p:nvSpPr>
        <p:spPr>
          <a:xfrm>
            <a:off x="909206" y="3022037"/>
            <a:ext cx="3481642" cy="20769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304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PIONEER CLIMATE AND NATURE ACTION</a:t>
            </a:r>
          </a:p>
        </p:txBody>
      </p:sp>
      <p:pic>
        <p:nvPicPr>
          <p:cNvPr id="9" name="Picture 57">
            <a:extLst>
              <a:ext uri="{FF2B5EF4-FFF2-40B4-BE49-F238E27FC236}">
                <a16:creationId xmlns:a16="http://schemas.microsoft.com/office/drawing/2014/main" id="{2C4738EE-C7F6-688D-2254-8ECE91B7FC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8240" y="3077961"/>
            <a:ext cx="443154" cy="443154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10" name="Group 4">
            <a:extLst>
              <a:ext uri="{FF2B5EF4-FFF2-40B4-BE49-F238E27FC236}">
                <a16:creationId xmlns:a16="http://schemas.microsoft.com/office/drawing/2014/main" id="{38BA3525-08CD-F011-D9A1-62D7E9298EA2}"/>
              </a:ext>
            </a:extLst>
          </p:cNvPr>
          <p:cNvGrpSpPr/>
          <p:nvPr/>
        </p:nvGrpSpPr>
        <p:grpSpPr>
          <a:xfrm>
            <a:off x="358773" y="5250320"/>
            <a:ext cx="11469694" cy="1262456"/>
            <a:chOff x="358773" y="5250320"/>
            <a:chExt cx="11469694" cy="1262456"/>
          </a:xfrm>
        </p:grpSpPr>
        <p:sp>
          <p:nvSpPr>
            <p:cNvPr id="11" name="object 54">
              <a:extLst>
                <a:ext uri="{FF2B5EF4-FFF2-40B4-BE49-F238E27FC236}">
                  <a16:creationId xmlns:a16="http://schemas.microsoft.com/office/drawing/2014/main" id="{34AA1B4F-74EC-4FDF-7003-C65CF925907F}"/>
                </a:ext>
              </a:extLst>
            </p:cNvPr>
            <p:cNvSpPr txBox="1"/>
            <p:nvPr/>
          </p:nvSpPr>
          <p:spPr>
            <a:xfrm>
              <a:off x="358773" y="6284534"/>
              <a:ext cx="931919" cy="22400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8467" rIns="0" bIns="0" anchor="t" anchorCtr="0" compatLnSpc="1">
              <a:spAutoFit/>
            </a:bodyPr>
            <a:lstStyle/>
            <a:p>
              <a:pPr marL="7699" marR="0" lvl="0" indent="0" algn="l" defTabSz="554492" rtl="0" fontAlgn="auto" hangingPunct="1">
                <a:lnSpc>
                  <a:spcPct val="100000"/>
                </a:lnSpc>
                <a:spcBef>
                  <a:spcPts val="65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61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Extraction</a:t>
              </a:r>
              <a:endParaRPr lang="en-US" sz="1400" b="0" i="0" u="none" strike="noStrike" kern="1200" cap="none" spc="0" baseline="0">
                <a:solidFill>
                  <a:srgbClr val="FFFFFF"/>
                </a:solidFill>
                <a:uFillTx/>
                <a:latin typeface="VeluxForOffice"/>
                <a:cs typeface="Trebuchet MS"/>
              </a:endParaRPr>
            </a:p>
          </p:txBody>
        </p:sp>
        <p:sp>
          <p:nvSpPr>
            <p:cNvPr id="12" name="object 55">
              <a:extLst>
                <a:ext uri="{FF2B5EF4-FFF2-40B4-BE49-F238E27FC236}">
                  <a16:creationId xmlns:a16="http://schemas.microsoft.com/office/drawing/2014/main" id="{E84784DD-98FC-D077-B72D-1F1892E86E57}"/>
                </a:ext>
              </a:extLst>
            </p:cNvPr>
            <p:cNvSpPr txBox="1"/>
            <p:nvPr/>
          </p:nvSpPr>
          <p:spPr>
            <a:xfrm>
              <a:off x="1826257" y="6287039"/>
              <a:ext cx="1295997" cy="22400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8467" rIns="0" bIns="0" anchor="t" anchorCtr="1" compatLnSpc="1">
              <a:spAutoFit/>
            </a:bodyPr>
            <a:lstStyle/>
            <a:p>
              <a:pPr marL="7699" marR="0" lvl="0" indent="0" algn="ctr" defTabSz="554492" rtl="0" fontAlgn="auto" hangingPunct="1">
                <a:lnSpc>
                  <a:spcPct val="100000"/>
                </a:lnSpc>
                <a:spcBef>
                  <a:spcPts val="65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69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P</a:t>
              </a:r>
              <a:r>
                <a:rPr lang="en-US" sz="1400" b="0" i="0" u="none" strike="noStrike" kern="1200" cap="none" spc="36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r</a:t>
              </a:r>
              <a:r>
                <a:rPr lang="en-US" sz="1400" b="0" i="0" u="none" strike="noStrike" kern="1200" cap="none" spc="79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oduction</a:t>
              </a:r>
              <a:endParaRPr lang="en-US" sz="1400" b="0" i="0" u="none" strike="noStrike" kern="1200" cap="none" spc="0" baseline="0">
                <a:solidFill>
                  <a:srgbClr val="FFFFFF"/>
                </a:solidFill>
                <a:uFillTx/>
                <a:latin typeface="VeluxForOffice"/>
                <a:cs typeface="Trebuchet MS"/>
              </a:endParaRPr>
            </a:p>
          </p:txBody>
        </p:sp>
        <p:sp>
          <p:nvSpPr>
            <p:cNvPr id="13" name="object 56">
              <a:extLst>
                <a:ext uri="{FF2B5EF4-FFF2-40B4-BE49-F238E27FC236}">
                  <a16:creationId xmlns:a16="http://schemas.microsoft.com/office/drawing/2014/main" id="{C7A19BAB-F107-C7D4-670B-E4CAC055EA18}"/>
                </a:ext>
              </a:extLst>
            </p:cNvPr>
            <p:cNvSpPr txBox="1"/>
            <p:nvPr/>
          </p:nvSpPr>
          <p:spPr>
            <a:xfrm>
              <a:off x="3657828" y="6275124"/>
              <a:ext cx="1295997" cy="22400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8467" rIns="0" bIns="0" anchor="t" anchorCtr="1" compatLnSpc="1">
              <a:spAutoFit/>
            </a:bodyPr>
            <a:lstStyle/>
            <a:p>
              <a:pPr marL="7699" marR="0" lvl="0" indent="0" algn="ctr" defTabSz="554492" rtl="0" fontAlgn="auto" hangingPunct="1">
                <a:lnSpc>
                  <a:spcPct val="100000"/>
                </a:lnSpc>
                <a:spcBef>
                  <a:spcPts val="65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139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C</a:t>
              </a:r>
              <a:r>
                <a:rPr lang="en-US" sz="1400" b="0" i="0" u="none" strike="noStrike" kern="1200" cap="none" spc="97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on</a:t>
              </a:r>
              <a:r>
                <a:rPr lang="en-US" sz="1400" b="0" i="0" u="none" strike="noStrike" kern="1200" cap="none" spc="64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s</a:t>
              </a:r>
              <a:r>
                <a:rPr lang="en-US" sz="1400" b="0" i="0" u="none" strike="noStrike" kern="1200" cap="none" spc="55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truction</a:t>
              </a:r>
              <a:endParaRPr lang="en-US" sz="1400" b="0" i="0" u="none" strike="noStrike" kern="1200" cap="none" spc="0" baseline="0">
                <a:solidFill>
                  <a:srgbClr val="FFFFFF"/>
                </a:solidFill>
                <a:uFillTx/>
                <a:latin typeface="VeluxForOffice"/>
                <a:cs typeface="Trebuchet MS"/>
              </a:endParaRPr>
            </a:p>
          </p:txBody>
        </p:sp>
        <p:sp>
          <p:nvSpPr>
            <p:cNvPr id="14" name="object 57">
              <a:extLst>
                <a:ext uri="{FF2B5EF4-FFF2-40B4-BE49-F238E27FC236}">
                  <a16:creationId xmlns:a16="http://schemas.microsoft.com/office/drawing/2014/main" id="{8AFFA308-BAAA-6B18-B72E-EA7BC8078EFC}"/>
                </a:ext>
              </a:extLst>
            </p:cNvPr>
            <p:cNvSpPr txBox="1"/>
            <p:nvPr/>
          </p:nvSpPr>
          <p:spPr>
            <a:xfrm>
              <a:off x="5489390" y="6288776"/>
              <a:ext cx="1295997" cy="22400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8467" rIns="0" bIns="0" anchor="t" anchorCtr="1" compatLnSpc="1">
              <a:spAutoFit/>
            </a:bodyPr>
            <a:lstStyle/>
            <a:p>
              <a:pPr marL="7699" marR="0" lvl="0" indent="0" algn="ctr" defTabSz="554492" rtl="0" fontAlgn="auto" hangingPunct="1">
                <a:lnSpc>
                  <a:spcPct val="100000"/>
                </a:lnSpc>
                <a:spcBef>
                  <a:spcPts val="65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88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Use</a:t>
              </a:r>
              <a:endParaRPr lang="en-US" sz="1400" b="0" i="0" u="none" strike="noStrike" kern="1200" cap="none" spc="0" baseline="0">
                <a:solidFill>
                  <a:srgbClr val="FFFFFF"/>
                </a:solidFill>
                <a:uFillTx/>
                <a:latin typeface="VeluxForOffice"/>
                <a:cs typeface="Trebuchet MS"/>
              </a:endParaRPr>
            </a:p>
          </p:txBody>
        </p:sp>
        <p:sp>
          <p:nvSpPr>
            <p:cNvPr id="15" name="object 58">
              <a:extLst>
                <a:ext uri="{FF2B5EF4-FFF2-40B4-BE49-F238E27FC236}">
                  <a16:creationId xmlns:a16="http://schemas.microsoft.com/office/drawing/2014/main" id="{022F6E86-7D72-1818-452F-75511A95D684}"/>
                </a:ext>
              </a:extLst>
            </p:cNvPr>
            <p:cNvSpPr txBox="1"/>
            <p:nvPr/>
          </p:nvSpPr>
          <p:spPr>
            <a:xfrm>
              <a:off x="7320951" y="6275124"/>
              <a:ext cx="1295997" cy="22400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8467" rIns="0" bIns="0" anchor="t" anchorCtr="1" compatLnSpc="1">
              <a:spAutoFit/>
            </a:bodyPr>
            <a:lstStyle/>
            <a:p>
              <a:pPr marL="7699" marR="0" lvl="0" indent="0" algn="ctr" defTabSz="554492" rtl="0" fontAlgn="auto" hangingPunct="1">
                <a:lnSpc>
                  <a:spcPct val="100000"/>
                </a:lnSpc>
                <a:spcBef>
                  <a:spcPts val="65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73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Renovation</a:t>
              </a:r>
              <a:endParaRPr lang="en-US" sz="1400" b="0" i="0" u="none" strike="noStrike" kern="1200" cap="none" spc="0" baseline="0">
                <a:solidFill>
                  <a:srgbClr val="FFFFFF"/>
                </a:solidFill>
                <a:uFillTx/>
                <a:latin typeface="VeluxForOffice"/>
                <a:cs typeface="Trebuchet MS"/>
              </a:endParaRPr>
            </a:p>
          </p:txBody>
        </p:sp>
        <p:sp>
          <p:nvSpPr>
            <p:cNvPr id="16" name="object 59">
              <a:extLst>
                <a:ext uri="{FF2B5EF4-FFF2-40B4-BE49-F238E27FC236}">
                  <a16:creationId xmlns:a16="http://schemas.microsoft.com/office/drawing/2014/main" id="{9579B8FF-BA3C-4D08-7712-032671712050}"/>
                </a:ext>
              </a:extLst>
            </p:cNvPr>
            <p:cNvSpPr txBox="1"/>
            <p:nvPr/>
          </p:nvSpPr>
          <p:spPr>
            <a:xfrm>
              <a:off x="9152522" y="6288776"/>
              <a:ext cx="1295997" cy="22400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8467" rIns="0" bIns="0" anchor="t" anchorCtr="1" compatLnSpc="1">
              <a:spAutoFit/>
            </a:bodyPr>
            <a:lstStyle/>
            <a:p>
              <a:pPr marL="7699" marR="0" lvl="0" indent="0" algn="ctr" defTabSz="554492" rtl="0" fontAlgn="auto" hangingPunct="1">
                <a:lnSpc>
                  <a:spcPct val="100000"/>
                </a:lnSpc>
                <a:spcBef>
                  <a:spcPts val="65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100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End </a:t>
              </a:r>
              <a:r>
                <a:rPr lang="en-US" sz="1400" b="0" i="0" u="none" strike="noStrike" kern="1200" cap="none" spc="76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of</a:t>
              </a:r>
              <a:r>
                <a:rPr lang="en-US" sz="1400" b="0" i="0" u="none" strike="noStrike" kern="1200" cap="none" spc="-115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 </a:t>
              </a:r>
              <a:r>
                <a:rPr lang="en-US" sz="1400" b="0" i="0" u="none" strike="noStrike" kern="1200" cap="none" spc="33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life</a:t>
              </a:r>
              <a:endParaRPr lang="en-US" sz="1400" b="0" i="0" u="none" strike="noStrike" kern="1200" cap="none" spc="0" baseline="0">
                <a:solidFill>
                  <a:srgbClr val="FFFFFF"/>
                </a:solidFill>
                <a:uFillTx/>
                <a:latin typeface="VeluxForOffice"/>
                <a:cs typeface="Trebuchet MS"/>
              </a:endParaRPr>
            </a:p>
          </p:txBody>
        </p:sp>
        <p:sp>
          <p:nvSpPr>
            <p:cNvPr id="17" name="object 60">
              <a:extLst>
                <a:ext uri="{FF2B5EF4-FFF2-40B4-BE49-F238E27FC236}">
                  <a16:creationId xmlns:a16="http://schemas.microsoft.com/office/drawing/2014/main" id="{5C90DF9D-6B9A-E5E6-5E6C-796760BFA9FB}"/>
                </a:ext>
              </a:extLst>
            </p:cNvPr>
            <p:cNvSpPr txBox="1"/>
            <p:nvPr/>
          </p:nvSpPr>
          <p:spPr>
            <a:xfrm>
              <a:off x="10984083" y="6288776"/>
              <a:ext cx="822585" cy="22400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8467" rIns="0" bIns="0" anchor="t" anchorCtr="0" compatLnSpc="1">
              <a:spAutoFit/>
            </a:bodyPr>
            <a:lstStyle/>
            <a:p>
              <a:pPr marL="7699" marR="0" lvl="0" indent="0" algn="r" defTabSz="554492" rtl="0" fontAlgn="auto" hangingPunct="1">
                <a:lnSpc>
                  <a:spcPct val="100000"/>
                </a:lnSpc>
                <a:spcBef>
                  <a:spcPts val="65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b="0" i="0" u="none" strike="noStrike" kern="1200" cap="none" spc="109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B</a:t>
              </a:r>
              <a:r>
                <a:rPr lang="en-US" sz="1400" b="0" i="0" u="none" strike="noStrike" kern="1200" cap="none" spc="82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e</a:t>
              </a:r>
              <a:r>
                <a:rPr lang="en-US" sz="1400" b="0" i="0" u="none" strike="noStrike" kern="1200" cap="none" spc="61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y</a:t>
              </a:r>
              <a:r>
                <a:rPr lang="en-US" sz="1400" b="0" i="0" u="none" strike="noStrike" kern="1200" cap="none" spc="100" baseline="0">
                  <a:solidFill>
                    <a:srgbClr val="FFFFFF"/>
                  </a:solidFill>
                  <a:uFillTx/>
                  <a:latin typeface="VeluxForOffice"/>
                  <a:cs typeface="Trebuchet MS"/>
                </a:rPr>
                <a:t>ond</a:t>
              </a:r>
              <a:endParaRPr lang="en-US" sz="1400" b="0" i="0" u="none" strike="noStrike" kern="1200" cap="none" spc="0" baseline="0">
                <a:solidFill>
                  <a:srgbClr val="FFFFFF"/>
                </a:solidFill>
                <a:uFillTx/>
                <a:latin typeface="VeluxForOffice"/>
                <a:cs typeface="Trebuchet MS"/>
              </a:endParaRPr>
            </a:p>
          </p:txBody>
        </p:sp>
        <p:grpSp>
          <p:nvGrpSpPr>
            <p:cNvPr id="18" name="Group 13">
              <a:extLst>
                <a:ext uri="{FF2B5EF4-FFF2-40B4-BE49-F238E27FC236}">
                  <a16:creationId xmlns:a16="http://schemas.microsoft.com/office/drawing/2014/main" id="{85CA024E-C63A-DD62-862B-92C7E2A82449}"/>
                </a:ext>
              </a:extLst>
            </p:cNvPr>
            <p:cNvGrpSpPr/>
            <p:nvPr/>
          </p:nvGrpSpPr>
          <p:grpSpPr>
            <a:xfrm>
              <a:off x="9289453" y="5250320"/>
              <a:ext cx="939308" cy="832213"/>
              <a:chOff x="9289453" y="5250320"/>
              <a:chExt cx="939308" cy="832213"/>
            </a:xfrm>
          </p:grpSpPr>
          <p:grpSp>
            <p:nvGrpSpPr>
              <p:cNvPr id="19" name="Group 132">
                <a:extLst>
                  <a:ext uri="{FF2B5EF4-FFF2-40B4-BE49-F238E27FC236}">
                    <a16:creationId xmlns:a16="http://schemas.microsoft.com/office/drawing/2014/main" id="{3AAFB3B3-6D66-1E3B-E9AA-284E5A7B1270}"/>
                  </a:ext>
                </a:extLst>
              </p:cNvPr>
              <p:cNvGrpSpPr/>
              <p:nvPr/>
            </p:nvGrpSpPr>
            <p:grpSpPr>
              <a:xfrm>
                <a:off x="9289453" y="5250320"/>
                <a:ext cx="634214" cy="831299"/>
                <a:chOff x="9289453" y="5250320"/>
                <a:chExt cx="634214" cy="831299"/>
              </a:xfrm>
            </p:grpSpPr>
            <p:sp>
              <p:nvSpPr>
                <p:cNvPr id="20" name="Graphic 51">
                  <a:extLst>
                    <a:ext uri="{FF2B5EF4-FFF2-40B4-BE49-F238E27FC236}">
                      <a16:creationId xmlns:a16="http://schemas.microsoft.com/office/drawing/2014/main" id="{38B0F8E4-0E23-0BE8-A236-75F87823967C}"/>
                    </a:ext>
                  </a:extLst>
                </p:cNvPr>
                <p:cNvSpPr/>
                <p:nvPr/>
              </p:nvSpPr>
              <p:spPr>
                <a:xfrm>
                  <a:off x="9289453" y="5831393"/>
                  <a:ext cx="259479" cy="132030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572384"/>
                    <a:gd name="f7" fmla="val 291243"/>
                    <a:gd name="f8" fmla="val 565087"/>
                    <a:gd name="f9" fmla="val 282416"/>
                    <a:gd name="f10" fmla="val 575564"/>
                    <a:gd name="f11" fmla="val 270986"/>
                    <a:gd name="f12" fmla="val 574612"/>
                    <a:gd name="f13" fmla="val 253841"/>
                    <a:gd name="f14" fmla="val 563182"/>
                    <a:gd name="f15" fmla="val 244316"/>
                    <a:gd name="f16" fmla="val 303149"/>
                    <a:gd name="f17" fmla="val 7144"/>
                    <a:gd name="f18" fmla="val 292672"/>
                    <a:gd name="f19" fmla="+- 0 0 2381"/>
                    <a:gd name="f20" fmla="val 276479"/>
                    <a:gd name="f21" fmla="val 266954"/>
                    <a:gd name="f22" fmla="val 8827"/>
                    <a:gd name="f23" fmla="+- 0 0 2603"/>
                    <a:gd name="f24" fmla="val 254794"/>
                    <a:gd name="f25" fmla="val 271939"/>
                    <a:gd name="f26" fmla="val 6922"/>
                    <a:gd name="f27" fmla="val 17399"/>
                    <a:gd name="f28" fmla="val 293846"/>
                    <a:gd name="f29" fmla="val 34544"/>
                    <a:gd name="f30" fmla="val 45022"/>
                    <a:gd name="f31" fmla="val 284321"/>
                    <a:gd name="f32" fmla="val 284099"/>
                    <a:gd name="f33" fmla="val 64294"/>
                    <a:gd name="f34" fmla="val 526034"/>
                    <a:gd name="f35" fmla="val 537464"/>
                    <a:gd name="f36" fmla="val 554609"/>
                    <a:gd name="f37" fmla="val 292894"/>
                    <a:gd name="f38" fmla="+- 0 0 -90"/>
                    <a:gd name="f39" fmla="*/ f3 1 572384"/>
                    <a:gd name="f40" fmla="*/ f4 1 291243"/>
                    <a:gd name="f41" fmla="+- f7 0 f5"/>
                    <a:gd name="f42" fmla="+- f6 0 f5"/>
                    <a:gd name="f43" fmla="*/ f38 f0 1"/>
                    <a:gd name="f44" fmla="*/ f42 1 572384"/>
                    <a:gd name="f45" fmla="*/ f41 1 291243"/>
                    <a:gd name="f46" fmla="*/ 565087 f42 1"/>
                    <a:gd name="f47" fmla="*/ 282416 f41 1"/>
                    <a:gd name="f48" fmla="*/ 563182 f42 1"/>
                    <a:gd name="f49" fmla="*/ 244316 f41 1"/>
                    <a:gd name="f50" fmla="*/ 303149 f42 1"/>
                    <a:gd name="f51" fmla="*/ 7144 f41 1"/>
                    <a:gd name="f52" fmla="*/ 266954 f42 1"/>
                    <a:gd name="f53" fmla="*/ 8827 f42 1"/>
                    <a:gd name="f54" fmla="*/ 6922 f42 1"/>
                    <a:gd name="f55" fmla="*/ 45022 f42 1"/>
                    <a:gd name="f56" fmla="*/ 284321 f41 1"/>
                    <a:gd name="f57" fmla="*/ 284099 f42 1"/>
                    <a:gd name="f58" fmla="*/ 64294 f41 1"/>
                    <a:gd name="f59" fmla="*/ 526034 f42 1"/>
                    <a:gd name="f60" fmla="*/ f43 1 f2"/>
                    <a:gd name="f61" fmla="*/ f46 1 572384"/>
                    <a:gd name="f62" fmla="*/ f47 1 291243"/>
                    <a:gd name="f63" fmla="*/ f48 1 572384"/>
                    <a:gd name="f64" fmla="*/ f49 1 291243"/>
                    <a:gd name="f65" fmla="*/ f50 1 572384"/>
                    <a:gd name="f66" fmla="*/ f51 1 291243"/>
                    <a:gd name="f67" fmla="*/ f52 1 572384"/>
                    <a:gd name="f68" fmla="*/ f53 1 572384"/>
                    <a:gd name="f69" fmla="*/ f54 1 572384"/>
                    <a:gd name="f70" fmla="*/ f55 1 572384"/>
                    <a:gd name="f71" fmla="*/ f56 1 291243"/>
                    <a:gd name="f72" fmla="*/ f57 1 572384"/>
                    <a:gd name="f73" fmla="*/ f58 1 291243"/>
                    <a:gd name="f74" fmla="*/ f59 1 572384"/>
                    <a:gd name="f75" fmla="*/ f5 1 f44"/>
                    <a:gd name="f76" fmla="*/ f6 1 f44"/>
                    <a:gd name="f77" fmla="*/ f5 1 f45"/>
                    <a:gd name="f78" fmla="*/ f7 1 f45"/>
                    <a:gd name="f79" fmla="+- f60 0 f1"/>
                    <a:gd name="f80" fmla="*/ f61 1 f44"/>
                    <a:gd name="f81" fmla="*/ f62 1 f45"/>
                    <a:gd name="f82" fmla="*/ f63 1 f44"/>
                    <a:gd name="f83" fmla="*/ f64 1 f45"/>
                    <a:gd name="f84" fmla="*/ f65 1 f44"/>
                    <a:gd name="f85" fmla="*/ f66 1 f45"/>
                    <a:gd name="f86" fmla="*/ f67 1 f44"/>
                    <a:gd name="f87" fmla="*/ f68 1 f44"/>
                    <a:gd name="f88" fmla="*/ f69 1 f44"/>
                    <a:gd name="f89" fmla="*/ f70 1 f44"/>
                    <a:gd name="f90" fmla="*/ f71 1 f45"/>
                    <a:gd name="f91" fmla="*/ f72 1 f44"/>
                    <a:gd name="f92" fmla="*/ f73 1 f45"/>
                    <a:gd name="f93" fmla="*/ f74 1 f44"/>
                    <a:gd name="f94" fmla="*/ f75 f39 1"/>
                    <a:gd name="f95" fmla="*/ f76 f39 1"/>
                    <a:gd name="f96" fmla="*/ f78 f40 1"/>
                    <a:gd name="f97" fmla="*/ f77 f40 1"/>
                    <a:gd name="f98" fmla="*/ f80 f39 1"/>
                    <a:gd name="f99" fmla="*/ f81 f40 1"/>
                    <a:gd name="f100" fmla="*/ f82 f39 1"/>
                    <a:gd name="f101" fmla="*/ f83 f40 1"/>
                    <a:gd name="f102" fmla="*/ f84 f39 1"/>
                    <a:gd name="f103" fmla="*/ f85 f40 1"/>
                    <a:gd name="f104" fmla="*/ f86 f39 1"/>
                    <a:gd name="f105" fmla="*/ f87 f39 1"/>
                    <a:gd name="f106" fmla="*/ f88 f39 1"/>
                    <a:gd name="f107" fmla="*/ f89 f39 1"/>
                    <a:gd name="f108" fmla="*/ f90 f40 1"/>
                    <a:gd name="f109" fmla="*/ f91 f39 1"/>
                    <a:gd name="f110" fmla="*/ f92 f40 1"/>
                    <a:gd name="f111" fmla="*/ f93 f39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79">
                      <a:pos x="f98" y="f99"/>
                    </a:cxn>
                    <a:cxn ang="f79">
                      <a:pos x="f100" y="f101"/>
                    </a:cxn>
                    <a:cxn ang="f79">
                      <a:pos x="f102" y="f103"/>
                    </a:cxn>
                    <a:cxn ang="f79">
                      <a:pos x="f104" y="f103"/>
                    </a:cxn>
                    <a:cxn ang="f79">
                      <a:pos x="f105" y="f101"/>
                    </a:cxn>
                    <a:cxn ang="f79">
                      <a:pos x="f106" y="f99"/>
                    </a:cxn>
                    <a:cxn ang="f79">
                      <a:pos x="f107" y="f108"/>
                    </a:cxn>
                    <a:cxn ang="f79">
                      <a:pos x="f109" y="f110"/>
                    </a:cxn>
                    <a:cxn ang="f79">
                      <a:pos x="f111" y="f108"/>
                    </a:cxn>
                    <a:cxn ang="f79">
                      <a:pos x="f98" y="f99"/>
                    </a:cxn>
                    <a:cxn ang="f79">
                      <a:pos x="f98" y="f99"/>
                    </a:cxn>
                    <a:cxn ang="f79">
                      <a:pos x="f98" y="f99"/>
                    </a:cxn>
                  </a:cxnLst>
                  <a:rect l="f94" t="f97" r="f95" b="f96"/>
                  <a:pathLst>
                    <a:path w="572384" h="291243">
                      <a:moveTo>
                        <a:pt x="f8" y="f9"/>
                      </a:moveTo>
                      <a:cubicBezTo>
                        <a:pt x="f10" y="f11"/>
                        <a:pt x="f12" y="f13"/>
                        <a:pt x="f14" y="f15"/>
                      </a:cubicBezTo>
                      <a:lnTo>
                        <a:pt x="f16" y="f17"/>
                      </a:lnTo>
                      <a:cubicBezTo>
                        <a:pt x="f18" y="f19"/>
                        <a:pt x="f20" y="f19"/>
                        <a:pt x="f21" y="f17"/>
                      </a:cubicBezTo>
                      <a:lnTo>
                        <a:pt x="f22" y="f15"/>
                      </a:lnTo>
                      <a:cubicBezTo>
                        <a:pt x="f23" y="f24"/>
                        <a:pt x="f23" y="f25"/>
                        <a:pt x="f26" y="f9"/>
                      </a:cubicBezTo>
                      <a:cubicBezTo>
                        <a:pt x="f27" y="f28"/>
                        <a:pt x="f29" y="f28"/>
                        <a:pt x="f30" y="f31"/>
                      </a:cubicBezTo>
                      <a:lnTo>
                        <a:pt x="f32" y="f33"/>
                      </a:lnTo>
                      <a:lnTo>
                        <a:pt x="f34" y="f31"/>
                      </a:lnTo>
                      <a:cubicBezTo>
                        <a:pt x="f35" y="f28"/>
                        <a:pt x="f36" y="f37"/>
                        <a:pt x="f8" y="f9"/>
                      </a:cubicBezTo>
                      <a:lnTo>
                        <a:pt x="f8" y="f9"/>
                      </a:lnTo>
                      <a:lnTo>
                        <a:pt x="f8" y="f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21" name="Graphic 51">
                  <a:extLst>
                    <a:ext uri="{FF2B5EF4-FFF2-40B4-BE49-F238E27FC236}">
                      <a16:creationId xmlns:a16="http://schemas.microsoft.com/office/drawing/2014/main" id="{4427B0A9-712D-FD62-37B7-32CE4E71BEE9}"/>
                    </a:ext>
                  </a:extLst>
                </p:cNvPr>
                <p:cNvSpPr/>
                <p:nvPr/>
              </p:nvSpPr>
              <p:spPr>
                <a:xfrm>
                  <a:off x="9318065" y="5968060"/>
                  <a:ext cx="202082" cy="113129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445770"/>
                    <a:gd name="f7" fmla="val 249554"/>
                    <a:gd name="f8" fmla="val 419100"/>
                    <a:gd name="f9" fmla="val 952"/>
                    <a:gd name="f10" fmla="val 403860"/>
                    <a:gd name="f11" fmla="val 392430"/>
                    <a:gd name="f12" fmla="val 13335"/>
                    <a:gd name="f13" fmla="val 27622"/>
                    <a:gd name="f14" fmla="val 196215"/>
                    <a:gd name="f15" fmla="val 54293"/>
                    <a:gd name="f16" fmla="val 12382"/>
                    <a:gd name="f17" fmla="val 41910"/>
                    <a:gd name="f18" fmla="val 26670"/>
                    <a:gd name="f19" fmla="val 11430"/>
                    <a:gd name="f20" fmla="val 222885"/>
                    <a:gd name="f21" fmla="val 238125"/>
                    <a:gd name="f22" fmla="val 249555"/>
                    <a:gd name="f23" fmla="val 434340"/>
                    <a:gd name="f24" fmla="val 237172"/>
                    <a:gd name="f25" fmla="val 433388"/>
                    <a:gd name="f26" fmla="+- 0 0 -90"/>
                    <a:gd name="f27" fmla="*/ f3 1 445770"/>
                    <a:gd name="f28" fmla="*/ f4 1 249554"/>
                    <a:gd name="f29" fmla="+- f7 0 f5"/>
                    <a:gd name="f30" fmla="+- f6 0 f5"/>
                    <a:gd name="f31" fmla="*/ f26 f0 1"/>
                    <a:gd name="f32" fmla="*/ f30 1 445770"/>
                    <a:gd name="f33" fmla="*/ f29 1 249554"/>
                    <a:gd name="f34" fmla="*/ 419100 f30 1"/>
                    <a:gd name="f35" fmla="*/ 952 f29 1"/>
                    <a:gd name="f36" fmla="*/ 392430 f30 1"/>
                    <a:gd name="f37" fmla="*/ 27622 f29 1"/>
                    <a:gd name="f38" fmla="*/ 196215 f29 1"/>
                    <a:gd name="f39" fmla="*/ 54293 f30 1"/>
                    <a:gd name="f40" fmla="*/ 26670 f30 1"/>
                    <a:gd name="f41" fmla="*/ 0 f29 1"/>
                    <a:gd name="f42" fmla="*/ 0 f30 1"/>
                    <a:gd name="f43" fmla="*/ 222885 f29 1"/>
                    <a:gd name="f44" fmla="*/ 249555 f29 1"/>
                    <a:gd name="f45" fmla="*/ 445770 f30 1"/>
                    <a:gd name="f46" fmla="*/ f31 1 f2"/>
                    <a:gd name="f47" fmla="*/ f34 1 445770"/>
                    <a:gd name="f48" fmla="*/ f35 1 249554"/>
                    <a:gd name="f49" fmla="*/ f36 1 445770"/>
                    <a:gd name="f50" fmla="*/ f37 1 249554"/>
                    <a:gd name="f51" fmla="*/ f38 1 249554"/>
                    <a:gd name="f52" fmla="*/ f39 1 445770"/>
                    <a:gd name="f53" fmla="*/ f40 1 445770"/>
                    <a:gd name="f54" fmla="*/ f41 1 249554"/>
                    <a:gd name="f55" fmla="*/ f42 1 445770"/>
                    <a:gd name="f56" fmla="*/ f43 1 249554"/>
                    <a:gd name="f57" fmla="*/ f44 1 249554"/>
                    <a:gd name="f58" fmla="*/ f45 1 445770"/>
                    <a:gd name="f59" fmla="*/ f5 1 f32"/>
                    <a:gd name="f60" fmla="*/ f6 1 f32"/>
                    <a:gd name="f61" fmla="*/ f5 1 f33"/>
                    <a:gd name="f62" fmla="*/ f7 1 f33"/>
                    <a:gd name="f63" fmla="+- f46 0 f1"/>
                    <a:gd name="f64" fmla="*/ f47 1 f32"/>
                    <a:gd name="f65" fmla="*/ f48 1 f33"/>
                    <a:gd name="f66" fmla="*/ f49 1 f32"/>
                    <a:gd name="f67" fmla="*/ f50 1 f33"/>
                    <a:gd name="f68" fmla="*/ f51 1 f33"/>
                    <a:gd name="f69" fmla="*/ f52 1 f32"/>
                    <a:gd name="f70" fmla="*/ f53 1 f32"/>
                    <a:gd name="f71" fmla="*/ f54 1 f33"/>
                    <a:gd name="f72" fmla="*/ f55 1 f32"/>
                    <a:gd name="f73" fmla="*/ f56 1 f33"/>
                    <a:gd name="f74" fmla="*/ f57 1 f33"/>
                    <a:gd name="f75" fmla="*/ f58 1 f32"/>
                    <a:gd name="f76" fmla="*/ f59 f27 1"/>
                    <a:gd name="f77" fmla="*/ f60 f27 1"/>
                    <a:gd name="f78" fmla="*/ f62 f28 1"/>
                    <a:gd name="f79" fmla="*/ f61 f28 1"/>
                    <a:gd name="f80" fmla="*/ f64 f27 1"/>
                    <a:gd name="f81" fmla="*/ f65 f28 1"/>
                    <a:gd name="f82" fmla="*/ f66 f27 1"/>
                    <a:gd name="f83" fmla="*/ f67 f28 1"/>
                    <a:gd name="f84" fmla="*/ f68 f28 1"/>
                    <a:gd name="f85" fmla="*/ f69 f27 1"/>
                    <a:gd name="f86" fmla="*/ f70 f27 1"/>
                    <a:gd name="f87" fmla="*/ f71 f28 1"/>
                    <a:gd name="f88" fmla="*/ f72 f27 1"/>
                    <a:gd name="f89" fmla="*/ f73 f28 1"/>
                    <a:gd name="f90" fmla="*/ f74 f28 1"/>
                    <a:gd name="f91" fmla="*/ f75 f27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3">
                      <a:pos x="f80" y="f81"/>
                    </a:cxn>
                    <a:cxn ang="f63">
                      <a:pos x="f82" y="f83"/>
                    </a:cxn>
                    <a:cxn ang="f63">
                      <a:pos x="f82" y="f83"/>
                    </a:cxn>
                    <a:cxn ang="f63">
                      <a:pos x="f82" y="f84"/>
                    </a:cxn>
                    <a:cxn ang="f63">
                      <a:pos x="f85" y="f84"/>
                    </a:cxn>
                    <a:cxn ang="f63">
                      <a:pos x="f85" y="f83"/>
                    </a:cxn>
                    <a:cxn ang="f63">
                      <a:pos x="f86" y="f87"/>
                    </a:cxn>
                    <a:cxn ang="f63">
                      <a:pos x="f88" y="f83"/>
                    </a:cxn>
                    <a:cxn ang="f63">
                      <a:pos x="f88" y="f89"/>
                    </a:cxn>
                    <a:cxn ang="f63">
                      <a:pos x="f86" y="f90"/>
                    </a:cxn>
                    <a:cxn ang="f63">
                      <a:pos x="f86" y="f90"/>
                    </a:cxn>
                    <a:cxn ang="f63">
                      <a:pos x="f80" y="f90"/>
                    </a:cxn>
                    <a:cxn ang="f63">
                      <a:pos x="f91" y="f89"/>
                    </a:cxn>
                    <a:cxn ang="f63">
                      <a:pos x="f91" y="f89"/>
                    </a:cxn>
                    <a:cxn ang="f63">
                      <a:pos x="f91" y="f83"/>
                    </a:cxn>
                    <a:cxn ang="f63">
                      <a:pos x="f80" y="f81"/>
                    </a:cxn>
                  </a:cxnLst>
                  <a:rect l="f76" t="f79" r="f77" b="f78"/>
                  <a:pathLst>
                    <a:path w="445770" h="249554">
                      <a:moveTo>
                        <a:pt x="f8" y="f9"/>
                      </a:moveTo>
                      <a:cubicBezTo>
                        <a:pt x="f10" y="f9"/>
                        <a:pt x="f11" y="f12"/>
                        <a:pt x="f11" y="f13"/>
                      </a:cubicBezTo>
                      <a:lnTo>
                        <a:pt x="f11" y="f13"/>
                      </a:lnTo>
                      <a:lnTo>
                        <a:pt x="f11" y="f14"/>
                      </a:lnTo>
                      <a:lnTo>
                        <a:pt x="f15" y="f14"/>
                      </a:lnTo>
                      <a:lnTo>
                        <a:pt x="f15" y="f13"/>
                      </a:lnTo>
                      <a:cubicBezTo>
                        <a:pt x="f15" y="f16"/>
                        <a:pt x="f17" y="f5"/>
                        <a:pt x="f18" y="f5"/>
                      </a:cubicBezTo>
                      <a:cubicBezTo>
                        <a:pt x="f19" y="f5"/>
                        <a:pt x="f5" y="f16"/>
                        <a:pt x="f5" y="f13"/>
                      </a:cubicBezTo>
                      <a:lnTo>
                        <a:pt x="f5" y="f20"/>
                      </a:lnTo>
                      <a:cubicBezTo>
                        <a:pt x="f5" y="f21"/>
                        <a:pt x="f16" y="f22"/>
                        <a:pt x="f18" y="f22"/>
                      </a:cubicBezTo>
                      <a:lnTo>
                        <a:pt x="f18" y="f22"/>
                      </a:lnTo>
                      <a:lnTo>
                        <a:pt x="f8" y="f22"/>
                      </a:lnTo>
                      <a:cubicBezTo>
                        <a:pt x="f23" y="f22"/>
                        <a:pt x="f6" y="f24"/>
                        <a:pt x="f6" y="f20"/>
                      </a:cubicBezTo>
                      <a:lnTo>
                        <a:pt x="f6" y="f20"/>
                      </a:lnTo>
                      <a:lnTo>
                        <a:pt x="f6" y="f13"/>
                      </a:lnTo>
                      <a:cubicBezTo>
                        <a:pt x="f6" y="f16"/>
                        <a:pt x="f25" y="f9"/>
                        <a:pt x="f8" y="f9"/>
                      </a:cubicBezTo>
                    </a:path>
                  </a:pathLst>
                </a:custGeom>
                <a:noFill/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22" name="Freeform: Shape 145">
                  <a:extLst>
                    <a:ext uri="{FF2B5EF4-FFF2-40B4-BE49-F238E27FC236}">
                      <a16:creationId xmlns:a16="http://schemas.microsoft.com/office/drawing/2014/main" id="{AA2FCC8B-906E-2EAD-A08F-53C846BF3A4C}"/>
                    </a:ext>
                  </a:extLst>
                </p:cNvPr>
                <p:cNvSpPr/>
                <p:nvPr/>
              </p:nvSpPr>
              <p:spPr>
                <a:xfrm rot="19952614">
                  <a:off x="9594189" y="5573222"/>
                  <a:ext cx="91622" cy="123818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325091"/>
                    <a:gd name="f7" fmla="val 411104"/>
                    <a:gd name="f8" fmla="val 35330"/>
                    <a:gd name="f9" fmla="val 312188"/>
                    <a:gd name="f10" fmla="val 257021"/>
                    <a:gd name="f11" fmla="val 320791"/>
                    <a:gd name="f12" fmla="val 264189"/>
                    <a:gd name="f13" fmla="val 275658"/>
                    <a:gd name="f14" fmla="val 287128"/>
                    <a:gd name="f15" fmla="val 244804"/>
                    <a:gd name="f16" fmla="val 374973"/>
                    <a:gd name="f17" fmla="val 305766"/>
                    <a:gd name="f18" fmla="val 78507"/>
                    <a:gd name="f19" fmla="+- 0 0 -90"/>
                    <a:gd name="f20" fmla="*/ f3 1 325091"/>
                    <a:gd name="f21" fmla="*/ f4 1 411104"/>
                    <a:gd name="f22" fmla="+- f7 0 f5"/>
                    <a:gd name="f23" fmla="+- f6 0 f5"/>
                    <a:gd name="f24" fmla="*/ f19 f0 1"/>
                    <a:gd name="f25" fmla="*/ f23 1 325091"/>
                    <a:gd name="f26" fmla="*/ f22 1 411104"/>
                    <a:gd name="f27" fmla="*/ 35330 f23 1"/>
                    <a:gd name="f28" fmla="*/ 0 f22 1"/>
                    <a:gd name="f29" fmla="*/ 312188 f23 1"/>
                    <a:gd name="f30" fmla="*/ 257021 f22 1"/>
                    <a:gd name="f31" fmla="*/ 325091 f23 1"/>
                    <a:gd name="f32" fmla="*/ 287128 f22 1"/>
                    <a:gd name="f33" fmla="*/ 411104 f22 1"/>
                    <a:gd name="f34" fmla="*/ 244804 f23 1"/>
                    <a:gd name="f35" fmla="*/ 374973 f22 1"/>
                    <a:gd name="f36" fmla="*/ 305766 f22 1"/>
                    <a:gd name="f37" fmla="*/ 0 f23 1"/>
                    <a:gd name="f38" fmla="*/ 78507 f22 1"/>
                    <a:gd name="f39" fmla="*/ f24 1 f2"/>
                    <a:gd name="f40" fmla="*/ f27 1 325091"/>
                    <a:gd name="f41" fmla="*/ f28 1 411104"/>
                    <a:gd name="f42" fmla="*/ f29 1 325091"/>
                    <a:gd name="f43" fmla="*/ f30 1 411104"/>
                    <a:gd name="f44" fmla="*/ f31 1 325091"/>
                    <a:gd name="f45" fmla="*/ f32 1 411104"/>
                    <a:gd name="f46" fmla="*/ f33 1 411104"/>
                    <a:gd name="f47" fmla="*/ f34 1 325091"/>
                    <a:gd name="f48" fmla="*/ f35 1 411104"/>
                    <a:gd name="f49" fmla="*/ f36 1 411104"/>
                    <a:gd name="f50" fmla="*/ f37 1 325091"/>
                    <a:gd name="f51" fmla="*/ f38 1 411104"/>
                    <a:gd name="f52" fmla="*/ f5 1 f25"/>
                    <a:gd name="f53" fmla="*/ f6 1 f25"/>
                    <a:gd name="f54" fmla="*/ f5 1 f26"/>
                    <a:gd name="f55" fmla="*/ f7 1 f26"/>
                    <a:gd name="f56" fmla="+- f39 0 f1"/>
                    <a:gd name="f57" fmla="*/ f40 1 f25"/>
                    <a:gd name="f58" fmla="*/ f41 1 f26"/>
                    <a:gd name="f59" fmla="*/ f42 1 f25"/>
                    <a:gd name="f60" fmla="*/ f43 1 f26"/>
                    <a:gd name="f61" fmla="*/ f44 1 f25"/>
                    <a:gd name="f62" fmla="*/ f45 1 f26"/>
                    <a:gd name="f63" fmla="*/ f46 1 f26"/>
                    <a:gd name="f64" fmla="*/ f47 1 f25"/>
                    <a:gd name="f65" fmla="*/ f48 1 f26"/>
                    <a:gd name="f66" fmla="*/ f49 1 f26"/>
                    <a:gd name="f67" fmla="*/ f50 1 f25"/>
                    <a:gd name="f68" fmla="*/ f51 1 f26"/>
                    <a:gd name="f69" fmla="*/ f52 f20 1"/>
                    <a:gd name="f70" fmla="*/ f53 f20 1"/>
                    <a:gd name="f71" fmla="*/ f55 f21 1"/>
                    <a:gd name="f72" fmla="*/ f54 f21 1"/>
                    <a:gd name="f73" fmla="*/ f57 f20 1"/>
                    <a:gd name="f74" fmla="*/ f58 f21 1"/>
                    <a:gd name="f75" fmla="*/ f59 f20 1"/>
                    <a:gd name="f76" fmla="*/ f60 f21 1"/>
                    <a:gd name="f77" fmla="*/ f61 f20 1"/>
                    <a:gd name="f78" fmla="*/ f62 f21 1"/>
                    <a:gd name="f79" fmla="*/ f63 f21 1"/>
                    <a:gd name="f80" fmla="*/ f64 f20 1"/>
                    <a:gd name="f81" fmla="*/ f65 f21 1"/>
                    <a:gd name="f82" fmla="*/ f66 f21 1"/>
                    <a:gd name="f83" fmla="*/ f67 f20 1"/>
                    <a:gd name="f84" fmla="*/ f68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3" y="f74"/>
                    </a:cxn>
                    <a:cxn ang="f56">
                      <a:pos x="f75" y="f76"/>
                    </a:cxn>
                    <a:cxn ang="f56">
                      <a:pos x="f77" y="f78"/>
                    </a:cxn>
                    <a:cxn ang="f56">
                      <a:pos x="f77" y="f79"/>
                    </a:cxn>
                    <a:cxn ang="f56">
                      <a:pos x="f80" y="f81"/>
                    </a:cxn>
                    <a:cxn ang="f56">
                      <a:pos x="f80" y="f82"/>
                    </a:cxn>
                    <a:cxn ang="f56">
                      <a:pos x="f83" y="f84"/>
                    </a:cxn>
                    <a:cxn ang="f56">
                      <a:pos x="f73" y="f74"/>
                    </a:cxn>
                  </a:cxnLst>
                  <a:rect l="f69" t="f72" r="f70" b="f71"/>
                  <a:pathLst>
                    <a:path w="325091" h="411104">
                      <a:moveTo>
                        <a:pt x="f8" y="f5"/>
                      </a:moveTo>
                      <a:lnTo>
                        <a:pt x="f9" y="f10"/>
                      </a:lnTo>
                      <a:cubicBezTo>
                        <a:pt x="f11" y="f12"/>
                        <a:pt x="f6" y="f13"/>
                        <a:pt x="f6" y="f14"/>
                      </a:cubicBezTo>
                      <a:lnTo>
                        <a:pt x="f6" y="f7"/>
                      </a:lnTo>
                      <a:lnTo>
                        <a:pt x="f15" y="f16"/>
                      </a:lnTo>
                      <a:lnTo>
                        <a:pt x="f15" y="f17"/>
                      </a:lnTo>
                      <a:lnTo>
                        <a:pt x="f5" y="f18"/>
                      </a:lnTo>
                      <a:lnTo>
                        <a:pt x="f8" y="f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23" name="Freeform: Shape 146">
                  <a:extLst>
                    <a:ext uri="{FF2B5EF4-FFF2-40B4-BE49-F238E27FC236}">
                      <a16:creationId xmlns:a16="http://schemas.microsoft.com/office/drawing/2014/main" id="{59A444DE-FFF1-A7A9-5FEB-562636C7C715}"/>
                    </a:ext>
                  </a:extLst>
                </p:cNvPr>
                <p:cNvSpPr/>
                <p:nvPr/>
              </p:nvSpPr>
              <p:spPr>
                <a:xfrm>
                  <a:off x="9406990" y="5488539"/>
                  <a:ext cx="214582" cy="325819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712466"/>
                    <a:gd name="f7" fmla="val 1081796"/>
                    <a:gd name="f8" fmla="val 501153"/>
                    <a:gd name="f9" fmla="val 511188"/>
                    <a:gd name="f10" fmla="val 521224"/>
                    <a:gd name="f11" fmla="val 3585"/>
                    <a:gd name="f12" fmla="val 529109"/>
                    <a:gd name="f13" fmla="val 10753"/>
                    <a:gd name="f14" fmla="val 180972"/>
                    <a:gd name="f15" fmla="val 677136"/>
                    <a:gd name="f16" fmla="val 259479"/>
                    <a:gd name="f17" fmla="val 501870"/>
                    <a:gd name="f18" fmla="val 96775"/>
                    <a:gd name="f19" fmla="val 81797"/>
                    <a:gd name="f20" fmla="val 486738"/>
                    <a:gd name="f21" fmla="val 1040143"/>
                    <a:gd name="f22" fmla="val 1043010"/>
                    <a:gd name="f23" fmla="val 80364"/>
                    <a:gd name="f24" fmla="val 1064515"/>
                    <a:gd name="f25" fmla="val 61726"/>
                    <a:gd name="f26" fmla="val 1083154"/>
                    <a:gd name="f27" fmla="val 38786"/>
                    <a:gd name="f28" fmla="val 1081719"/>
                    <a:gd name="f29" fmla="val 17282"/>
                    <a:gd name="f30" fmla="val 1080286"/>
                    <a:gd name="f31" fmla="+- 0 0 1357"/>
                    <a:gd name="f32" fmla="val 1061648"/>
                    <a:gd name="f33" fmla="val 78"/>
                    <a:gd name="f34" fmla="val 1038709"/>
                    <a:gd name="f35" fmla="val 468100"/>
                    <a:gd name="f36" fmla="val 456630"/>
                    <a:gd name="f37" fmla="val 4378"/>
                    <a:gd name="f38" fmla="val 445161"/>
                    <a:gd name="f39" fmla="val 12980"/>
                    <a:gd name="f40" fmla="val 437993"/>
                    <a:gd name="f41" fmla="val 473196"/>
                    <a:gd name="f42" fmla="val 481081"/>
                    <a:gd name="f43" fmla="val 491117"/>
                    <a:gd name="f44" fmla="+- 0 0 -90"/>
                    <a:gd name="f45" fmla="*/ f3 1 712466"/>
                    <a:gd name="f46" fmla="*/ f4 1 1081796"/>
                    <a:gd name="f47" fmla="+- f7 0 f5"/>
                    <a:gd name="f48" fmla="+- f6 0 f5"/>
                    <a:gd name="f49" fmla="*/ f44 f0 1"/>
                    <a:gd name="f50" fmla="*/ f48 1 712466"/>
                    <a:gd name="f51" fmla="*/ f47 1 1081796"/>
                    <a:gd name="f52" fmla="*/ 501153 f48 1"/>
                    <a:gd name="f53" fmla="*/ 0 f47 1"/>
                    <a:gd name="f54" fmla="*/ 529109 f48 1"/>
                    <a:gd name="f55" fmla="*/ 10753 f47 1"/>
                    <a:gd name="f56" fmla="*/ 712466 f48 1"/>
                    <a:gd name="f57" fmla="*/ 180972 f47 1"/>
                    <a:gd name="f58" fmla="*/ 677136 f48 1"/>
                    <a:gd name="f59" fmla="*/ 259479 f47 1"/>
                    <a:gd name="f60" fmla="*/ 501870 f48 1"/>
                    <a:gd name="f61" fmla="*/ 96775 f47 1"/>
                    <a:gd name="f62" fmla="*/ 81797 f48 1"/>
                    <a:gd name="f63" fmla="*/ 486738 f47 1"/>
                    <a:gd name="f64" fmla="*/ 1040143 f47 1"/>
                    <a:gd name="f65" fmla="*/ 1043010 f47 1"/>
                    <a:gd name="f66" fmla="*/ 38786 f48 1"/>
                    <a:gd name="f67" fmla="*/ 1081719 f47 1"/>
                    <a:gd name="f68" fmla="*/ 78 f48 1"/>
                    <a:gd name="f69" fmla="*/ 1038709 f47 1"/>
                    <a:gd name="f70" fmla="*/ 468100 f47 1"/>
                    <a:gd name="f71" fmla="*/ 12980 f48 1"/>
                    <a:gd name="f72" fmla="*/ 437993 f47 1"/>
                    <a:gd name="f73" fmla="*/ 473196 f48 1"/>
                    <a:gd name="f74" fmla="*/ f49 1 f2"/>
                    <a:gd name="f75" fmla="*/ f52 1 712466"/>
                    <a:gd name="f76" fmla="*/ f53 1 1081796"/>
                    <a:gd name="f77" fmla="*/ f54 1 712466"/>
                    <a:gd name="f78" fmla="*/ f55 1 1081796"/>
                    <a:gd name="f79" fmla="*/ f56 1 712466"/>
                    <a:gd name="f80" fmla="*/ f57 1 1081796"/>
                    <a:gd name="f81" fmla="*/ f58 1 712466"/>
                    <a:gd name="f82" fmla="*/ f59 1 1081796"/>
                    <a:gd name="f83" fmla="*/ f60 1 712466"/>
                    <a:gd name="f84" fmla="*/ f61 1 1081796"/>
                    <a:gd name="f85" fmla="*/ f62 1 712466"/>
                    <a:gd name="f86" fmla="*/ f63 1 1081796"/>
                    <a:gd name="f87" fmla="*/ f64 1 1081796"/>
                    <a:gd name="f88" fmla="*/ f65 1 1081796"/>
                    <a:gd name="f89" fmla="*/ f66 1 712466"/>
                    <a:gd name="f90" fmla="*/ f67 1 1081796"/>
                    <a:gd name="f91" fmla="*/ f68 1 712466"/>
                    <a:gd name="f92" fmla="*/ f69 1 1081796"/>
                    <a:gd name="f93" fmla="*/ f70 1 1081796"/>
                    <a:gd name="f94" fmla="*/ f71 1 712466"/>
                    <a:gd name="f95" fmla="*/ f72 1 1081796"/>
                    <a:gd name="f96" fmla="*/ f73 1 712466"/>
                    <a:gd name="f97" fmla="*/ f5 1 f50"/>
                    <a:gd name="f98" fmla="*/ f6 1 f50"/>
                    <a:gd name="f99" fmla="*/ f5 1 f51"/>
                    <a:gd name="f100" fmla="*/ f7 1 f51"/>
                    <a:gd name="f101" fmla="+- f74 0 f1"/>
                    <a:gd name="f102" fmla="*/ f75 1 f50"/>
                    <a:gd name="f103" fmla="*/ f76 1 f51"/>
                    <a:gd name="f104" fmla="*/ f77 1 f50"/>
                    <a:gd name="f105" fmla="*/ f78 1 f51"/>
                    <a:gd name="f106" fmla="*/ f79 1 f50"/>
                    <a:gd name="f107" fmla="*/ f80 1 f51"/>
                    <a:gd name="f108" fmla="*/ f81 1 f50"/>
                    <a:gd name="f109" fmla="*/ f82 1 f51"/>
                    <a:gd name="f110" fmla="*/ f83 1 f50"/>
                    <a:gd name="f111" fmla="*/ f84 1 f51"/>
                    <a:gd name="f112" fmla="*/ f85 1 f50"/>
                    <a:gd name="f113" fmla="*/ f86 1 f51"/>
                    <a:gd name="f114" fmla="*/ f87 1 f51"/>
                    <a:gd name="f115" fmla="*/ f88 1 f51"/>
                    <a:gd name="f116" fmla="*/ f89 1 f50"/>
                    <a:gd name="f117" fmla="*/ f90 1 f51"/>
                    <a:gd name="f118" fmla="*/ f91 1 f50"/>
                    <a:gd name="f119" fmla="*/ f92 1 f51"/>
                    <a:gd name="f120" fmla="*/ f93 1 f51"/>
                    <a:gd name="f121" fmla="*/ f94 1 f50"/>
                    <a:gd name="f122" fmla="*/ f95 1 f51"/>
                    <a:gd name="f123" fmla="*/ f96 1 f50"/>
                    <a:gd name="f124" fmla="*/ f97 f45 1"/>
                    <a:gd name="f125" fmla="*/ f98 f45 1"/>
                    <a:gd name="f126" fmla="*/ f100 f46 1"/>
                    <a:gd name="f127" fmla="*/ f99 f46 1"/>
                    <a:gd name="f128" fmla="*/ f102 f45 1"/>
                    <a:gd name="f129" fmla="*/ f103 f46 1"/>
                    <a:gd name="f130" fmla="*/ f104 f45 1"/>
                    <a:gd name="f131" fmla="*/ f105 f46 1"/>
                    <a:gd name="f132" fmla="*/ f106 f45 1"/>
                    <a:gd name="f133" fmla="*/ f107 f46 1"/>
                    <a:gd name="f134" fmla="*/ f108 f45 1"/>
                    <a:gd name="f135" fmla="*/ f109 f46 1"/>
                    <a:gd name="f136" fmla="*/ f110 f45 1"/>
                    <a:gd name="f137" fmla="*/ f111 f46 1"/>
                    <a:gd name="f138" fmla="*/ f112 f45 1"/>
                    <a:gd name="f139" fmla="*/ f113 f46 1"/>
                    <a:gd name="f140" fmla="*/ f114 f46 1"/>
                    <a:gd name="f141" fmla="*/ f115 f46 1"/>
                    <a:gd name="f142" fmla="*/ f116 f45 1"/>
                    <a:gd name="f143" fmla="*/ f117 f46 1"/>
                    <a:gd name="f144" fmla="*/ f118 f45 1"/>
                    <a:gd name="f145" fmla="*/ f119 f46 1"/>
                    <a:gd name="f146" fmla="*/ f120 f46 1"/>
                    <a:gd name="f147" fmla="*/ f121 f45 1"/>
                    <a:gd name="f148" fmla="*/ f122 f46 1"/>
                    <a:gd name="f149" fmla="*/ f123 f45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101">
                      <a:pos x="f128" y="f129"/>
                    </a:cxn>
                    <a:cxn ang="f101">
                      <a:pos x="f130" y="f131"/>
                    </a:cxn>
                    <a:cxn ang="f101">
                      <a:pos x="f132" y="f133"/>
                    </a:cxn>
                    <a:cxn ang="f101">
                      <a:pos x="f134" y="f135"/>
                    </a:cxn>
                    <a:cxn ang="f101">
                      <a:pos x="f136" y="f137"/>
                    </a:cxn>
                    <a:cxn ang="f101">
                      <a:pos x="f138" y="f139"/>
                    </a:cxn>
                    <a:cxn ang="f101">
                      <a:pos x="f138" y="f140"/>
                    </a:cxn>
                    <a:cxn ang="f101">
                      <a:pos x="f138" y="f141"/>
                    </a:cxn>
                    <a:cxn ang="f101">
                      <a:pos x="f142" y="f143"/>
                    </a:cxn>
                    <a:cxn ang="f101">
                      <a:pos x="f144" y="f145"/>
                    </a:cxn>
                    <a:cxn ang="f101">
                      <a:pos x="f144" y="f146"/>
                    </a:cxn>
                    <a:cxn ang="f101">
                      <a:pos x="f147" y="f148"/>
                    </a:cxn>
                    <a:cxn ang="f101">
                      <a:pos x="f149" y="f131"/>
                    </a:cxn>
                    <a:cxn ang="f101">
                      <a:pos x="f128" y="f129"/>
                    </a:cxn>
                  </a:cxnLst>
                  <a:rect l="f124" t="f127" r="f125" b="f126"/>
                  <a:pathLst>
                    <a:path w="712466" h="1081796">
                      <a:moveTo>
                        <a:pt x="f8" y="f5"/>
                      </a:moveTo>
                      <a:cubicBezTo>
                        <a:pt x="f9" y="f5"/>
                        <a:pt x="f10" y="f11"/>
                        <a:pt x="f12" y="f13"/>
                      </a:cubicBezTo>
                      <a:lnTo>
                        <a:pt x="f6" y="f14"/>
                      </a:lnTo>
                      <a:lnTo>
                        <a:pt x="f15" y="f16"/>
                      </a:lnTo>
                      <a:lnTo>
                        <a:pt x="f17" y="f18"/>
                      </a:lnTo>
                      <a:lnTo>
                        <a:pt x="f19" y="f20"/>
                      </a:lnTo>
                      <a:lnTo>
                        <a:pt x="f19" y="f21"/>
                      </a:lnTo>
                      <a:lnTo>
                        <a:pt x="f19" y="f22"/>
                      </a:lnTo>
                      <a:cubicBezTo>
                        <a:pt x="f23" y="f24"/>
                        <a:pt x="f25" y="f26"/>
                        <a:pt x="f27" y="f28"/>
                      </a:cubicBezTo>
                      <a:cubicBezTo>
                        <a:pt x="f29" y="f30"/>
                        <a:pt x="f31" y="f32"/>
                        <a:pt x="f33" y="f34"/>
                      </a:cubicBezTo>
                      <a:lnTo>
                        <a:pt x="f33" y="f35"/>
                      </a:lnTo>
                      <a:cubicBezTo>
                        <a:pt x="f33" y="f36"/>
                        <a:pt x="f37" y="f38"/>
                        <a:pt x="f39" y="f40"/>
                      </a:cubicBezTo>
                      <a:lnTo>
                        <a:pt x="f41" y="f13"/>
                      </a:lnTo>
                      <a:cubicBezTo>
                        <a:pt x="f42" y="f11"/>
                        <a:pt x="f43" y="f5"/>
                        <a:pt x="f8" y="f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24" name="Freeform: Shape 147">
                  <a:extLst>
                    <a:ext uri="{FF2B5EF4-FFF2-40B4-BE49-F238E27FC236}">
                      <a16:creationId xmlns:a16="http://schemas.microsoft.com/office/drawing/2014/main" id="{B19F96F4-B0DB-B50D-2642-871946B668EF}"/>
                    </a:ext>
                  </a:extLst>
                </p:cNvPr>
                <p:cNvSpPr/>
                <p:nvPr/>
              </p:nvSpPr>
              <p:spPr>
                <a:xfrm>
                  <a:off x="9536990" y="5655975"/>
                  <a:ext cx="171861" cy="425644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570609"/>
                    <a:gd name="f7" fmla="val 1413230"/>
                    <a:gd name="f8" fmla="val 490322"/>
                    <a:gd name="f9" fmla="val 36131"/>
                    <a:gd name="f10" fmla="val 1373086"/>
                    <a:gd name="f11" fmla="val 1394591"/>
                    <a:gd name="f12" fmla="val 553405"/>
                    <a:gd name="f13" fmla="val 530466"/>
                    <a:gd name="f14" fmla="val 41578"/>
                    <a:gd name="f15" fmla="val 18639"/>
                    <a:gd name="f16" fmla="val 1396025"/>
                    <a:gd name="f17" fmla="val 1350147"/>
                    <a:gd name="f18" fmla="val 1331509"/>
                    <a:gd name="f19" fmla="+- 0 0 -90"/>
                    <a:gd name="f20" fmla="*/ f3 1 570609"/>
                    <a:gd name="f21" fmla="*/ f4 1 1413230"/>
                    <a:gd name="f22" fmla="+- f7 0 f5"/>
                    <a:gd name="f23" fmla="+- f6 0 f5"/>
                    <a:gd name="f24" fmla="*/ f19 f0 1"/>
                    <a:gd name="f25" fmla="*/ f23 1 570609"/>
                    <a:gd name="f26" fmla="*/ f22 1 1413230"/>
                    <a:gd name="f27" fmla="*/ 490322 f23 1"/>
                    <a:gd name="f28" fmla="*/ 0 f22 1"/>
                    <a:gd name="f29" fmla="*/ 570609 f23 1"/>
                    <a:gd name="f30" fmla="*/ 36131 f22 1"/>
                    <a:gd name="f31" fmla="*/ 1373086 f22 1"/>
                    <a:gd name="f32" fmla="*/ 530466 f23 1"/>
                    <a:gd name="f33" fmla="*/ 1413230 f22 1"/>
                    <a:gd name="f34" fmla="*/ 41578 f23 1"/>
                    <a:gd name="f35" fmla="*/ 0 f23 1"/>
                    <a:gd name="f36" fmla="*/ 1331509 f22 1"/>
                    <a:gd name="f37" fmla="*/ f24 1 f2"/>
                    <a:gd name="f38" fmla="*/ f27 1 570609"/>
                    <a:gd name="f39" fmla="*/ f28 1 1413230"/>
                    <a:gd name="f40" fmla="*/ f29 1 570609"/>
                    <a:gd name="f41" fmla="*/ f30 1 1413230"/>
                    <a:gd name="f42" fmla="*/ f31 1 1413230"/>
                    <a:gd name="f43" fmla="*/ f32 1 570609"/>
                    <a:gd name="f44" fmla="*/ f33 1 1413230"/>
                    <a:gd name="f45" fmla="*/ f34 1 570609"/>
                    <a:gd name="f46" fmla="*/ f35 1 570609"/>
                    <a:gd name="f47" fmla="*/ f36 1 1413230"/>
                    <a:gd name="f48" fmla="*/ f5 1 f25"/>
                    <a:gd name="f49" fmla="*/ f6 1 f25"/>
                    <a:gd name="f50" fmla="*/ f5 1 f26"/>
                    <a:gd name="f51" fmla="*/ f7 1 f26"/>
                    <a:gd name="f52" fmla="+- f37 0 f1"/>
                    <a:gd name="f53" fmla="*/ f38 1 f25"/>
                    <a:gd name="f54" fmla="*/ f39 1 f26"/>
                    <a:gd name="f55" fmla="*/ f40 1 f25"/>
                    <a:gd name="f56" fmla="*/ f41 1 f26"/>
                    <a:gd name="f57" fmla="*/ f42 1 f26"/>
                    <a:gd name="f58" fmla="*/ f43 1 f25"/>
                    <a:gd name="f59" fmla="*/ f44 1 f26"/>
                    <a:gd name="f60" fmla="*/ f45 1 f25"/>
                    <a:gd name="f61" fmla="*/ f46 1 f25"/>
                    <a:gd name="f62" fmla="*/ f47 1 f26"/>
                    <a:gd name="f63" fmla="*/ f48 f20 1"/>
                    <a:gd name="f64" fmla="*/ f49 f20 1"/>
                    <a:gd name="f65" fmla="*/ f51 f21 1"/>
                    <a:gd name="f66" fmla="*/ f50 f21 1"/>
                    <a:gd name="f67" fmla="*/ f53 f20 1"/>
                    <a:gd name="f68" fmla="*/ f54 f21 1"/>
                    <a:gd name="f69" fmla="*/ f55 f20 1"/>
                    <a:gd name="f70" fmla="*/ f56 f21 1"/>
                    <a:gd name="f71" fmla="*/ f57 f21 1"/>
                    <a:gd name="f72" fmla="*/ f58 f20 1"/>
                    <a:gd name="f73" fmla="*/ f59 f21 1"/>
                    <a:gd name="f74" fmla="*/ f60 f20 1"/>
                    <a:gd name="f75" fmla="*/ f61 f20 1"/>
                    <a:gd name="f76" fmla="*/ f62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2">
                      <a:pos x="f67" y="f68"/>
                    </a:cxn>
                    <a:cxn ang="f52">
                      <a:pos x="f69" y="f70"/>
                    </a:cxn>
                    <a:cxn ang="f52">
                      <a:pos x="f69" y="f71"/>
                    </a:cxn>
                    <a:cxn ang="f52">
                      <a:pos x="f72" y="f73"/>
                    </a:cxn>
                    <a:cxn ang="f52">
                      <a:pos x="f74" y="f73"/>
                    </a:cxn>
                    <a:cxn ang="f52">
                      <a:pos x="f75" y="f71"/>
                    </a:cxn>
                    <a:cxn ang="f52">
                      <a:pos x="f74" y="f76"/>
                    </a:cxn>
                    <a:cxn ang="f52">
                      <a:pos x="f67" y="f76"/>
                    </a:cxn>
                    <a:cxn ang="f52">
                      <a:pos x="f67" y="f68"/>
                    </a:cxn>
                  </a:cxnLst>
                  <a:rect l="f63" t="f66" r="f64" b="f65"/>
                  <a:pathLst>
                    <a:path w="570609" h="1413230">
                      <a:moveTo>
                        <a:pt x="f8" y="f5"/>
                      </a:moveTo>
                      <a:lnTo>
                        <a:pt x="f6" y="f9"/>
                      </a:lnTo>
                      <a:lnTo>
                        <a:pt x="f6" y="f10"/>
                      </a:lnTo>
                      <a:cubicBezTo>
                        <a:pt x="f6" y="f11"/>
                        <a:pt x="f12" y="f7"/>
                        <a:pt x="f13" y="f7"/>
                      </a:cubicBezTo>
                      <a:lnTo>
                        <a:pt x="f14" y="f7"/>
                      </a:lnTo>
                      <a:cubicBezTo>
                        <a:pt x="f15" y="f7"/>
                        <a:pt x="f5" y="f16"/>
                        <a:pt x="f5" y="f10"/>
                      </a:cubicBezTo>
                      <a:cubicBezTo>
                        <a:pt x="f5" y="f17"/>
                        <a:pt x="f15" y="f18"/>
                        <a:pt x="f14" y="f18"/>
                      </a:cubicBezTo>
                      <a:lnTo>
                        <a:pt x="f8" y="f18"/>
                      </a:lnTo>
                      <a:lnTo>
                        <a:pt x="f8" y="f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25" name="Graphic 51">
                  <a:extLst>
                    <a:ext uri="{FF2B5EF4-FFF2-40B4-BE49-F238E27FC236}">
                      <a16:creationId xmlns:a16="http://schemas.microsoft.com/office/drawing/2014/main" id="{5FBA717E-288D-94F0-4280-235DFD619523}"/>
                    </a:ext>
                  </a:extLst>
                </p:cNvPr>
                <p:cNvSpPr/>
                <p:nvPr/>
              </p:nvSpPr>
              <p:spPr>
                <a:xfrm rot="20248535">
                  <a:off x="9466602" y="5629531"/>
                  <a:ext cx="79022" cy="794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60"/>
                    <a:gd name="f8" fmla="val 54292"/>
                    <a:gd name="f9" fmla="val 120967"/>
                    <a:gd name="f10" fmla="val 26670"/>
                    <a:gd name="f11" fmla="val 147638"/>
                    <a:gd name="f12" fmla="val 162877"/>
                    <a:gd name="f13" fmla="val 148590"/>
                    <a:gd name="f14" fmla="val 11430"/>
                    <a:gd name="f15" fmla="val 161925"/>
                    <a:gd name="f16" fmla="val 12382"/>
                    <a:gd name="f17" fmla="+- 0 0 -90"/>
                    <a:gd name="f18" fmla="*/ f3 1 174307"/>
                    <a:gd name="f19" fmla="*/ f4 1 175260"/>
                    <a:gd name="f20" fmla="+- f7 0 f5"/>
                    <a:gd name="f21" fmla="+- f6 0 f5"/>
                    <a:gd name="f22" fmla="*/ f17 f0 1"/>
                    <a:gd name="f23" fmla="*/ f21 1 174307"/>
                    <a:gd name="f24" fmla="*/ f20 1 175260"/>
                    <a:gd name="f25" fmla="*/ 54292 f21 1"/>
                    <a:gd name="f26" fmla="*/ 54292 f20 1"/>
                    <a:gd name="f27" fmla="*/ 120967 f21 1"/>
                    <a:gd name="f28" fmla="*/ 120967 f20 1"/>
                    <a:gd name="f29" fmla="*/ 26670 f21 1"/>
                    <a:gd name="f30" fmla="*/ 175260 f20 1"/>
                    <a:gd name="f31" fmla="*/ 147638 f21 1"/>
                    <a:gd name="f32" fmla="*/ 174307 f21 1"/>
                    <a:gd name="f33" fmla="*/ 148590 f20 1"/>
                    <a:gd name="f34" fmla="*/ 26670 f20 1"/>
                    <a:gd name="f35" fmla="*/ 0 f20 1"/>
                    <a:gd name="f36" fmla="*/ 0 f21 1"/>
                    <a:gd name="f37" fmla="*/ 147638 f20 1"/>
                    <a:gd name="f38" fmla="*/ f22 1 f2"/>
                    <a:gd name="f39" fmla="*/ f25 1 174307"/>
                    <a:gd name="f40" fmla="*/ f26 1 175260"/>
                    <a:gd name="f41" fmla="*/ f27 1 174307"/>
                    <a:gd name="f42" fmla="*/ f28 1 175260"/>
                    <a:gd name="f43" fmla="*/ f29 1 174307"/>
                    <a:gd name="f44" fmla="*/ f30 1 175260"/>
                    <a:gd name="f45" fmla="*/ f31 1 174307"/>
                    <a:gd name="f46" fmla="*/ f32 1 174307"/>
                    <a:gd name="f47" fmla="*/ f33 1 175260"/>
                    <a:gd name="f48" fmla="*/ f34 1 175260"/>
                    <a:gd name="f49" fmla="*/ f35 1 175260"/>
                    <a:gd name="f50" fmla="*/ f36 1 174307"/>
                    <a:gd name="f51" fmla="*/ f37 1 175260"/>
                    <a:gd name="f52" fmla="*/ f5 1 f23"/>
                    <a:gd name="f53" fmla="*/ f6 1 f23"/>
                    <a:gd name="f54" fmla="*/ f5 1 f24"/>
                    <a:gd name="f55" fmla="*/ f7 1 f24"/>
                    <a:gd name="f56" fmla="+- f38 0 f1"/>
                    <a:gd name="f57" fmla="*/ f39 1 f23"/>
                    <a:gd name="f58" fmla="*/ f40 1 f24"/>
                    <a:gd name="f59" fmla="*/ f41 1 f23"/>
                    <a:gd name="f60" fmla="*/ f42 1 f24"/>
                    <a:gd name="f61" fmla="*/ f43 1 f23"/>
                    <a:gd name="f62" fmla="*/ f44 1 f24"/>
                    <a:gd name="f63" fmla="*/ f45 1 f23"/>
                    <a:gd name="f64" fmla="*/ f46 1 f23"/>
                    <a:gd name="f65" fmla="*/ f47 1 f24"/>
                    <a:gd name="f66" fmla="*/ f48 1 f24"/>
                    <a:gd name="f67" fmla="*/ f49 1 f24"/>
                    <a:gd name="f68" fmla="*/ f50 1 f23"/>
                    <a:gd name="f69" fmla="*/ f51 1 f24"/>
                    <a:gd name="f70" fmla="*/ f52 f18 1"/>
                    <a:gd name="f71" fmla="*/ f53 f18 1"/>
                    <a:gd name="f72" fmla="*/ f55 f19 1"/>
                    <a:gd name="f73" fmla="*/ f54 f19 1"/>
                    <a:gd name="f74" fmla="*/ f57 f18 1"/>
                    <a:gd name="f75" fmla="*/ f58 f19 1"/>
                    <a:gd name="f76" fmla="*/ f59 f18 1"/>
                    <a:gd name="f77" fmla="*/ f60 f19 1"/>
                    <a:gd name="f78" fmla="*/ f61 f18 1"/>
                    <a:gd name="f79" fmla="*/ f62 f19 1"/>
                    <a:gd name="f80" fmla="*/ f63 f18 1"/>
                    <a:gd name="f81" fmla="*/ f64 f18 1"/>
                    <a:gd name="f82" fmla="*/ f65 f19 1"/>
                    <a:gd name="f83" fmla="*/ f66 f19 1"/>
                    <a:gd name="f84" fmla="*/ f67 f19 1"/>
                    <a:gd name="f85" fmla="*/ f68 f18 1"/>
                    <a:gd name="f86" fmla="*/ f69 f19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4" y="f75"/>
                    </a:cxn>
                    <a:cxn ang="f56">
                      <a:pos x="f76" y="f75"/>
                    </a:cxn>
                    <a:cxn ang="f56">
                      <a:pos x="f76" y="f77"/>
                    </a:cxn>
                    <a:cxn ang="f56">
                      <a:pos x="f74" y="f77"/>
                    </a:cxn>
                    <a:cxn ang="f56">
                      <a:pos x="f74" y="f75"/>
                    </a:cxn>
                    <a:cxn ang="f56">
                      <a:pos x="f78" y="f79"/>
                    </a:cxn>
                    <a:cxn ang="f56">
                      <a:pos x="f80" y="f79"/>
                    </a:cxn>
                    <a:cxn ang="f56">
                      <a:pos x="f81" y="f82"/>
                    </a:cxn>
                    <a:cxn ang="f56">
                      <a:pos x="f81" y="f83"/>
                    </a:cxn>
                    <a:cxn ang="f56">
                      <a:pos x="f80" y="f84"/>
                    </a:cxn>
                    <a:cxn ang="f56">
                      <a:pos x="f80" y="f84"/>
                    </a:cxn>
                    <a:cxn ang="f56">
                      <a:pos x="f78" y="f84"/>
                    </a:cxn>
                    <a:cxn ang="f56">
                      <a:pos x="f85" y="f83"/>
                    </a:cxn>
                    <a:cxn ang="f56">
                      <a:pos x="f85" y="f83"/>
                    </a:cxn>
                    <a:cxn ang="f56">
                      <a:pos x="f85" y="f86"/>
                    </a:cxn>
                    <a:cxn ang="f56">
                      <a:pos x="f78" y="f79"/>
                    </a:cxn>
                    <a:cxn ang="f56">
                      <a:pos x="f78" y="f79"/>
                    </a:cxn>
                  </a:cxnLst>
                  <a:rect l="f70" t="f73" r="f71" b="f72"/>
                  <a:pathLst>
                    <a:path w="174307" h="175260">
                      <a:moveTo>
                        <a:pt x="f8" y="f8"/>
                      </a:moveTo>
                      <a:lnTo>
                        <a:pt x="f9" y="f8"/>
                      </a:lnTo>
                      <a:lnTo>
                        <a:pt x="f9" y="f9"/>
                      </a:lnTo>
                      <a:lnTo>
                        <a:pt x="f8" y="f9"/>
                      </a:lnTo>
                      <a:lnTo>
                        <a:pt x="f8" y="f8"/>
                      </a:lnTo>
                      <a:close/>
                      <a:moveTo>
                        <a:pt x="f10" y="f7"/>
                      </a:moveTo>
                      <a:lnTo>
                        <a:pt x="f11" y="f7"/>
                      </a:lnTo>
                      <a:cubicBezTo>
                        <a:pt x="f12" y="f7"/>
                        <a:pt x="f6" y="f12"/>
                        <a:pt x="f6" y="f13"/>
                      </a:cubicBezTo>
                      <a:lnTo>
                        <a:pt x="f6" y="f10"/>
                      </a:lnTo>
                      <a:cubicBezTo>
                        <a:pt x="f6" y="f14"/>
                        <a:pt x="f15" y="f5"/>
                        <a:pt x="f11" y="f5"/>
                      </a:cubicBezTo>
                      <a:lnTo>
                        <a:pt x="f11" y="f5"/>
                      </a:lnTo>
                      <a:lnTo>
                        <a:pt x="f10" y="f5"/>
                      </a:lnTo>
                      <a:cubicBezTo>
                        <a:pt x="f14" y="f5"/>
                        <a:pt x="f5" y="f16"/>
                        <a:pt x="f5" y="f10"/>
                      </a:cubicBezTo>
                      <a:lnTo>
                        <a:pt x="f5" y="f10"/>
                      </a:lnTo>
                      <a:lnTo>
                        <a:pt x="f5" y="f11"/>
                      </a:lnTo>
                      <a:cubicBezTo>
                        <a:pt x="f5" y="f12"/>
                        <a:pt x="f14" y="f7"/>
                        <a:pt x="f10" y="f7"/>
                      </a:cubicBezTo>
                      <a:lnTo>
                        <a:pt x="f10" y="f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26" name="Graphic 51">
                  <a:extLst>
                    <a:ext uri="{FF2B5EF4-FFF2-40B4-BE49-F238E27FC236}">
                      <a16:creationId xmlns:a16="http://schemas.microsoft.com/office/drawing/2014/main" id="{59A0C110-8C02-375F-CD9D-23A38BFABB39}"/>
                    </a:ext>
                  </a:extLst>
                </p:cNvPr>
                <p:cNvSpPr/>
                <p:nvPr/>
              </p:nvSpPr>
              <p:spPr>
                <a:xfrm rot="20614724">
                  <a:off x="9569810" y="5629531"/>
                  <a:ext cx="79022" cy="794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60"/>
                    <a:gd name="f8" fmla="val 53340"/>
                    <a:gd name="f9" fmla="val 54292"/>
                    <a:gd name="f10" fmla="val 120015"/>
                    <a:gd name="f11" fmla="val 120967"/>
                    <a:gd name="f12" fmla="val 26670"/>
                    <a:gd name="f13" fmla="val 147638"/>
                    <a:gd name="f14" fmla="val 162877"/>
                    <a:gd name="f15" fmla="val 148590"/>
                    <a:gd name="f16" fmla="val 11430"/>
                    <a:gd name="f17" fmla="val 161925"/>
                    <a:gd name="f18" fmla="val 12382"/>
                    <a:gd name="f19" fmla="+- 0 0 -90"/>
                    <a:gd name="f20" fmla="*/ f3 1 174307"/>
                    <a:gd name="f21" fmla="*/ f4 1 175260"/>
                    <a:gd name="f22" fmla="+- f7 0 f5"/>
                    <a:gd name="f23" fmla="+- f6 0 f5"/>
                    <a:gd name="f24" fmla="*/ f19 f0 1"/>
                    <a:gd name="f25" fmla="*/ f23 1 174307"/>
                    <a:gd name="f26" fmla="*/ f22 1 175260"/>
                    <a:gd name="f27" fmla="*/ 53340 f23 1"/>
                    <a:gd name="f28" fmla="*/ 54292 f22 1"/>
                    <a:gd name="f29" fmla="*/ 120015 f23 1"/>
                    <a:gd name="f30" fmla="*/ 120967 f22 1"/>
                    <a:gd name="f31" fmla="*/ 26670 f23 1"/>
                    <a:gd name="f32" fmla="*/ 175260 f22 1"/>
                    <a:gd name="f33" fmla="*/ 147638 f23 1"/>
                    <a:gd name="f34" fmla="*/ 174307 f23 1"/>
                    <a:gd name="f35" fmla="*/ 148590 f22 1"/>
                    <a:gd name="f36" fmla="*/ 26670 f22 1"/>
                    <a:gd name="f37" fmla="*/ 0 f22 1"/>
                    <a:gd name="f38" fmla="*/ 0 f23 1"/>
                    <a:gd name="f39" fmla="*/ 147638 f22 1"/>
                    <a:gd name="f40" fmla="*/ f24 1 f2"/>
                    <a:gd name="f41" fmla="*/ f27 1 174307"/>
                    <a:gd name="f42" fmla="*/ f28 1 175260"/>
                    <a:gd name="f43" fmla="*/ f29 1 174307"/>
                    <a:gd name="f44" fmla="*/ f30 1 175260"/>
                    <a:gd name="f45" fmla="*/ f31 1 174307"/>
                    <a:gd name="f46" fmla="*/ f32 1 175260"/>
                    <a:gd name="f47" fmla="*/ f33 1 174307"/>
                    <a:gd name="f48" fmla="*/ f34 1 174307"/>
                    <a:gd name="f49" fmla="*/ f35 1 175260"/>
                    <a:gd name="f50" fmla="*/ f36 1 175260"/>
                    <a:gd name="f51" fmla="*/ f37 1 175260"/>
                    <a:gd name="f52" fmla="*/ f38 1 174307"/>
                    <a:gd name="f53" fmla="*/ f39 1 175260"/>
                    <a:gd name="f54" fmla="*/ f5 1 f25"/>
                    <a:gd name="f55" fmla="*/ f6 1 f25"/>
                    <a:gd name="f56" fmla="*/ f5 1 f26"/>
                    <a:gd name="f57" fmla="*/ f7 1 f26"/>
                    <a:gd name="f58" fmla="+- f40 0 f1"/>
                    <a:gd name="f59" fmla="*/ f41 1 f25"/>
                    <a:gd name="f60" fmla="*/ f42 1 f26"/>
                    <a:gd name="f61" fmla="*/ f43 1 f25"/>
                    <a:gd name="f62" fmla="*/ f44 1 f26"/>
                    <a:gd name="f63" fmla="*/ f45 1 f25"/>
                    <a:gd name="f64" fmla="*/ f46 1 f26"/>
                    <a:gd name="f65" fmla="*/ f47 1 f25"/>
                    <a:gd name="f66" fmla="*/ f48 1 f25"/>
                    <a:gd name="f67" fmla="*/ f49 1 f26"/>
                    <a:gd name="f68" fmla="*/ f50 1 f26"/>
                    <a:gd name="f69" fmla="*/ f51 1 f26"/>
                    <a:gd name="f70" fmla="*/ f52 1 f25"/>
                    <a:gd name="f71" fmla="*/ f53 1 f26"/>
                    <a:gd name="f72" fmla="*/ f54 f20 1"/>
                    <a:gd name="f73" fmla="*/ f55 f20 1"/>
                    <a:gd name="f74" fmla="*/ f57 f21 1"/>
                    <a:gd name="f75" fmla="*/ f56 f21 1"/>
                    <a:gd name="f76" fmla="*/ f59 f20 1"/>
                    <a:gd name="f77" fmla="*/ f60 f21 1"/>
                    <a:gd name="f78" fmla="*/ f61 f20 1"/>
                    <a:gd name="f79" fmla="*/ f62 f21 1"/>
                    <a:gd name="f80" fmla="*/ f63 f20 1"/>
                    <a:gd name="f81" fmla="*/ f64 f21 1"/>
                    <a:gd name="f82" fmla="*/ f65 f20 1"/>
                    <a:gd name="f83" fmla="*/ f66 f20 1"/>
                    <a:gd name="f84" fmla="*/ f67 f21 1"/>
                    <a:gd name="f85" fmla="*/ f68 f21 1"/>
                    <a:gd name="f86" fmla="*/ f69 f21 1"/>
                    <a:gd name="f87" fmla="*/ f70 f20 1"/>
                    <a:gd name="f88" fmla="*/ f71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8">
                      <a:pos x="f76" y="f77"/>
                    </a:cxn>
                    <a:cxn ang="f58">
                      <a:pos x="f78" y="f77"/>
                    </a:cxn>
                    <a:cxn ang="f58">
                      <a:pos x="f78" y="f79"/>
                    </a:cxn>
                    <a:cxn ang="f58">
                      <a:pos x="f76" y="f79"/>
                    </a:cxn>
                    <a:cxn ang="f58">
                      <a:pos x="f76" y="f77"/>
                    </a:cxn>
                    <a:cxn ang="f58">
                      <a:pos x="f80" y="f81"/>
                    </a:cxn>
                    <a:cxn ang="f58">
                      <a:pos x="f82" y="f81"/>
                    </a:cxn>
                    <a:cxn ang="f58">
                      <a:pos x="f83" y="f84"/>
                    </a:cxn>
                    <a:cxn ang="f58">
                      <a:pos x="f83" y="f85"/>
                    </a:cxn>
                    <a:cxn ang="f58">
                      <a:pos x="f82" y="f86"/>
                    </a:cxn>
                    <a:cxn ang="f58">
                      <a:pos x="f80" y="f86"/>
                    </a:cxn>
                    <a:cxn ang="f58">
                      <a:pos x="f87" y="f85"/>
                    </a:cxn>
                    <a:cxn ang="f58">
                      <a:pos x="f87" y="f85"/>
                    </a:cxn>
                    <a:cxn ang="f58">
                      <a:pos x="f87" y="f88"/>
                    </a:cxn>
                    <a:cxn ang="f58">
                      <a:pos x="f80" y="f81"/>
                    </a:cxn>
                    <a:cxn ang="f58">
                      <a:pos x="f80" y="f81"/>
                    </a:cxn>
                  </a:cxnLst>
                  <a:rect l="f72" t="f75" r="f73" b="f74"/>
                  <a:pathLst>
                    <a:path w="174307" h="175260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12" y="f7"/>
                      </a:moveTo>
                      <a:lnTo>
                        <a:pt x="f13" y="f7"/>
                      </a:lnTo>
                      <a:cubicBezTo>
                        <a:pt x="f14" y="f7"/>
                        <a:pt x="f6" y="f14"/>
                        <a:pt x="f6" y="f15"/>
                      </a:cubicBezTo>
                      <a:lnTo>
                        <a:pt x="f6" y="f12"/>
                      </a:lnTo>
                      <a:cubicBezTo>
                        <a:pt x="f6" y="f16"/>
                        <a:pt x="f17" y="f5"/>
                        <a:pt x="f13" y="f5"/>
                      </a:cubicBezTo>
                      <a:lnTo>
                        <a:pt x="f12" y="f5"/>
                      </a:lnTo>
                      <a:cubicBezTo>
                        <a:pt x="f16" y="f5"/>
                        <a:pt x="f5" y="f18"/>
                        <a:pt x="f5" y="f12"/>
                      </a:cubicBezTo>
                      <a:lnTo>
                        <a:pt x="f5" y="f12"/>
                      </a:lnTo>
                      <a:lnTo>
                        <a:pt x="f5" y="f13"/>
                      </a:lnTo>
                      <a:cubicBezTo>
                        <a:pt x="f5" y="f14"/>
                        <a:pt x="f16" y="f7"/>
                        <a:pt x="f12" y="f7"/>
                      </a:cubicBezTo>
                      <a:lnTo>
                        <a:pt x="f12" y="f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27" name="Graphic 51">
                  <a:extLst>
                    <a:ext uri="{FF2B5EF4-FFF2-40B4-BE49-F238E27FC236}">
                      <a16:creationId xmlns:a16="http://schemas.microsoft.com/office/drawing/2014/main" id="{18AD1236-0703-E66A-FF4F-2D0CE4C31B6E}"/>
                    </a:ext>
                  </a:extLst>
                </p:cNvPr>
                <p:cNvSpPr/>
                <p:nvPr/>
              </p:nvSpPr>
              <p:spPr>
                <a:xfrm>
                  <a:off x="9466609" y="5734879"/>
                  <a:ext cx="79022" cy="794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2"/>
                    <a:gd name="f9" fmla="val 53340"/>
                    <a:gd name="f10" fmla="val 120967"/>
                    <a:gd name="f11" fmla="val 120015"/>
                    <a:gd name="f12" fmla="val 147638"/>
                    <a:gd name="f13" fmla="val 162877"/>
                    <a:gd name="f14" fmla="val 12382"/>
                    <a:gd name="f15" fmla="val 26670"/>
                    <a:gd name="f16" fmla="val 175260"/>
                    <a:gd name="f17" fmla="val 11430"/>
                    <a:gd name="f18" fmla="val 161925"/>
                    <a:gd name="f19" fmla="+- 0 0 -90"/>
                    <a:gd name="f20" fmla="*/ f3 1 174307"/>
                    <a:gd name="f21" fmla="*/ f4 1 175259"/>
                    <a:gd name="f22" fmla="+- f7 0 f5"/>
                    <a:gd name="f23" fmla="+- f6 0 f5"/>
                    <a:gd name="f24" fmla="*/ f19 f0 1"/>
                    <a:gd name="f25" fmla="*/ f23 1 174307"/>
                    <a:gd name="f26" fmla="*/ f22 1 175259"/>
                    <a:gd name="f27" fmla="*/ 54292 f23 1"/>
                    <a:gd name="f28" fmla="*/ 53340 f22 1"/>
                    <a:gd name="f29" fmla="*/ 120967 f23 1"/>
                    <a:gd name="f30" fmla="*/ 120015 f22 1"/>
                    <a:gd name="f31" fmla="*/ 0 f23 1"/>
                    <a:gd name="f32" fmla="*/ 147638 f22 1"/>
                    <a:gd name="f33" fmla="*/ 26670 f23 1"/>
                    <a:gd name="f34" fmla="*/ 175260 f22 1"/>
                    <a:gd name="f35" fmla="*/ 147638 f23 1"/>
                    <a:gd name="f36" fmla="*/ 174307 f23 1"/>
                    <a:gd name="f37" fmla="*/ 26670 f22 1"/>
                    <a:gd name="f38" fmla="*/ 0 f22 1"/>
                    <a:gd name="f39" fmla="*/ f24 1 f2"/>
                    <a:gd name="f40" fmla="*/ f27 1 174307"/>
                    <a:gd name="f41" fmla="*/ f28 1 175259"/>
                    <a:gd name="f42" fmla="*/ f29 1 174307"/>
                    <a:gd name="f43" fmla="*/ f30 1 175259"/>
                    <a:gd name="f44" fmla="*/ f31 1 174307"/>
                    <a:gd name="f45" fmla="*/ f32 1 175259"/>
                    <a:gd name="f46" fmla="*/ f33 1 174307"/>
                    <a:gd name="f47" fmla="*/ f34 1 175259"/>
                    <a:gd name="f48" fmla="*/ f35 1 174307"/>
                    <a:gd name="f49" fmla="*/ f36 1 174307"/>
                    <a:gd name="f50" fmla="*/ f37 1 175259"/>
                    <a:gd name="f51" fmla="*/ f38 1 175259"/>
                    <a:gd name="f52" fmla="*/ f5 1 f25"/>
                    <a:gd name="f53" fmla="*/ f6 1 f25"/>
                    <a:gd name="f54" fmla="*/ f5 1 f26"/>
                    <a:gd name="f55" fmla="*/ f7 1 f26"/>
                    <a:gd name="f56" fmla="+- f39 0 f1"/>
                    <a:gd name="f57" fmla="*/ f40 1 f25"/>
                    <a:gd name="f58" fmla="*/ f41 1 f26"/>
                    <a:gd name="f59" fmla="*/ f42 1 f25"/>
                    <a:gd name="f60" fmla="*/ f43 1 f26"/>
                    <a:gd name="f61" fmla="*/ f44 1 f25"/>
                    <a:gd name="f62" fmla="*/ f45 1 f26"/>
                    <a:gd name="f63" fmla="*/ f46 1 f25"/>
                    <a:gd name="f64" fmla="*/ f47 1 f26"/>
                    <a:gd name="f65" fmla="*/ f48 1 f25"/>
                    <a:gd name="f66" fmla="*/ f49 1 f25"/>
                    <a:gd name="f67" fmla="*/ f50 1 f26"/>
                    <a:gd name="f68" fmla="*/ f51 1 f26"/>
                    <a:gd name="f69" fmla="*/ f52 f20 1"/>
                    <a:gd name="f70" fmla="*/ f53 f20 1"/>
                    <a:gd name="f71" fmla="*/ f55 f21 1"/>
                    <a:gd name="f72" fmla="*/ f54 f21 1"/>
                    <a:gd name="f73" fmla="*/ f57 f20 1"/>
                    <a:gd name="f74" fmla="*/ f58 f21 1"/>
                    <a:gd name="f75" fmla="*/ f59 f20 1"/>
                    <a:gd name="f76" fmla="*/ f60 f21 1"/>
                    <a:gd name="f77" fmla="*/ f61 f20 1"/>
                    <a:gd name="f78" fmla="*/ f62 f21 1"/>
                    <a:gd name="f79" fmla="*/ f63 f20 1"/>
                    <a:gd name="f80" fmla="*/ f64 f21 1"/>
                    <a:gd name="f81" fmla="*/ f65 f20 1"/>
                    <a:gd name="f82" fmla="*/ f66 f20 1"/>
                    <a:gd name="f83" fmla="*/ f67 f21 1"/>
                    <a:gd name="f84" fmla="*/ f68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3" y="f74"/>
                    </a:cxn>
                    <a:cxn ang="f56">
                      <a:pos x="f75" y="f74"/>
                    </a:cxn>
                    <a:cxn ang="f56">
                      <a:pos x="f75" y="f76"/>
                    </a:cxn>
                    <a:cxn ang="f56">
                      <a:pos x="f73" y="f76"/>
                    </a:cxn>
                    <a:cxn ang="f56">
                      <a:pos x="f73" y="f74"/>
                    </a:cxn>
                    <a:cxn ang="f56">
                      <a:pos x="f77" y="f78"/>
                    </a:cxn>
                    <a:cxn ang="f56">
                      <a:pos x="f79" y="f80"/>
                    </a:cxn>
                    <a:cxn ang="f56">
                      <a:pos x="f79" y="f80"/>
                    </a:cxn>
                    <a:cxn ang="f56">
                      <a:pos x="f81" y="f80"/>
                    </a:cxn>
                    <a:cxn ang="f56">
                      <a:pos x="f82" y="f78"/>
                    </a:cxn>
                    <a:cxn ang="f56">
                      <a:pos x="f82" y="f83"/>
                    </a:cxn>
                    <a:cxn ang="f56">
                      <a:pos x="f81" y="f84"/>
                    </a:cxn>
                    <a:cxn ang="f56">
                      <a:pos x="f79" y="f84"/>
                    </a:cxn>
                    <a:cxn ang="f56">
                      <a:pos x="f77" y="f83"/>
                    </a:cxn>
                    <a:cxn ang="f56">
                      <a:pos x="f77" y="f78"/>
                    </a:cxn>
                  </a:cxnLst>
                  <a:rect l="f69" t="f72" r="f70" b="f71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5" y="f16"/>
                      </a:lnTo>
                      <a:lnTo>
                        <a:pt x="f12" y="f16"/>
                      </a:lnTo>
                      <a:cubicBezTo>
                        <a:pt x="f13" y="f16"/>
                        <a:pt x="f6" y="f13"/>
                        <a:pt x="f6" y="f12"/>
                      </a:cubicBezTo>
                      <a:lnTo>
                        <a:pt x="f6" y="f15"/>
                      </a:lnTo>
                      <a:cubicBezTo>
                        <a:pt x="f6" y="f17"/>
                        <a:pt x="f18" y="f5"/>
                        <a:pt x="f12" y="f5"/>
                      </a:cubicBezTo>
                      <a:lnTo>
                        <a:pt x="f15" y="f5"/>
                      </a:lnTo>
                      <a:cubicBezTo>
                        <a:pt x="f17" y="f5"/>
                        <a:pt x="f5" y="f14"/>
                        <a:pt x="f5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28" name="Graphic 51">
                  <a:extLst>
                    <a:ext uri="{FF2B5EF4-FFF2-40B4-BE49-F238E27FC236}">
                      <a16:creationId xmlns:a16="http://schemas.microsoft.com/office/drawing/2014/main" id="{7833285B-702A-FC08-AC20-7564FD0E4669}"/>
                    </a:ext>
                  </a:extLst>
                </p:cNvPr>
                <p:cNvSpPr/>
                <p:nvPr/>
              </p:nvSpPr>
              <p:spPr>
                <a:xfrm>
                  <a:off x="9569369" y="5734879"/>
                  <a:ext cx="79022" cy="794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3"/>
                    <a:gd name="f9" fmla="val 53340"/>
                    <a:gd name="f10" fmla="val 120968"/>
                    <a:gd name="f11" fmla="val 120015"/>
                    <a:gd name="f12" fmla="val 147638"/>
                    <a:gd name="f13" fmla="val 162877"/>
                    <a:gd name="f14" fmla="val 12383"/>
                    <a:gd name="f15" fmla="val 26670"/>
                    <a:gd name="f16" fmla="val 175260"/>
                    <a:gd name="f17" fmla="val 162878"/>
                    <a:gd name="f18" fmla="val 174308"/>
                    <a:gd name="f19" fmla="val 11430"/>
                    <a:gd name="f20" fmla="val 161925"/>
                    <a:gd name="f21" fmla="val 27623"/>
                    <a:gd name="f22" fmla="val 953"/>
                    <a:gd name="f23" fmla="val 12382"/>
                    <a:gd name="f24" fmla="+- 0 0 -90"/>
                    <a:gd name="f25" fmla="*/ f3 1 174307"/>
                    <a:gd name="f26" fmla="*/ f4 1 175259"/>
                    <a:gd name="f27" fmla="+- f7 0 f5"/>
                    <a:gd name="f28" fmla="+- f6 0 f5"/>
                    <a:gd name="f29" fmla="*/ f24 f0 1"/>
                    <a:gd name="f30" fmla="*/ f28 1 174307"/>
                    <a:gd name="f31" fmla="*/ f27 1 175259"/>
                    <a:gd name="f32" fmla="*/ 54293 f28 1"/>
                    <a:gd name="f33" fmla="*/ 53340 f27 1"/>
                    <a:gd name="f34" fmla="*/ 120968 f28 1"/>
                    <a:gd name="f35" fmla="*/ 120015 f27 1"/>
                    <a:gd name="f36" fmla="*/ 0 f28 1"/>
                    <a:gd name="f37" fmla="*/ 147638 f27 1"/>
                    <a:gd name="f38" fmla="*/ 26670 f28 1"/>
                    <a:gd name="f39" fmla="*/ 175260 f27 1"/>
                    <a:gd name="f40" fmla="*/ 147638 f28 1"/>
                    <a:gd name="f41" fmla="*/ 174308 f28 1"/>
                    <a:gd name="f42" fmla="*/ 26670 f27 1"/>
                    <a:gd name="f43" fmla="*/ 0 f27 1"/>
                    <a:gd name="f44" fmla="*/ 27623 f28 1"/>
                    <a:gd name="f45" fmla="*/ 953 f28 1"/>
                    <a:gd name="f46" fmla="*/ f29 1 f2"/>
                    <a:gd name="f47" fmla="*/ f32 1 174307"/>
                    <a:gd name="f48" fmla="*/ f33 1 175259"/>
                    <a:gd name="f49" fmla="*/ f34 1 174307"/>
                    <a:gd name="f50" fmla="*/ f35 1 175259"/>
                    <a:gd name="f51" fmla="*/ f36 1 174307"/>
                    <a:gd name="f52" fmla="*/ f37 1 175259"/>
                    <a:gd name="f53" fmla="*/ f38 1 174307"/>
                    <a:gd name="f54" fmla="*/ f39 1 175259"/>
                    <a:gd name="f55" fmla="*/ f40 1 174307"/>
                    <a:gd name="f56" fmla="*/ f41 1 174307"/>
                    <a:gd name="f57" fmla="*/ f42 1 175259"/>
                    <a:gd name="f58" fmla="*/ f43 1 175259"/>
                    <a:gd name="f59" fmla="*/ f44 1 174307"/>
                    <a:gd name="f60" fmla="*/ f45 1 174307"/>
                    <a:gd name="f61" fmla="*/ f5 1 f30"/>
                    <a:gd name="f62" fmla="*/ f6 1 f30"/>
                    <a:gd name="f63" fmla="*/ f5 1 f31"/>
                    <a:gd name="f64" fmla="*/ f7 1 f31"/>
                    <a:gd name="f65" fmla="+- f46 0 f1"/>
                    <a:gd name="f66" fmla="*/ f47 1 f30"/>
                    <a:gd name="f67" fmla="*/ f48 1 f31"/>
                    <a:gd name="f68" fmla="*/ f49 1 f30"/>
                    <a:gd name="f69" fmla="*/ f50 1 f31"/>
                    <a:gd name="f70" fmla="*/ f51 1 f30"/>
                    <a:gd name="f71" fmla="*/ f52 1 f31"/>
                    <a:gd name="f72" fmla="*/ f53 1 f30"/>
                    <a:gd name="f73" fmla="*/ f54 1 f31"/>
                    <a:gd name="f74" fmla="*/ f55 1 f30"/>
                    <a:gd name="f75" fmla="*/ f56 1 f30"/>
                    <a:gd name="f76" fmla="*/ f57 1 f31"/>
                    <a:gd name="f77" fmla="*/ f58 1 f31"/>
                    <a:gd name="f78" fmla="*/ f59 1 f30"/>
                    <a:gd name="f79" fmla="*/ f60 1 f30"/>
                    <a:gd name="f80" fmla="*/ f61 f25 1"/>
                    <a:gd name="f81" fmla="*/ f62 f25 1"/>
                    <a:gd name="f82" fmla="*/ f64 f26 1"/>
                    <a:gd name="f83" fmla="*/ f63 f26 1"/>
                    <a:gd name="f84" fmla="*/ f66 f25 1"/>
                    <a:gd name="f85" fmla="*/ f67 f26 1"/>
                    <a:gd name="f86" fmla="*/ f68 f25 1"/>
                    <a:gd name="f87" fmla="*/ f69 f26 1"/>
                    <a:gd name="f88" fmla="*/ f70 f25 1"/>
                    <a:gd name="f89" fmla="*/ f71 f26 1"/>
                    <a:gd name="f90" fmla="*/ f72 f25 1"/>
                    <a:gd name="f91" fmla="*/ f73 f26 1"/>
                    <a:gd name="f92" fmla="*/ f74 f25 1"/>
                    <a:gd name="f93" fmla="*/ f75 f25 1"/>
                    <a:gd name="f94" fmla="*/ f76 f26 1"/>
                    <a:gd name="f95" fmla="*/ f77 f26 1"/>
                    <a:gd name="f96" fmla="*/ f78 f25 1"/>
                    <a:gd name="f97" fmla="*/ f79 f25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5">
                      <a:pos x="f84" y="f85"/>
                    </a:cxn>
                    <a:cxn ang="f65">
                      <a:pos x="f86" y="f85"/>
                    </a:cxn>
                    <a:cxn ang="f65">
                      <a:pos x="f86" y="f87"/>
                    </a:cxn>
                    <a:cxn ang="f65">
                      <a:pos x="f84" y="f87"/>
                    </a:cxn>
                    <a:cxn ang="f65">
                      <a:pos x="f84" y="f85"/>
                    </a:cxn>
                    <a:cxn ang="f65">
                      <a:pos x="f88" y="f89"/>
                    </a:cxn>
                    <a:cxn ang="f65">
                      <a:pos x="f90" y="f91"/>
                    </a:cxn>
                    <a:cxn ang="f65">
                      <a:pos x="f92" y="f91"/>
                    </a:cxn>
                    <a:cxn ang="f65">
                      <a:pos x="f93" y="f89"/>
                    </a:cxn>
                    <a:cxn ang="f65">
                      <a:pos x="f93" y="f94"/>
                    </a:cxn>
                    <a:cxn ang="f65">
                      <a:pos x="f92" y="f95"/>
                    </a:cxn>
                    <a:cxn ang="f65">
                      <a:pos x="f96" y="f95"/>
                    </a:cxn>
                    <a:cxn ang="f65">
                      <a:pos x="f97" y="f94"/>
                    </a:cxn>
                    <a:cxn ang="f65">
                      <a:pos x="f88" y="f89"/>
                    </a:cxn>
                  </a:cxnLst>
                  <a:rect l="f80" t="f83" r="f81" b="f82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2" y="f16"/>
                      </a:lnTo>
                      <a:cubicBezTo>
                        <a:pt x="f17" y="f16"/>
                        <a:pt x="f18" y="f13"/>
                        <a:pt x="f18" y="f12"/>
                      </a:cubicBezTo>
                      <a:lnTo>
                        <a:pt x="f18" y="f15"/>
                      </a:lnTo>
                      <a:cubicBezTo>
                        <a:pt x="f18" y="f19"/>
                        <a:pt x="f20" y="f5"/>
                        <a:pt x="f12" y="f5"/>
                      </a:cubicBezTo>
                      <a:lnTo>
                        <a:pt x="f21" y="f5"/>
                      </a:lnTo>
                      <a:cubicBezTo>
                        <a:pt x="f14" y="f5"/>
                        <a:pt x="f22" y="f23"/>
                        <a:pt x="f22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29" name="Graphic 51">
                  <a:extLst>
                    <a:ext uri="{FF2B5EF4-FFF2-40B4-BE49-F238E27FC236}">
                      <a16:creationId xmlns:a16="http://schemas.microsoft.com/office/drawing/2014/main" id="{7D11F6A5-6F00-2120-0673-9DBE0C0105D9}"/>
                    </a:ext>
                  </a:extLst>
                </p:cNvPr>
                <p:cNvSpPr/>
                <p:nvPr/>
              </p:nvSpPr>
              <p:spPr>
                <a:xfrm>
                  <a:off x="9569369" y="5839806"/>
                  <a:ext cx="79022" cy="794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60"/>
                    <a:gd name="f8" fmla="val 54293"/>
                    <a:gd name="f9" fmla="val 120968"/>
                    <a:gd name="f10" fmla="val 147638"/>
                    <a:gd name="f11" fmla="val 162877"/>
                    <a:gd name="f12" fmla="val 12383"/>
                    <a:gd name="f13" fmla="val 174308"/>
                    <a:gd name="f14" fmla="val 26670"/>
                    <a:gd name="f15" fmla="val 162878"/>
                    <a:gd name="f16" fmla="val 11430"/>
                    <a:gd name="f17" fmla="val 161925"/>
                    <a:gd name="f18" fmla="val 27623"/>
                    <a:gd name="f19" fmla="val 953"/>
                    <a:gd name="f20" fmla="+- 0 0 -90"/>
                    <a:gd name="f21" fmla="*/ f3 1 174307"/>
                    <a:gd name="f22" fmla="*/ f4 1 175260"/>
                    <a:gd name="f23" fmla="+- f7 0 f5"/>
                    <a:gd name="f24" fmla="+- f6 0 f5"/>
                    <a:gd name="f25" fmla="*/ f20 f0 1"/>
                    <a:gd name="f26" fmla="*/ f24 1 174307"/>
                    <a:gd name="f27" fmla="*/ f23 1 175260"/>
                    <a:gd name="f28" fmla="*/ 54293 f24 1"/>
                    <a:gd name="f29" fmla="*/ 54293 f23 1"/>
                    <a:gd name="f30" fmla="*/ 120968 f24 1"/>
                    <a:gd name="f31" fmla="*/ 120968 f23 1"/>
                    <a:gd name="f32" fmla="*/ 0 f24 1"/>
                    <a:gd name="f33" fmla="*/ 147638 f23 1"/>
                    <a:gd name="f34" fmla="*/ 26670 f24 1"/>
                    <a:gd name="f35" fmla="*/ 175260 f23 1"/>
                    <a:gd name="f36" fmla="*/ 147638 f24 1"/>
                    <a:gd name="f37" fmla="*/ 174308 f24 1"/>
                    <a:gd name="f38" fmla="*/ 26670 f23 1"/>
                    <a:gd name="f39" fmla="*/ 0 f23 1"/>
                    <a:gd name="f40" fmla="*/ 27623 f24 1"/>
                    <a:gd name="f41" fmla="*/ 953 f24 1"/>
                    <a:gd name="f42" fmla="*/ f25 1 f2"/>
                    <a:gd name="f43" fmla="*/ f28 1 174307"/>
                    <a:gd name="f44" fmla="*/ f29 1 175260"/>
                    <a:gd name="f45" fmla="*/ f30 1 174307"/>
                    <a:gd name="f46" fmla="*/ f31 1 175260"/>
                    <a:gd name="f47" fmla="*/ f32 1 174307"/>
                    <a:gd name="f48" fmla="*/ f33 1 175260"/>
                    <a:gd name="f49" fmla="*/ f34 1 174307"/>
                    <a:gd name="f50" fmla="*/ f35 1 175260"/>
                    <a:gd name="f51" fmla="*/ f36 1 174307"/>
                    <a:gd name="f52" fmla="*/ f37 1 174307"/>
                    <a:gd name="f53" fmla="*/ f38 1 175260"/>
                    <a:gd name="f54" fmla="*/ f39 1 175260"/>
                    <a:gd name="f55" fmla="*/ f40 1 174307"/>
                    <a:gd name="f56" fmla="*/ f41 1 174307"/>
                    <a:gd name="f57" fmla="*/ f5 1 f26"/>
                    <a:gd name="f58" fmla="*/ f6 1 f26"/>
                    <a:gd name="f59" fmla="*/ f5 1 f27"/>
                    <a:gd name="f60" fmla="*/ f7 1 f27"/>
                    <a:gd name="f61" fmla="+- f42 0 f1"/>
                    <a:gd name="f62" fmla="*/ f43 1 f26"/>
                    <a:gd name="f63" fmla="*/ f44 1 f27"/>
                    <a:gd name="f64" fmla="*/ f45 1 f26"/>
                    <a:gd name="f65" fmla="*/ f46 1 f27"/>
                    <a:gd name="f66" fmla="*/ f47 1 f26"/>
                    <a:gd name="f67" fmla="*/ f48 1 f27"/>
                    <a:gd name="f68" fmla="*/ f49 1 f26"/>
                    <a:gd name="f69" fmla="*/ f50 1 f27"/>
                    <a:gd name="f70" fmla="*/ f51 1 f26"/>
                    <a:gd name="f71" fmla="*/ f52 1 f26"/>
                    <a:gd name="f72" fmla="*/ f53 1 f27"/>
                    <a:gd name="f73" fmla="*/ f54 1 f27"/>
                    <a:gd name="f74" fmla="*/ f55 1 f26"/>
                    <a:gd name="f75" fmla="*/ f56 1 f26"/>
                    <a:gd name="f76" fmla="*/ f57 f21 1"/>
                    <a:gd name="f77" fmla="*/ f58 f21 1"/>
                    <a:gd name="f78" fmla="*/ f60 f22 1"/>
                    <a:gd name="f79" fmla="*/ f59 f22 1"/>
                    <a:gd name="f80" fmla="*/ f62 f21 1"/>
                    <a:gd name="f81" fmla="*/ f63 f22 1"/>
                    <a:gd name="f82" fmla="*/ f64 f21 1"/>
                    <a:gd name="f83" fmla="*/ f65 f22 1"/>
                    <a:gd name="f84" fmla="*/ f66 f21 1"/>
                    <a:gd name="f85" fmla="*/ f67 f22 1"/>
                    <a:gd name="f86" fmla="*/ f68 f21 1"/>
                    <a:gd name="f87" fmla="*/ f69 f22 1"/>
                    <a:gd name="f88" fmla="*/ f70 f21 1"/>
                    <a:gd name="f89" fmla="*/ f71 f21 1"/>
                    <a:gd name="f90" fmla="*/ f72 f22 1"/>
                    <a:gd name="f91" fmla="*/ f73 f22 1"/>
                    <a:gd name="f92" fmla="*/ f74 f21 1"/>
                    <a:gd name="f93" fmla="*/ f75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1">
                      <a:pos x="f80" y="f81"/>
                    </a:cxn>
                    <a:cxn ang="f61">
                      <a:pos x="f82" y="f81"/>
                    </a:cxn>
                    <a:cxn ang="f61">
                      <a:pos x="f82" y="f83"/>
                    </a:cxn>
                    <a:cxn ang="f61">
                      <a:pos x="f80" y="f83"/>
                    </a:cxn>
                    <a:cxn ang="f61">
                      <a:pos x="f80" y="f81"/>
                    </a:cxn>
                    <a:cxn ang="f61">
                      <a:pos x="f84" y="f85"/>
                    </a:cxn>
                    <a:cxn ang="f61">
                      <a:pos x="f86" y="f87"/>
                    </a:cxn>
                    <a:cxn ang="f61">
                      <a:pos x="f88" y="f87"/>
                    </a:cxn>
                    <a:cxn ang="f61">
                      <a:pos x="f89" y="f85"/>
                    </a:cxn>
                    <a:cxn ang="f61">
                      <a:pos x="f89" y="f90"/>
                    </a:cxn>
                    <a:cxn ang="f61">
                      <a:pos x="f88" y="f91"/>
                    </a:cxn>
                    <a:cxn ang="f61">
                      <a:pos x="f92" y="f91"/>
                    </a:cxn>
                    <a:cxn ang="f61">
                      <a:pos x="f93" y="f90"/>
                    </a:cxn>
                    <a:cxn ang="f61">
                      <a:pos x="f84" y="f85"/>
                    </a:cxn>
                  </a:cxnLst>
                  <a:rect l="f76" t="f79" r="f77" b="f78"/>
                  <a:pathLst>
                    <a:path w="174307" h="175260">
                      <a:moveTo>
                        <a:pt x="f8" y="f8"/>
                      </a:moveTo>
                      <a:lnTo>
                        <a:pt x="f9" y="f8"/>
                      </a:lnTo>
                      <a:lnTo>
                        <a:pt x="f9" y="f9"/>
                      </a:lnTo>
                      <a:lnTo>
                        <a:pt x="f8" y="f9"/>
                      </a:lnTo>
                      <a:lnTo>
                        <a:pt x="f8" y="f8"/>
                      </a:lnTo>
                      <a:close/>
                      <a:moveTo>
                        <a:pt x="f5" y="f10"/>
                      </a:moveTo>
                      <a:cubicBezTo>
                        <a:pt x="f5" y="f11"/>
                        <a:pt x="f12" y="f13"/>
                        <a:pt x="f14" y="f7"/>
                      </a:cubicBezTo>
                      <a:lnTo>
                        <a:pt x="f10" y="f7"/>
                      </a:lnTo>
                      <a:cubicBezTo>
                        <a:pt x="f15" y="f7"/>
                        <a:pt x="f13" y="f11"/>
                        <a:pt x="f13" y="f10"/>
                      </a:cubicBezTo>
                      <a:lnTo>
                        <a:pt x="f13" y="f14"/>
                      </a:lnTo>
                      <a:cubicBezTo>
                        <a:pt x="f13" y="f16"/>
                        <a:pt x="f17" y="f5"/>
                        <a:pt x="f10" y="f5"/>
                      </a:cubicBezTo>
                      <a:lnTo>
                        <a:pt x="f18" y="f5"/>
                      </a:lnTo>
                      <a:cubicBezTo>
                        <a:pt x="f12" y="f5"/>
                        <a:pt x="f19" y="f12"/>
                        <a:pt x="f19" y="f14"/>
                      </a:cubicBezTo>
                      <a:lnTo>
                        <a:pt x="f5" y="f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0" name="Graphic 51">
                  <a:extLst>
                    <a:ext uri="{FF2B5EF4-FFF2-40B4-BE49-F238E27FC236}">
                      <a16:creationId xmlns:a16="http://schemas.microsoft.com/office/drawing/2014/main" id="{F794B750-1EDD-3DE4-E321-8A61F31223B9}"/>
                    </a:ext>
                  </a:extLst>
                </p:cNvPr>
                <p:cNvSpPr/>
                <p:nvPr/>
              </p:nvSpPr>
              <p:spPr>
                <a:xfrm rot="18957558">
                  <a:off x="9813701" y="5987060"/>
                  <a:ext cx="79022" cy="794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3"/>
                    <a:gd name="f9" fmla="val 53340"/>
                    <a:gd name="f10" fmla="val 120968"/>
                    <a:gd name="f11" fmla="val 120015"/>
                    <a:gd name="f12" fmla="val 147638"/>
                    <a:gd name="f13" fmla="val 162877"/>
                    <a:gd name="f14" fmla="val 12383"/>
                    <a:gd name="f15" fmla="val 26670"/>
                    <a:gd name="f16" fmla="val 175260"/>
                    <a:gd name="f17" fmla="val 162878"/>
                    <a:gd name="f18" fmla="val 174308"/>
                    <a:gd name="f19" fmla="val 11430"/>
                    <a:gd name="f20" fmla="val 161925"/>
                    <a:gd name="f21" fmla="val 27623"/>
                    <a:gd name="f22" fmla="val 953"/>
                    <a:gd name="f23" fmla="val 12382"/>
                    <a:gd name="f24" fmla="+- 0 0 -90"/>
                    <a:gd name="f25" fmla="*/ f3 1 174307"/>
                    <a:gd name="f26" fmla="*/ f4 1 175259"/>
                    <a:gd name="f27" fmla="+- f7 0 f5"/>
                    <a:gd name="f28" fmla="+- f6 0 f5"/>
                    <a:gd name="f29" fmla="*/ f24 f0 1"/>
                    <a:gd name="f30" fmla="*/ f28 1 174307"/>
                    <a:gd name="f31" fmla="*/ f27 1 175259"/>
                    <a:gd name="f32" fmla="*/ 54293 f28 1"/>
                    <a:gd name="f33" fmla="*/ 53340 f27 1"/>
                    <a:gd name="f34" fmla="*/ 120968 f28 1"/>
                    <a:gd name="f35" fmla="*/ 120015 f27 1"/>
                    <a:gd name="f36" fmla="*/ 0 f28 1"/>
                    <a:gd name="f37" fmla="*/ 147638 f27 1"/>
                    <a:gd name="f38" fmla="*/ 26670 f28 1"/>
                    <a:gd name="f39" fmla="*/ 175260 f27 1"/>
                    <a:gd name="f40" fmla="*/ 147638 f28 1"/>
                    <a:gd name="f41" fmla="*/ 174308 f28 1"/>
                    <a:gd name="f42" fmla="*/ 26670 f27 1"/>
                    <a:gd name="f43" fmla="*/ 0 f27 1"/>
                    <a:gd name="f44" fmla="*/ 27623 f28 1"/>
                    <a:gd name="f45" fmla="*/ 953 f28 1"/>
                    <a:gd name="f46" fmla="*/ f29 1 f2"/>
                    <a:gd name="f47" fmla="*/ f32 1 174307"/>
                    <a:gd name="f48" fmla="*/ f33 1 175259"/>
                    <a:gd name="f49" fmla="*/ f34 1 174307"/>
                    <a:gd name="f50" fmla="*/ f35 1 175259"/>
                    <a:gd name="f51" fmla="*/ f36 1 174307"/>
                    <a:gd name="f52" fmla="*/ f37 1 175259"/>
                    <a:gd name="f53" fmla="*/ f38 1 174307"/>
                    <a:gd name="f54" fmla="*/ f39 1 175259"/>
                    <a:gd name="f55" fmla="*/ f40 1 174307"/>
                    <a:gd name="f56" fmla="*/ f41 1 174307"/>
                    <a:gd name="f57" fmla="*/ f42 1 175259"/>
                    <a:gd name="f58" fmla="*/ f43 1 175259"/>
                    <a:gd name="f59" fmla="*/ f44 1 174307"/>
                    <a:gd name="f60" fmla="*/ f45 1 174307"/>
                    <a:gd name="f61" fmla="*/ f5 1 f30"/>
                    <a:gd name="f62" fmla="*/ f6 1 f30"/>
                    <a:gd name="f63" fmla="*/ f5 1 f31"/>
                    <a:gd name="f64" fmla="*/ f7 1 f31"/>
                    <a:gd name="f65" fmla="+- f46 0 f1"/>
                    <a:gd name="f66" fmla="*/ f47 1 f30"/>
                    <a:gd name="f67" fmla="*/ f48 1 f31"/>
                    <a:gd name="f68" fmla="*/ f49 1 f30"/>
                    <a:gd name="f69" fmla="*/ f50 1 f31"/>
                    <a:gd name="f70" fmla="*/ f51 1 f30"/>
                    <a:gd name="f71" fmla="*/ f52 1 f31"/>
                    <a:gd name="f72" fmla="*/ f53 1 f30"/>
                    <a:gd name="f73" fmla="*/ f54 1 f31"/>
                    <a:gd name="f74" fmla="*/ f55 1 f30"/>
                    <a:gd name="f75" fmla="*/ f56 1 f30"/>
                    <a:gd name="f76" fmla="*/ f57 1 f31"/>
                    <a:gd name="f77" fmla="*/ f58 1 f31"/>
                    <a:gd name="f78" fmla="*/ f59 1 f30"/>
                    <a:gd name="f79" fmla="*/ f60 1 f30"/>
                    <a:gd name="f80" fmla="*/ f61 f25 1"/>
                    <a:gd name="f81" fmla="*/ f62 f25 1"/>
                    <a:gd name="f82" fmla="*/ f64 f26 1"/>
                    <a:gd name="f83" fmla="*/ f63 f26 1"/>
                    <a:gd name="f84" fmla="*/ f66 f25 1"/>
                    <a:gd name="f85" fmla="*/ f67 f26 1"/>
                    <a:gd name="f86" fmla="*/ f68 f25 1"/>
                    <a:gd name="f87" fmla="*/ f69 f26 1"/>
                    <a:gd name="f88" fmla="*/ f70 f25 1"/>
                    <a:gd name="f89" fmla="*/ f71 f26 1"/>
                    <a:gd name="f90" fmla="*/ f72 f25 1"/>
                    <a:gd name="f91" fmla="*/ f73 f26 1"/>
                    <a:gd name="f92" fmla="*/ f74 f25 1"/>
                    <a:gd name="f93" fmla="*/ f75 f25 1"/>
                    <a:gd name="f94" fmla="*/ f76 f26 1"/>
                    <a:gd name="f95" fmla="*/ f77 f26 1"/>
                    <a:gd name="f96" fmla="*/ f78 f25 1"/>
                    <a:gd name="f97" fmla="*/ f79 f25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5">
                      <a:pos x="f84" y="f85"/>
                    </a:cxn>
                    <a:cxn ang="f65">
                      <a:pos x="f86" y="f85"/>
                    </a:cxn>
                    <a:cxn ang="f65">
                      <a:pos x="f86" y="f87"/>
                    </a:cxn>
                    <a:cxn ang="f65">
                      <a:pos x="f84" y="f87"/>
                    </a:cxn>
                    <a:cxn ang="f65">
                      <a:pos x="f84" y="f85"/>
                    </a:cxn>
                    <a:cxn ang="f65">
                      <a:pos x="f88" y="f89"/>
                    </a:cxn>
                    <a:cxn ang="f65">
                      <a:pos x="f90" y="f91"/>
                    </a:cxn>
                    <a:cxn ang="f65">
                      <a:pos x="f92" y="f91"/>
                    </a:cxn>
                    <a:cxn ang="f65">
                      <a:pos x="f93" y="f89"/>
                    </a:cxn>
                    <a:cxn ang="f65">
                      <a:pos x="f93" y="f94"/>
                    </a:cxn>
                    <a:cxn ang="f65">
                      <a:pos x="f92" y="f95"/>
                    </a:cxn>
                    <a:cxn ang="f65">
                      <a:pos x="f96" y="f95"/>
                    </a:cxn>
                    <a:cxn ang="f65">
                      <a:pos x="f97" y="f94"/>
                    </a:cxn>
                    <a:cxn ang="f65">
                      <a:pos x="f88" y="f89"/>
                    </a:cxn>
                  </a:cxnLst>
                  <a:rect l="f80" t="f83" r="f81" b="f82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2" y="f16"/>
                      </a:lnTo>
                      <a:cubicBezTo>
                        <a:pt x="f17" y="f16"/>
                        <a:pt x="f18" y="f13"/>
                        <a:pt x="f18" y="f12"/>
                      </a:cubicBezTo>
                      <a:lnTo>
                        <a:pt x="f18" y="f15"/>
                      </a:lnTo>
                      <a:cubicBezTo>
                        <a:pt x="f18" y="f19"/>
                        <a:pt x="f20" y="f5"/>
                        <a:pt x="f12" y="f5"/>
                      </a:cubicBezTo>
                      <a:lnTo>
                        <a:pt x="f21" y="f5"/>
                      </a:lnTo>
                      <a:cubicBezTo>
                        <a:pt x="f14" y="f5"/>
                        <a:pt x="f22" y="f23"/>
                        <a:pt x="f22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1" name="Graphic 51">
                  <a:extLst>
                    <a:ext uri="{FF2B5EF4-FFF2-40B4-BE49-F238E27FC236}">
                      <a16:creationId xmlns:a16="http://schemas.microsoft.com/office/drawing/2014/main" id="{C4345FA6-9CA2-AF4F-C965-F33E800543C1}"/>
                    </a:ext>
                  </a:extLst>
                </p:cNvPr>
                <p:cNvSpPr/>
                <p:nvPr/>
              </p:nvSpPr>
              <p:spPr>
                <a:xfrm rot="19940444">
                  <a:off x="9751291" y="5566474"/>
                  <a:ext cx="79022" cy="794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60"/>
                    <a:gd name="f8" fmla="val 54293"/>
                    <a:gd name="f9" fmla="val 120968"/>
                    <a:gd name="f10" fmla="val 147638"/>
                    <a:gd name="f11" fmla="val 162877"/>
                    <a:gd name="f12" fmla="val 12383"/>
                    <a:gd name="f13" fmla="val 174308"/>
                    <a:gd name="f14" fmla="val 26670"/>
                    <a:gd name="f15" fmla="val 162878"/>
                    <a:gd name="f16" fmla="val 11430"/>
                    <a:gd name="f17" fmla="val 161925"/>
                    <a:gd name="f18" fmla="val 27623"/>
                    <a:gd name="f19" fmla="val 953"/>
                    <a:gd name="f20" fmla="+- 0 0 -90"/>
                    <a:gd name="f21" fmla="*/ f3 1 174307"/>
                    <a:gd name="f22" fmla="*/ f4 1 175260"/>
                    <a:gd name="f23" fmla="+- f7 0 f5"/>
                    <a:gd name="f24" fmla="+- f6 0 f5"/>
                    <a:gd name="f25" fmla="*/ f20 f0 1"/>
                    <a:gd name="f26" fmla="*/ f24 1 174307"/>
                    <a:gd name="f27" fmla="*/ f23 1 175260"/>
                    <a:gd name="f28" fmla="*/ 54293 f24 1"/>
                    <a:gd name="f29" fmla="*/ 54293 f23 1"/>
                    <a:gd name="f30" fmla="*/ 120968 f24 1"/>
                    <a:gd name="f31" fmla="*/ 120968 f23 1"/>
                    <a:gd name="f32" fmla="*/ 0 f24 1"/>
                    <a:gd name="f33" fmla="*/ 147638 f23 1"/>
                    <a:gd name="f34" fmla="*/ 26670 f24 1"/>
                    <a:gd name="f35" fmla="*/ 175260 f23 1"/>
                    <a:gd name="f36" fmla="*/ 147638 f24 1"/>
                    <a:gd name="f37" fmla="*/ 174308 f24 1"/>
                    <a:gd name="f38" fmla="*/ 26670 f23 1"/>
                    <a:gd name="f39" fmla="*/ 0 f23 1"/>
                    <a:gd name="f40" fmla="*/ 27623 f24 1"/>
                    <a:gd name="f41" fmla="*/ 953 f24 1"/>
                    <a:gd name="f42" fmla="*/ f25 1 f2"/>
                    <a:gd name="f43" fmla="*/ f28 1 174307"/>
                    <a:gd name="f44" fmla="*/ f29 1 175260"/>
                    <a:gd name="f45" fmla="*/ f30 1 174307"/>
                    <a:gd name="f46" fmla="*/ f31 1 175260"/>
                    <a:gd name="f47" fmla="*/ f32 1 174307"/>
                    <a:gd name="f48" fmla="*/ f33 1 175260"/>
                    <a:gd name="f49" fmla="*/ f34 1 174307"/>
                    <a:gd name="f50" fmla="*/ f35 1 175260"/>
                    <a:gd name="f51" fmla="*/ f36 1 174307"/>
                    <a:gd name="f52" fmla="*/ f37 1 174307"/>
                    <a:gd name="f53" fmla="*/ f38 1 175260"/>
                    <a:gd name="f54" fmla="*/ f39 1 175260"/>
                    <a:gd name="f55" fmla="*/ f40 1 174307"/>
                    <a:gd name="f56" fmla="*/ f41 1 174307"/>
                    <a:gd name="f57" fmla="*/ f5 1 f26"/>
                    <a:gd name="f58" fmla="*/ f6 1 f26"/>
                    <a:gd name="f59" fmla="*/ f5 1 f27"/>
                    <a:gd name="f60" fmla="*/ f7 1 f27"/>
                    <a:gd name="f61" fmla="+- f42 0 f1"/>
                    <a:gd name="f62" fmla="*/ f43 1 f26"/>
                    <a:gd name="f63" fmla="*/ f44 1 f27"/>
                    <a:gd name="f64" fmla="*/ f45 1 f26"/>
                    <a:gd name="f65" fmla="*/ f46 1 f27"/>
                    <a:gd name="f66" fmla="*/ f47 1 f26"/>
                    <a:gd name="f67" fmla="*/ f48 1 f27"/>
                    <a:gd name="f68" fmla="*/ f49 1 f26"/>
                    <a:gd name="f69" fmla="*/ f50 1 f27"/>
                    <a:gd name="f70" fmla="*/ f51 1 f26"/>
                    <a:gd name="f71" fmla="*/ f52 1 f26"/>
                    <a:gd name="f72" fmla="*/ f53 1 f27"/>
                    <a:gd name="f73" fmla="*/ f54 1 f27"/>
                    <a:gd name="f74" fmla="*/ f55 1 f26"/>
                    <a:gd name="f75" fmla="*/ f56 1 f26"/>
                    <a:gd name="f76" fmla="*/ f57 f21 1"/>
                    <a:gd name="f77" fmla="*/ f58 f21 1"/>
                    <a:gd name="f78" fmla="*/ f60 f22 1"/>
                    <a:gd name="f79" fmla="*/ f59 f22 1"/>
                    <a:gd name="f80" fmla="*/ f62 f21 1"/>
                    <a:gd name="f81" fmla="*/ f63 f22 1"/>
                    <a:gd name="f82" fmla="*/ f64 f21 1"/>
                    <a:gd name="f83" fmla="*/ f65 f22 1"/>
                    <a:gd name="f84" fmla="*/ f66 f21 1"/>
                    <a:gd name="f85" fmla="*/ f67 f22 1"/>
                    <a:gd name="f86" fmla="*/ f68 f21 1"/>
                    <a:gd name="f87" fmla="*/ f69 f22 1"/>
                    <a:gd name="f88" fmla="*/ f70 f21 1"/>
                    <a:gd name="f89" fmla="*/ f71 f21 1"/>
                    <a:gd name="f90" fmla="*/ f72 f22 1"/>
                    <a:gd name="f91" fmla="*/ f73 f22 1"/>
                    <a:gd name="f92" fmla="*/ f74 f21 1"/>
                    <a:gd name="f93" fmla="*/ f75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1">
                      <a:pos x="f80" y="f81"/>
                    </a:cxn>
                    <a:cxn ang="f61">
                      <a:pos x="f82" y="f81"/>
                    </a:cxn>
                    <a:cxn ang="f61">
                      <a:pos x="f82" y="f83"/>
                    </a:cxn>
                    <a:cxn ang="f61">
                      <a:pos x="f80" y="f83"/>
                    </a:cxn>
                    <a:cxn ang="f61">
                      <a:pos x="f80" y="f81"/>
                    </a:cxn>
                    <a:cxn ang="f61">
                      <a:pos x="f84" y="f85"/>
                    </a:cxn>
                    <a:cxn ang="f61">
                      <a:pos x="f86" y="f87"/>
                    </a:cxn>
                    <a:cxn ang="f61">
                      <a:pos x="f88" y="f87"/>
                    </a:cxn>
                    <a:cxn ang="f61">
                      <a:pos x="f89" y="f85"/>
                    </a:cxn>
                    <a:cxn ang="f61">
                      <a:pos x="f89" y="f90"/>
                    </a:cxn>
                    <a:cxn ang="f61">
                      <a:pos x="f88" y="f91"/>
                    </a:cxn>
                    <a:cxn ang="f61">
                      <a:pos x="f92" y="f91"/>
                    </a:cxn>
                    <a:cxn ang="f61">
                      <a:pos x="f93" y="f90"/>
                    </a:cxn>
                    <a:cxn ang="f61">
                      <a:pos x="f84" y="f85"/>
                    </a:cxn>
                  </a:cxnLst>
                  <a:rect l="f76" t="f79" r="f77" b="f78"/>
                  <a:pathLst>
                    <a:path w="174307" h="175260">
                      <a:moveTo>
                        <a:pt x="f8" y="f8"/>
                      </a:moveTo>
                      <a:lnTo>
                        <a:pt x="f9" y="f8"/>
                      </a:lnTo>
                      <a:lnTo>
                        <a:pt x="f9" y="f9"/>
                      </a:lnTo>
                      <a:lnTo>
                        <a:pt x="f8" y="f9"/>
                      </a:lnTo>
                      <a:lnTo>
                        <a:pt x="f8" y="f8"/>
                      </a:lnTo>
                      <a:close/>
                      <a:moveTo>
                        <a:pt x="f5" y="f10"/>
                      </a:moveTo>
                      <a:cubicBezTo>
                        <a:pt x="f5" y="f11"/>
                        <a:pt x="f12" y="f13"/>
                        <a:pt x="f14" y="f7"/>
                      </a:cubicBezTo>
                      <a:lnTo>
                        <a:pt x="f10" y="f7"/>
                      </a:lnTo>
                      <a:cubicBezTo>
                        <a:pt x="f15" y="f7"/>
                        <a:pt x="f13" y="f11"/>
                        <a:pt x="f13" y="f10"/>
                      </a:cubicBezTo>
                      <a:lnTo>
                        <a:pt x="f13" y="f14"/>
                      </a:lnTo>
                      <a:cubicBezTo>
                        <a:pt x="f13" y="f16"/>
                        <a:pt x="f17" y="f5"/>
                        <a:pt x="f10" y="f5"/>
                      </a:cubicBezTo>
                      <a:lnTo>
                        <a:pt x="f18" y="f5"/>
                      </a:lnTo>
                      <a:cubicBezTo>
                        <a:pt x="f12" y="f5"/>
                        <a:pt x="f19" y="f12"/>
                        <a:pt x="f19" y="f14"/>
                      </a:cubicBezTo>
                      <a:lnTo>
                        <a:pt x="f5" y="f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2" name="Graphic 51">
                  <a:extLst>
                    <a:ext uri="{FF2B5EF4-FFF2-40B4-BE49-F238E27FC236}">
                      <a16:creationId xmlns:a16="http://schemas.microsoft.com/office/drawing/2014/main" id="{8A22FF57-8335-E791-08BC-21569E70E4E3}"/>
                    </a:ext>
                  </a:extLst>
                </p:cNvPr>
                <p:cNvSpPr/>
                <p:nvPr/>
              </p:nvSpPr>
              <p:spPr>
                <a:xfrm>
                  <a:off x="9751289" y="5674583"/>
                  <a:ext cx="79022" cy="794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3"/>
                    <a:gd name="f9" fmla="val 53340"/>
                    <a:gd name="f10" fmla="val 120968"/>
                    <a:gd name="f11" fmla="val 120015"/>
                    <a:gd name="f12" fmla="val 147638"/>
                    <a:gd name="f13" fmla="val 162877"/>
                    <a:gd name="f14" fmla="val 12383"/>
                    <a:gd name="f15" fmla="val 26670"/>
                    <a:gd name="f16" fmla="val 175260"/>
                    <a:gd name="f17" fmla="val 162878"/>
                    <a:gd name="f18" fmla="val 174308"/>
                    <a:gd name="f19" fmla="val 11430"/>
                    <a:gd name="f20" fmla="val 161925"/>
                    <a:gd name="f21" fmla="val 27623"/>
                    <a:gd name="f22" fmla="val 953"/>
                    <a:gd name="f23" fmla="val 12382"/>
                    <a:gd name="f24" fmla="+- 0 0 -90"/>
                    <a:gd name="f25" fmla="*/ f3 1 174307"/>
                    <a:gd name="f26" fmla="*/ f4 1 175259"/>
                    <a:gd name="f27" fmla="+- f7 0 f5"/>
                    <a:gd name="f28" fmla="+- f6 0 f5"/>
                    <a:gd name="f29" fmla="*/ f24 f0 1"/>
                    <a:gd name="f30" fmla="*/ f28 1 174307"/>
                    <a:gd name="f31" fmla="*/ f27 1 175259"/>
                    <a:gd name="f32" fmla="*/ 54293 f28 1"/>
                    <a:gd name="f33" fmla="*/ 53340 f27 1"/>
                    <a:gd name="f34" fmla="*/ 120968 f28 1"/>
                    <a:gd name="f35" fmla="*/ 120015 f27 1"/>
                    <a:gd name="f36" fmla="*/ 0 f28 1"/>
                    <a:gd name="f37" fmla="*/ 147638 f27 1"/>
                    <a:gd name="f38" fmla="*/ 26670 f28 1"/>
                    <a:gd name="f39" fmla="*/ 175260 f27 1"/>
                    <a:gd name="f40" fmla="*/ 147638 f28 1"/>
                    <a:gd name="f41" fmla="*/ 174308 f28 1"/>
                    <a:gd name="f42" fmla="*/ 26670 f27 1"/>
                    <a:gd name="f43" fmla="*/ 0 f27 1"/>
                    <a:gd name="f44" fmla="*/ 27623 f28 1"/>
                    <a:gd name="f45" fmla="*/ 953 f28 1"/>
                    <a:gd name="f46" fmla="*/ f29 1 f2"/>
                    <a:gd name="f47" fmla="*/ f32 1 174307"/>
                    <a:gd name="f48" fmla="*/ f33 1 175259"/>
                    <a:gd name="f49" fmla="*/ f34 1 174307"/>
                    <a:gd name="f50" fmla="*/ f35 1 175259"/>
                    <a:gd name="f51" fmla="*/ f36 1 174307"/>
                    <a:gd name="f52" fmla="*/ f37 1 175259"/>
                    <a:gd name="f53" fmla="*/ f38 1 174307"/>
                    <a:gd name="f54" fmla="*/ f39 1 175259"/>
                    <a:gd name="f55" fmla="*/ f40 1 174307"/>
                    <a:gd name="f56" fmla="*/ f41 1 174307"/>
                    <a:gd name="f57" fmla="*/ f42 1 175259"/>
                    <a:gd name="f58" fmla="*/ f43 1 175259"/>
                    <a:gd name="f59" fmla="*/ f44 1 174307"/>
                    <a:gd name="f60" fmla="*/ f45 1 174307"/>
                    <a:gd name="f61" fmla="*/ f5 1 f30"/>
                    <a:gd name="f62" fmla="*/ f6 1 f30"/>
                    <a:gd name="f63" fmla="*/ f5 1 f31"/>
                    <a:gd name="f64" fmla="*/ f7 1 f31"/>
                    <a:gd name="f65" fmla="+- f46 0 f1"/>
                    <a:gd name="f66" fmla="*/ f47 1 f30"/>
                    <a:gd name="f67" fmla="*/ f48 1 f31"/>
                    <a:gd name="f68" fmla="*/ f49 1 f30"/>
                    <a:gd name="f69" fmla="*/ f50 1 f31"/>
                    <a:gd name="f70" fmla="*/ f51 1 f30"/>
                    <a:gd name="f71" fmla="*/ f52 1 f31"/>
                    <a:gd name="f72" fmla="*/ f53 1 f30"/>
                    <a:gd name="f73" fmla="*/ f54 1 f31"/>
                    <a:gd name="f74" fmla="*/ f55 1 f30"/>
                    <a:gd name="f75" fmla="*/ f56 1 f30"/>
                    <a:gd name="f76" fmla="*/ f57 1 f31"/>
                    <a:gd name="f77" fmla="*/ f58 1 f31"/>
                    <a:gd name="f78" fmla="*/ f59 1 f30"/>
                    <a:gd name="f79" fmla="*/ f60 1 f30"/>
                    <a:gd name="f80" fmla="*/ f61 f25 1"/>
                    <a:gd name="f81" fmla="*/ f62 f25 1"/>
                    <a:gd name="f82" fmla="*/ f64 f26 1"/>
                    <a:gd name="f83" fmla="*/ f63 f26 1"/>
                    <a:gd name="f84" fmla="*/ f66 f25 1"/>
                    <a:gd name="f85" fmla="*/ f67 f26 1"/>
                    <a:gd name="f86" fmla="*/ f68 f25 1"/>
                    <a:gd name="f87" fmla="*/ f69 f26 1"/>
                    <a:gd name="f88" fmla="*/ f70 f25 1"/>
                    <a:gd name="f89" fmla="*/ f71 f26 1"/>
                    <a:gd name="f90" fmla="*/ f72 f25 1"/>
                    <a:gd name="f91" fmla="*/ f73 f26 1"/>
                    <a:gd name="f92" fmla="*/ f74 f25 1"/>
                    <a:gd name="f93" fmla="*/ f75 f25 1"/>
                    <a:gd name="f94" fmla="*/ f76 f26 1"/>
                    <a:gd name="f95" fmla="*/ f77 f26 1"/>
                    <a:gd name="f96" fmla="*/ f78 f25 1"/>
                    <a:gd name="f97" fmla="*/ f79 f25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5">
                      <a:pos x="f84" y="f85"/>
                    </a:cxn>
                    <a:cxn ang="f65">
                      <a:pos x="f86" y="f85"/>
                    </a:cxn>
                    <a:cxn ang="f65">
                      <a:pos x="f86" y="f87"/>
                    </a:cxn>
                    <a:cxn ang="f65">
                      <a:pos x="f84" y="f87"/>
                    </a:cxn>
                    <a:cxn ang="f65">
                      <a:pos x="f84" y="f85"/>
                    </a:cxn>
                    <a:cxn ang="f65">
                      <a:pos x="f88" y="f89"/>
                    </a:cxn>
                    <a:cxn ang="f65">
                      <a:pos x="f90" y="f91"/>
                    </a:cxn>
                    <a:cxn ang="f65">
                      <a:pos x="f92" y="f91"/>
                    </a:cxn>
                    <a:cxn ang="f65">
                      <a:pos x="f93" y="f89"/>
                    </a:cxn>
                    <a:cxn ang="f65">
                      <a:pos x="f93" y="f94"/>
                    </a:cxn>
                    <a:cxn ang="f65">
                      <a:pos x="f92" y="f95"/>
                    </a:cxn>
                    <a:cxn ang="f65">
                      <a:pos x="f96" y="f95"/>
                    </a:cxn>
                    <a:cxn ang="f65">
                      <a:pos x="f97" y="f94"/>
                    </a:cxn>
                    <a:cxn ang="f65">
                      <a:pos x="f88" y="f89"/>
                    </a:cxn>
                  </a:cxnLst>
                  <a:rect l="f80" t="f83" r="f81" b="f82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2" y="f16"/>
                      </a:lnTo>
                      <a:cubicBezTo>
                        <a:pt x="f17" y="f16"/>
                        <a:pt x="f18" y="f13"/>
                        <a:pt x="f18" y="f12"/>
                      </a:cubicBezTo>
                      <a:lnTo>
                        <a:pt x="f18" y="f15"/>
                      </a:lnTo>
                      <a:cubicBezTo>
                        <a:pt x="f18" y="f19"/>
                        <a:pt x="f20" y="f5"/>
                        <a:pt x="f12" y="f5"/>
                      </a:cubicBezTo>
                      <a:lnTo>
                        <a:pt x="f21" y="f5"/>
                      </a:lnTo>
                      <a:cubicBezTo>
                        <a:pt x="f14" y="f5"/>
                        <a:pt x="f22" y="f23"/>
                        <a:pt x="f22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3" name="Graphic 51">
                  <a:extLst>
                    <a:ext uri="{FF2B5EF4-FFF2-40B4-BE49-F238E27FC236}">
                      <a16:creationId xmlns:a16="http://schemas.microsoft.com/office/drawing/2014/main" id="{7773BC21-02F9-2D53-A9D2-5E1EA511FFED}"/>
                    </a:ext>
                  </a:extLst>
                </p:cNvPr>
                <p:cNvSpPr/>
                <p:nvPr/>
              </p:nvSpPr>
              <p:spPr>
                <a:xfrm>
                  <a:off x="9751289" y="5779510"/>
                  <a:ext cx="79022" cy="7945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60"/>
                    <a:gd name="f8" fmla="val 54293"/>
                    <a:gd name="f9" fmla="val 120968"/>
                    <a:gd name="f10" fmla="val 147638"/>
                    <a:gd name="f11" fmla="val 162877"/>
                    <a:gd name="f12" fmla="val 12383"/>
                    <a:gd name="f13" fmla="val 174308"/>
                    <a:gd name="f14" fmla="val 26670"/>
                    <a:gd name="f15" fmla="val 162878"/>
                    <a:gd name="f16" fmla="val 11430"/>
                    <a:gd name="f17" fmla="val 161925"/>
                    <a:gd name="f18" fmla="val 27623"/>
                    <a:gd name="f19" fmla="val 953"/>
                    <a:gd name="f20" fmla="+- 0 0 -90"/>
                    <a:gd name="f21" fmla="*/ f3 1 174307"/>
                    <a:gd name="f22" fmla="*/ f4 1 175260"/>
                    <a:gd name="f23" fmla="+- f7 0 f5"/>
                    <a:gd name="f24" fmla="+- f6 0 f5"/>
                    <a:gd name="f25" fmla="*/ f20 f0 1"/>
                    <a:gd name="f26" fmla="*/ f24 1 174307"/>
                    <a:gd name="f27" fmla="*/ f23 1 175260"/>
                    <a:gd name="f28" fmla="*/ 54293 f24 1"/>
                    <a:gd name="f29" fmla="*/ 54293 f23 1"/>
                    <a:gd name="f30" fmla="*/ 120968 f24 1"/>
                    <a:gd name="f31" fmla="*/ 120968 f23 1"/>
                    <a:gd name="f32" fmla="*/ 0 f24 1"/>
                    <a:gd name="f33" fmla="*/ 147638 f23 1"/>
                    <a:gd name="f34" fmla="*/ 26670 f24 1"/>
                    <a:gd name="f35" fmla="*/ 175260 f23 1"/>
                    <a:gd name="f36" fmla="*/ 147638 f24 1"/>
                    <a:gd name="f37" fmla="*/ 174308 f24 1"/>
                    <a:gd name="f38" fmla="*/ 26670 f23 1"/>
                    <a:gd name="f39" fmla="*/ 0 f23 1"/>
                    <a:gd name="f40" fmla="*/ 27623 f24 1"/>
                    <a:gd name="f41" fmla="*/ 953 f24 1"/>
                    <a:gd name="f42" fmla="*/ f25 1 f2"/>
                    <a:gd name="f43" fmla="*/ f28 1 174307"/>
                    <a:gd name="f44" fmla="*/ f29 1 175260"/>
                    <a:gd name="f45" fmla="*/ f30 1 174307"/>
                    <a:gd name="f46" fmla="*/ f31 1 175260"/>
                    <a:gd name="f47" fmla="*/ f32 1 174307"/>
                    <a:gd name="f48" fmla="*/ f33 1 175260"/>
                    <a:gd name="f49" fmla="*/ f34 1 174307"/>
                    <a:gd name="f50" fmla="*/ f35 1 175260"/>
                    <a:gd name="f51" fmla="*/ f36 1 174307"/>
                    <a:gd name="f52" fmla="*/ f37 1 174307"/>
                    <a:gd name="f53" fmla="*/ f38 1 175260"/>
                    <a:gd name="f54" fmla="*/ f39 1 175260"/>
                    <a:gd name="f55" fmla="*/ f40 1 174307"/>
                    <a:gd name="f56" fmla="*/ f41 1 174307"/>
                    <a:gd name="f57" fmla="*/ f5 1 f26"/>
                    <a:gd name="f58" fmla="*/ f6 1 f26"/>
                    <a:gd name="f59" fmla="*/ f5 1 f27"/>
                    <a:gd name="f60" fmla="*/ f7 1 f27"/>
                    <a:gd name="f61" fmla="+- f42 0 f1"/>
                    <a:gd name="f62" fmla="*/ f43 1 f26"/>
                    <a:gd name="f63" fmla="*/ f44 1 f27"/>
                    <a:gd name="f64" fmla="*/ f45 1 f26"/>
                    <a:gd name="f65" fmla="*/ f46 1 f27"/>
                    <a:gd name="f66" fmla="*/ f47 1 f26"/>
                    <a:gd name="f67" fmla="*/ f48 1 f27"/>
                    <a:gd name="f68" fmla="*/ f49 1 f26"/>
                    <a:gd name="f69" fmla="*/ f50 1 f27"/>
                    <a:gd name="f70" fmla="*/ f51 1 f26"/>
                    <a:gd name="f71" fmla="*/ f52 1 f26"/>
                    <a:gd name="f72" fmla="*/ f53 1 f27"/>
                    <a:gd name="f73" fmla="*/ f54 1 f27"/>
                    <a:gd name="f74" fmla="*/ f55 1 f26"/>
                    <a:gd name="f75" fmla="*/ f56 1 f26"/>
                    <a:gd name="f76" fmla="*/ f57 f21 1"/>
                    <a:gd name="f77" fmla="*/ f58 f21 1"/>
                    <a:gd name="f78" fmla="*/ f60 f22 1"/>
                    <a:gd name="f79" fmla="*/ f59 f22 1"/>
                    <a:gd name="f80" fmla="*/ f62 f21 1"/>
                    <a:gd name="f81" fmla="*/ f63 f22 1"/>
                    <a:gd name="f82" fmla="*/ f64 f21 1"/>
                    <a:gd name="f83" fmla="*/ f65 f22 1"/>
                    <a:gd name="f84" fmla="*/ f66 f21 1"/>
                    <a:gd name="f85" fmla="*/ f67 f22 1"/>
                    <a:gd name="f86" fmla="*/ f68 f21 1"/>
                    <a:gd name="f87" fmla="*/ f69 f22 1"/>
                    <a:gd name="f88" fmla="*/ f70 f21 1"/>
                    <a:gd name="f89" fmla="*/ f71 f21 1"/>
                    <a:gd name="f90" fmla="*/ f72 f22 1"/>
                    <a:gd name="f91" fmla="*/ f73 f22 1"/>
                    <a:gd name="f92" fmla="*/ f74 f21 1"/>
                    <a:gd name="f93" fmla="*/ f75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1">
                      <a:pos x="f80" y="f81"/>
                    </a:cxn>
                    <a:cxn ang="f61">
                      <a:pos x="f82" y="f81"/>
                    </a:cxn>
                    <a:cxn ang="f61">
                      <a:pos x="f82" y="f83"/>
                    </a:cxn>
                    <a:cxn ang="f61">
                      <a:pos x="f80" y="f83"/>
                    </a:cxn>
                    <a:cxn ang="f61">
                      <a:pos x="f80" y="f81"/>
                    </a:cxn>
                    <a:cxn ang="f61">
                      <a:pos x="f84" y="f85"/>
                    </a:cxn>
                    <a:cxn ang="f61">
                      <a:pos x="f86" y="f87"/>
                    </a:cxn>
                    <a:cxn ang="f61">
                      <a:pos x="f88" y="f87"/>
                    </a:cxn>
                    <a:cxn ang="f61">
                      <a:pos x="f89" y="f85"/>
                    </a:cxn>
                    <a:cxn ang="f61">
                      <a:pos x="f89" y="f90"/>
                    </a:cxn>
                    <a:cxn ang="f61">
                      <a:pos x="f88" y="f91"/>
                    </a:cxn>
                    <a:cxn ang="f61">
                      <a:pos x="f92" y="f91"/>
                    </a:cxn>
                    <a:cxn ang="f61">
                      <a:pos x="f93" y="f90"/>
                    </a:cxn>
                    <a:cxn ang="f61">
                      <a:pos x="f84" y="f85"/>
                    </a:cxn>
                  </a:cxnLst>
                  <a:rect l="f76" t="f79" r="f77" b="f78"/>
                  <a:pathLst>
                    <a:path w="174307" h="175260">
                      <a:moveTo>
                        <a:pt x="f8" y="f8"/>
                      </a:moveTo>
                      <a:lnTo>
                        <a:pt x="f9" y="f8"/>
                      </a:lnTo>
                      <a:lnTo>
                        <a:pt x="f9" y="f9"/>
                      </a:lnTo>
                      <a:lnTo>
                        <a:pt x="f8" y="f9"/>
                      </a:lnTo>
                      <a:lnTo>
                        <a:pt x="f8" y="f8"/>
                      </a:lnTo>
                      <a:close/>
                      <a:moveTo>
                        <a:pt x="f5" y="f10"/>
                      </a:moveTo>
                      <a:cubicBezTo>
                        <a:pt x="f5" y="f11"/>
                        <a:pt x="f12" y="f13"/>
                        <a:pt x="f14" y="f7"/>
                      </a:cubicBezTo>
                      <a:lnTo>
                        <a:pt x="f10" y="f7"/>
                      </a:lnTo>
                      <a:cubicBezTo>
                        <a:pt x="f15" y="f7"/>
                        <a:pt x="f13" y="f11"/>
                        <a:pt x="f13" y="f10"/>
                      </a:cubicBezTo>
                      <a:lnTo>
                        <a:pt x="f13" y="f14"/>
                      </a:lnTo>
                      <a:cubicBezTo>
                        <a:pt x="f13" y="f16"/>
                        <a:pt x="f17" y="f5"/>
                        <a:pt x="f10" y="f5"/>
                      </a:cubicBezTo>
                      <a:lnTo>
                        <a:pt x="f18" y="f5"/>
                      </a:lnTo>
                      <a:cubicBezTo>
                        <a:pt x="f12" y="f5"/>
                        <a:pt x="f19" y="f12"/>
                        <a:pt x="f19" y="f14"/>
                      </a:cubicBezTo>
                      <a:lnTo>
                        <a:pt x="f5" y="f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4" name="Freeform: Shape 157">
                  <a:extLst>
                    <a:ext uri="{FF2B5EF4-FFF2-40B4-BE49-F238E27FC236}">
                      <a16:creationId xmlns:a16="http://schemas.microsoft.com/office/drawing/2014/main" id="{AD2D412A-0C3E-7C98-DB62-444D080B1E64}"/>
                    </a:ext>
                  </a:extLst>
                </p:cNvPr>
                <p:cNvSpPr/>
                <p:nvPr/>
              </p:nvSpPr>
              <p:spPr>
                <a:xfrm>
                  <a:off x="9588910" y="5435614"/>
                  <a:ext cx="24633" cy="105384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81797"/>
                    <a:gd name="f7" fmla="val 349897"/>
                    <a:gd name="f8" fmla="val 77"/>
                    <a:gd name="f9" fmla="val 308244"/>
                    <a:gd name="f10" fmla="val 311111"/>
                    <a:gd name="f11" fmla="val 80364"/>
                    <a:gd name="f12" fmla="val 332615"/>
                    <a:gd name="f13" fmla="val 61726"/>
                    <a:gd name="f14" fmla="val 351255"/>
                    <a:gd name="f15" fmla="val 38786"/>
                    <a:gd name="f16" fmla="val 349820"/>
                    <a:gd name="f17" fmla="val 17282"/>
                    <a:gd name="f18" fmla="val 348387"/>
                    <a:gd name="f19" fmla="+- 0 0 1358"/>
                    <a:gd name="f20" fmla="val 329749"/>
                    <a:gd name="f21" fmla="val 306809"/>
                    <a:gd name="f22" fmla="+- 0 0 -90"/>
                    <a:gd name="f23" fmla="*/ f3 1 81797"/>
                    <a:gd name="f24" fmla="*/ f4 1 349897"/>
                    <a:gd name="f25" fmla="+- f7 0 f5"/>
                    <a:gd name="f26" fmla="+- f6 0 f5"/>
                    <a:gd name="f27" fmla="*/ f22 f0 1"/>
                    <a:gd name="f28" fmla="*/ f26 1 81797"/>
                    <a:gd name="f29" fmla="*/ f25 1 349897"/>
                    <a:gd name="f30" fmla="*/ 77 f26 1"/>
                    <a:gd name="f31" fmla="*/ 0 f25 1"/>
                    <a:gd name="f32" fmla="*/ 81797 f26 1"/>
                    <a:gd name="f33" fmla="*/ 308244 f25 1"/>
                    <a:gd name="f34" fmla="*/ 311111 f25 1"/>
                    <a:gd name="f35" fmla="*/ 38786 f26 1"/>
                    <a:gd name="f36" fmla="*/ 349820 f25 1"/>
                    <a:gd name="f37" fmla="*/ 306809 f25 1"/>
                    <a:gd name="f38" fmla="*/ f27 1 f2"/>
                    <a:gd name="f39" fmla="*/ f30 1 81797"/>
                    <a:gd name="f40" fmla="*/ f31 1 349897"/>
                    <a:gd name="f41" fmla="*/ f32 1 81797"/>
                    <a:gd name="f42" fmla="*/ f33 1 349897"/>
                    <a:gd name="f43" fmla="*/ f34 1 349897"/>
                    <a:gd name="f44" fmla="*/ f35 1 81797"/>
                    <a:gd name="f45" fmla="*/ f36 1 349897"/>
                    <a:gd name="f46" fmla="*/ f37 1 349897"/>
                    <a:gd name="f47" fmla="*/ f5 1 f28"/>
                    <a:gd name="f48" fmla="*/ f6 1 f28"/>
                    <a:gd name="f49" fmla="*/ f5 1 f29"/>
                    <a:gd name="f50" fmla="*/ f7 1 f29"/>
                    <a:gd name="f51" fmla="+- f38 0 f1"/>
                    <a:gd name="f52" fmla="*/ f39 1 f28"/>
                    <a:gd name="f53" fmla="*/ f40 1 f29"/>
                    <a:gd name="f54" fmla="*/ f41 1 f28"/>
                    <a:gd name="f55" fmla="*/ f42 1 f29"/>
                    <a:gd name="f56" fmla="*/ f43 1 f29"/>
                    <a:gd name="f57" fmla="*/ f44 1 f28"/>
                    <a:gd name="f58" fmla="*/ f45 1 f29"/>
                    <a:gd name="f59" fmla="*/ f46 1 f29"/>
                    <a:gd name="f60" fmla="*/ f47 f23 1"/>
                    <a:gd name="f61" fmla="*/ f48 f23 1"/>
                    <a:gd name="f62" fmla="*/ f50 f24 1"/>
                    <a:gd name="f63" fmla="*/ f49 f24 1"/>
                    <a:gd name="f64" fmla="*/ f52 f23 1"/>
                    <a:gd name="f65" fmla="*/ f53 f24 1"/>
                    <a:gd name="f66" fmla="*/ f54 f23 1"/>
                    <a:gd name="f67" fmla="*/ f55 f24 1"/>
                    <a:gd name="f68" fmla="*/ f56 f24 1"/>
                    <a:gd name="f69" fmla="*/ f57 f23 1"/>
                    <a:gd name="f70" fmla="*/ f58 f24 1"/>
                    <a:gd name="f71" fmla="*/ f59 f24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1">
                      <a:pos x="f64" y="f65"/>
                    </a:cxn>
                    <a:cxn ang="f51">
                      <a:pos x="f66" y="f65"/>
                    </a:cxn>
                    <a:cxn ang="f51">
                      <a:pos x="f66" y="f67"/>
                    </a:cxn>
                    <a:cxn ang="f51">
                      <a:pos x="f66" y="f68"/>
                    </a:cxn>
                    <a:cxn ang="f51">
                      <a:pos x="f69" y="f70"/>
                    </a:cxn>
                    <a:cxn ang="f51">
                      <a:pos x="f64" y="f71"/>
                    </a:cxn>
                  </a:cxnLst>
                  <a:rect l="f60" t="f63" r="f61" b="f62"/>
                  <a:pathLst>
                    <a:path w="81797" h="349897">
                      <a:moveTo>
                        <a:pt x="f8" y="f5"/>
                      </a:moveTo>
                      <a:lnTo>
                        <a:pt x="f6" y="f5"/>
                      </a:lnTo>
                      <a:lnTo>
                        <a:pt x="f6" y="f9"/>
                      </a:lnTo>
                      <a:lnTo>
                        <a:pt x="f6" y="f10"/>
                      </a:lnTo>
                      <a:cubicBezTo>
                        <a:pt x="f11" y="f12"/>
                        <a:pt x="f13" y="f14"/>
                        <a:pt x="f15" y="f16"/>
                      </a:cubicBezTo>
                      <a:cubicBezTo>
                        <a:pt x="f17" y="f18"/>
                        <a:pt x="f19" y="f20"/>
                        <a:pt x="f8" y="f2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5" name="Freeform: Shape 158">
                  <a:extLst>
                    <a:ext uri="{FF2B5EF4-FFF2-40B4-BE49-F238E27FC236}">
                      <a16:creationId xmlns:a16="http://schemas.microsoft.com/office/drawing/2014/main" id="{797E9D95-83B2-46F4-E5BD-2629DA7826DB}"/>
                    </a:ext>
                  </a:extLst>
                </p:cNvPr>
                <p:cNvSpPr/>
                <p:nvPr/>
              </p:nvSpPr>
              <p:spPr>
                <a:xfrm>
                  <a:off x="9718910" y="5537780"/>
                  <a:ext cx="171861" cy="433343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570609"/>
                    <a:gd name="f7" fmla="val 1438788"/>
                    <a:gd name="f8" fmla="val 490323"/>
                    <a:gd name="f9" fmla="val 4644"/>
                    <a:gd name="f10" fmla="val 569450"/>
                    <a:gd name="f11" fmla="val 1398646"/>
                    <a:gd name="f12" fmla="val 1420150"/>
                    <a:gd name="f13" fmla="val 553404"/>
                    <a:gd name="f14" fmla="val 530467"/>
                    <a:gd name="f15" fmla="val 41578"/>
                    <a:gd name="f16" fmla="val 18638"/>
                    <a:gd name="f17" fmla="val 1421584"/>
                    <a:gd name="f18" fmla="val 1375706"/>
                    <a:gd name="f19" fmla="val 1357067"/>
                    <a:gd name="f20" fmla="+- 0 0 -90"/>
                    <a:gd name="f21" fmla="*/ f3 1 570609"/>
                    <a:gd name="f22" fmla="*/ f4 1 1438788"/>
                    <a:gd name="f23" fmla="+- f7 0 f5"/>
                    <a:gd name="f24" fmla="+- f6 0 f5"/>
                    <a:gd name="f25" fmla="*/ f20 f0 1"/>
                    <a:gd name="f26" fmla="*/ f24 1 570609"/>
                    <a:gd name="f27" fmla="*/ f23 1 1438788"/>
                    <a:gd name="f28" fmla="*/ 490323 f24 1"/>
                    <a:gd name="f29" fmla="*/ 0 f23 1"/>
                    <a:gd name="f30" fmla="*/ 570609 f24 1"/>
                    <a:gd name="f31" fmla="*/ 4644 f23 1"/>
                    <a:gd name="f32" fmla="*/ 569450 f23 1"/>
                    <a:gd name="f33" fmla="*/ 1398646 f23 1"/>
                    <a:gd name="f34" fmla="*/ 530467 f24 1"/>
                    <a:gd name="f35" fmla="*/ 1438788 f23 1"/>
                    <a:gd name="f36" fmla="*/ 41578 f24 1"/>
                    <a:gd name="f37" fmla="*/ 0 f24 1"/>
                    <a:gd name="f38" fmla="*/ 1357067 f23 1"/>
                    <a:gd name="f39" fmla="*/ f25 1 f2"/>
                    <a:gd name="f40" fmla="*/ f28 1 570609"/>
                    <a:gd name="f41" fmla="*/ f29 1 1438788"/>
                    <a:gd name="f42" fmla="*/ f30 1 570609"/>
                    <a:gd name="f43" fmla="*/ f31 1 1438788"/>
                    <a:gd name="f44" fmla="*/ f32 1 1438788"/>
                    <a:gd name="f45" fmla="*/ f33 1 1438788"/>
                    <a:gd name="f46" fmla="*/ f34 1 570609"/>
                    <a:gd name="f47" fmla="*/ f35 1 1438788"/>
                    <a:gd name="f48" fmla="*/ f36 1 570609"/>
                    <a:gd name="f49" fmla="*/ f37 1 570609"/>
                    <a:gd name="f50" fmla="*/ f38 1 1438788"/>
                    <a:gd name="f51" fmla="*/ f5 1 f26"/>
                    <a:gd name="f52" fmla="*/ f6 1 f26"/>
                    <a:gd name="f53" fmla="*/ f5 1 f27"/>
                    <a:gd name="f54" fmla="*/ f7 1 f27"/>
                    <a:gd name="f55" fmla="+- f39 0 f1"/>
                    <a:gd name="f56" fmla="*/ f40 1 f26"/>
                    <a:gd name="f57" fmla="*/ f41 1 f27"/>
                    <a:gd name="f58" fmla="*/ f42 1 f26"/>
                    <a:gd name="f59" fmla="*/ f43 1 f27"/>
                    <a:gd name="f60" fmla="*/ f44 1 f27"/>
                    <a:gd name="f61" fmla="*/ f45 1 f27"/>
                    <a:gd name="f62" fmla="*/ f46 1 f26"/>
                    <a:gd name="f63" fmla="*/ f47 1 f27"/>
                    <a:gd name="f64" fmla="*/ f48 1 f26"/>
                    <a:gd name="f65" fmla="*/ f49 1 f26"/>
                    <a:gd name="f66" fmla="*/ f50 1 f27"/>
                    <a:gd name="f67" fmla="*/ f51 f21 1"/>
                    <a:gd name="f68" fmla="*/ f52 f21 1"/>
                    <a:gd name="f69" fmla="*/ f54 f22 1"/>
                    <a:gd name="f70" fmla="*/ f53 f22 1"/>
                    <a:gd name="f71" fmla="*/ f56 f21 1"/>
                    <a:gd name="f72" fmla="*/ f57 f22 1"/>
                    <a:gd name="f73" fmla="*/ f58 f21 1"/>
                    <a:gd name="f74" fmla="*/ f59 f22 1"/>
                    <a:gd name="f75" fmla="*/ f60 f22 1"/>
                    <a:gd name="f76" fmla="*/ f61 f22 1"/>
                    <a:gd name="f77" fmla="*/ f62 f21 1"/>
                    <a:gd name="f78" fmla="*/ f63 f22 1"/>
                    <a:gd name="f79" fmla="*/ f64 f21 1"/>
                    <a:gd name="f80" fmla="*/ f65 f21 1"/>
                    <a:gd name="f81" fmla="*/ f66 f22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5">
                      <a:pos x="f71" y="f72"/>
                    </a:cxn>
                    <a:cxn ang="f55">
                      <a:pos x="f73" y="f72"/>
                    </a:cxn>
                    <a:cxn ang="f55">
                      <a:pos x="f73" y="f74"/>
                    </a:cxn>
                    <a:cxn ang="f55">
                      <a:pos x="f73" y="f75"/>
                    </a:cxn>
                    <a:cxn ang="f55">
                      <a:pos x="f73" y="f76"/>
                    </a:cxn>
                    <a:cxn ang="f55">
                      <a:pos x="f77" y="f78"/>
                    </a:cxn>
                    <a:cxn ang="f55">
                      <a:pos x="f79" y="f78"/>
                    </a:cxn>
                    <a:cxn ang="f55">
                      <a:pos x="f80" y="f76"/>
                    </a:cxn>
                    <a:cxn ang="f55">
                      <a:pos x="f79" y="f81"/>
                    </a:cxn>
                    <a:cxn ang="f55">
                      <a:pos x="f71" y="f81"/>
                    </a:cxn>
                    <a:cxn ang="f55">
                      <a:pos x="f71" y="f75"/>
                    </a:cxn>
                    <a:cxn ang="f55">
                      <a:pos x="f71" y="f74"/>
                    </a:cxn>
                  </a:cxnLst>
                  <a:rect l="f67" t="f70" r="f68" b="f69"/>
                  <a:pathLst>
                    <a:path w="570609" h="1438788">
                      <a:moveTo>
                        <a:pt x="f8" y="f5"/>
                      </a:moveTo>
                      <a:lnTo>
                        <a:pt x="f6" y="f5"/>
                      </a:lnTo>
                      <a:lnTo>
                        <a:pt x="f6" y="f9"/>
                      </a:lnTo>
                      <a:lnTo>
                        <a:pt x="f6" y="f10"/>
                      </a:lnTo>
                      <a:lnTo>
                        <a:pt x="f6" y="f11"/>
                      </a:lnTo>
                      <a:cubicBezTo>
                        <a:pt x="f6" y="f12"/>
                        <a:pt x="f13" y="f7"/>
                        <a:pt x="f14" y="f7"/>
                      </a:cubicBezTo>
                      <a:lnTo>
                        <a:pt x="f15" y="f7"/>
                      </a:lnTo>
                      <a:cubicBezTo>
                        <a:pt x="f16" y="f7"/>
                        <a:pt x="f5" y="f17"/>
                        <a:pt x="f5" y="f11"/>
                      </a:cubicBezTo>
                      <a:cubicBezTo>
                        <a:pt x="f5" y="f18"/>
                        <a:pt x="f16" y="f19"/>
                        <a:pt x="f15" y="f19"/>
                      </a:cubicBezTo>
                      <a:lnTo>
                        <a:pt x="f8" y="f19"/>
                      </a:lnTo>
                      <a:lnTo>
                        <a:pt x="f8" y="f10"/>
                      </a:lnTo>
                      <a:lnTo>
                        <a:pt x="f8" y="f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6" name="Rectangle: Rounded Corners 159">
                  <a:extLst>
                    <a:ext uri="{FF2B5EF4-FFF2-40B4-BE49-F238E27FC236}">
                      <a16:creationId xmlns:a16="http://schemas.microsoft.com/office/drawing/2014/main" id="{0F774138-A4CD-E422-ECFF-A379774E2679}"/>
                    </a:ext>
                  </a:extLst>
                </p:cNvPr>
                <p:cNvSpPr/>
                <p:nvPr/>
              </p:nvSpPr>
              <p:spPr>
                <a:xfrm rot="18900010">
                  <a:off x="9606755" y="5395635"/>
                  <a:ext cx="24633" cy="115918"/>
                </a:xfrm>
                <a:custGeom>
                  <a:avLst/>
                  <a:gdLst>
                    <a:gd name="f0" fmla="val 10800000"/>
                    <a:gd name="f1" fmla="val 5400000"/>
                    <a:gd name="f2" fmla="val 16200000"/>
                    <a:gd name="f3" fmla="val w"/>
                    <a:gd name="f4" fmla="val h"/>
                    <a:gd name="f5" fmla="val ss"/>
                    <a:gd name="f6" fmla="val 0"/>
                    <a:gd name="f7" fmla="*/ 5419351 1 1725033"/>
                    <a:gd name="f8" fmla="val 45"/>
                    <a:gd name="f9" fmla="val 9502"/>
                    <a:gd name="f10" fmla="abs f3"/>
                    <a:gd name="f11" fmla="abs f4"/>
                    <a:gd name="f12" fmla="abs f5"/>
                    <a:gd name="f13" fmla="*/ f7 1 180"/>
                    <a:gd name="f14" fmla="+- 0 0 f1"/>
                    <a:gd name="f15" fmla="+- f6 f9 0"/>
                    <a:gd name="f16" fmla="?: f10 f3 1"/>
                    <a:gd name="f17" fmla="?: f11 f4 1"/>
                    <a:gd name="f18" fmla="?: f12 f5 1"/>
                    <a:gd name="f19" fmla="*/ f8 f13 1"/>
                    <a:gd name="f20" fmla="+- f6 0 f15"/>
                    <a:gd name="f21" fmla="+- f15 0 f6"/>
                    <a:gd name="f22" fmla="*/ f16 1 21600"/>
                    <a:gd name="f23" fmla="*/ f17 1 21600"/>
                    <a:gd name="f24" fmla="*/ 21600 f16 1"/>
                    <a:gd name="f25" fmla="*/ 21600 f17 1"/>
                    <a:gd name="f26" fmla="+- 0 0 f19"/>
                    <a:gd name="f27" fmla="abs f20"/>
                    <a:gd name="f28" fmla="abs f21"/>
                    <a:gd name="f29" fmla="?: f20 f14 f1"/>
                    <a:gd name="f30" fmla="?: f20 f1 f14"/>
                    <a:gd name="f31" fmla="?: f20 f2 f1"/>
                    <a:gd name="f32" fmla="?: f20 f1 f2"/>
                    <a:gd name="f33" fmla="?: f21 f14 f1"/>
                    <a:gd name="f34" fmla="?: f21 f1 f14"/>
                    <a:gd name="f35" fmla="?: f20 0 f0"/>
                    <a:gd name="f36" fmla="?: f20 f0 0"/>
                    <a:gd name="f37" fmla="min f23 f22"/>
                    <a:gd name="f38" fmla="*/ f24 1 f18"/>
                    <a:gd name="f39" fmla="*/ f25 1 f18"/>
                    <a:gd name="f40" fmla="*/ f26 f0 1"/>
                    <a:gd name="f41" fmla="?: f20 f32 f31"/>
                    <a:gd name="f42" fmla="?: f20 f31 f32"/>
                    <a:gd name="f43" fmla="?: f21 f30 f29"/>
                    <a:gd name="f44" fmla="val f38"/>
                    <a:gd name="f45" fmla="val f39"/>
                    <a:gd name="f46" fmla="*/ f40 1 f7"/>
                    <a:gd name="f47" fmla="?: f21 f42 f41"/>
                    <a:gd name="f48" fmla="*/ f15 f37 1"/>
                    <a:gd name="f49" fmla="*/ f6 f37 1"/>
                    <a:gd name="f50" fmla="*/ f27 f37 1"/>
                    <a:gd name="f51" fmla="*/ f28 f37 1"/>
                    <a:gd name="f52" fmla="+- f45 0 f9"/>
                    <a:gd name="f53" fmla="+- f44 0 f9"/>
                    <a:gd name="f54" fmla="+- f46 0 f1"/>
                    <a:gd name="f55" fmla="*/ f45 f37 1"/>
                    <a:gd name="f56" fmla="*/ f44 f37 1"/>
                    <a:gd name="f57" fmla="+- f45 0 f52"/>
                    <a:gd name="f58" fmla="+- f44 0 f53"/>
                    <a:gd name="f59" fmla="+- f52 0 f45"/>
                    <a:gd name="f60" fmla="+- f53 0 f44"/>
                    <a:gd name="f61" fmla="+- f54 f1 0"/>
                    <a:gd name="f62" fmla="*/ f52 f37 1"/>
                    <a:gd name="f63" fmla="*/ f53 f37 1"/>
                    <a:gd name="f64" fmla="abs f57"/>
                    <a:gd name="f65" fmla="?: f57 0 f0"/>
                    <a:gd name="f66" fmla="?: f57 f0 0"/>
                    <a:gd name="f67" fmla="?: f57 f33 f34"/>
                    <a:gd name="f68" fmla="abs f58"/>
                    <a:gd name="f69" fmla="abs f59"/>
                    <a:gd name="f70" fmla="?: f58 f14 f1"/>
                    <a:gd name="f71" fmla="?: f58 f1 f14"/>
                    <a:gd name="f72" fmla="?: f58 f2 f1"/>
                    <a:gd name="f73" fmla="?: f58 f1 f2"/>
                    <a:gd name="f74" fmla="abs f60"/>
                    <a:gd name="f75" fmla="?: f60 f14 f1"/>
                    <a:gd name="f76" fmla="?: f60 f1 f14"/>
                    <a:gd name="f77" fmla="?: f60 f36 f35"/>
                    <a:gd name="f78" fmla="?: f60 f35 f36"/>
                    <a:gd name="f79" fmla="*/ f61 f7 1"/>
                    <a:gd name="f80" fmla="?: f21 f66 f65"/>
                    <a:gd name="f81" fmla="?: f21 f65 f66"/>
                    <a:gd name="f82" fmla="?: f58 f73 f72"/>
                    <a:gd name="f83" fmla="?: f58 f72 f73"/>
                    <a:gd name="f84" fmla="?: f59 f71 f70"/>
                    <a:gd name="f85" fmla="?: f20 f77 f78"/>
                    <a:gd name="f86" fmla="?: f20 f75 f76"/>
                    <a:gd name="f87" fmla="*/ f79 1 f0"/>
                    <a:gd name="f88" fmla="*/ f64 f37 1"/>
                    <a:gd name="f89" fmla="*/ f68 f37 1"/>
                    <a:gd name="f90" fmla="*/ f69 f37 1"/>
                    <a:gd name="f91" fmla="*/ f74 f37 1"/>
                    <a:gd name="f92" fmla="?: f57 f80 f81"/>
                    <a:gd name="f93" fmla="?: f59 f83 f82"/>
                    <a:gd name="f94" fmla="+- 0 0 f87"/>
                    <a:gd name="f95" fmla="+- 0 0 f94"/>
                    <a:gd name="f96" fmla="*/ f95 f0 1"/>
                    <a:gd name="f97" fmla="*/ f96 1 f7"/>
                    <a:gd name="f98" fmla="+- f97 0 f1"/>
                    <a:gd name="f99" fmla="cos 1 f98"/>
                    <a:gd name="f100" fmla="+- 0 0 f99"/>
                    <a:gd name="f101" fmla="+- 0 0 f100"/>
                    <a:gd name="f102" fmla="val f101"/>
                    <a:gd name="f103" fmla="+- 0 0 f102"/>
                    <a:gd name="f104" fmla="*/ f9 f103 1"/>
                    <a:gd name="f105" fmla="*/ f104 3163 1"/>
                    <a:gd name="f106" fmla="*/ f105 1 7636"/>
                    <a:gd name="f107" fmla="+- f6 f106 0"/>
                    <a:gd name="f108" fmla="+- f44 0 f106"/>
                    <a:gd name="f109" fmla="+- f45 0 f106"/>
                    <a:gd name="f110" fmla="*/ f107 f37 1"/>
                    <a:gd name="f111" fmla="*/ f108 f37 1"/>
                    <a:gd name="f112" fmla="*/ f109 f37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</a:cxnLst>
                  <a:rect l="f110" t="f110" r="f111" b="f112"/>
                  <a:pathLst>
                    <a:path>
                      <a:moveTo>
                        <a:pt x="f48" y="f49"/>
                      </a:moveTo>
                      <a:arcTo wR="f50" hR="f51" stAng="f47" swAng="f43"/>
                      <a:lnTo>
                        <a:pt x="f49" y="f62"/>
                      </a:lnTo>
                      <a:arcTo wR="f51" hR="f88" stAng="f92" swAng="f67"/>
                      <a:lnTo>
                        <a:pt x="f63" y="f55"/>
                      </a:lnTo>
                      <a:arcTo wR="f89" hR="f90" stAng="f93" swAng="f84"/>
                      <a:lnTo>
                        <a:pt x="f56" y="f48"/>
                      </a:lnTo>
                      <a:arcTo wR="f91" hR="f50" stAng="f85" swAng="f86"/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7" name="Rectangle: Rounded Corners 160">
                  <a:extLst>
                    <a:ext uri="{FF2B5EF4-FFF2-40B4-BE49-F238E27FC236}">
                      <a16:creationId xmlns:a16="http://schemas.microsoft.com/office/drawing/2014/main" id="{F1AE2F81-84E9-EB84-E027-52706800FEBC}"/>
                    </a:ext>
                  </a:extLst>
                </p:cNvPr>
                <p:cNvSpPr/>
                <p:nvPr/>
              </p:nvSpPr>
              <p:spPr>
                <a:xfrm rot="18900010">
                  <a:off x="9899034" y="5511508"/>
                  <a:ext cx="24633" cy="115918"/>
                </a:xfrm>
                <a:custGeom>
                  <a:avLst/>
                  <a:gdLst>
                    <a:gd name="f0" fmla="val 10800000"/>
                    <a:gd name="f1" fmla="val 5400000"/>
                    <a:gd name="f2" fmla="val 16200000"/>
                    <a:gd name="f3" fmla="val w"/>
                    <a:gd name="f4" fmla="val h"/>
                    <a:gd name="f5" fmla="val ss"/>
                    <a:gd name="f6" fmla="val 0"/>
                    <a:gd name="f7" fmla="*/ 5419351 1 1725033"/>
                    <a:gd name="f8" fmla="val 45"/>
                    <a:gd name="f9" fmla="val 9502"/>
                    <a:gd name="f10" fmla="abs f3"/>
                    <a:gd name="f11" fmla="abs f4"/>
                    <a:gd name="f12" fmla="abs f5"/>
                    <a:gd name="f13" fmla="*/ f7 1 180"/>
                    <a:gd name="f14" fmla="+- 0 0 f1"/>
                    <a:gd name="f15" fmla="+- f6 f9 0"/>
                    <a:gd name="f16" fmla="?: f10 f3 1"/>
                    <a:gd name="f17" fmla="?: f11 f4 1"/>
                    <a:gd name="f18" fmla="?: f12 f5 1"/>
                    <a:gd name="f19" fmla="*/ f8 f13 1"/>
                    <a:gd name="f20" fmla="+- f6 0 f15"/>
                    <a:gd name="f21" fmla="+- f15 0 f6"/>
                    <a:gd name="f22" fmla="*/ f16 1 21600"/>
                    <a:gd name="f23" fmla="*/ f17 1 21600"/>
                    <a:gd name="f24" fmla="*/ 21600 f16 1"/>
                    <a:gd name="f25" fmla="*/ 21600 f17 1"/>
                    <a:gd name="f26" fmla="+- 0 0 f19"/>
                    <a:gd name="f27" fmla="abs f20"/>
                    <a:gd name="f28" fmla="abs f21"/>
                    <a:gd name="f29" fmla="?: f20 f14 f1"/>
                    <a:gd name="f30" fmla="?: f20 f1 f14"/>
                    <a:gd name="f31" fmla="?: f20 f2 f1"/>
                    <a:gd name="f32" fmla="?: f20 f1 f2"/>
                    <a:gd name="f33" fmla="?: f21 f14 f1"/>
                    <a:gd name="f34" fmla="?: f21 f1 f14"/>
                    <a:gd name="f35" fmla="?: f20 0 f0"/>
                    <a:gd name="f36" fmla="?: f20 f0 0"/>
                    <a:gd name="f37" fmla="min f23 f22"/>
                    <a:gd name="f38" fmla="*/ f24 1 f18"/>
                    <a:gd name="f39" fmla="*/ f25 1 f18"/>
                    <a:gd name="f40" fmla="*/ f26 f0 1"/>
                    <a:gd name="f41" fmla="?: f20 f32 f31"/>
                    <a:gd name="f42" fmla="?: f20 f31 f32"/>
                    <a:gd name="f43" fmla="?: f21 f30 f29"/>
                    <a:gd name="f44" fmla="val f38"/>
                    <a:gd name="f45" fmla="val f39"/>
                    <a:gd name="f46" fmla="*/ f40 1 f7"/>
                    <a:gd name="f47" fmla="?: f21 f42 f41"/>
                    <a:gd name="f48" fmla="*/ f15 f37 1"/>
                    <a:gd name="f49" fmla="*/ f6 f37 1"/>
                    <a:gd name="f50" fmla="*/ f27 f37 1"/>
                    <a:gd name="f51" fmla="*/ f28 f37 1"/>
                    <a:gd name="f52" fmla="+- f45 0 f9"/>
                    <a:gd name="f53" fmla="+- f44 0 f9"/>
                    <a:gd name="f54" fmla="+- f46 0 f1"/>
                    <a:gd name="f55" fmla="*/ f45 f37 1"/>
                    <a:gd name="f56" fmla="*/ f44 f37 1"/>
                    <a:gd name="f57" fmla="+- f45 0 f52"/>
                    <a:gd name="f58" fmla="+- f44 0 f53"/>
                    <a:gd name="f59" fmla="+- f52 0 f45"/>
                    <a:gd name="f60" fmla="+- f53 0 f44"/>
                    <a:gd name="f61" fmla="+- f54 f1 0"/>
                    <a:gd name="f62" fmla="*/ f52 f37 1"/>
                    <a:gd name="f63" fmla="*/ f53 f37 1"/>
                    <a:gd name="f64" fmla="abs f57"/>
                    <a:gd name="f65" fmla="?: f57 0 f0"/>
                    <a:gd name="f66" fmla="?: f57 f0 0"/>
                    <a:gd name="f67" fmla="?: f57 f33 f34"/>
                    <a:gd name="f68" fmla="abs f58"/>
                    <a:gd name="f69" fmla="abs f59"/>
                    <a:gd name="f70" fmla="?: f58 f14 f1"/>
                    <a:gd name="f71" fmla="?: f58 f1 f14"/>
                    <a:gd name="f72" fmla="?: f58 f2 f1"/>
                    <a:gd name="f73" fmla="?: f58 f1 f2"/>
                    <a:gd name="f74" fmla="abs f60"/>
                    <a:gd name="f75" fmla="?: f60 f14 f1"/>
                    <a:gd name="f76" fmla="?: f60 f1 f14"/>
                    <a:gd name="f77" fmla="?: f60 f36 f35"/>
                    <a:gd name="f78" fmla="?: f60 f35 f36"/>
                    <a:gd name="f79" fmla="*/ f61 f7 1"/>
                    <a:gd name="f80" fmla="?: f21 f66 f65"/>
                    <a:gd name="f81" fmla="?: f21 f65 f66"/>
                    <a:gd name="f82" fmla="?: f58 f73 f72"/>
                    <a:gd name="f83" fmla="?: f58 f72 f73"/>
                    <a:gd name="f84" fmla="?: f59 f71 f70"/>
                    <a:gd name="f85" fmla="?: f20 f77 f78"/>
                    <a:gd name="f86" fmla="?: f20 f75 f76"/>
                    <a:gd name="f87" fmla="*/ f79 1 f0"/>
                    <a:gd name="f88" fmla="*/ f64 f37 1"/>
                    <a:gd name="f89" fmla="*/ f68 f37 1"/>
                    <a:gd name="f90" fmla="*/ f69 f37 1"/>
                    <a:gd name="f91" fmla="*/ f74 f37 1"/>
                    <a:gd name="f92" fmla="?: f57 f80 f81"/>
                    <a:gd name="f93" fmla="?: f59 f83 f82"/>
                    <a:gd name="f94" fmla="+- 0 0 f87"/>
                    <a:gd name="f95" fmla="+- 0 0 f94"/>
                    <a:gd name="f96" fmla="*/ f95 f0 1"/>
                    <a:gd name="f97" fmla="*/ f96 1 f7"/>
                    <a:gd name="f98" fmla="+- f97 0 f1"/>
                    <a:gd name="f99" fmla="cos 1 f98"/>
                    <a:gd name="f100" fmla="+- 0 0 f99"/>
                    <a:gd name="f101" fmla="+- 0 0 f100"/>
                    <a:gd name="f102" fmla="val f101"/>
                    <a:gd name="f103" fmla="+- 0 0 f102"/>
                    <a:gd name="f104" fmla="*/ f9 f103 1"/>
                    <a:gd name="f105" fmla="*/ f104 3163 1"/>
                    <a:gd name="f106" fmla="*/ f105 1 7636"/>
                    <a:gd name="f107" fmla="+- f6 f106 0"/>
                    <a:gd name="f108" fmla="+- f44 0 f106"/>
                    <a:gd name="f109" fmla="+- f45 0 f106"/>
                    <a:gd name="f110" fmla="*/ f107 f37 1"/>
                    <a:gd name="f111" fmla="*/ f108 f37 1"/>
                    <a:gd name="f112" fmla="*/ f109 f37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</a:cxnLst>
                  <a:rect l="f110" t="f110" r="f111" b="f112"/>
                  <a:pathLst>
                    <a:path>
                      <a:moveTo>
                        <a:pt x="f48" y="f49"/>
                      </a:moveTo>
                      <a:arcTo wR="f50" hR="f51" stAng="f47" swAng="f43"/>
                      <a:lnTo>
                        <a:pt x="f49" y="f62"/>
                      </a:lnTo>
                      <a:arcTo wR="f51" hR="f88" stAng="f92" swAng="f67"/>
                      <a:lnTo>
                        <a:pt x="f63" y="f55"/>
                      </a:lnTo>
                      <a:arcTo wR="f89" hR="f90" stAng="f93" swAng="f84"/>
                      <a:lnTo>
                        <a:pt x="f56" y="f48"/>
                      </a:lnTo>
                      <a:arcTo wR="f91" hR="f50" stAng="f85" swAng="f86"/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8" name="Rectangle: Rounded Corners 161">
                  <a:extLst>
                    <a:ext uri="{FF2B5EF4-FFF2-40B4-BE49-F238E27FC236}">
                      <a16:creationId xmlns:a16="http://schemas.microsoft.com/office/drawing/2014/main" id="{287CE1A2-490E-0963-F493-113CFEFD0302}"/>
                    </a:ext>
                  </a:extLst>
                </p:cNvPr>
                <p:cNvSpPr/>
                <p:nvPr/>
              </p:nvSpPr>
              <p:spPr>
                <a:xfrm rot="15472920">
                  <a:off x="9738977" y="5996995"/>
                  <a:ext cx="24633" cy="58731"/>
                </a:xfrm>
                <a:custGeom>
                  <a:avLst/>
                  <a:gdLst>
                    <a:gd name="f0" fmla="val 10800000"/>
                    <a:gd name="f1" fmla="val 5400000"/>
                    <a:gd name="f2" fmla="val 16200000"/>
                    <a:gd name="f3" fmla="val w"/>
                    <a:gd name="f4" fmla="val h"/>
                    <a:gd name="f5" fmla="val ss"/>
                    <a:gd name="f6" fmla="val 0"/>
                    <a:gd name="f7" fmla="*/ 5419351 1 1725033"/>
                    <a:gd name="f8" fmla="val 45"/>
                    <a:gd name="f9" fmla="val 9502"/>
                    <a:gd name="f10" fmla="abs f3"/>
                    <a:gd name="f11" fmla="abs f4"/>
                    <a:gd name="f12" fmla="abs f5"/>
                    <a:gd name="f13" fmla="*/ f7 1 180"/>
                    <a:gd name="f14" fmla="+- 0 0 f1"/>
                    <a:gd name="f15" fmla="+- f6 f9 0"/>
                    <a:gd name="f16" fmla="?: f10 f3 1"/>
                    <a:gd name="f17" fmla="?: f11 f4 1"/>
                    <a:gd name="f18" fmla="?: f12 f5 1"/>
                    <a:gd name="f19" fmla="*/ f8 f13 1"/>
                    <a:gd name="f20" fmla="+- f6 0 f15"/>
                    <a:gd name="f21" fmla="+- f15 0 f6"/>
                    <a:gd name="f22" fmla="*/ f16 1 21600"/>
                    <a:gd name="f23" fmla="*/ f17 1 21600"/>
                    <a:gd name="f24" fmla="*/ 21600 f16 1"/>
                    <a:gd name="f25" fmla="*/ 21600 f17 1"/>
                    <a:gd name="f26" fmla="+- 0 0 f19"/>
                    <a:gd name="f27" fmla="abs f20"/>
                    <a:gd name="f28" fmla="abs f21"/>
                    <a:gd name="f29" fmla="?: f20 f14 f1"/>
                    <a:gd name="f30" fmla="?: f20 f1 f14"/>
                    <a:gd name="f31" fmla="?: f20 f2 f1"/>
                    <a:gd name="f32" fmla="?: f20 f1 f2"/>
                    <a:gd name="f33" fmla="?: f21 f14 f1"/>
                    <a:gd name="f34" fmla="?: f21 f1 f14"/>
                    <a:gd name="f35" fmla="?: f20 0 f0"/>
                    <a:gd name="f36" fmla="?: f20 f0 0"/>
                    <a:gd name="f37" fmla="min f23 f22"/>
                    <a:gd name="f38" fmla="*/ f24 1 f18"/>
                    <a:gd name="f39" fmla="*/ f25 1 f18"/>
                    <a:gd name="f40" fmla="*/ f26 f0 1"/>
                    <a:gd name="f41" fmla="?: f20 f32 f31"/>
                    <a:gd name="f42" fmla="?: f20 f31 f32"/>
                    <a:gd name="f43" fmla="?: f21 f30 f29"/>
                    <a:gd name="f44" fmla="val f38"/>
                    <a:gd name="f45" fmla="val f39"/>
                    <a:gd name="f46" fmla="*/ f40 1 f7"/>
                    <a:gd name="f47" fmla="?: f21 f42 f41"/>
                    <a:gd name="f48" fmla="*/ f15 f37 1"/>
                    <a:gd name="f49" fmla="*/ f6 f37 1"/>
                    <a:gd name="f50" fmla="*/ f27 f37 1"/>
                    <a:gd name="f51" fmla="*/ f28 f37 1"/>
                    <a:gd name="f52" fmla="+- f45 0 f9"/>
                    <a:gd name="f53" fmla="+- f44 0 f9"/>
                    <a:gd name="f54" fmla="+- f46 0 f1"/>
                    <a:gd name="f55" fmla="*/ f45 f37 1"/>
                    <a:gd name="f56" fmla="*/ f44 f37 1"/>
                    <a:gd name="f57" fmla="+- f45 0 f52"/>
                    <a:gd name="f58" fmla="+- f44 0 f53"/>
                    <a:gd name="f59" fmla="+- f52 0 f45"/>
                    <a:gd name="f60" fmla="+- f53 0 f44"/>
                    <a:gd name="f61" fmla="+- f54 f1 0"/>
                    <a:gd name="f62" fmla="*/ f52 f37 1"/>
                    <a:gd name="f63" fmla="*/ f53 f37 1"/>
                    <a:gd name="f64" fmla="abs f57"/>
                    <a:gd name="f65" fmla="?: f57 0 f0"/>
                    <a:gd name="f66" fmla="?: f57 f0 0"/>
                    <a:gd name="f67" fmla="?: f57 f33 f34"/>
                    <a:gd name="f68" fmla="abs f58"/>
                    <a:gd name="f69" fmla="abs f59"/>
                    <a:gd name="f70" fmla="?: f58 f14 f1"/>
                    <a:gd name="f71" fmla="?: f58 f1 f14"/>
                    <a:gd name="f72" fmla="?: f58 f2 f1"/>
                    <a:gd name="f73" fmla="?: f58 f1 f2"/>
                    <a:gd name="f74" fmla="abs f60"/>
                    <a:gd name="f75" fmla="?: f60 f14 f1"/>
                    <a:gd name="f76" fmla="?: f60 f1 f14"/>
                    <a:gd name="f77" fmla="?: f60 f36 f35"/>
                    <a:gd name="f78" fmla="?: f60 f35 f36"/>
                    <a:gd name="f79" fmla="*/ f61 f7 1"/>
                    <a:gd name="f80" fmla="?: f21 f66 f65"/>
                    <a:gd name="f81" fmla="?: f21 f65 f66"/>
                    <a:gd name="f82" fmla="?: f58 f73 f72"/>
                    <a:gd name="f83" fmla="?: f58 f72 f73"/>
                    <a:gd name="f84" fmla="?: f59 f71 f70"/>
                    <a:gd name="f85" fmla="?: f20 f77 f78"/>
                    <a:gd name="f86" fmla="?: f20 f75 f76"/>
                    <a:gd name="f87" fmla="*/ f79 1 f0"/>
                    <a:gd name="f88" fmla="*/ f64 f37 1"/>
                    <a:gd name="f89" fmla="*/ f68 f37 1"/>
                    <a:gd name="f90" fmla="*/ f69 f37 1"/>
                    <a:gd name="f91" fmla="*/ f74 f37 1"/>
                    <a:gd name="f92" fmla="?: f57 f80 f81"/>
                    <a:gd name="f93" fmla="?: f59 f83 f82"/>
                    <a:gd name="f94" fmla="+- 0 0 f87"/>
                    <a:gd name="f95" fmla="+- 0 0 f94"/>
                    <a:gd name="f96" fmla="*/ f95 f0 1"/>
                    <a:gd name="f97" fmla="*/ f96 1 f7"/>
                    <a:gd name="f98" fmla="+- f97 0 f1"/>
                    <a:gd name="f99" fmla="cos 1 f98"/>
                    <a:gd name="f100" fmla="+- 0 0 f99"/>
                    <a:gd name="f101" fmla="+- 0 0 f100"/>
                    <a:gd name="f102" fmla="val f101"/>
                    <a:gd name="f103" fmla="+- 0 0 f102"/>
                    <a:gd name="f104" fmla="*/ f9 f103 1"/>
                    <a:gd name="f105" fmla="*/ f104 3163 1"/>
                    <a:gd name="f106" fmla="*/ f105 1 7636"/>
                    <a:gd name="f107" fmla="+- f6 f106 0"/>
                    <a:gd name="f108" fmla="+- f44 0 f106"/>
                    <a:gd name="f109" fmla="+- f45 0 f106"/>
                    <a:gd name="f110" fmla="*/ f107 f37 1"/>
                    <a:gd name="f111" fmla="*/ f108 f37 1"/>
                    <a:gd name="f112" fmla="*/ f109 f37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</a:cxnLst>
                  <a:rect l="f110" t="f110" r="f111" b="f112"/>
                  <a:pathLst>
                    <a:path>
                      <a:moveTo>
                        <a:pt x="f48" y="f49"/>
                      </a:moveTo>
                      <a:arcTo wR="f50" hR="f51" stAng="f47" swAng="f43"/>
                      <a:lnTo>
                        <a:pt x="f49" y="f62"/>
                      </a:lnTo>
                      <a:arcTo wR="f51" hR="f88" stAng="f92" swAng="f67"/>
                      <a:lnTo>
                        <a:pt x="f63" y="f55"/>
                      </a:lnTo>
                      <a:arcTo wR="f89" hR="f90" stAng="f93" swAng="f84"/>
                      <a:lnTo>
                        <a:pt x="f56" y="f48"/>
                      </a:lnTo>
                      <a:arcTo wR="f91" hR="f50" stAng="f85" swAng="f86"/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39" name="Rectangle: Rounded Corners 162">
                  <a:extLst>
                    <a:ext uri="{FF2B5EF4-FFF2-40B4-BE49-F238E27FC236}">
                      <a16:creationId xmlns:a16="http://schemas.microsoft.com/office/drawing/2014/main" id="{86209BB6-08A2-98F5-54DA-1AEC294387DA}"/>
                    </a:ext>
                  </a:extLst>
                </p:cNvPr>
                <p:cNvSpPr/>
                <p:nvPr/>
              </p:nvSpPr>
              <p:spPr>
                <a:xfrm rot="16564886">
                  <a:off x="9752310" y="6013784"/>
                  <a:ext cx="24633" cy="78318"/>
                </a:xfrm>
                <a:custGeom>
                  <a:avLst/>
                  <a:gdLst>
                    <a:gd name="f0" fmla="val 10800000"/>
                    <a:gd name="f1" fmla="val 5400000"/>
                    <a:gd name="f2" fmla="val 16200000"/>
                    <a:gd name="f3" fmla="val w"/>
                    <a:gd name="f4" fmla="val h"/>
                    <a:gd name="f5" fmla="val ss"/>
                    <a:gd name="f6" fmla="val 0"/>
                    <a:gd name="f7" fmla="*/ 5419351 1 1725033"/>
                    <a:gd name="f8" fmla="val 45"/>
                    <a:gd name="f9" fmla="val 9502"/>
                    <a:gd name="f10" fmla="abs f3"/>
                    <a:gd name="f11" fmla="abs f4"/>
                    <a:gd name="f12" fmla="abs f5"/>
                    <a:gd name="f13" fmla="*/ f7 1 180"/>
                    <a:gd name="f14" fmla="+- 0 0 f1"/>
                    <a:gd name="f15" fmla="+- f6 f9 0"/>
                    <a:gd name="f16" fmla="?: f10 f3 1"/>
                    <a:gd name="f17" fmla="?: f11 f4 1"/>
                    <a:gd name="f18" fmla="?: f12 f5 1"/>
                    <a:gd name="f19" fmla="*/ f8 f13 1"/>
                    <a:gd name="f20" fmla="+- f6 0 f15"/>
                    <a:gd name="f21" fmla="+- f15 0 f6"/>
                    <a:gd name="f22" fmla="*/ f16 1 21600"/>
                    <a:gd name="f23" fmla="*/ f17 1 21600"/>
                    <a:gd name="f24" fmla="*/ 21600 f16 1"/>
                    <a:gd name="f25" fmla="*/ 21600 f17 1"/>
                    <a:gd name="f26" fmla="+- 0 0 f19"/>
                    <a:gd name="f27" fmla="abs f20"/>
                    <a:gd name="f28" fmla="abs f21"/>
                    <a:gd name="f29" fmla="?: f20 f14 f1"/>
                    <a:gd name="f30" fmla="?: f20 f1 f14"/>
                    <a:gd name="f31" fmla="?: f20 f2 f1"/>
                    <a:gd name="f32" fmla="?: f20 f1 f2"/>
                    <a:gd name="f33" fmla="?: f21 f14 f1"/>
                    <a:gd name="f34" fmla="?: f21 f1 f14"/>
                    <a:gd name="f35" fmla="?: f20 0 f0"/>
                    <a:gd name="f36" fmla="?: f20 f0 0"/>
                    <a:gd name="f37" fmla="min f23 f22"/>
                    <a:gd name="f38" fmla="*/ f24 1 f18"/>
                    <a:gd name="f39" fmla="*/ f25 1 f18"/>
                    <a:gd name="f40" fmla="*/ f26 f0 1"/>
                    <a:gd name="f41" fmla="?: f20 f32 f31"/>
                    <a:gd name="f42" fmla="?: f20 f31 f32"/>
                    <a:gd name="f43" fmla="?: f21 f30 f29"/>
                    <a:gd name="f44" fmla="val f38"/>
                    <a:gd name="f45" fmla="val f39"/>
                    <a:gd name="f46" fmla="*/ f40 1 f7"/>
                    <a:gd name="f47" fmla="?: f21 f42 f41"/>
                    <a:gd name="f48" fmla="*/ f15 f37 1"/>
                    <a:gd name="f49" fmla="*/ f6 f37 1"/>
                    <a:gd name="f50" fmla="*/ f27 f37 1"/>
                    <a:gd name="f51" fmla="*/ f28 f37 1"/>
                    <a:gd name="f52" fmla="+- f45 0 f9"/>
                    <a:gd name="f53" fmla="+- f44 0 f9"/>
                    <a:gd name="f54" fmla="+- f46 0 f1"/>
                    <a:gd name="f55" fmla="*/ f45 f37 1"/>
                    <a:gd name="f56" fmla="*/ f44 f37 1"/>
                    <a:gd name="f57" fmla="+- f45 0 f52"/>
                    <a:gd name="f58" fmla="+- f44 0 f53"/>
                    <a:gd name="f59" fmla="+- f52 0 f45"/>
                    <a:gd name="f60" fmla="+- f53 0 f44"/>
                    <a:gd name="f61" fmla="+- f54 f1 0"/>
                    <a:gd name="f62" fmla="*/ f52 f37 1"/>
                    <a:gd name="f63" fmla="*/ f53 f37 1"/>
                    <a:gd name="f64" fmla="abs f57"/>
                    <a:gd name="f65" fmla="?: f57 0 f0"/>
                    <a:gd name="f66" fmla="?: f57 f0 0"/>
                    <a:gd name="f67" fmla="?: f57 f33 f34"/>
                    <a:gd name="f68" fmla="abs f58"/>
                    <a:gd name="f69" fmla="abs f59"/>
                    <a:gd name="f70" fmla="?: f58 f14 f1"/>
                    <a:gd name="f71" fmla="?: f58 f1 f14"/>
                    <a:gd name="f72" fmla="?: f58 f2 f1"/>
                    <a:gd name="f73" fmla="?: f58 f1 f2"/>
                    <a:gd name="f74" fmla="abs f60"/>
                    <a:gd name="f75" fmla="?: f60 f14 f1"/>
                    <a:gd name="f76" fmla="?: f60 f1 f14"/>
                    <a:gd name="f77" fmla="?: f60 f36 f35"/>
                    <a:gd name="f78" fmla="?: f60 f35 f36"/>
                    <a:gd name="f79" fmla="*/ f61 f7 1"/>
                    <a:gd name="f80" fmla="?: f21 f66 f65"/>
                    <a:gd name="f81" fmla="?: f21 f65 f66"/>
                    <a:gd name="f82" fmla="?: f58 f73 f72"/>
                    <a:gd name="f83" fmla="?: f58 f72 f73"/>
                    <a:gd name="f84" fmla="?: f59 f71 f70"/>
                    <a:gd name="f85" fmla="?: f20 f77 f78"/>
                    <a:gd name="f86" fmla="?: f20 f75 f76"/>
                    <a:gd name="f87" fmla="*/ f79 1 f0"/>
                    <a:gd name="f88" fmla="*/ f64 f37 1"/>
                    <a:gd name="f89" fmla="*/ f68 f37 1"/>
                    <a:gd name="f90" fmla="*/ f69 f37 1"/>
                    <a:gd name="f91" fmla="*/ f74 f37 1"/>
                    <a:gd name="f92" fmla="?: f57 f80 f81"/>
                    <a:gd name="f93" fmla="?: f59 f83 f82"/>
                    <a:gd name="f94" fmla="+- 0 0 f87"/>
                    <a:gd name="f95" fmla="+- 0 0 f94"/>
                    <a:gd name="f96" fmla="*/ f95 f0 1"/>
                    <a:gd name="f97" fmla="*/ f96 1 f7"/>
                    <a:gd name="f98" fmla="+- f97 0 f1"/>
                    <a:gd name="f99" fmla="cos 1 f98"/>
                    <a:gd name="f100" fmla="+- 0 0 f99"/>
                    <a:gd name="f101" fmla="+- 0 0 f100"/>
                    <a:gd name="f102" fmla="val f101"/>
                    <a:gd name="f103" fmla="+- 0 0 f102"/>
                    <a:gd name="f104" fmla="*/ f9 f103 1"/>
                    <a:gd name="f105" fmla="*/ f104 3163 1"/>
                    <a:gd name="f106" fmla="*/ f105 1 7636"/>
                    <a:gd name="f107" fmla="+- f6 f106 0"/>
                    <a:gd name="f108" fmla="+- f44 0 f106"/>
                    <a:gd name="f109" fmla="+- f45 0 f106"/>
                    <a:gd name="f110" fmla="*/ f107 f37 1"/>
                    <a:gd name="f111" fmla="*/ f108 f37 1"/>
                    <a:gd name="f112" fmla="*/ f109 f37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</a:cxnLst>
                  <a:rect l="f110" t="f110" r="f111" b="f112"/>
                  <a:pathLst>
                    <a:path>
                      <a:moveTo>
                        <a:pt x="f48" y="f49"/>
                      </a:moveTo>
                      <a:arcTo wR="f50" hR="f51" stAng="f47" swAng="f43"/>
                      <a:lnTo>
                        <a:pt x="f49" y="f62"/>
                      </a:lnTo>
                      <a:arcTo wR="f51" hR="f88" stAng="f92" swAng="f67"/>
                      <a:lnTo>
                        <a:pt x="f63" y="f55"/>
                      </a:lnTo>
                      <a:arcTo wR="f89" hR="f90" stAng="f93" swAng="f84"/>
                      <a:lnTo>
                        <a:pt x="f56" y="f48"/>
                      </a:lnTo>
                      <a:arcTo wR="f91" hR="f50" stAng="f85" swAng="f86"/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grpSp>
              <p:nvGrpSpPr>
                <p:cNvPr id="40" name="Group 163">
                  <a:extLst>
                    <a:ext uri="{FF2B5EF4-FFF2-40B4-BE49-F238E27FC236}">
                      <a16:creationId xmlns:a16="http://schemas.microsoft.com/office/drawing/2014/main" id="{67BE786C-182D-F9B4-C178-9EB0A8E30C7C}"/>
                    </a:ext>
                  </a:extLst>
                </p:cNvPr>
                <p:cNvGrpSpPr/>
                <p:nvPr/>
              </p:nvGrpSpPr>
              <p:grpSpPr>
                <a:xfrm>
                  <a:off x="9726299" y="5250320"/>
                  <a:ext cx="141475" cy="263603"/>
                  <a:chOff x="9726299" y="5250320"/>
                  <a:chExt cx="141475" cy="263603"/>
                </a:xfrm>
              </p:grpSpPr>
              <p:sp>
                <p:nvSpPr>
                  <p:cNvPr id="41" name="Oval 164">
                    <a:extLst>
                      <a:ext uri="{FF2B5EF4-FFF2-40B4-BE49-F238E27FC236}">
                        <a16:creationId xmlns:a16="http://schemas.microsoft.com/office/drawing/2014/main" id="{BAB179E2-265C-6B41-59E2-1FCCDBC36A9E}"/>
                      </a:ext>
                    </a:extLst>
                  </p:cNvPr>
                  <p:cNvSpPr/>
                  <p:nvPr/>
                </p:nvSpPr>
                <p:spPr>
                  <a:xfrm>
                    <a:off x="9726299" y="5416942"/>
                    <a:ext cx="96981" cy="96981"/>
                  </a:xfrm>
                  <a:custGeom>
                    <a:avLst/>
                    <a:gdLst>
                      <a:gd name="f0" fmla="val 21600000"/>
                      <a:gd name="f1" fmla="val 10800000"/>
                      <a:gd name="f2" fmla="val 5400000"/>
                      <a:gd name="f3" fmla="val 180"/>
                      <a:gd name="f4" fmla="val w"/>
                      <a:gd name="f5" fmla="val h"/>
                      <a:gd name="f6" fmla="val ss"/>
                      <a:gd name="f7" fmla="val 0"/>
                      <a:gd name="f8" fmla="*/ 5419351 1 1725033"/>
                      <a:gd name="f9" fmla="+- 0 0 -360"/>
                      <a:gd name="f10" fmla="+- 0 0 -180"/>
                      <a:gd name="f11" fmla="abs f4"/>
                      <a:gd name="f12" fmla="abs f5"/>
                      <a:gd name="f13" fmla="abs f6"/>
                      <a:gd name="f14" fmla="+- 2700000 f2 0"/>
                      <a:gd name="f15" fmla="*/ f9 f1 1"/>
                      <a:gd name="f16" fmla="*/ f10 f1 1"/>
                      <a:gd name="f17" fmla="?: f11 f4 1"/>
                      <a:gd name="f18" fmla="?: f12 f5 1"/>
                      <a:gd name="f19" fmla="?: f13 f6 1"/>
                      <a:gd name="f20" fmla="+- f14 0 f2"/>
                      <a:gd name="f21" fmla="*/ f15 1 f3"/>
                      <a:gd name="f22" fmla="*/ f16 1 f3"/>
                      <a:gd name="f23" fmla="*/ f17 1 21600"/>
                      <a:gd name="f24" fmla="*/ f18 1 21600"/>
                      <a:gd name="f25" fmla="*/ 21600 f17 1"/>
                      <a:gd name="f26" fmla="*/ 21600 f18 1"/>
                      <a:gd name="f27" fmla="+- f20 f2 0"/>
                      <a:gd name="f28" fmla="+- f21 0 f2"/>
                      <a:gd name="f29" fmla="+- f22 0 f2"/>
                      <a:gd name="f30" fmla="min f24 f23"/>
                      <a:gd name="f31" fmla="*/ f25 1 f19"/>
                      <a:gd name="f32" fmla="*/ f26 1 f19"/>
                      <a:gd name="f33" fmla="*/ f27 f8 1"/>
                      <a:gd name="f34" fmla="val f31"/>
                      <a:gd name="f35" fmla="val f32"/>
                      <a:gd name="f36" fmla="*/ f33 1 f1"/>
                      <a:gd name="f37" fmla="*/ f7 f30 1"/>
                      <a:gd name="f38" fmla="+- f35 0 f7"/>
                      <a:gd name="f39" fmla="+- f34 0 f7"/>
                      <a:gd name="f40" fmla="+- 0 0 f36"/>
                      <a:gd name="f41" fmla="*/ f38 1 2"/>
                      <a:gd name="f42" fmla="*/ f39 1 2"/>
                      <a:gd name="f43" fmla="+- 0 0 f40"/>
                      <a:gd name="f44" fmla="+- f7 f41 0"/>
                      <a:gd name="f45" fmla="+- f7 f42 0"/>
                      <a:gd name="f46" fmla="*/ f43 f1 1"/>
                      <a:gd name="f47" fmla="*/ f42 f30 1"/>
                      <a:gd name="f48" fmla="*/ f41 f30 1"/>
                      <a:gd name="f49" fmla="*/ f46 1 f8"/>
                      <a:gd name="f50" fmla="*/ f44 f30 1"/>
                      <a:gd name="f51" fmla="+- f49 0 f2"/>
                      <a:gd name="f52" fmla="cos 1 f51"/>
                      <a:gd name="f53" fmla="sin 1 f51"/>
                      <a:gd name="f54" fmla="+- 0 0 f52"/>
                      <a:gd name="f55" fmla="+- 0 0 f53"/>
                      <a:gd name="f56" fmla="+- 0 0 f54"/>
                      <a:gd name="f57" fmla="+- 0 0 f55"/>
                      <a:gd name="f58" fmla="val f56"/>
                      <a:gd name="f59" fmla="val f57"/>
                      <a:gd name="f60" fmla="*/ f58 f42 1"/>
                      <a:gd name="f61" fmla="*/ f59 f41 1"/>
                      <a:gd name="f62" fmla="+- f45 0 f60"/>
                      <a:gd name="f63" fmla="+- f45 f60 0"/>
                      <a:gd name="f64" fmla="+- f44 0 f61"/>
                      <a:gd name="f65" fmla="+- f44 f61 0"/>
                      <a:gd name="f66" fmla="*/ f62 f30 1"/>
                      <a:gd name="f67" fmla="*/ f64 f30 1"/>
                      <a:gd name="f68" fmla="*/ f63 f30 1"/>
                      <a:gd name="f69" fmla="*/ f65 f30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28">
                        <a:pos x="f66" y="f67"/>
                      </a:cxn>
                      <a:cxn ang="f29">
                        <a:pos x="f66" y="f69"/>
                      </a:cxn>
                      <a:cxn ang="f29">
                        <a:pos x="f68" y="f69"/>
                      </a:cxn>
                      <a:cxn ang="f28">
                        <a:pos x="f68" y="f67"/>
                      </a:cxn>
                    </a:cxnLst>
                    <a:rect l="f66" t="f67" r="f68" b="f69"/>
                    <a:pathLst>
                      <a:path>
                        <a:moveTo>
                          <a:pt x="f37" y="f50"/>
                        </a:moveTo>
                        <a:arcTo wR="f47" hR="f48" stAng="f1" swAng="f0"/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1" compatLnSpc="1">
                    <a:noAutofit/>
                  </a:bodyPr>
                  <a:lstStyle/>
                  <a:p>
                    <a:pPr marL="0" marR="0" lvl="0" indent="0" algn="ctr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2000" b="0" i="0" u="none" strike="noStrike" kern="1200" cap="none" spc="0" baseline="0">
                      <a:solidFill>
                        <a:srgbClr val="FFFFFF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42" name="Freeform: Shape 165">
                    <a:extLst>
                      <a:ext uri="{FF2B5EF4-FFF2-40B4-BE49-F238E27FC236}">
                        <a16:creationId xmlns:a16="http://schemas.microsoft.com/office/drawing/2014/main" id="{E3AE2D9D-EF69-D589-EBA5-3345C198B13A}"/>
                      </a:ext>
                    </a:extLst>
                  </p:cNvPr>
                  <p:cNvSpPr/>
                  <p:nvPr/>
                </p:nvSpPr>
                <p:spPr>
                  <a:xfrm>
                    <a:off x="9803849" y="5250320"/>
                    <a:ext cx="63925" cy="16939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374469"/>
                      <a:gd name="f7" fmla="val 722811"/>
                      <a:gd name="f8" fmla="val 121194"/>
                      <a:gd name="f9" fmla="val 587102"/>
                      <a:gd name="f10" fmla="val 242389"/>
                      <a:gd name="f11" fmla="val 451394"/>
                      <a:gd name="f12" fmla="val 304800"/>
                      <a:gd name="f13" fmla="val 330926"/>
                      <a:gd name="f14" fmla="val 367211"/>
                      <a:gd name="f15" fmla="val 210458"/>
                      <a:gd name="f16" fmla="val 370840"/>
                      <a:gd name="f17" fmla="val 105229"/>
                      <a:gd name="f18" fmla="+- 0 0 -90"/>
                      <a:gd name="f19" fmla="*/ f3 1 374469"/>
                      <a:gd name="f20" fmla="*/ f4 1 722811"/>
                      <a:gd name="f21" fmla="+- f7 0 f5"/>
                      <a:gd name="f22" fmla="+- f6 0 f5"/>
                      <a:gd name="f23" fmla="*/ f18 f0 1"/>
                      <a:gd name="f24" fmla="*/ f22 1 374469"/>
                      <a:gd name="f25" fmla="*/ f21 1 722811"/>
                      <a:gd name="f26" fmla="*/ 0 f22 1"/>
                      <a:gd name="f27" fmla="*/ 722811 f21 1"/>
                      <a:gd name="f28" fmla="*/ 304800 f22 1"/>
                      <a:gd name="f29" fmla="*/ 330926 f21 1"/>
                      <a:gd name="f30" fmla="*/ 374469 f22 1"/>
                      <a:gd name="f31" fmla="*/ 0 f21 1"/>
                      <a:gd name="f32" fmla="*/ f23 1 f2"/>
                      <a:gd name="f33" fmla="*/ f26 1 374469"/>
                      <a:gd name="f34" fmla="*/ f27 1 722811"/>
                      <a:gd name="f35" fmla="*/ f28 1 374469"/>
                      <a:gd name="f36" fmla="*/ f29 1 722811"/>
                      <a:gd name="f37" fmla="*/ f30 1 374469"/>
                      <a:gd name="f38" fmla="*/ f31 1 722811"/>
                      <a:gd name="f39" fmla="*/ f5 1 f24"/>
                      <a:gd name="f40" fmla="*/ f6 1 f24"/>
                      <a:gd name="f41" fmla="*/ f5 1 f25"/>
                      <a:gd name="f42" fmla="*/ f7 1 f25"/>
                      <a:gd name="f43" fmla="+- f32 0 f1"/>
                      <a:gd name="f44" fmla="*/ f33 1 f24"/>
                      <a:gd name="f45" fmla="*/ f34 1 f25"/>
                      <a:gd name="f46" fmla="*/ f35 1 f24"/>
                      <a:gd name="f47" fmla="*/ f36 1 f25"/>
                      <a:gd name="f48" fmla="*/ f37 1 f24"/>
                      <a:gd name="f49" fmla="*/ f38 1 f25"/>
                      <a:gd name="f50" fmla="*/ f39 f19 1"/>
                      <a:gd name="f51" fmla="*/ f40 f19 1"/>
                      <a:gd name="f52" fmla="*/ f42 f20 1"/>
                      <a:gd name="f53" fmla="*/ f41 f20 1"/>
                      <a:gd name="f54" fmla="*/ f44 f19 1"/>
                      <a:gd name="f55" fmla="*/ f45 f20 1"/>
                      <a:gd name="f56" fmla="*/ f46 f19 1"/>
                      <a:gd name="f57" fmla="*/ f47 f20 1"/>
                      <a:gd name="f58" fmla="*/ f48 f19 1"/>
                      <a:gd name="f59" fmla="*/ f49 f20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43">
                        <a:pos x="f54" y="f55"/>
                      </a:cxn>
                      <a:cxn ang="f43">
                        <a:pos x="f56" y="f57"/>
                      </a:cxn>
                      <a:cxn ang="f43">
                        <a:pos x="f58" y="f59"/>
                      </a:cxn>
                    </a:cxnLst>
                    <a:rect l="f50" t="f53" r="f51" b="f52"/>
                    <a:pathLst>
                      <a:path w="374469" h="722811">
                        <a:moveTo>
                          <a:pt x="f5" y="f7"/>
                        </a:moveTo>
                        <a:cubicBezTo>
                          <a:pt x="f8" y="f9"/>
                          <a:pt x="f10" y="f11"/>
                          <a:pt x="f12" y="f13"/>
                        </a:cubicBezTo>
                        <a:cubicBezTo>
                          <a:pt x="f14" y="f15"/>
                          <a:pt x="f16" y="f17"/>
                          <a:pt x="f6" y="f5"/>
                        </a:cubicBezTo>
                      </a:path>
                    </a:pathLst>
                  </a:custGeom>
                  <a:noFill/>
                  <a:ln w="12701" cap="rnd">
                    <a:solidFill>
                      <a:srgbClr val="FFFFFF"/>
                    </a:solidFill>
                    <a:custDash>
                      <a:ds d="600000" sp="0"/>
                    </a:custDash>
                    <a:miter/>
                  </a:ln>
                </p:spPr>
                <p:txBody>
                  <a:bodyPr vert="horz" wrap="square" lIns="91440" tIns="45720" rIns="91440" bIns="45720" anchor="ctr" anchorCtr="1" compatLnSpc="1">
                    <a:noAutofit/>
                  </a:bodyPr>
                  <a:lstStyle/>
                  <a:p>
                    <a:pPr marL="0" marR="0" lvl="0" indent="0" algn="ctr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FFFFFF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43" name="Circle: Hollow 166">
                    <a:extLst>
                      <a:ext uri="{FF2B5EF4-FFF2-40B4-BE49-F238E27FC236}">
                        <a16:creationId xmlns:a16="http://schemas.microsoft.com/office/drawing/2014/main" id="{704994EF-E50B-C222-D121-2FBE5887ED46}"/>
                      </a:ext>
                    </a:extLst>
                  </p:cNvPr>
                  <p:cNvSpPr/>
                  <p:nvPr/>
                </p:nvSpPr>
                <p:spPr>
                  <a:xfrm>
                    <a:off x="9790800" y="5415442"/>
                    <a:ext cx="20180" cy="20180"/>
                  </a:xfrm>
                  <a:custGeom>
                    <a:avLst/>
                    <a:gdLst>
                      <a:gd name="f0" fmla="val 21600000"/>
                      <a:gd name="f1" fmla="val 10800000"/>
                      <a:gd name="f2" fmla="val 5400000"/>
                      <a:gd name="f3" fmla="val 180"/>
                      <a:gd name="f4" fmla="val w"/>
                      <a:gd name="f5" fmla="val h"/>
                      <a:gd name="f6" fmla="val ss"/>
                      <a:gd name="f7" fmla="val 0"/>
                      <a:gd name="f8" fmla="*/ 5419351 1 1725033"/>
                      <a:gd name="f9" fmla="+- 0 0 21600000"/>
                      <a:gd name="f10" fmla="val 1188"/>
                      <a:gd name="f11" fmla="+- 0 0 -360"/>
                      <a:gd name="f12" fmla="+- 0 0 -180"/>
                      <a:gd name="f13" fmla="abs f4"/>
                      <a:gd name="f14" fmla="abs f5"/>
                      <a:gd name="f15" fmla="abs f6"/>
                      <a:gd name="f16" fmla="+- 2700000 f2 0"/>
                      <a:gd name="f17" fmla="*/ f11 f1 1"/>
                      <a:gd name="f18" fmla="*/ f12 f1 1"/>
                      <a:gd name="f19" fmla="?: f13 f4 1"/>
                      <a:gd name="f20" fmla="?: f14 f5 1"/>
                      <a:gd name="f21" fmla="?: f15 f6 1"/>
                      <a:gd name="f22" fmla="+- f16 0 f2"/>
                      <a:gd name="f23" fmla="*/ f17 1 f3"/>
                      <a:gd name="f24" fmla="*/ f18 1 f3"/>
                      <a:gd name="f25" fmla="*/ f19 1 21600"/>
                      <a:gd name="f26" fmla="*/ f20 1 21600"/>
                      <a:gd name="f27" fmla="*/ 21600 f19 1"/>
                      <a:gd name="f28" fmla="*/ 21600 f20 1"/>
                      <a:gd name="f29" fmla="+- f22 f2 0"/>
                      <a:gd name="f30" fmla="+- f23 0 f2"/>
                      <a:gd name="f31" fmla="+- f24 0 f2"/>
                      <a:gd name="f32" fmla="min f26 f25"/>
                      <a:gd name="f33" fmla="*/ f27 1 f21"/>
                      <a:gd name="f34" fmla="*/ f28 1 f21"/>
                      <a:gd name="f35" fmla="*/ f29 f8 1"/>
                      <a:gd name="f36" fmla="val f33"/>
                      <a:gd name="f37" fmla="val f34"/>
                      <a:gd name="f38" fmla="*/ f35 1 f1"/>
                      <a:gd name="f39" fmla="*/ f7 f32 1"/>
                      <a:gd name="f40" fmla="+- f37 0 f7"/>
                      <a:gd name="f41" fmla="+- f36 0 f7"/>
                      <a:gd name="f42" fmla="+- 0 0 f38"/>
                      <a:gd name="f43" fmla="*/ f40 1 2"/>
                      <a:gd name="f44" fmla="*/ f41 1 2"/>
                      <a:gd name="f45" fmla="min f41 f40"/>
                      <a:gd name="f46" fmla="+- 0 0 f42"/>
                      <a:gd name="f47" fmla="+- f7 f43 0"/>
                      <a:gd name="f48" fmla="+- f7 f44 0"/>
                      <a:gd name="f49" fmla="*/ f45 f10 1"/>
                      <a:gd name="f50" fmla="*/ f46 f1 1"/>
                      <a:gd name="f51" fmla="*/ f44 f32 1"/>
                      <a:gd name="f52" fmla="*/ f43 f32 1"/>
                      <a:gd name="f53" fmla="*/ f49 1 100000"/>
                      <a:gd name="f54" fmla="*/ f50 1 f8"/>
                      <a:gd name="f55" fmla="*/ f47 f32 1"/>
                      <a:gd name="f56" fmla="+- f44 0 f53"/>
                      <a:gd name="f57" fmla="+- f43 0 f53"/>
                      <a:gd name="f58" fmla="+- f54 0 f2"/>
                      <a:gd name="f59" fmla="*/ f53 f32 1"/>
                      <a:gd name="f60" fmla="cos 1 f58"/>
                      <a:gd name="f61" fmla="sin 1 f58"/>
                      <a:gd name="f62" fmla="*/ f56 f32 1"/>
                      <a:gd name="f63" fmla="*/ f57 f32 1"/>
                      <a:gd name="f64" fmla="+- 0 0 f60"/>
                      <a:gd name="f65" fmla="+- 0 0 f61"/>
                      <a:gd name="f66" fmla="+- 0 0 f64"/>
                      <a:gd name="f67" fmla="+- 0 0 f65"/>
                      <a:gd name="f68" fmla="val f66"/>
                      <a:gd name="f69" fmla="val f67"/>
                      <a:gd name="f70" fmla="*/ f68 f44 1"/>
                      <a:gd name="f71" fmla="*/ f69 f43 1"/>
                      <a:gd name="f72" fmla="+- f48 0 f70"/>
                      <a:gd name="f73" fmla="+- f48 f70 0"/>
                      <a:gd name="f74" fmla="+- f47 0 f71"/>
                      <a:gd name="f75" fmla="+- f47 f71 0"/>
                      <a:gd name="f76" fmla="*/ f72 f32 1"/>
                      <a:gd name="f77" fmla="*/ f74 f32 1"/>
                      <a:gd name="f78" fmla="*/ f73 f32 1"/>
                      <a:gd name="f79" fmla="*/ f75 f32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30">
                        <a:pos x="f76" y="f77"/>
                      </a:cxn>
                      <a:cxn ang="f31">
                        <a:pos x="f76" y="f79"/>
                      </a:cxn>
                      <a:cxn ang="f31">
                        <a:pos x="f78" y="f79"/>
                      </a:cxn>
                      <a:cxn ang="f30">
                        <a:pos x="f78" y="f77"/>
                      </a:cxn>
                    </a:cxnLst>
                    <a:rect l="f76" t="f77" r="f78" b="f79"/>
                    <a:pathLst>
                      <a:path>
                        <a:moveTo>
                          <a:pt x="f39" y="f55"/>
                        </a:moveTo>
                        <a:arcTo wR="f51" hR="f52" stAng="f1" swAng="f0"/>
                        <a:close/>
                        <a:moveTo>
                          <a:pt x="f59" y="f55"/>
                        </a:moveTo>
                        <a:arcTo wR="f62" hR="f63" stAng="f1" swAng="f9"/>
                        <a:close/>
                      </a:path>
                    </a:pathLst>
                  </a:custGeom>
                  <a:solidFill>
                    <a:srgbClr val="FFFFFF"/>
                  </a:solidFill>
                  <a:ln w="12701" cap="flat">
                    <a:solidFill>
                      <a:srgbClr val="FFFFFF"/>
                    </a:solidFill>
                    <a:prstDash val="solid"/>
                    <a:miter/>
                  </a:ln>
                </p:spPr>
                <p:txBody>
                  <a:bodyPr vert="horz" wrap="square" lIns="91440" tIns="45720" rIns="91440" bIns="45720" anchor="ctr" anchorCtr="1" compatLnSpc="1">
                    <a:noAutofit/>
                  </a:bodyPr>
                  <a:lstStyle/>
                  <a:p>
                    <a:pPr marL="0" marR="0" lvl="0" indent="0" algn="ctr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20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</p:grpSp>
          </p:grpSp>
          <p:grpSp>
            <p:nvGrpSpPr>
              <p:cNvPr id="44" name="Group 133">
                <a:extLst>
                  <a:ext uri="{FF2B5EF4-FFF2-40B4-BE49-F238E27FC236}">
                    <a16:creationId xmlns:a16="http://schemas.microsoft.com/office/drawing/2014/main" id="{FE2D2CFB-0890-AEF8-4FDF-2F33F004D16D}"/>
                  </a:ext>
                </a:extLst>
              </p:cNvPr>
              <p:cNvGrpSpPr/>
              <p:nvPr/>
            </p:nvGrpSpPr>
            <p:grpSpPr>
              <a:xfrm>
                <a:off x="9949613" y="5896197"/>
                <a:ext cx="279148" cy="186336"/>
                <a:chOff x="9949613" y="5896197"/>
                <a:chExt cx="279148" cy="186336"/>
              </a:xfrm>
            </p:grpSpPr>
            <p:grpSp>
              <p:nvGrpSpPr>
                <p:cNvPr id="45" name="Group 134">
                  <a:extLst>
                    <a:ext uri="{FF2B5EF4-FFF2-40B4-BE49-F238E27FC236}">
                      <a16:creationId xmlns:a16="http://schemas.microsoft.com/office/drawing/2014/main" id="{AFF8C597-62B1-23C1-2461-8953AC9D3211}"/>
                    </a:ext>
                  </a:extLst>
                </p:cNvPr>
                <p:cNvGrpSpPr/>
                <p:nvPr/>
              </p:nvGrpSpPr>
              <p:grpSpPr>
                <a:xfrm>
                  <a:off x="9961574" y="5923830"/>
                  <a:ext cx="267187" cy="158703"/>
                  <a:chOff x="9961574" y="5923830"/>
                  <a:chExt cx="267187" cy="158703"/>
                </a:xfrm>
              </p:grpSpPr>
              <p:sp>
                <p:nvSpPr>
                  <p:cNvPr id="46" name="Graphic 179">
                    <a:extLst>
                      <a:ext uri="{FF2B5EF4-FFF2-40B4-BE49-F238E27FC236}">
                        <a16:creationId xmlns:a16="http://schemas.microsoft.com/office/drawing/2014/main" id="{6B281959-9890-D8A4-C01C-FC52F8BB8B1A}"/>
                      </a:ext>
                    </a:extLst>
                  </p:cNvPr>
                  <p:cNvSpPr/>
                  <p:nvPr/>
                </p:nvSpPr>
                <p:spPr>
                  <a:xfrm>
                    <a:off x="10148523" y="5964247"/>
                    <a:ext cx="60103" cy="47877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86588"/>
                      <a:gd name="f7" fmla="val 68979"/>
                      <a:gd name="f8" fmla="val 77866"/>
                      <a:gd name="f9" fmla="val 8721"/>
                      <a:gd name="f10" fmla="val 3904"/>
                      <a:gd name="f11" fmla="val 65075"/>
                      <a:gd name="f12" fmla="val 60258"/>
                      <a:gd name="f13" fmla="val 54961"/>
                      <a:gd name="f14" fmla="val 58408"/>
                      <a:gd name="f15" fmla="+- 0 0 2"/>
                      <a:gd name="f16" fmla="val 61532"/>
                      <a:gd name="f17" fmla="val 2028"/>
                      <a:gd name="f18" fmla="val 62930"/>
                      <a:gd name="f19" fmla="val 5178"/>
                      <a:gd name="f20" fmla="val 85834"/>
                      <a:gd name="f21" fmla="val 56715"/>
                      <a:gd name="f22" fmla="val 87791"/>
                      <a:gd name="f23" fmla="val 61116"/>
                      <a:gd name="f24" fmla="val 85810"/>
                      <a:gd name="f25" fmla="val 66270"/>
                      <a:gd name="f26" fmla="val 81409"/>
                      <a:gd name="f27" fmla="val 68227"/>
                      <a:gd name="f28" fmla="val 80294"/>
                      <a:gd name="f29" fmla="val 68723"/>
                      <a:gd name="f30" fmla="val 79087"/>
                      <a:gd name="f31" fmla="val 17442"/>
                      <a:gd name="f32" fmla="val 51537"/>
                      <a:gd name="f33" fmla="val 64444"/>
                      <a:gd name="f34" fmla="val 49334"/>
                      <a:gd name="f35" fmla="val 17479"/>
                      <a:gd name="f36" fmla="+- 0 0 -90"/>
                      <a:gd name="f37" fmla="*/ f3 1 86588"/>
                      <a:gd name="f38" fmla="*/ f4 1 68979"/>
                      <a:gd name="f39" fmla="+- f7 0 f5"/>
                      <a:gd name="f40" fmla="+- f6 0 f5"/>
                      <a:gd name="f41" fmla="*/ f36 f0 1"/>
                      <a:gd name="f42" fmla="*/ f40 1 86588"/>
                      <a:gd name="f43" fmla="*/ f39 1 68979"/>
                      <a:gd name="f44" fmla="*/ 77866 f40 1"/>
                      <a:gd name="f45" fmla="*/ 68979 f39 1"/>
                      <a:gd name="f46" fmla="*/ 8721 f40 1"/>
                      <a:gd name="f47" fmla="*/ 0 f40 1"/>
                      <a:gd name="f48" fmla="*/ 60258 f39 1"/>
                      <a:gd name="f49" fmla="*/ 8721 f39 1"/>
                      <a:gd name="f50" fmla="*/ 0 f39 1"/>
                      <a:gd name="f51" fmla="*/ 54961 f40 1"/>
                      <a:gd name="f52" fmla="*/ 62930 f40 1"/>
                      <a:gd name="f53" fmla="*/ 5178 f39 1"/>
                      <a:gd name="f54" fmla="*/ 85834 f40 1"/>
                      <a:gd name="f55" fmla="*/ 56715 f39 1"/>
                      <a:gd name="f56" fmla="*/ 81409 f40 1"/>
                      <a:gd name="f57" fmla="*/ 68227 f39 1"/>
                      <a:gd name="f58" fmla="*/ 17442 f40 1"/>
                      <a:gd name="f59" fmla="*/ 51537 f39 1"/>
                      <a:gd name="f60" fmla="*/ 64444 f40 1"/>
                      <a:gd name="f61" fmla="*/ 49334 f40 1"/>
                      <a:gd name="f62" fmla="*/ 17442 f39 1"/>
                      <a:gd name="f63" fmla="*/ 17479 f40 1"/>
                      <a:gd name="f64" fmla="*/ f41 1 f2"/>
                      <a:gd name="f65" fmla="*/ f44 1 86588"/>
                      <a:gd name="f66" fmla="*/ f45 1 68979"/>
                      <a:gd name="f67" fmla="*/ f46 1 86588"/>
                      <a:gd name="f68" fmla="*/ f47 1 86588"/>
                      <a:gd name="f69" fmla="*/ f48 1 68979"/>
                      <a:gd name="f70" fmla="*/ f49 1 68979"/>
                      <a:gd name="f71" fmla="*/ f50 1 68979"/>
                      <a:gd name="f72" fmla="*/ f51 1 86588"/>
                      <a:gd name="f73" fmla="*/ f52 1 86588"/>
                      <a:gd name="f74" fmla="*/ f53 1 68979"/>
                      <a:gd name="f75" fmla="*/ f54 1 86588"/>
                      <a:gd name="f76" fmla="*/ f55 1 68979"/>
                      <a:gd name="f77" fmla="*/ f56 1 86588"/>
                      <a:gd name="f78" fmla="*/ f57 1 68979"/>
                      <a:gd name="f79" fmla="*/ f58 1 86588"/>
                      <a:gd name="f80" fmla="*/ f59 1 68979"/>
                      <a:gd name="f81" fmla="*/ f60 1 86588"/>
                      <a:gd name="f82" fmla="*/ f61 1 86588"/>
                      <a:gd name="f83" fmla="*/ f62 1 68979"/>
                      <a:gd name="f84" fmla="*/ f63 1 86588"/>
                      <a:gd name="f85" fmla="*/ f5 1 f42"/>
                      <a:gd name="f86" fmla="*/ f6 1 f42"/>
                      <a:gd name="f87" fmla="*/ f5 1 f43"/>
                      <a:gd name="f88" fmla="*/ f7 1 f43"/>
                      <a:gd name="f89" fmla="+- f64 0 f1"/>
                      <a:gd name="f90" fmla="*/ f65 1 f42"/>
                      <a:gd name="f91" fmla="*/ f66 1 f43"/>
                      <a:gd name="f92" fmla="*/ f67 1 f42"/>
                      <a:gd name="f93" fmla="*/ f68 1 f42"/>
                      <a:gd name="f94" fmla="*/ f69 1 f43"/>
                      <a:gd name="f95" fmla="*/ f70 1 f43"/>
                      <a:gd name="f96" fmla="*/ f71 1 f43"/>
                      <a:gd name="f97" fmla="*/ f72 1 f42"/>
                      <a:gd name="f98" fmla="*/ f73 1 f42"/>
                      <a:gd name="f99" fmla="*/ f74 1 f43"/>
                      <a:gd name="f100" fmla="*/ f75 1 f42"/>
                      <a:gd name="f101" fmla="*/ f76 1 f43"/>
                      <a:gd name="f102" fmla="*/ f77 1 f42"/>
                      <a:gd name="f103" fmla="*/ f78 1 f43"/>
                      <a:gd name="f104" fmla="*/ f79 1 f42"/>
                      <a:gd name="f105" fmla="*/ f80 1 f43"/>
                      <a:gd name="f106" fmla="*/ f81 1 f42"/>
                      <a:gd name="f107" fmla="*/ f82 1 f42"/>
                      <a:gd name="f108" fmla="*/ f83 1 f43"/>
                      <a:gd name="f109" fmla="*/ f84 1 f42"/>
                      <a:gd name="f110" fmla="*/ f85 f37 1"/>
                      <a:gd name="f111" fmla="*/ f86 f37 1"/>
                      <a:gd name="f112" fmla="*/ f88 f38 1"/>
                      <a:gd name="f113" fmla="*/ f87 f38 1"/>
                      <a:gd name="f114" fmla="*/ f90 f37 1"/>
                      <a:gd name="f115" fmla="*/ f91 f38 1"/>
                      <a:gd name="f116" fmla="*/ f92 f37 1"/>
                      <a:gd name="f117" fmla="*/ f93 f37 1"/>
                      <a:gd name="f118" fmla="*/ f94 f38 1"/>
                      <a:gd name="f119" fmla="*/ f95 f38 1"/>
                      <a:gd name="f120" fmla="*/ f96 f38 1"/>
                      <a:gd name="f121" fmla="*/ f97 f37 1"/>
                      <a:gd name="f122" fmla="*/ f98 f37 1"/>
                      <a:gd name="f123" fmla="*/ f99 f38 1"/>
                      <a:gd name="f124" fmla="*/ f100 f37 1"/>
                      <a:gd name="f125" fmla="*/ f101 f38 1"/>
                      <a:gd name="f126" fmla="*/ f102 f37 1"/>
                      <a:gd name="f127" fmla="*/ f103 f38 1"/>
                      <a:gd name="f128" fmla="*/ f104 f37 1"/>
                      <a:gd name="f129" fmla="*/ f105 f38 1"/>
                      <a:gd name="f130" fmla="*/ f106 f37 1"/>
                      <a:gd name="f131" fmla="*/ f107 f37 1"/>
                      <a:gd name="f132" fmla="*/ f108 f38 1"/>
                      <a:gd name="f133" fmla="*/ f109 f37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89">
                        <a:pos x="f114" y="f115"/>
                      </a:cxn>
                      <a:cxn ang="f89">
                        <a:pos x="f116" y="f115"/>
                      </a:cxn>
                      <a:cxn ang="f89">
                        <a:pos x="f117" y="f118"/>
                      </a:cxn>
                      <a:cxn ang="f89">
                        <a:pos x="f117" y="f119"/>
                      </a:cxn>
                      <a:cxn ang="f89">
                        <a:pos x="f116" y="f120"/>
                      </a:cxn>
                      <a:cxn ang="f89">
                        <a:pos x="f121" y="f120"/>
                      </a:cxn>
                      <a:cxn ang="f89">
                        <a:pos x="f122" y="f123"/>
                      </a:cxn>
                      <a:cxn ang="f89">
                        <a:pos x="f124" y="f125"/>
                      </a:cxn>
                      <a:cxn ang="f89">
                        <a:pos x="f126" y="f127"/>
                      </a:cxn>
                      <a:cxn ang="f89">
                        <a:pos x="f114" y="f115"/>
                      </a:cxn>
                      <a:cxn ang="f89">
                        <a:pos x="f128" y="f129"/>
                      </a:cxn>
                      <a:cxn ang="f89">
                        <a:pos x="f130" y="f129"/>
                      </a:cxn>
                      <a:cxn ang="f89">
                        <a:pos x="f131" y="f132"/>
                      </a:cxn>
                      <a:cxn ang="f89">
                        <a:pos x="f133" y="f132"/>
                      </a:cxn>
                    </a:cxnLst>
                    <a:rect l="f110" t="f113" r="f111" b="f112"/>
                    <a:pathLst>
                      <a:path w="86588" h="68979">
                        <a:moveTo>
                          <a:pt x="f8" y="f7"/>
                        </a:moveTo>
                        <a:lnTo>
                          <a:pt x="f9" y="f7"/>
                        </a:lnTo>
                        <a:cubicBezTo>
                          <a:pt x="f10" y="f7"/>
                          <a:pt x="f5" y="f11"/>
                          <a:pt x="f5" y="f12"/>
                        </a:cubicBezTo>
                        <a:lnTo>
                          <a:pt x="f5" y="f9"/>
                        </a:lnTo>
                        <a:cubicBezTo>
                          <a:pt x="f5" y="f10"/>
                          <a:pt x="f10" y="f5"/>
                          <a:pt x="f9" y="f5"/>
                        </a:cubicBezTo>
                        <a:lnTo>
                          <a:pt x="f13" y="f5"/>
                        </a:lnTo>
                        <a:cubicBezTo>
                          <a:pt x="f14" y="f15"/>
                          <a:pt x="f16" y="f17"/>
                          <a:pt x="f18" y="f19"/>
                        </a:cubicBezTo>
                        <a:lnTo>
                          <a:pt x="f20" y="f21"/>
                        </a:lnTo>
                        <a:cubicBezTo>
                          <a:pt x="f22" y="f23"/>
                          <a:pt x="f24" y="f25"/>
                          <a:pt x="f26" y="f27"/>
                        </a:cubicBezTo>
                        <a:cubicBezTo>
                          <a:pt x="f28" y="f29"/>
                          <a:pt x="f30" y="f7"/>
                          <a:pt x="f8" y="f7"/>
                        </a:cubicBezTo>
                        <a:close/>
                        <a:moveTo>
                          <a:pt x="f31" y="f32"/>
                        </a:moveTo>
                        <a:lnTo>
                          <a:pt x="f33" y="f32"/>
                        </a:lnTo>
                        <a:lnTo>
                          <a:pt x="f34" y="f31"/>
                        </a:lnTo>
                        <a:lnTo>
                          <a:pt x="f35" y="f3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47" name="Graphic 179">
                    <a:extLst>
                      <a:ext uri="{FF2B5EF4-FFF2-40B4-BE49-F238E27FC236}">
                        <a16:creationId xmlns:a16="http://schemas.microsoft.com/office/drawing/2014/main" id="{AAE52F01-A317-BDDC-7DCD-EC7BFB04BFED}"/>
                      </a:ext>
                    </a:extLst>
                  </p:cNvPr>
                  <p:cNvSpPr/>
                  <p:nvPr/>
                </p:nvSpPr>
                <p:spPr>
                  <a:xfrm>
                    <a:off x="9961574" y="5923830"/>
                    <a:ext cx="267187" cy="158703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384949"/>
                      <a:gd name="f7" fmla="val 228657"/>
                      <a:gd name="f8" fmla="val 384197"/>
                      <a:gd name="f9" fmla="val 114935"/>
                      <a:gd name="f10" fmla="val 349496"/>
                      <a:gd name="f11" fmla="val 37051"/>
                      <a:gd name="f12" fmla="val 348101"/>
                      <a:gd name="f13" fmla="val 33902"/>
                      <a:gd name="f14" fmla="val 344981"/>
                      <a:gd name="f15" fmla="val 31872"/>
                      <a:gd name="f16" fmla="val 341537"/>
                      <a:gd name="f17" fmla="val 31873"/>
                      <a:gd name="f18" fmla="val 260431"/>
                      <a:gd name="f19" fmla="val 8721"/>
                      <a:gd name="f20" fmla="val 3904"/>
                      <a:gd name="f21" fmla="val 256526"/>
                      <a:gd name="f22" fmla="val 251710"/>
                      <a:gd name="f23" fmla="val 20839"/>
                      <a:gd name="f24" fmla="val 9334"/>
                      <a:gd name="f25" fmla="val 10"/>
                      <a:gd name="f26" fmla="val 191240"/>
                      <a:gd name="f27" fmla="val 196057"/>
                      <a:gd name="f28" fmla="val 3905"/>
                      <a:gd name="f29" fmla="val 199961"/>
                      <a:gd name="f30" fmla="val 36105"/>
                      <a:gd name="f31" fmla="val 40922"/>
                      <a:gd name="f32" fmla="val 220032"/>
                      <a:gd name="f33" fmla="val 61096"/>
                      <a:gd name="f34" fmla="val 232397"/>
                      <a:gd name="f35" fmla="val 81167"/>
                      <a:gd name="f36" fmla="val 227581"/>
                      <a:gd name="f37" fmla="val 101237"/>
                      <a:gd name="f38" fmla="val 222764"/>
                      <a:gd name="f39" fmla="val 113603"/>
                      <a:gd name="f40" fmla="val 202590"/>
                      <a:gd name="f41" fmla="val 108786"/>
                      <a:gd name="f42" fmla="val 182519"/>
                      <a:gd name="f43" fmla="val 103969"/>
                      <a:gd name="f44" fmla="val 162449"/>
                      <a:gd name="f45" fmla="val 83795"/>
                      <a:gd name="f46" fmla="val 150083"/>
                      <a:gd name="f47" fmla="val 63725"/>
                      <a:gd name="f48" fmla="val 154900"/>
                      <a:gd name="f49" fmla="val 50057"/>
                      <a:gd name="f50" fmla="val 158180"/>
                      <a:gd name="f51" fmla="val 39385"/>
                      <a:gd name="f52" fmla="val 168852"/>
                      <a:gd name="f53" fmla="val 17442"/>
                      <a:gd name="f54" fmla="val 18963"/>
                      <a:gd name="f55" fmla="val 242998"/>
                      <a:gd name="f56" fmla="val 182556"/>
                      <a:gd name="f57" fmla="val 192415"/>
                      <a:gd name="f58" fmla="val 187598"/>
                      <a:gd name="f59" fmla="val 162485"/>
                      <a:gd name="f60" fmla="val 167424"/>
                      <a:gd name="f61" fmla="val 150120"/>
                      <a:gd name="f62" fmla="val 147354"/>
                      <a:gd name="f63" fmla="val 154937"/>
                      <a:gd name="f64" fmla="val 127283"/>
                      <a:gd name="f65" fmla="val 159753"/>
                      <a:gd name="f66" fmla="val 114918"/>
                      <a:gd name="f67" fmla="val 179928"/>
                      <a:gd name="f68" fmla="val 119734"/>
                      <a:gd name="f69" fmla="val 199998"/>
                      <a:gd name="f70" fmla="val 124551"/>
                      <a:gd name="f71" fmla="val 220069"/>
                      <a:gd name="f72" fmla="val 144725"/>
                      <a:gd name="f73" fmla="val 232434"/>
                      <a:gd name="f74" fmla="val 164796"/>
                      <a:gd name="f75" fmla="val 227617"/>
                      <a:gd name="f76" fmla="val 178463"/>
                      <a:gd name="f77" fmla="val 224337"/>
                      <a:gd name="f78" fmla="val 189135"/>
                      <a:gd name="f79" fmla="val 213665"/>
                      <a:gd name="f80" fmla="val 196094"/>
                      <a:gd name="f81" fmla="val 191277"/>
                      <a:gd name="f82" fmla="val 49316"/>
                      <a:gd name="f83" fmla="val 335873"/>
                      <a:gd name="f84" fmla="val 367508"/>
                      <a:gd name="f85" fmla="val 120342"/>
                      <a:gd name="f86" fmla="val 343052"/>
                      <a:gd name="f87" fmla="val 338235"/>
                      <a:gd name="f88" fmla="val 318061"/>
                      <a:gd name="f89" fmla="val 297990"/>
                      <a:gd name="f90" fmla="val 277920"/>
                      <a:gd name="f91" fmla="val 265554"/>
                      <a:gd name="f92" fmla="val 270371"/>
                      <a:gd name="f93" fmla="val 275188"/>
                      <a:gd name="f94" fmla="val 295362"/>
                      <a:gd name="f95" fmla="val 315433"/>
                      <a:gd name="f96" fmla="val 329100"/>
                      <a:gd name="f97" fmla="val 339772"/>
                      <a:gd name="f98" fmla="val 376229"/>
                      <a:gd name="f99" fmla="val 381046"/>
                      <a:gd name="f100" fmla="val 384950"/>
                      <a:gd name="f101" fmla="val 118488"/>
                      <a:gd name="f102" fmla="val 117264"/>
                      <a:gd name="f103" fmla="val 384694"/>
                      <a:gd name="f104" fmla="val 116053"/>
                      <a:gd name="f105" fmla="val 72440"/>
                      <a:gd name="f106" fmla="val 171310"/>
                      <a:gd name="f107" fmla="val 83447"/>
                      <a:gd name="f108" fmla="val 92370"/>
                      <a:gd name="f109" fmla="val 180233"/>
                      <a:gd name="f110" fmla="val 202247"/>
                      <a:gd name="f111" fmla="val 211170"/>
                      <a:gd name="f112" fmla="val 61433"/>
                      <a:gd name="f113" fmla="val 52510"/>
                      <a:gd name="f114" fmla="val 52526"/>
                      <a:gd name="f115" fmla="val 180240"/>
                      <a:gd name="f116" fmla="val 61440"/>
                      <a:gd name="f117" fmla="val 171326"/>
                      <a:gd name="f118" fmla="val 156090"/>
                      <a:gd name="f119" fmla="val 145083"/>
                      <a:gd name="f120" fmla="val 211176"/>
                      <a:gd name="f121" fmla="val 136156"/>
                      <a:gd name="f122" fmla="val 202256"/>
                      <a:gd name="f123" fmla="val 136150"/>
                      <a:gd name="f124" fmla="val 191249"/>
                      <a:gd name="f125" fmla="val 136145"/>
                      <a:gd name="f126" fmla="val 180242"/>
                      <a:gd name="f127" fmla="val 145064"/>
                      <a:gd name="f128" fmla="val 171316"/>
                      <a:gd name="f129" fmla="val 156071"/>
                      <a:gd name="f130" fmla="val 167078"/>
                      <a:gd name="f131" fmla="val 171305"/>
                      <a:gd name="f132" fmla="val 176006"/>
                      <a:gd name="f133" fmla="val 180224"/>
                      <a:gd name="f134" fmla="val 176010"/>
                      <a:gd name="f135" fmla="val 191231"/>
                      <a:gd name="f136" fmla="val 191234"/>
                      <a:gd name="f137" fmla="val 191237"/>
                      <a:gd name="f138" fmla="val 175996"/>
                      <a:gd name="f139" fmla="val 202237"/>
                      <a:gd name="f140" fmla="val 167086"/>
                      <a:gd name="f141" fmla="val 211150"/>
                      <a:gd name="f142" fmla="val 306717"/>
                      <a:gd name="f143" fmla="val 295710"/>
                      <a:gd name="f144" fmla="val 286787"/>
                      <a:gd name="f145" fmla="val 317724"/>
                      <a:gd name="f146" fmla="val 326647"/>
                      <a:gd name="f147" fmla="val 326632"/>
                      <a:gd name="f148" fmla="val 202231"/>
                      <a:gd name="f149" fmla="val 317735"/>
                      <a:gd name="f150" fmla="val 211140"/>
                      <a:gd name="f151" fmla="val 306744"/>
                      <a:gd name="f152" fmla="+- 0 0 -90"/>
                      <a:gd name="f153" fmla="*/ f3 1 384949"/>
                      <a:gd name="f154" fmla="*/ f4 1 228657"/>
                      <a:gd name="f155" fmla="+- f7 0 f5"/>
                      <a:gd name="f156" fmla="+- f6 0 f5"/>
                      <a:gd name="f157" fmla="*/ f152 f0 1"/>
                      <a:gd name="f158" fmla="*/ f156 1 384949"/>
                      <a:gd name="f159" fmla="*/ f155 1 228657"/>
                      <a:gd name="f160" fmla="*/ 384197 f156 1"/>
                      <a:gd name="f161" fmla="*/ 114935 f155 1"/>
                      <a:gd name="f162" fmla="*/ 349496 f156 1"/>
                      <a:gd name="f163" fmla="*/ 37051 f155 1"/>
                      <a:gd name="f164" fmla="*/ 341537 f156 1"/>
                      <a:gd name="f165" fmla="*/ 31873 f155 1"/>
                      <a:gd name="f166" fmla="*/ 260431 f156 1"/>
                      <a:gd name="f167" fmla="*/ 8721 f155 1"/>
                      <a:gd name="f168" fmla="*/ 251710 f156 1"/>
                      <a:gd name="f169" fmla="*/ 0 f155 1"/>
                      <a:gd name="f170" fmla="*/ 20839 f156 1"/>
                      <a:gd name="f171" fmla="*/ 0 f156 1"/>
                      <a:gd name="f172" fmla="*/ 20839 f155 1"/>
                      <a:gd name="f173" fmla="*/ 191240 f155 1"/>
                      <a:gd name="f174" fmla="*/ 8721 f156 1"/>
                      <a:gd name="f175" fmla="*/ 199961 f155 1"/>
                      <a:gd name="f176" fmla="*/ 36105 f156 1"/>
                      <a:gd name="f177" fmla="*/ 81167 f156 1"/>
                      <a:gd name="f178" fmla="*/ 227581 f155 1"/>
                      <a:gd name="f179" fmla="*/ 108786 f156 1"/>
                      <a:gd name="f180" fmla="*/ 182519 f155 1"/>
                      <a:gd name="f181" fmla="*/ 63725 f156 1"/>
                      <a:gd name="f182" fmla="*/ 154900 f155 1"/>
                      <a:gd name="f183" fmla="*/ 17442 f156 1"/>
                      <a:gd name="f184" fmla="*/ 17442 f155 1"/>
                      <a:gd name="f185" fmla="*/ 242998 f156 1"/>
                      <a:gd name="f186" fmla="*/ 182556 f155 1"/>
                      <a:gd name="f187" fmla="*/ 192415 f156 1"/>
                      <a:gd name="f188" fmla="*/ 147354 f156 1"/>
                      <a:gd name="f189" fmla="*/ 154937 f155 1"/>
                      <a:gd name="f190" fmla="*/ 119734 f156 1"/>
                      <a:gd name="f191" fmla="*/ 199998 f155 1"/>
                      <a:gd name="f192" fmla="*/ 164796 f156 1"/>
                      <a:gd name="f193" fmla="*/ 227617 f155 1"/>
                      <a:gd name="f194" fmla="*/ 191277 f155 1"/>
                      <a:gd name="f195" fmla="*/ 49316 f155 1"/>
                      <a:gd name="f196" fmla="*/ 335873 f156 1"/>
                      <a:gd name="f197" fmla="*/ 367508 f156 1"/>
                      <a:gd name="f198" fmla="*/ 120342 f155 1"/>
                      <a:gd name="f199" fmla="*/ 343052 f156 1"/>
                      <a:gd name="f200" fmla="*/ 297990 f156 1"/>
                      <a:gd name="f201" fmla="*/ 270371 f156 1"/>
                      <a:gd name="f202" fmla="*/ 315433 f156 1"/>
                      <a:gd name="f203" fmla="*/ 376229 f156 1"/>
                      <a:gd name="f204" fmla="*/ 384950 f156 1"/>
                      <a:gd name="f205" fmla="*/ 118488 f155 1"/>
                      <a:gd name="f206" fmla="*/ 72440 f156 1"/>
                      <a:gd name="f207" fmla="*/ 171310 f155 1"/>
                      <a:gd name="f208" fmla="*/ 92370 f156 1"/>
                      <a:gd name="f209" fmla="*/ 211170 f155 1"/>
                      <a:gd name="f210" fmla="*/ 52510 f156 1"/>
                      <a:gd name="f211" fmla="*/ 156090 f156 1"/>
                      <a:gd name="f212" fmla="*/ 136150 f156 1"/>
                      <a:gd name="f213" fmla="*/ 191249 f155 1"/>
                      <a:gd name="f214" fmla="*/ 156071 f156 1"/>
                      <a:gd name="f215" fmla="*/ 176010 f156 1"/>
                      <a:gd name="f216" fmla="*/ 191231 f155 1"/>
                      <a:gd name="f217" fmla="*/ 306717 f156 1"/>
                      <a:gd name="f218" fmla="*/ 286787 f156 1"/>
                      <a:gd name="f219" fmla="*/ 326647 f156 1"/>
                      <a:gd name="f220" fmla="*/ 306744 f156 1"/>
                      <a:gd name="f221" fmla="*/ f157 1 f2"/>
                      <a:gd name="f222" fmla="*/ f160 1 384949"/>
                      <a:gd name="f223" fmla="*/ f161 1 228657"/>
                      <a:gd name="f224" fmla="*/ f162 1 384949"/>
                      <a:gd name="f225" fmla="*/ f163 1 228657"/>
                      <a:gd name="f226" fmla="*/ f164 1 384949"/>
                      <a:gd name="f227" fmla="*/ f165 1 228657"/>
                      <a:gd name="f228" fmla="*/ f166 1 384949"/>
                      <a:gd name="f229" fmla="*/ f167 1 228657"/>
                      <a:gd name="f230" fmla="*/ f168 1 384949"/>
                      <a:gd name="f231" fmla="*/ f169 1 228657"/>
                      <a:gd name="f232" fmla="*/ f170 1 384949"/>
                      <a:gd name="f233" fmla="*/ f171 1 384949"/>
                      <a:gd name="f234" fmla="*/ f172 1 228657"/>
                      <a:gd name="f235" fmla="*/ f173 1 228657"/>
                      <a:gd name="f236" fmla="*/ f174 1 384949"/>
                      <a:gd name="f237" fmla="*/ f175 1 228657"/>
                      <a:gd name="f238" fmla="*/ f176 1 384949"/>
                      <a:gd name="f239" fmla="*/ f177 1 384949"/>
                      <a:gd name="f240" fmla="*/ f178 1 228657"/>
                      <a:gd name="f241" fmla="*/ f179 1 384949"/>
                      <a:gd name="f242" fmla="*/ f180 1 228657"/>
                      <a:gd name="f243" fmla="*/ f181 1 384949"/>
                      <a:gd name="f244" fmla="*/ f182 1 228657"/>
                      <a:gd name="f245" fmla="*/ f183 1 384949"/>
                      <a:gd name="f246" fmla="*/ f184 1 228657"/>
                      <a:gd name="f247" fmla="*/ f185 1 384949"/>
                      <a:gd name="f248" fmla="*/ f186 1 228657"/>
                      <a:gd name="f249" fmla="*/ f187 1 384949"/>
                      <a:gd name="f250" fmla="*/ f188 1 384949"/>
                      <a:gd name="f251" fmla="*/ f189 1 228657"/>
                      <a:gd name="f252" fmla="*/ f190 1 384949"/>
                      <a:gd name="f253" fmla="*/ f191 1 228657"/>
                      <a:gd name="f254" fmla="*/ f192 1 384949"/>
                      <a:gd name="f255" fmla="*/ f193 1 228657"/>
                      <a:gd name="f256" fmla="*/ f194 1 228657"/>
                      <a:gd name="f257" fmla="*/ f195 1 228657"/>
                      <a:gd name="f258" fmla="*/ f196 1 384949"/>
                      <a:gd name="f259" fmla="*/ f197 1 384949"/>
                      <a:gd name="f260" fmla="*/ f198 1 228657"/>
                      <a:gd name="f261" fmla="*/ f199 1 384949"/>
                      <a:gd name="f262" fmla="*/ f200 1 384949"/>
                      <a:gd name="f263" fmla="*/ f201 1 384949"/>
                      <a:gd name="f264" fmla="*/ f202 1 384949"/>
                      <a:gd name="f265" fmla="*/ f203 1 384949"/>
                      <a:gd name="f266" fmla="*/ f204 1 384949"/>
                      <a:gd name="f267" fmla="*/ f205 1 228657"/>
                      <a:gd name="f268" fmla="*/ f206 1 384949"/>
                      <a:gd name="f269" fmla="*/ f207 1 228657"/>
                      <a:gd name="f270" fmla="*/ f208 1 384949"/>
                      <a:gd name="f271" fmla="*/ f209 1 228657"/>
                      <a:gd name="f272" fmla="*/ f210 1 384949"/>
                      <a:gd name="f273" fmla="*/ f211 1 384949"/>
                      <a:gd name="f274" fmla="*/ f212 1 384949"/>
                      <a:gd name="f275" fmla="*/ f213 1 228657"/>
                      <a:gd name="f276" fmla="*/ f214 1 384949"/>
                      <a:gd name="f277" fmla="*/ f215 1 384949"/>
                      <a:gd name="f278" fmla="*/ f216 1 228657"/>
                      <a:gd name="f279" fmla="*/ f217 1 384949"/>
                      <a:gd name="f280" fmla="*/ f218 1 384949"/>
                      <a:gd name="f281" fmla="*/ f219 1 384949"/>
                      <a:gd name="f282" fmla="*/ f220 1 384949"/>
                      <a:gd name="f283" fmla="*/ f5 1 f158"/>
                      <a:gd name="f284" fmla="*/ f6 1 f158"/>
                      <a:gd name="f285" fmla="*/ f5 1 f159"/>
                      <a:gd name="f286" fmla="*/ f7 1 f159"/>
                      <a:gd name="f287" fmla="+- f221 0 f1"/>
                      <a:gd name="f288" fmla="*/ f222 1 f158"/>
                      <a:gd name="f289" fmla="*/ f223 1 f159"/>
                      <a:gd name="f290" fmla="*/ f224 1 f158"/>
                      <a:gd name="f291" fmla="*/ f225 1 f159"/>
                      <a:gd name="f292" fmla="*/ f226 1 f158"/>
                      <a:gd name="f293" fmla="*/ f227 1 f159"/>
                      <a:gd name="f294" fmla="*/ f228 1 f158"/>
                      <a:gd name="f295" fmla="*/ f229 1 f159"/>
                      <a:gd name="f296" fmla="*/ f230 1 f158"/>
                      <a:gd name="f297" fmla="*/ f231 1 f159"/>
                      <a:gd name="f298" fmla="*/ f232 1 f158"/>
                      <a:gd name="f299" fmla="*/ f233 1 f158"/>
                      <a:gd name="f300" fmla="*/ f234 1 f159"/>
                      <a:gd name="f301" fmla="*/ f235 1 f159"/>
                      <a:gd name="f302" fmla="*/ f236 1 f158"/>
                      <a:gd name="f303" fmla="*/ f237 1 f159"/>
                      <a:gd name="f304" fmla="*/ f238 1 f158"/>
                      <a:gd name="f305" fmla="*/ f239 1 f158"/>
                      <a:gd name="f306" fmla="*/ f240 1 f159"/>
                      <a:gd name="f307" fmla="*/ f241 1 f158"/>
                      <a:gd name="f308" fmla="*/ f242 1 f159"/>
                      <a:gd name="f309" fmla="*/ f243 1 f158"/>
                      <a:gd name="f310" fmla="*/ f244 1 f159"/>
                      <a:gd name="f311" fmla="*/ f245 1 f158"/>
                      <a:gd name="f312" fmla="*/ f246 1 f159"/>
                      <a:gd name="f313" fmla="*/ f247 1 f158"/>
                      <a:gd name="f314" fmla="*/ f248 1 f159"/>
                      <a:gd name="f315" fmla="*/ f249 1 f158"/>
                      <a:gd name="f316" fmla="*/ f250 1 f158"/>
                      <a:gd name="f317" fmla="*/ f251 1 f159"/>
                      <a:gd name="f318" fmla="*/ f252 1 f158"/>
                      <a:gd name="f319" fmla="*/ f253 1 f159"/>
                      <a:gd name="f320" fmla="*/ f254 1 f158"/>
                      <a:gd name="f321" fmla="*/ f255 1 f159"/>
                      <a:gd name="f322" fmla="*/ f256 1 f159"/>
                      <a:gd name="f323" fmla="*/ f257 1 f159"/>
                      <a:gd name="f324" fmla="*/ f258 1 f158"/>
                      <a:gd name="f325" fmla="*/ f259 1 f158"/>
                      <a:gd name="f326" fmla="*/ f260 1 f159"/>
                      <a:gd name="f327" fmla="*/ f261 1 f158"/>
                      <a:gd name="f328" fmla="*/ f262 1 f158"/>
                      <a:gd name="f329" fmla="*/ f263 1 f158"/>
                      <a:gd name="f330" fmla="*/ f264 1 f158"/>
                      <a:gd name="f331" fmla="*/ f265 1 f158"/>
                      <a:gd name="f332" fmla="*/ f266 1 f158"/>
                      <a:gd name="f333" fmla="*/ f267 1 f159"/>
                      <a:gd name="f334" fmla="*/ f268 1 f158"/>
                      <a:gd name="f335" fmla="*/ f269 1 f159"/>
                      <a:gd name="f336" fmla="*/ f270 1 f158"/>
                      <a:gd name="f337" fmla="*/ f271 1 f159"/>
                      <a:gd name="f338" fmla="*/ f272 1 f158"/>
                      <a:gd name="f339" fmla="*/ f273 1 f158"/>
                      <a:gd name="f340" fmla="*/ f274 1 f158"/>
                      <a:gd name="f341" fmla="*/ f275 1 f159"/>
                      <a:gd name="f342" fmla="*/ f276 1 f158"/>
                      <a:gd name="f343" fmla="*/ f277 1 f158"/>
                      <a:gd name="f344" fmla="*/ f278 1 f159"/>
                      <a:gd name="f345" fmla="*/ f279 1 f158"/>
                      <a:gd name="f346" fmla="*/ f280 1 f158"/>
                      <a:gd name="f347" fmla="*/ f281 1 f158"/>
                      <a:gd name="f348" fmla="*/ f282 1 f158"/>
                      <a:gd name="f349" fmla="*/ f283 f153 1"/>
                      <a:gd name="f350" fmla="*/ f284 f153 1"/>
                      <a:gd name="f351" fmla="*/ f286 f154 1"/>
                      <a:gd name="f352" fmla="*/ f285 f154 1"/>
                      <a:gd name="f353" fmla="*/ f288 f153 1"/>
                      <a:gd name="f354" fmla="*/ f289 f154 1"/>
                      <a:gd name="f355" fmla="*/ f290 f153 1"/>
                      <a:gd name="f356" fmla="*/ f291 f154 1"/>
                      <a:gd name="f357" fmla="*/ f292 f153 1"/>
                      <a:gd name="f358" fmla="*/ f293 f154 1"/>
                      <a:gd name="f359" fmla="*/ f294 f153 1"/>
                      <a:gd name="f360" fmla="*/ f295 f154 1"/>
                      <a:gd name="f361" fmla="*/ f296 f153 1"/>
                      <a:gd name="f362" fmla="*/ f297 f154 1"/>
                      <a:gd name="f363" fmla="*/ f298 f153 1"/>
                      <a:gd name="f364" fmla="*/ f299 f153 1"/>
                      <a:gd name="f365" fmla="*/ f300 f154 1"/>
                      <a:gd name="f366" fmla="*/ f301 f154 1"/>
                      <a:gd name="f367" fmla="*/ f302 f153 1"/>
                      <a:gd name="f368" fmla="*/ f303 f154 1"/>
                      <a:gd name="f369" fmla="*/ f304 f153 1"/>
                      <a:gd name="f370" fmla="*/ f305 f153 1"/>
                      <a:gd name="f371" fmla="*/ f306 f154 1"/>
                      <a:gd name="f372" fmla="*/ f307 f153 1"/>
                      <a:gd name="f373" fmla="*/ f308 f154 1"/>
                      <a:gd name="f374" fmla="*/ f309 f153 1"/>
                      <a:gd name="f375" fmla="*/ f310 f154 1"/>
                      <a:gd name="f376" fmla="*/ f311 f153 1"/>
                      <a:gd name="f377" fmla="*/ f312 f154 1"/>
                      <a:gd name="f378" fmla="*/ f313 f153 1"/>
                      <a:gd name="f379" fmla="*/ f314 f154 1"/>
                      <a:gd name="f380" fmla="*/ f315 f153 1"/>
                      <a:gd name="f381" fmla="*/ f316 f153 1"/>
                      <a:gd name="f382" fmla="*/ f317 f154 1"/>
                      <a:gd name="f383" fmla="*/ f318 f153 1"/>
                      <a:gd name="f384" fmla="*/ f319 f154 1"/>
                      <a:gd name="f385" fmla="*/ f320 f153 1"/>
                      <a:gd name="f386" fmla="*/ f321 f154 1"/>
                      <a:gd name="f387" fmla="*/ f322 f154 1"/>
                      <a:gd name="f388" fmla="*/ f323 f154 1"/>
                      <a:gd name="f389" fmla="*/ f324 f153 1"/>
                      <a:gd name="f390" fmla="*/ f325 f153 1"/>
                      <a:gd name="f391" fmla="*/ f326 f154 1"/>
                      <a:gd name="f392" fmla="*/ f327 f153 1"/>
                      <a:gd name="f393" fmla="*/ f328 f153 1"/>
                      <a:gd name="f394" fmla="*/ f329 f153 1"/>
                      <a:gd name="f395" fmla="*/ f330 f153 1"/>
                      <a:gd name="f396" fmla="*/ f331 f153 1"/>
                      <a:gd name="f397" fmla="*/ f332 f153 1"/>
                      <a:gd name="f398" fmla="*/ f333 f154 1"/>
                      <a:gd name="f399" fmla="*/ f334 f153 1"/>
                      <a:gd name="f400" fmla="*/ f335 f154 1"/>
                      <a:gd name="f401" fmla="*/ f336 f153 1"/>
                      <a:gd name="f402" fmla="*/ f337 f154 1"/>
                      <a:gd name="f403" fmla="*/ f338 f153 1"/>
                      <a:gd name="f404" fmla="*/ f339 f153 1"/>
                      <a:gd name="f405" fmla="*/ f340 f153 1"/>
                      <a:gd name="f406" fmla="*/ f341 f154 1"/>
                      <a:gd name="f407" fmla="*/ f342 f153 1"/>
                      <a:gd name="f408" fmla="*/ f343 f153 1"/>
                      <a:gd name="f409" fmla="*/ f344 f154 1"/>
                      <a:gd name="f410" fmla="*/ f345 f153 1"/>
                      <a:gd name="f411" fmla="*/ f346 f153 1"/>
                      <a:gd name="f412" fmla="*/ f347 f153 1"/>
                      <a:gd name="f413" fmla="*/ f348 f153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287">
                        <a:pos x="f353" y="f354"/>
                      </a:cxn>
                      <a:cxn ang="f287">
                        <a:pos x="f355" y="f356"/>
                      </a:cxn>
                      <a:cxn ang="f287">
                        <a:pos x="f357" y="f358"/>
                      </a:cxn>
                      <a:cxn ang="f287">
                        <a:pos x="f359" y="f358"/>
                      </a:cxn>
                      <a:cxn ang="f287">
                        <a:pos x="f359" y="f360"/>
                      </a:cxn>
                      <a:cxn ang="f287">
                        <a:pos x="f361" y="f362"/>
                      </a:cxn>
                      <a:cxn ang="f287">
                        <a:pos x="f363" y="f362"/>
                      </a:cxn>
                      <a:cxn ang="f287">
                        <a:pos x="f364" y="f365"/>
                      </a:cxn>
                      <a:cxn ang="f287">
                        <a:pos x="f364" y="f366"/>
                      </a:cxn>
                      <a:cxn ang="f287">
                        <a:pos x="f367" y="f368"/>
                      </a:cxn>
                      <a:cxn ang="f287">
                        <a:pos x="f369" y="f368"/>
                      </a:cxn>
                      <a:cxn ang="f287">
                        <a:pos x="f370" y="f371"/>
                      </a:cxn>
                      <a:cxn ang="f287">
                        <a:pos x="f372" y="f373"/>
                      </a:cxn>
                      <a:cxn ang="f287">
                        <a:pos x="f374" y="f375"/>
                      </a:cxn>
                      <a:cxn ang="f287">
                        <a:pos x="f369" y="f373"/>
                      </a:cxn>
                      <a:cxn ang="f287">
                        <a:pos x="f376" y="f373"/>
                      </a:cxn>
                      <a:cxn ang="f287">
                        <a:pos x="f376" y="f365"/>
                      </a:cxn>
                      <a:cxn ang="f287">
                        <a:pos x="f363" y="f377"/>
                      </a:cxn>
                      <a:cxn ang="f287">
                        <a:pos x="f378" y="f377"/>
                      </a:cxn>
                      <a:cxn ang="f287">
                        <a:pos x="f378" y="f379"/>
                      </a:cxn>
                      <a:cxn ang="f287">
                        <a:pos x="f380" y="f379"/>
                      </a:cxn>
                      <a:cxn ang="f287">
                        <a:pos x="f381" y="f382"/>
                      </a:cxn>
                      <a:cxn ang="f287">
                        <a:pos x="f383" y="f384"/>
                      </a:cxn>
                      <a:cxn ang="f287">
                        <a:pos x="f385" y="f386"/>
                      </a:cxn>
                      <a:cxn ang="f287">
                        <a:pos x="f380" y="f384"/>
                      </a:cxn>
                      <a:cxn ang="f287">
                        <a:pos x="f361" y="f384"/>
                      </a:cxn>
                      <a:cxn ang="f287">
                        <a:pos x="f359" y="f387"/>
                      </a:cxn>
                      <a:cxn ang="f287">
                        <a:pos x="f359" y="f388"/>
                      </a:cxn>
                      <a:cxn ang="f287">
                        <a:pos x="f389" y="f388"/>
                      </a:cxn>
                      <a:cxn ang="f287">
                        <a:pos x="f390" y="f391"/>
                      </a:cxn>
                      <a:cxn ang="f287">
                        <a:pos x="f390" y="f379"/>
                      </a:cxn>
                      <a:cxn ang="f287">
                        <a:pos x="f392" y="f379"/>
                      </a:cxn>
                      <a:cxn ang="f287">
                        <a:pos x="f393" y="f382"/>
                      </a:cxn>
                      <a:cxn ang="f287">
                        <a:pos x="f394" y="f384"/>
                      </a:cxn>
                      <a:cxn ang="f287">
                        <a:pos x="f395" y="f386"/>
                      </a:cxn>
                      <a:cxn ang="f287">
                        <a:pos x="f392" y="f384"/>
                      </a:cxn>
                      <a:cxn ang="f287">
                        <a:pos x="f396" y="f384"/>
                      </a:cxn>
                      <a:cxn ang="f287">
                        <a:pos x="f397" y="f387"/>
                      </a:cxn>
                      <a:cxn ang="f287">
                        <a:pos x="f397" y="f398"/>
                      </a:cxn>
                      <a:cxn ang="f287">
                        <a:pos x="f353" y="f354"/>
                      </a:cxn>
                      <a:cxn ang="f287">
                        <a:pos x="f399" y="f400"/>
                      </a:cxn>
                      <a:cxn ang="f287">
                        <a:pos x="f401" y="f366"/>
                      </a:cxn>
                      <a:cxn ang="f287">
                        <a:pos x="f399" y="f402"/>
                      </a:cxn>
                      <a:cxn ang="f287">
                        <a:pos x="f403" y="f366"/>
                      </a:cxn>
                      <a:cxn ang="f287">
                        <a:pos x="f399" y="f400"/>
                      </a:cxn>
                      <a:cxn ang="f287">
                        <a:pos x="f404" y="f402"/>
                      </a:cxn>
                      <a:cxn ang="f287">
                        <a:pos x="f405" y="f406"/>
                      </a:cxn>
                      <a:cxn ang="f287">
                        <a:pos x="f407" y="f400"/>
                      </a:cxn>
                      <a:cxn ang="f287">
                        <a:pos x="f408" y="f409"/>
                      </a:cxn>
                      <a:cxn ang="f287">
                        <a:pos x="f408" y="f366"/>
                      </a:cxn>
                      <a:cxn ang="f287">
                        <a:pos x="f404" y="f402"/>
                      </a:cxn>
                      <a:cxn ang="f287">
                        <a:pos x="f410" y="f402"/>
                      </a:cxn>
                      <a:cxn ang="f287">
                        <a:pos x="f411" y="f366"/>
                      </a:cxn>
                      <a:cxn ang="f287">
                        <a:pos x="f410" y="f400"/>
                      </a:cxn>
                      <a:cxn ang="f287">
                        <a:pos x="f412" y="f366"/>
                      </a:cxn>
                      <a:cxn ang="f287">
                        <a:pos x="f413" y="f402"/>
                      </a:cxn>
                    </a:cxnLst>
                    <a:rect l="f349" t="f352" r="f350" b="f351"/>
                    <a:pathLst>
                      <a:path w="384949" h="228657">
                        <a:moveTo>
                          <a:pt x="f8" y="f9"/>
                        </a:moveTo>
                        <a:lnTo>
                          <a:pt x="f10" y="f11"/>
                        </a:lnTo>
                        <a:cubicBezTo>
                          <a:pt x="f12" y="f13"/>
                          <a:pt x="f14" y="f15"/>
                          <a:pt x="f16" y="f17"/>
                        </a:cubicBezTo>
                        <a:lnTo>
                          <a:pt x="f18" y="f17"/>
                        </a:lnTo>
                        <a:lnTo>
                          <a:pt x="f18" y="f19"/>
                        </a:lnTo>
                        <a:cubicBezTo>
                          <a:pt x="f18" y="f20"/>
                          <a:pt x="f21" y="f5"/>
                          <a:pt x="f22" y="f5"/>
                        </a:cubicBezTo>
                        <a:lnTo>
                          <a:pt x="f23" y="f5"/>
                        </a:lnTo>
                        <a:cubicBezTo>
                          <a:pt x="f24" y="f25"/>
                          <a:pt x="f25" y="f24"/>
                          <a:pt x="f5" y="f23"/>
                        </a:cubicBezTo>
                        <a:lnTo>
                          <a:pt x="f5" y="f26"/>
                        </a:lnTo>
                        <a:cubicBezTo>
                          <a:pt x="f5" y="f27"/>
                          <a:pt x="f28" y="f29"/>
                          <a:pt x="f19" y="f29"/>
                        </a:cubicBezTo>
                        <a:lnTo>
                          <a:pt x="f30" y="f29"/>
                        </a:lnTo>
                        <a:cubicBezTo>
                          <a:pt x="f31" y="f32"/>
                          <a:pt x="f33" y="f34"/>
                          <a:pt x="f35" y="f36"/>
                        </a:cubicBezTo>
                        <a:cubicBezTo>
                          <a:pt x="f37" y="f38"/>
                          <a:pt x="f39" y="f40"/>
                          <a:pt x="f41" y="f42"/>
                        </a:cubicBezTo>
                        <a:cubicBezTo>
                          <a:pt x="f43" y="f44"/>
                          <a:pt x="f45" y="f46"/>
                          <a:pt x="f47" y="f48"/>
                        </a:cubicBezTo>
                        <a:cubicBezTo>
                          <a:pt x="f49" y="f50"/>
                          <a:pt x="f51" y="f52"/>
                          <a:pt x="f30" y="f42"/>
                        </a:cubicBezTo>
                        <a:lnTo>
                          <a:pt x="f53" y="f42"/>
                        </a:lnTo>
                        <a:lnTo>
                          <a:pt x="f53" y="f23"/>
                        </a:lnTo>
                        <a:cubicBezTo>
                          <a:pt x="f53" y="f54"/>
                          <a:pt x="f54" y="f53"/>
                          <a:pt x="f23" y="f53"/>
                        </a:cubicBezTo>
                        <a:lnTo>
                          <a:pt x="f55" y="f53"/>
                        </a:lnTo>
                        <a:lnTo>
                          <a:pt x="f55" y="f56"/>
                        </a:lnTo>
                        <a:lnTo>
                          <a:pt x="f57" y="f56"/>
                        </a:lnTo>
                        <a:cubicBezTo>
                          <a:pt x="f58" y="f59"/>
                          <a:pt x="f60" y="f61"/>
                          <a:pt x="f62" y="f63"/>
                        </a:cubicBezTo>
                        <a:cubicBezTo>
                          <a:pt x="f64" y="f65"/>
                          <a:pt x="f66" y="f67"/>
                          <a:pt x="f68" y="f69"/>
                        </a:cubicBezTo>
                        <a:cubicBezTo>
                          <a:pt x="f70" y="f71"/>
                          <a:pt x="f72" y="f73"/>
                          <a:pt x="f74" y="f75"/>
                        </a:cubicBezTo>
                        <a:cubicBezTo>
                          <a:pt x="f76" y="f77"/>
                          <a:pt x="f78" y="f79"/>
                          <a:pt x="f57" y="f69"/>
                        </a:cubicBezTo>
                        <a:lnTo>
                          <a:pt x="f22" y="f69"/>
                        </a:lnTo>
                        <a:cubicBezTo>
                          <a:pt x="f21" y="f69"/>
                          <a:pt x="f18" y="f80"/>
                          <a:pt x="f18" y="f81"/>
                        </a:cubicBezTo>
                        <a:lnTo>
                          <a:pt x="f18" y="f82"/>
                        </a:lnTo>
                        <a:lnTo>
                          <a:pt x="f83" y="f82"/>
                        </a:lnTo>
                        <a:lnTo>
                          <a:pt x="f84" y="f85"/>
                        </a:lnTo>
                        <a:lnTo>
                          <a:pt x="f84" y="f56"/>
                        </a:lnTo>
                        <a:lnTo>
                          <a:pt x="f86" y="f56"/>
                        </a:lnTo>
                        <a:cubicBezTo>
                          <a:pt x="f87" y="f59"/>
                          <a:pt x="f88" y="f61"/>
                          <a:pt x="f89" y="f63"/>
                        </a:cubicBezTo>
                        <a:cubicBezTo>
                          <a:pt x="f90" y="f65"/>
                          <a:pt x="f91" y="f67"/>
                          <a:pt x="f92" y="f69"/>
                        </a:cubicBezTo>
                        <a:cubicBezTo>
                          <a:pt x="f93" y="f71"/>
                          <a:pt x="f94" y="f73"/>
                          <a:pt x="f95" y="f75"/>
                        </a:cubicBezTo>
                        <a:cubicBezTo>
                          <a:pt x="f96" y="f77"/>
                          <a:pt x="f97" y="f79"/>
                          <a:pt x="f86" y="f69"/>
                        </a:cubicBezTo>
                        <a:lnTo>
                          <a:pt x="f98" y="f69"/>
                        </a:lnTo>
                        <a:cubicBezTo>
                          <a:pt x="f99" y="f69"/>
                          <a:pt x="f100" y="f80"/>
                          <a:pt x="f100" y="f81"/>
                        </a:cubicBezTo>
                        <a:lnTo>
                          <a:pt x="f100" y="f101"/>
                        </a:lnTo>
                        <a:cubicBezTo>
                          <a:pt x="f100" y="f102"/>
                          <a:pt x="f103" y="f104"/>
                          <a:pt x="f8" y="f9"/>
                        </a:cubicBezTo>
                        <a:close/>
                        <a:moveTo>
                          <a:pt x="f105" y="f106"/>
                        </a:moveTo>
                        <a:cubicBezTo>
                          <a:pt x="f107" y="f106"/>
                          <a:pt x="f108" y="f109"/>
                          <a:pt x="f108" y="f26"/>
                        </a:cubicBezTo>
                        <a:cubicBezTo>
                          <a:pt x="f108" y="f110"/>
                          <a:pt x="f107" y="f111"/>
                          <a:pt x="f105" y="f111"/>
                        </a:cubicBezTo>
                        <a:cubicBezTo>
                          <a:pt x="f112" y="f111"/>
                          <a:pt x="f113" y="f110"/>
                          <a:pt x="f113" y="f26"/>
                        </a:cubicBezTo>
                        <a:cubicBezTo>
                          <a:pt x="f114" y="f115"/>
                          <a:pt x="f116" y="f117"/>
                          <a:pt x="f105" y="f106"/>
                        </a:cubicBezTo>
                        <a:close/>
                        <a:moveTo>
                          <a:pt x="f118" y="f111"/>
                        </a:moveTo>
                        <a:cubicBezTo>
                          <a:pt x="f119" y="f120"/>
                          <a:pt x="f121" y="f122"/>
                          <a:pt x="f123" y="f124"/>
                        </a:cubicBezTo>
                        <a:cubicBezTo>
                          <a:pt x="f125" y="f126"/>
                          <a:pt x="f127" y="f128"/>
                          <a:pt x="f129" y="f106"/>
                        </a:cubicBezTo>
                        <a:cubicBezTo>
                          <a:pt x="f130" y="f131"/>
                          <a:pt x="f132" y="f133"/>
                          <a:pt x="f134" y="f135"/>
                        </a:cubicBezTo>
                        <a:cubicBezTo>
                          <a:pt x="f134" y="f136"/>
                          <a:pt x="f134" y="f137"/>
                          <a:pt x="f134" y="f26"/>
                        </a:cubicBezTo>
                        <a:cubicBezTo>
                          <a:pt x="f138" y="f139"/>
                          <a:pt x="f140" y="f141"/>
                          <a:pt x="f118" y="f111"/>
                        </a:cubicBezTo>
                        <a:close/>
                        <a:moveTo>
                          <a:pt x="f142" y="f111"/>
                        </a:moveTo>
                        <a:cubicBezTo>
                          <a:pt x="f143" y="f111"/>
                          <a:pt x="f144" y="f110"/>
                          <a:pt x="f144" y="f26"/>
                        </a:cubicBezTo>
                        <a:cubicBezTo>
                          <a:pt x="f144" y="f109"/>
                          <a:pt x="f143" y="f106"/>
                          <a:pt x="f142" y="f106"/>
                        </a:cubicBezTo>
                        <a:cubicBezTo>
                          <a:pt x="f145" y="f106"/>
                          <a:pt x="f146" y="f109"/>
                          <a:pt x="f146" y="f26"/>
                        </a:cubicBezTo>
                        <a:cubicBezTo>
                          <a:pt x="f147" y="f148"/>
                          <a:pt x="f149" y="f150"/>
                          <a:pt x="f151" y="f1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</p:grpSp>
            <p:sp>
              <p:nvSpPr>
                <p:cNvPr id="48" name="Rectangle 135">
                  <a:extLst>
                    <a:ext uri="{FF2B5EF4-FFF2-40B4-BE49-F238E27FC236}">
                      <a16:creationId xmlns:a16="http://schemas.microsoft.com/office/drawing/2014/main" id="{7796B879-08DD-DAFA-3AA5-716531CE40B4}"/>
                    </a:ext>
                  </a:extLst>
                </p:cNvPr>
                <p:cNvSpPr/>
                <p:nvPr/>
              </p:nvSpPr>
              <p:spPr>
                <a:xfrm>
                  <a:off x="9949613" y="5896197"/>
                  <a:ext cx="180859" cy="121999"/>
                </a:xfrm>
                <a:prstGeom prst="rect">
                  <a:avLst/>
                </a:prstGeom>
                <a:solidFill>
                  <a:srgbClr val="A9CAE4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cxnSp>
              <p:nvCxnSpPr>
                <p:cNvPr id="49" name="Straight Connector 136">
                  <a:extLst>
                    <a:ext uri="{FF2B5EF4-FFF2-40B4-BE49-F238E27FC236}">
                      <a16:creationId xmlns:a16="http://schemas.microsoft.com/office/drawing/2014/main" id="{AEBE5EDA-900F-C484-44E1-EF2A7519D723}"/>
                    </a:ext>
                  </a:extLst>
                </p:cNvPr>
                <p:cNvCxnSpPr/>
                <p:nvPr/>
              </p:nvCxnSpPr>
              <p:spPr>
                <a:xfrm flipH="1">
                  <a:off x="9956599" y="6020391"/>
                  <a:ext cx="174907" cy="0"/>
                </a:xfrm>
                <a:prstGeom prst="straightConnector1">
                  <a:avLst/>
                </a:prstGeom>
                <a:noFill/>
                <a:ln w="12701" cap="rnd">
                  <a:solidFill>
                    <a:srgbClr val="FFFFFF"/>
                  </a:solidFill>
                  <a:prstDash val="solid"/>
                  <a:round/>
                </a:ln>
              </p:spPr>
            </p:cxnSp>
            <p:sp>
              <p:nvSpPr>
                <p:cNvPr id="50" name="Graphic 51">
                  <a:extLst>
                    <a:ext uri="{FF2B5EF4-FFF2-40B4-BE49-F238E27FC236}">
                      <a16:creationId xmlns:a16="http://schemas.microsoft.com/office/drawing/2014/main" id="{84EBE734-4E86-44C9-3826-0742FFA11498}"/>
                    </a:ext>
                  </a:extLst>
                </p:cNvPr>
                <p:cNvSpPr/>
                <p:nvPr/>
              </p:nvSpPr>
              <p:spPr>
                <a:xfrm rot="1586348">
                  <a:off x="10066995" y="5951557"/>
                  <a:ext cx="34299" cy="34491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2"/>
                    <a:gd name="f9" fmla="val 53340"/>
                    <a:gd name="f10" fmla="val 120967"/>
                    <a:gd name="f11" fmla="val 120015"/>
                    <a:gd name="f12" fmla="val 147638"/>
                    <a:gd name="f13" fmla="val 162877"/>
                    <a:gd name="f14" fmla="val 12382"/>
                    <a:gd name="f15" fmla="val 26670"/>
                    <a:gd name="f16" fmla="val 175260"/>
                    <a:gd name="f17" fmla="val 11430"/>
                    <a:gd name="f18" fmla="val 161925"/>
                    <a:gd name="f19" fmla="+- 0 0 -90"/>
                    <a:gd name="f20" fmla="*/ f3 1 174307"/>
                    <a:gd name="f21" fmla="*/ f4 1 175259"/>
                    <a:gd name="f22" fmla="+- f7 0 f5"/>
                    <a:gd name="f23" fmla="+- f6 0 f5"/>
                    <a:gd name="f24" fmla="*/ f19 f0 1"/>
                    <a:gd name="f25" fmla="*/ f23 1 174307"/>
                    <a:gd name="f26" fmla="*/ f22 1 175259"/>
                    <a:gd name="f27" fmla="*/ 54292 f23 1"/>
                    <a:gd name="f28" fmla="*/ 53340 f22 1"/>
                    <a:gd name="f29" fmla="*/ 120967 f23 1"/>
                    <a:gd name="f30" fmla="*/ 120015 f22 1"/>
                    <a:gd name="f31" fmla="*/ 0 f23 1"/>
                    <a:gd name="f32" fmla="*/ 147638 f22 1"/>
                    <a:gd name="f33" fmla="*/ 26670 f23 1"/>
                    <a:gd name="f34" fmla="*/ 175260 f22 1"/>
                    <a:gd name="f35" fmla="*/ 147638 f23 1"/>
                    <a:gd name="f36" fmla="*/ 174307 f23 1"/>
                    <a:gd name="f37" fmla="*/ 26670 f22 1"/>
                    <a:gd name="f38" fmla="*/ 0 f22 1"/>
                    <a:gd name="f39" fmla="*/ f24 1 f2"/>
                    <a:gd name="f40" fmla="*/ f27 1 174307"/>
                    <a:gd name="f41" fmla="*/ f28 1 175259"/>
                    <a:gd name="f42" fmla="*/ f29 1 174307"/>
                    <a:gd name="f43" fmla="*/ f30 1 175259"/>
                    <a:gd name="f44" fmla="*/ f31 1 174307"/>
                    <a:gd name="f45" fmla="*/ f32 1 175259"/>
                    <a:gd name="f46" fmla="*/ f33 1 174307"/>
                    <a:gd name="f47" fmla="*/ f34 1 175259"/>
                    <a:gd name="f48" fmla="*/ f35 1 174307"/>
                    <a:gd name="f49" fmla="*/ f36 1 174307"/>
                    <a:gd name="f50" fmla="*/ f37 1 175259"/>
                    <a:gd name="f51" fmla="*/ f38 1 175259"/>
                    <a:gd name="f52" fmla="*/ f5 1 f25"/>
                    <a:gd name="f53" fmla="*/ f6 1 f25"/>
                    <a:gd name="f54" fmla="*/ f5 1 f26"/>
                    <a:gd name="f55" fmla="*/ f7 1 f26"/>
                    <a:gd name="f56" fmla="+- f39 0 f1"/>
                    <a:gd name="f57" fmla="*/ f40 1 f25"/>
                    <a:gd name="f58" fmla="*/ f41 1 f26"/>
                    <a:gd name="f59" fmla="*/ f42 1 f25"/>
                    <a:gd name="f60" fmla="*/ f43 1 f26"/>
                    <a:gd name="f61" fmla="*/ f44 1 f25"/>
                    <a:gd name="f62" fmla="*/ f45 1 f26"/>
                    <a:gd name="f63" fmla="*/ f46 1 f25"/>
                    <a:gd name="f64" fmla="*/ f47 1 f26"/>
                    <a:gd name="f65" fmla="*/ f48 1 f25"/>
                    <a:gd name="f66" fmla="*/ f49 1 f25"/>
                    <a:gd name="f67" fmla="*/ f50 1 f26"/>
                    <a:gd name="f68" fmla="*/ f51 1 f26"/>
                    <a:gd name="f69" fmla="*/ f52 f20 1"/>
                    <a:gd name="f70" fmla="*/ f53 f20 1"/>
                    <a:gd name="f71" fmla="*/ f55 f21 1"/>
                    <a:gd name="f72" fmla="*/ f54 f21 1"/>
                    <a:gd name="f73" fmla="*/ f57 f20 1"/>
                    <a:gd name="f74" fmla="*/ f58 f21 1"/>
                    <a:gd name="f75" fmla="*/ f59 f20 1"/>
                    <a:gd name="f76" fmla="*/ f60 f21 1"/>
                    <a:gd name="f77" fmla="*/ f61 f20 1"/>
                    <a:gd name="f78" fmla="*/ f62 f21 1"/>
                    <a:gd name="f79" fmla="*/ f63 f20 1"/>
                    <a:gd name="f80" fmla="*/ f64 f21 1"/>
                    <a:gd name="f81" fmla="*/ f65 f20 1"/>
                    <a:gd name="f82" fmla="*/ f66 f20 1"/>
                    <a:gd name="f83" fmla="*/ f67 f21 1"/>
                    <a:gd name="f84" fmla="*/ f68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3" y="f74"/>
                    </a:cxn>
                    <a:cxn ang="f56">
                      <a:pos x="f75" y="f74"/>
                    </a:cxn>
                    <a:cxn ang="f56">
                      <a:pos x="f75" y="f76"/>
                    </a:cxn>
                    <a:cxn ang="f56">
                      <a:pos x="f73" y="f76"/>
                    </a:cxn>
                    <a:cxn ang="f56">
                      <a:pos x="f73" y="f74"/>
                    </a:cxn>
                    <a:cxn ang="f56">
                      <a:pos x="f77" y="f78"/>
                    </a:cxn>
                    <a:cxn ang="f56">
                      <a:pos x="f79" y="f80"/>
                    </a:cxn>
                    <a:cxn ang="f56">
                      <a:pos x="f79" y="f80"/>
                    </a:cxn>
                    <a:cxn ang="f56">
                      <a:pos x="f81" y="f80"/>
                    </a:cxn>
                    <a:cxn ang="f56">
                      <a:pos x="f82" y="f78"/>
                    </a:cxn>
                    <a:cxn ang="f56">
                      <a:pos x="f82" y="f83"/>
                    </a:cxn>
                    <a:cxn ang="f56">
                      <a:pos x="f81" y="f84"/>
                    </a:cxn>
                    <a:cxn ang="f56">
                      <a:pos x="f79" y="f84"/>
                    </a:cxn>
                    <a:cxn ang="f56">
                      <a:pos x="f77" y="f83"/>
                    </a:cxn>
                    <a:cxn ang="f56">
                      <a:pos x="f77" y="f78"/>
                    </a:cxn>
                  </a:cxnLst>
                  <a:rect l="f69" t="f72" r="f70" b="f71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5" y="f16"/>
                      </a:lnTo>
                      <a:lnTo>
                        <a:pt x="f12" y="f16"/>
                      </a:lnTo>
                      <a:cubicBezTo>
                        <a:pt x="f13" y="f16"/>
                        <a:pt x="f6" y="f13"/>
                        <a:pt x="f6" y="f12"/>
                      </a:cubicBezTo>
                      <a:lnTo>
                        <a:pt x="f6" y="f15"/>
                      </a:lnTo>
                      <a:cubicBezTo>
                        <a:pt x="f6" y="f17"/>
                        <a:pt x="f18" y="f5"/>
                        <a:pt x="f12" y="f5"/>
                      </a:cubicBezTo>
                      <a:lnTo>
                        <a:pt x="f15" y="f5"/>
                      </a:lnTo>
                      <a:cubicBezTo>
                        <a:pt x="f17" y="f5"/>
                        <a:pt x="f5" y="f14"/>
                        <a:pt x="f5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51" name="Rectangle: Rounded Corners 138">
                  <a:extLst>
                    <a:ext uri="{FF2B5EF4-FFF2-40B4-BE49-F238E27FC236}">
                      <a16:creationId xmlns:a16="http://schemas.microsoft.com/office/drawing/2014/main" id="{BEB53BBF-D07C-C0D3-AA05-D8EB4E6587A9}"/>
                    </a:ext>
                  </a:extLst>
                </p:cNvPr>
                <p:cNvSpPr/>
                <p:nvPr/>
              </p:nvSpPr>
              <p:spPr>
                <a:xfrm rot="16200004">
                  <a:off x="10030040" y="5979970"/>
                  <a:ext cx="10698" cy="50319"/>
                </a:xfrm>
                <a:custGeom>
                  <a:avLst/>
                  <a:gdLst>
                    <a:gd name="f0" fmla="val 10800000"/>
                    <a:gd name="f1" fmla="val 5400000"/>
                    <a:gd name="f2" fmla="val 16200000"/>
                    <a:gd name="f3" fmla="val w"/>
                    <a:gd name="f4" fmla="val h"/>
                    <a:gd name="f5" fmla="val ss"/>
                    <a:gd name="f6" fmla="val 0"/>
                    <a:gd name="f7" fmla="*/ 5419351 1 1725033"/>
                    <a:gd name="f8" fmla="val 45"/>
                    <a:gd name="f9" fmla="val 9502"/>
                    <a:gd name="f10" fmla="abs f3"/>
                    <a:gd name="f11" fmla="abs f4"/>
                    <a:gd name="f12" fmla="abs f5"/>
                    <a:gd name="f13" fmla="*/ f7 1 180"/>
                    <a:gd name="f14" fmla="+- 0 0 f1"/>
                    <a:gd name="f15" fmla="+- f6 f9 0"/>
                    <a:gd name="f16" fmla="?: f10 f3 1"/>
                    <a:gd name="f17" fmla="?: f11 f4 1"/>
                    <a:gd name="f18" fmla="?: f12 f5 1"/>
                    <a:gd name="f19" fmla="*/ f8 f13 1"/>
                    <a:gd name="f20" fmla="+- f6 0 f15"/>
                    <a:gd name="f21" fmla="+- f15 0 f6"/>
                    <a:gd name="f22" fmla="*/ f16 1 21600"/>
                    <a:gd name="f23" fmla="*/ f17 1 21600"/>
                    <a:gd name="f24" fmla="*/ 21600 f16 1"/>
                    <a:gd name="f25" fmla="*/ 21600 f17 1"/>
                    <a:gd name="f26" fmla="+- 0 0 f19"/>
                    <a:gd name="f27" fmla="abs f20"/>
                    <a:gd name="f28" fmla="abs f21"/>
                    <a:gd name="f29" fmla="?: f20 f14 f1"/>
                    <a:gd name="f30" fmla="?: f20 f1 f14"/>
                    <a:gd name="f31" fmla="?: f20 f2 f1"/>
                    <a:gd name="f32" fmla="?: f20 f1 f2"/>
                    <a:gd name="f33" fmla="?: f21 f14 f1"/>
                    <a:gd name="f34" fmla="?: f21 f1 f14"/>
                    <a:gd name="f35" fmla="?: f20 0 f0"/>
                    <a:gd name="f36" fmla="?: f20 f0 0"/>
                    <a:gd name="f37" fmla="min f23 f22"/>
                    <a:gd name="f38" fmla="*/ f24 1 f18"/>
                    <a:gd name="f39" fmla="*/ f25 1 f18"/>
                    <a:gd name="f40" fmla="*/ f26 f0 1"/>
                    <a:gd name="f41" fmla="?: f20 f32 f31"/>
                    <a:gd name="f42" fmla="?: f20 f31 f32"/>
                    <a:gd name="f43" fmla="?: f21 f30 f29"/>
                    <a:gd name="f44" fmla="val f38"/>
                    <a:gd name="f45" fmla="val f39"/>
                    <a:gd name="f46" fmla="*/ f40 1 f7"/>
                    <a:gd name="f47" fmla="?: f21 f42 f41"/>
                    <a:gd name="f48" fmla="*/ f15 f37 1"/>
                    <a:gd name="f49" fmla="*/ f6 f37 1"/>
                    <a:gd name="f50" fmla="*/ f27 f37 1"/>
                    <a:gd name="f51" fmla="*/ f28 f37 1"/>
                    <a:gd name="f52" fmla="+- f45 0 f9"/>
                    <a:gd name="f53" fmla="+- f44 0 f9"/>
                    <a:gd name="f54" fmla="+- f46 0 f1"/>
                    <a:gd name="f55" fmla="*/ f45 f37 1"/>
                    <a:gd name="f56" fmla="*/ f44 f37 1"/>
                    <a:gd name="f57" fmla="+- f45 0 f52"/>
                    <a:gd name="f58" fmla="+- f44 0 f53"/>
                    <a:gd name="f59" fmla="+- f52 0 f45"/>
                    <a:gd name="f60" fmla="+- f53 0 f44"/>
                    <a:gd name="f61" fmla="+- f54 f1 0"/>
                    <a:gd name="f62" fmla="*/ f52 f37 1"/>
                    <a:gd name="f63" fmla="*/ f53 f37 1"/>
                    <a:gd name="f64" fmla="abs f57"/>
                    <a:gd name="f65" fmla="?: f57 0 f0"/>
                    <a:gd name="f66" fmla="?: f57 f0 0"/>
                    <a:gd name="f67" fmla="?: f57 f33 f34"/>
                    <a:gd name="f68" fmla="abs f58"/>
                    <a:gd name="f69" fmla="abs f59"/>
                    <a:gd name="f70" fmla="?: f58 f14 f1"/>
                    <a:gd name="f71" fmla="?: f58 f1 f14"/>
                    <a:gd name="f72" fmla="?: f58 f2 f1"/>
                    <a:gd name="f73" fmla="?: f58 f1 f2"/>
                    <a:gd name="f74" fmla="abs f60"/>
                    <a:gd name="f75" fmla="?: f60 f14 f1"/>
                    <a:gd name="f76" fmla="?: f60 f1 f14"/>
                    <a:gd name="f77" fmla="?: f60 f36 f35"/>
                    <a:gd name="f78" fmla="?: f60 f35 f36"/>
                    <a:gd name="f79" fmla="*/ f61 f7 1"/>
                    <a:gd name="f80" fmla="?: f21 f66 f65"/>
                    <a:gd name="f81" fmla="?: f21 f65 f66"/>
                    <a:gd name="f82" fmla="?: f58 f73 f72"/>
                    <a:gd name="f83" fmla="?: f58 f72 f73"/>
                    <a:gd name="f84" fmla="?: f59 f71 f70"/>
                    <a:gd name="f85" fmla="?: f20 f77 f78"/>
                    <a:gd name="f86" fmla="?: f20 f75 f76"/>
                    <a:gd name="f87" fmla="*/ f79 1 f0"/>
                    <a:gd name="f88" fmla="*/ f64 f37 1"/>
                    <a:gd name="f89" fmla="*/ f68 f37 1"/>
                    <a:gd name="f90" fmla="*/ f69 f37 1"/>
                    <a:gd name="f91" fmla="*/ f74 f37 1"/>
                    <a:gd name="f92" fmla="?: f57 f80 f81"/>
                    <a:gd name="f93" fmla="?: f59 f83 f82"/>
                    <a:gd name="f94" fmla="+- 0 0 f87"/>
                    <a:gd name="f95" fmla="+- 0 0 f94"/>
                    <a:gd name="f96" fmla="*/ f95 f0 1"/>
                    <a:gd name="f97" fmla="*/ f96 1 f7"/>
                    <a:gd name="f98" fmla="+- f97 0 f1"/>
                    <a:gd name="f99" fmla="cos 1 f98"/>
                    <a:gd name="f100" fmla="+- 0 0 f99"/>
                    <a:gd name="f101" fmla="+- 0 0 f100"/>
                    <a:gd name="f102" fmla="val f101"/>
                    <a:gd name="f103" fmla="+- 0 0 f102"/>
                    <a:gd name="f104" fmla="*/ f9 f103 1"/>
                    <a:gd name="f105" fmla="*/ f104 3163 1"/>
                    <a:gd name="f106" fmla="*/ f105 1 7636"/>
                    <a:gd name="f107" fmla="+- f6 f106 0"/>
                    <a:gd name="f108" fmla="+- f44 0 f106"/>
                    <a:gd name="f109" fmla="+- f45 0 f106"/>
                    <a:gd name="f110" fmla="*/ f107 f37 1"/>
                    <a:gd name="f111" fmla="*/ f108 f37 1"/>
                    <a:gd name="f112" fmla="*/ f109 f37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</a:cxnLst>
                  <a:rect l="f110" t="f110" r="f111" b="f112"/>
                  <a:pathLst>
                    <a:path>
                      <a:moveTo>
                        <a:pt x="f48" y="f49"/>
                      </a:moveTo>
                      <a:arcTo wR="f50" hR="f51" stAng="f47" swAng="f43"/>
                      <a:lnTo>
                        <a:pt x="f49" y="f62"/>
                      </a:lnTo>
                      <a:arcTo wR="f51" hR="f88" stAng="f92" swAng="f67"/>
                      <a:lnTo>
                        <a:pt x="f63" y="f55"/>
                      </a:lnTo>
                      <a:arcTo wR="f89" hR="f90" stAng="f93" swAng="f84"/>
                      <a:lnTo>
                        <a:pt x="f56" y="f48"/>
                      </a:lnTo>
                      <a:arcTo wR="f91" hR="f50" stAng="f85" swAng="f86"/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52" name="Graphic 51">
                  <a:extLst>
                    <a:ext uri="{FF2B5EF4-FFF2-40B4-BE49-F238E27FC236}">
                      <a16:creationId xmlns:a16="http://schemas.microsoft.com/office/drawing/2014/main" id="{293FB1BD-A9BD-EB8C-2856-43D329C57E2C}"/>
                    </a:ext>
                  </a:extLst>
                </p:cNvPr>
                <p:cNvSpPr/>
                <p:nvPr/>
              </p:nvSpPr>
              <p:spPr>
                <a:xfrm>
                  <a:off x="9977082" y="5948903"/>
                  <a:ext cx="112635" cy="57314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572384"/>
                    <a:gd name="f7" fmla="val 291243"/>
                    <a:gd name="f8" fmla="val 565087"/>
                    <a:gd name="f9" fmla="val 282416"/>
                    <a:gd name="f10" fmla="val 575564"/>
                    <a:gd name="f11" fmla="val 270986"/>
                    <a:gd name="f12" fmla="val 574612"/>
                    <a:gd name="f13" fmla="val 253841"/>
                    <a:gd name="f14" fmla="val 563182"/>
                    <a:gd name="f15" fmla="val 244316"/>
                    <a:gd name="f16" fmla="val 303149"/>
                    <a:gd name="f17" fmla="val 7144"/>
                    <a:gd name="f18" fmla="val 292672"/>
                    <a:gd name="f19" fmla="+- 0 0 2381"/>
                    <a:gd name="f20" fmla="val 276479"/>
                    <a:gd name="f21" fmla="val 266954"/>
                    <a:gd name="f22" fmla="val 8827"/>
                    <a:gd name="f23" fmla="+- 0 0 2603"/>
                    <a:gd name="f24" fmla="val 254794"/>
                    <a:gd name="f25" fmla="val 271939"/>
                    <a:gd name="f26" fmla="val 6922"/>
                    <a:gd name="f27" fmla="val 17399"/>
                    <a:gd name="f28" fmla="val 293846"/>
                    <a:gd name="f29" fmla="val 34544"/>
                    <a:gd name="f30" fmla="val 45022"/>
                    <a:gd name="f31" fmla="val 284321"/>
                    <a:gd name="f32" fmla="val 284099"/>
                    <a:gd name="f33" fmla="val 64294"/>
                    <a:gd name="f34" fmla="val 526034"/>
                    <a:gd name="f35" fmla="val 537464"/>
                    <a:gd name="f36" fmla="val 554609"/>
                    <a:gd name="f37" fmla="val 292894"/>
                    <a:gd name="f38" fmla="+- 0 0 -90"/>
                    <a:gd name="f39" fmla="*/ f3 1 572384"/>
                    <a:gd name="f40" fmla="*/ f4 1 291243"/>
                    <a:gd name="f41" fmla="+- f7 0 f5"/>
                    <a:gd name="f42" fmla="+- f6 0 f5"/>
                    <a:gd name="f43" fmla="*/ f38 f0 1"/>
                    <a:gd name="f44" fmla="*/ f42 1 572384"/>
                    <a:gd name="f45" fmla="*/ f41 1 291243"/>
                    <a:gd name="f46" fmla="*/ 565087 f42 1"/>
                    <a:gd name="f47" fmla="*/ 282416 f41 1"/>
                    <a:gd name="f48" fmla="*/ 563182 f42 1"/>
                    <a:gd name="f49" fmla="*/ 244316 f41 1"/>
                    <a:gd name="f50" fmla="*/ 303149 f42 1"/>
                    <a:gd name="f51" fmla="*/ 7144 f41 1"/>
                    <a:gd name="f52" fmla="*/ 266954 f42 1"/>
                    <a:gd name="f53" fmla="*/ 8827 f42 1"/>
                    <a:gd name="f54" fmla="*/ 6922 f42 1"/>
                    <a:gd name="f55" fmla="*/ 45022 f42 1"/>
                    <a:gd name="f56" fmla="*/ 284321 f41 1"/>
                    <a:gd name="f57" fmla="*/ 284099 f42 1"/>
                    <a:gd name="f58" fmla="*/ 64294 f41 1"/>
                    <a:gd name="f59" fmla="*/ 526034 f42 1"/>
                    <a:gd name="f60" fmla="*/ f43 1 f2"/>
                    <a:gd name="f61" fmla="*/ f46 1 572384"/>
                    <a:gd name="f62" fmla="*/ f47 1 291243"/>
                    <a:gd name="f63" fmla="*/ f48 1 572384"/>
                    <a:gd name="f64" fmla="*/ f49 1 291243"/>
                    <a:gd name="f65" fmla="*/ f50 1 572384"/>
                    <a:gd name="f66" fmla="*/ f51 1 291243"/>
                    <a:gd name="f67" fmla="*/ f52 1 572384"/>
                    <a:gd name="f68" fmla="*/ f53 1 572384"/>
                    <a:gd name="f69" fmla="*/ f54 1 572384"/>
                    <a:gd name="f70" fmla="*/ f55 1 572384"/>
                    <a:gd name="f71" fmla="*/ f56 1 291243"/>
                    <a:gd name="f72" fmla="*/ f57 1 572384"/>
                    <a:gd name="f73" fmla="*/ f58 1 291243"/>
                    <a:gd name="f74" fmla="*/ f59 1 572384"/>
                    <a:gd name="f75" fmla="*/ f5 1 f44"/>
                    <a:gd name="f76" fmla="*/ f6 1 f44"/>
                    <a:gd name="f77" fmla="*/ f5 1 f45"/>
                    <a:gd name="f78" fmla="*/ f7 1 f45"/>
                    <a:gd name="f79" fmla="+- f60 0 f1"/>
                    <a:gd name="f80" fmla="*/ f61 1 f44"/>
                    <a:gd name="f81" fmla="*/ f62 1 f45"/>
                    <a:gd name="f82" fmla="*/ f63 1 f44"/>
                    <a:gd name="f83" fmla="*/ f64 1 f45"/>
                    <a:gd name="f84" fmla="*/ f65 1 f44"/>
                    <a:gd name="f85" fmla="*/ f66 1 f45"/>
                    <a:gd name="f86" fmla="*/ f67 1 f44"/>
                    <a:gd name="f87" fmla="*/ f68 1 f44"/>
                    <a:gd name="f88" fmla="*/ f69 1 f44"/>
                    <a:gd name="f89" fmla="*/ f70 1 f44"/>
                    <a:gd name="f90" fmla="*/ f71 1 f45"/>
                    <a:gd name="f91" fmla="*/ f72 1 f44"/>
                    <a:gd name="f92" fmla="*/ f73 1 f45"/>
                    <a:gd name="f93" fmla="*/ f74 1 f44"/>
                    <a:gd name="f94" fmla="*/ f75 f39 1"/>
                    <a:gd name="f95" fmla="*/ f76 f39 1"/>
                    <a:gd name="f96" fmla="*/ f78 f40 1"/>
                    <a:gd name="f97" fmla="*/ f77 f40 1"/>
                    <a:gd name="f98" fmla="*/ f80 f39 1"/>
                    <a:gd name="f99" fmla="*/ f81 f40 1"/>
                    <a:gd name="f100" fmla="*/ f82 f39 1"/>
                    <a:gd name="f101" fmla="*/ f83 f40 1"/>
                    <a:gd name="f102" fmla="*/ f84 f39 1"/>
                    <a:gd name="f103" fmla="*/ f85 f40 1"/>
                    <a:gd name="f104" fmla="*/ f86 f39 1"/>
                    <a:gd name="f105" fmla="*/ f87 f39 1"/>
                    <a:gd name="f106" fmla="*/ f88 f39 1"/>
                    <a:gd name="f107" fmla="*/ f89 f39 1"/>
                    <a:gd name="f108" fmla="*/ f90 f40 1"/>
                    <a:gd name="f109" fmla="*/ f91 f39 1"/>
                    <a:gd name="f110" fmla="*/ f92 f40 1"/>
                    <a:gd name="f111" fmla="*/ f93 f39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79">
                      <a:pos x="f98" y="f99"/>
                    </a:cxn>
                    <a:cxn ang="f79">
                      <a:pos x="f100" y="f101"/>
                    </a:cxn>
                    <a:cxn ang="f79">
                      <a:pos x="f102" y="f103"/>
                    </a:cxn>
                    <a:cxn ang="f79">
                      <a:pos x="f104" y="f103"/>
                    </a:cxn>
                    <a:cxn ang="f79">
                      <a:pos x="f105" y="f101"/>
                    </a:cxn>
                    <a:cxn ang="f79">
                      <a:pos x="f106" y="f99"/>
                    </a:cxn>
                    <a:cxn ang="f79">
                      <a:pos x="f107" y="f108"/>
                    </a:cxn>
                    <a:cxn ang="f79">
                      <a:pos x="f109" y="f110"/>
                    </a:cxn>
                    <a:cxn ang="f79">
                      <a:pos x="f111" y="f108"/>
                    </a:cxn>
                    <a:cxn ang="f79">
                      <a:pos x="f98" y="f99"/>
                    </a:cxn>
                    <a:cxn ang="f79">
                      <a:pos x="f98" y="f99"/>
                    </a:cxn>
                    <a:cxn ang="f79">
                      <a:pos x="f98" y="f99"/>
                    </a:cxn>
                  </a:cxnLst>
                  <a:rect l="f94" t="f97" r="f95" b="f96"/>
                  <a:pathLst>
                    <a:path w="572384" h="291243">
                      <a:moveTo>
                        <a:pt x="f8" y="f9"/>
                      </a:moveTo>
                      <a:cubicBezTo>
                        <a:pt x="f10" y="f11"/>
                        <a:pt x="f12" y="f13"/>
                        <a:pt x="f14" y="f15"/>
                      </a:cubicBezTo>
                      <a:lnTo>
                        <a:pt x="f16" y="f17"/>
                      </a:lnTo>
                      <a:cubicBezTo>
                        <a:pt x="f18" y="f19"/>
                        <a:pt x="f20" y="f19"/>
                        <a:pt x="f21" y="f17"/>
                      </a:cubicBezTo>
                      <a:lnTo>
                        <a:pt x="f22" y="f15"/>
                      </a:lnTo>
                      <a:cubicBezTo>
                        <a:pt x="f23" y="f24"/>
                        <a:pt x="f23" y="f25"/>
                        <a:pt x="f26" y="f9"/>
                      </a:cubicBezTo>
                      <a:cubicBezTo>
                        <a:pt x="f27" y="f28"/>
                        <a:pt x="f29" y="f28"/>
                        <a:pt x="f30" y="f31"/>
                      </a:cubicBezTo>
                      <a:lnTo>
                        <a:pt x="f32" y="f33"/>
                      </a:lnTo>
                      <a:lnTo>
                        <a:pt x="f34" y="f31"/>
                      </a:lnTo>
                      <a:cubicBezTo>
                        <a:pt x="f35" y="f28"/>
                        <a:pt x="f36" y="f37"/>
                        <a:pt x="f8" y="f9"/>
                      </a:cubicBezTo>
                      <a:lnTo>
                        <a:pt x="f8" y="f9"/>
                      </a:lnTo>
                      <a:lnTo>
                        <a:pt x="f8" y="f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53" name="Graphic 51">
                  <a:extLst>
                    <a:ext uri="{FF2B5EF4-FFF2-40B4-BE49-F238E27FC236}">
                      <a16:creationId xmlns:a16="http://schemas.microsoft.com/office/drawing/2014/main" id="{0618D4C5-B81F-464F-66D4-16BEDD3F8CF3}"/>
                    </a:ext>
                  </a:extLst>
                </p:cNvPr>
                <p:cNvSpPr/>
                <p:nvPr/>
              </p:nvSpPr>
              <p:spPr>
                <a:xfrm rot="1586348">
                  <a:off x="10095003" y="5980004"/>
                  <a:ext cx="34299" cy="34491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2"/>
                    <a:gd name="f9" fmla="val 53340"/>
                    <a:gd name="f10" fmla="val 120967"/>
                    <a:gd name="f11" fmla="val 120015"/>
                    <a:gd name="f12" fmla="val 147638"/>
                    <a:gd name="f13" fmla="val 162877"/>
                    <a:gd name="f14" fmla="val 12382"/>
                    <a:gd name="f15" fmla="val 26670"/>
                    <a:gd name="f16" fmla="val 175260"/>
                    <a:gd name="f17" fmla="val 11430"/>
                    <a:gd name="f18" fmla="val 161925"/>
                    <a:gd name="f19" fmla="+- 0 0 -90"/>
                    <a:gd name="f20" fmla="*/ f3 1 174307"/>
                    <a:gd name="f21" fmla="*/ f4 1 175259"/>
                    <a:gd name="f22" fmla="+- f7 0 f5"/>
                    <a:gd name="f23" fmla="+- f6 0 f5"/>
                    <a:gd name="f24" fmla="*/ f19 f0 1"/>
                    <a:gd name="f25" fmla="*/ f23 1 174307"/>
                    <a:gd name="f26" fmla="*/ f22 1 175259"/>
                    <a:gd name="f27" fmla="*/ 54292 f23 1"/>
                    <a:gd name="f28" fmla="*/ 53340 f22 1"/>
                    <a:gd name="f29" fmla="*/ 120967 f23 1"/>
                    <a:gd name="f30" fmla="*/ 120015 f22 1"/>
                    <a:gd name="f31" fmla="*/ 0 f23 1"/>
                    <a:gd name="f32" fmla="*/ 147638 f22 1"/>
                    <a:gd name="f33" fmla="*/ 26670 f23 1"/>
                    <a:gd name="f34" fmla="*/ 175260 f22 1"/>
                    <a:gd name="f35" fmla="*/ 147638 f23 1"/>
                    <a:gd name="f36" fmla="*/ 174307 f23 1"/>
                    <a:gd name="f37" fmla="*/ 26670 f22 1"/>
                    <a:gd name="f38" fmla="*/ 0 f22 1"/>
                    <a:gd name="f39" fmla="*/ f24 1 f2"/>
                    <a:gd name="f40" fmla="*/ f27 1 174307"/>
                    <a:gd name="f41" fmla="*/ f28 1 175259"/>
                    <a:gd name="f42" fmla="*/ f29 1 174307"/>
                    <a:gd name="f43" fmla="*/ f30 1 175259"/>
                    <a:gd name="f44" fmla="*/ f31 1 174307"/>
                    <a:gd name="f45" fmla="*/ f32 1 175259"/>
                    <a:gd name="f46" fmla="*/ f33 1 174307"/>
                    <a:gd name="f47" fmla="*/ f34 1 175259"/>
                    <a:gd name="f48" fmla="*/ f35 1 174307"/>
                    <a:gd name="f49" fmla="*/ f36 1 174307"/>
                    <a:gd name="f50" fmla="*/ f37 1 175259"/>
                    <a:gd name="f51" fmla="*/ f38 1 175259"/>
                    <a:gd name="f52" fmla="*/ f5 1 f25"/>
                    <a:gd name="f53" fmla="*/ f6 1 f25"/>
                    <a:gd name="f54" fmla="*/ f5 1 f26"/>
                    <a:gd name="f55" fmla="*/ f7 1 f26"/>
                    <a:gd name="f56" fmla="+- f39 0 f1"/>
                    <a:gd name="f57" fmla="*/ f40 1 f25"/>
                    <a:gd name="f58" fmla="*/ f41 1 f26"/>
                    <a:gd name="f59" fmla="*/ f42 1 f25"/>
                    <a:gd name="f60" fmla="*/ f43 1 f26"/>
                    <a:gd name="f61" fmla="*/ f44 1 f25"/>
                    <a:gd name="f62" fmla="*/ f45 1 f26"/>
                    <a:gd name="f63" fmla="*/ f46 1 f25"/>
                    <a:gd name="f64" fmla="*/ f47 1 f26"/>
                    <a:gd name="f65" fmla="*/ f48 1 f25"/>
                    <a:gd name="f66" fmla="*/ f49 1 f25"/>
                    <a:gd name="f67" fmla="*/ f50 1 f26"/>
                    <a:gd name="f68" fmla="*/ f51 1 f26"/>
                    <a:gd name="f69" fmla="*/ f52 f20 1"/>
                    <a:gd name="f70" fmla="*/ f53 f20 1"/>
                    <a:gd name="f71" fmla="*/ f55 f21 1"/>
                    <a:gd name="f72" fmla="*/ f54 f21 1"/>
                    <a:gd name="f73" fmla="*/ f57 f20 1"/>
                    <a:gd name="f74" fmla="*/ f58 f21 1"/>
                    <a:gd name="f75" fmla="*/ f59 f20 1"/>
                    <a:gd name="f76" fmla="*/ f60 f21 1"/>
                    <a:gd name="f77" fmla="*/ f61 f20 1"/>
                    <a:gd name="f78" fmla="*/ f62 f21 1"/>
                    <a:gd name="f79" fmla="*/ f63 f20 1"/>
                    <a:gd name="f80" fmla="*/ f64 f21 1"/>
                    <a:gd name="f81" fmla="*/ f65 f20 1"/>
                    <a:gd name="f82" fmla="*/ f66 f20 1"/>
                    <a:gd name="f83" fmla="*/ f67 f21 1"/>
                    <a:gd name="f84" fmla="*/ f68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3" y="f74"/>
                    </a:cxn>
                    <a:cxn ang="f56">
                      <a:pos x="f75" y="f74"/>
                    </a:cxn>
                    <a:cxn ang="f56">
                      <a:pos x="f75" y="f76"/>
                    </a:cxn>
                    <a:cxn ang="f56">
                      <a:pos x="f73" y="f76"/>
                    </a:cxn>
                    <a:cxn ang="f56">
                      <a:pos x="f73" y="f74"/>
                    </a:cxn>
                    <a:cxn ang="f56">
                      <a:pos x="f77" y="f78"/>
                    </a:cxn>
                    <a:cxn ang="f56">
                      <a:pos x="f79" y="f80"/>
                    </a:cxn>
                    <a:cxn ang="f56">
                      <a:pos x="f79" y="f80"/>
                    </a:cxn>
                    <a:cxn ang="f56">
                      <a:pos x="f81" y="f80"/>
                    </a:cxn>
                    <a:cxn ang="f56">
                      <a:pos x="f82" y="f78"/>
                    </a:cxn>
                    <a:cxn ang="f56">
                      <a:pos x="f82" y="f83"/>
                    </a:cxn>
                    <a:cxn ang="f56">
                      <a:pos x="f81" y="f84"/>
                    </a:cxn>
                    <a:cxn ang="f56">
                      <a:pos x="f79" y="f84"/>
                    </a:cxn>
                    <a:cxn ang="f56">
                      <a:pos x="f77" y="f83"/>
                    </a:cxn>
                    <a:cxn ang="f56">
                      <a:pos x="f77" y="f78"/>
                    </a:cxn>
                  </a:cxnLst>
                  <a:rect l="f69" t="f72" r="f70" b="f71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5" y="f16"/>
                      </a:lnTo>
                      <a:lnTo>
                        <a:pt x="f12" y="f16"/>
                      </a:lnTo>
                      <a:cubicBezTo>
                        <a:pt x="f13" y="f16"/>
                        <a:pt x="f6" y="f13"/>
                        <a:pt x="f6" y="f12"/>
                      </a:cubicBezTo>
                      <a:lnTo>
                        <a:pt x="f6" y="f15"/>
                      </a:lnTo>
                      <a:cubicBezTo>
                        <a:pt x="f6" y="f17"/>
                        <a:pt x="f18" y="f5"/>
                        <a:pt x="f12" y="f5"/>
                      </a:cubicBezTo>
                      <a:lnTo>
                        <a:pt x="f15" y="f5"/>
                      </a:lnTo>
                      <a:cubicBezTo>
                        <a:pt x="f17" y="f5"/>
                        <a:pt x="f5" y="f14"/>
                        <a:pt x="f5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</p:grpSp>
        </p:grpSp>
        <p:grpSp>
          <p:nvGrpSpPr>
            <p:cNvPr id="54" name="Group 14">
              <a:extLst>
                <a:ext uri="{FF2B5EF4-FFF2-40B4-BE49-F238E27FC236}">
                  <a16:creationId xmlns:a16="http://schemas.microsoft.com/office/drawing/2014/main" id="{7BDD906B-A61E-2EB9-69CC-D14B8A09A5D6}"/>
                </a:ext>
              </a:extLst>
            </p:cNvPr>
            <p:cNvGrpSpPr/>
            <p:nvPr/>
          </p:nvGrpSpPr>
          <p:grpSpPr>
            <a:xfrm>
              <a:off x="3920316" y="5285771"/>
              <a:ext cx="908703" cy="787801"/>
              <a:chOff x="3920316" y="5285771"/>
              <a:chExt cx="908703" cy="787801"/>
            </a:xfrm>
          </p:grpSpPr>
          <p:sp>
            <p:nvSpPr>
              <p:cNvPr id="55" name="Graphic 51">
                <a:extLst>
                  <a:ext uri="{FF2B5EF4-FFF2-40B4-BE49-F238E27FC236}">
                    <a16:creationId xmlns:a16="http://schemas.microsoft.com/office/drawing/2014/main" id="{440C561C-AC0F-D4A7-6EC6-5219593059B6}"/>
                  </a:ext>
                </a:extLst>
              </p:cNvPr>
              <p:cNvSpPr/>
              <p:nvPr/>
            </p:nvSpPr>
            <p:spPr>
              <a:xfrm>
                <a:off x="3920316" y="5822423"/>
                <a:ext cx="259488" cy="13203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72384"/>
                  <a:gd name="f7" fmla="val 291243"/>
                  <a:gd name="f8" fmla="val 565087"/>
                  <a:gd name="f9" fmla="val 282416"/>
                  <a:gd name="f10" fmla="val 575564"/>
                  <a:gd name="f11" fmla="val 270986"/>
                  <a:gd name="f12" fmla="val 574612"/>
                  <a:gd name="f13" fmla="val 253841"/>
                  <a:gd name="f14" fmla="val 563182"/>
                  <a:gd name="f15" fmla="val 244316"/>
                  <a:gd name="f16" fmla="val 303149"/>
                  <a:gd name="f17" fmla="val 7144"/>
                  <a:gd name="f18" fmla="val 292672"/>
                  <a:gd name="f19" fmla="+- 0 0 2381"/>
                  <a:gd name="f20" fmla="val 276479"/>
                  <a:gd name="f21" fmla="val 266954"/>
                  <a:gd name="f22" fmla="val 8827"/>
                  <a:gd name="f23" fmla="+- 0 0 2603"/>
                  <a:gd name="f24" fmla="val 254794"/>
                  <a:gd name="f25" fmla="val 271939"/>
                  <a:gd name="f26" fmla="val 6922"/>
                  <a:gd name="f27" fmla="val 17399"/>
                  <a:gd name="f28" fmla="val 293846"/>
                  <a:gd name="f29" fmla="val 34544"/>
                  <a:gd name="f30" fmla="val 45022"/>
                  <a:gd name="f31" fmla="val 284321"/>
                  <a:gd name="f32" fmla="val 284099"/>
                  <a:gd name="f33" fmla="val 64294"/>
                  <a:gd name="f34" fmla="val 526034"/>
                  <a:gd name="f35" fmla="val 537464"/>
                  <a:gd name="f36" fmla="val 554609"/>
                  <a:gd name="f37" fmla="val 292894"/>
                  <a:gd name="f38" fmla="+- 0 0 -90"/>
                  <a:gd name="f39" fmla="*/ f3 1 572384"/>
                  <a:gd name="f40" fmla="*/ f4 1 291243"/>
                  <a:gd name="f41" fmla="+- f7 0 f5"/>
                  <a:gd name="f42" fmla="+- f6 0 f5"/>
                  <a:gd name="f43" fmla="*/ f38 f0 1"/>
                  <a:gd name="f44" fmla="*/ f42 1 572384"/>
                  <a:gd name="f45" fmla="*/ f41 1 291243"/>
                  <a:gd name="f46" fmla="*/ 565087 f42 1"/>
                  <a:gd name="f47" fmla="*/ 282416 f41 1"/>
                  <a:gd name="f48" fmla="*/ 563182 f42 1"/>
                  <a:gd name="f49" fmla="*/ 244316 f41 1"/>
                  <a:gd name="f50" fmla="*/ 303149 f42 1"/>
                  <a:gd name="f51" fmla="*/ 7144 f41 1"/>
                  <a:gd name="f52" fmla="*/ 266954 f42 1"/>
                  <a:gd name="f53" fmla="*/ 8827 f42 1"/>
                  <a:gd name="f54" fmla="*/ 6922 f42 1"/>
                  <a:gd name="f55" fmla="*/ 45022 f42 1"/>
                  <a:gd name="f56" fmla="*/ 284321 f41 1"/>
                  <a:gd name="f57" fmla="*/ 284099 f42 1"/>
                  <a:gd name="f58" fmla="*/ 64294 f41 1"/>
                  <a:gd name="f59" fmla="*/ 526034 f42 1"/>
                  <a:gd name="f60" fmla="*/ f43 1 f2"/>
                  <a:gd name="f61" fmla="*/ f46 1 572384"/>
                  <a:gd name="f62" fmla="*/ f47 1 291243"/>
                  <a:gd name="f63" fmla="*/ f48 1 572384"/>
                  <a:gd name="f64" fmla="*/ f49 1 291243"/>
                  <a:gd name="f65" fmla="*/ f50 1 572384"/>
                  <a:gd name="f66" fmla="*/ f51 1 291243"/>
                  <a:gd name="f67" fmla="*/ f52 1 572384"/>
                  <a:gd name="f68" fmla="*/ f53 1 572384"/>
                  <a:gd name="f69" fmla="*/ f54 1 572384"/>
                  <a:gd name="f70" fmla="*/ f55 1 572384"/>
                  <a:gd name="f71" fmla="*/ f56 1 291243"/>
                  <a:gd name="f72" fmla="*/ f57 1 572384"/>
                  <a:gd name="f73" fmla="*/ f58 1 291243"/>
                  <a:gd name="f74" fmla="*/ f59 1 572384"/>
                  <a:gd name="f75" fmla="*/ f5 1 f44"/>
                  <a:gd name="f76" fmla="*/ f6 1 f44"/>
                  <a:gd name="f77" fmla="*/ f5 1 f45"/>
                  <a:gd name="f78" fmla="*/ f7 1 f45"/>
                  <a:gd name="f79" fmla="+- f60 0 f1"/>
                  <a:gd name="f80" fmla="*/ f61 1 f44"/>
                  <a:gd name="f81" fmla="*/ f62 1 f45"/>
                  <a:gd name="f82" fmla="*/ f63 1 f44"/>
                  <a:gd name="f83" fmla="*/ f64 1 f45"/>
                  <a:gd name="f84" fmla="*/ f65 1 f44"/>
                  <a:gd name="f85" fmla="*/ f66 1 f45"/>
                  <a:gd name="f86" fmla="*/ f67 1 f44"/>
                  <a:gd name="f87" fmla="*/ f68 1 f44"/>
                  <a:gd name="f88" fmla="*/ f69 1 f44"/>
                  <a:gd name="f89" fmla="*/ f70 1 f44"/>
                  <a:gd name="f90" fmla="*/ f71 1 f45"/>
                  <a:gd name="f91" fmla="*/ f72 1 f44"/>
                  <a:gd name="f92" fmla="*/ f73 1 f45"/>
                  <a:gd name="f93" fmla="*/ f74 1 f44"/>
                  <a:gd name="f94" fmla="*/ f75 f39 1"/>
                  <a:gd name="f95" fmla="*/ f76 f39 1"/>
                  <a:gd name="f96" fmla="*/ f78 f40 1"/>
                  <a:gd name="f97" fmla="*/ f77 f40 1"/>
                  <a:gd name="f98" fmla="*/ f80 f39 1"/>
                  <a:gd name="f99" fmla="*/ f81 f40 1"/>
                  <a:gd name="f100" fmla="*/ f82 f39 1"/>
                  <a:gd name="f101" fmla="*/ f83 f40 1"/>
                  <a:gd name="f102" fmla="*/ f84 f39 1"/>
                  <a:gd name="f103" fmla="*/ f85 f40 1"/>
                  <a:gd name="f104" fmla="*/ f86 f39 1"/>
                  <a:gd name="f105" fmla="*/ f87 f39 1"/>
                  <a:gd name="f106" fmla="*/ f88 f39 1"/>
                  <a:gd name="f107" fmla="*/ f89 f39 1"/>
                  <a:gd name="f108" fmla="*/ f90 f40 1"/>
                  <a:gd name="f109" fmla="*/ f91 f39 1"/>
                  <a:gd name="f110" fmla="*/ f92 f40 1"/>
                  <a:gd name="f111" fmla="*/ f93 f3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9">
                    <a:pos x="f98" y="f99"/>
                  </a:cxn>
                  <a:cxn ang="f79">
                    <a:pos x="f100" y="f101"/>
                  </a:cxn>
                  <a:cxn ang="f79">
                    <a:pos x="f102" y="f103"/>
                  </a:cxn>
                  <a:cxn ang="f79">
                    <a:pos x="f104" y="f103"/>
                  </a:cxn>
                  <a:cxn ang="f79">
                    <a:pos x="f105" y="f101"/>
                  </a:cxn>
                  <a:cxn ang="f79">
                    <a:pos x="f106" y="f99"/>
                  </a:cxn>
                  <a:cxn ang="f79">
                    <a:pos x="f107" y="f108"/>
                  </a:cxn>
                  <a:cxn ang="f79">
                    <a:pos x="f109" y="f110"/>
                  </a:cxn>
                  <a:cxn ang="f79">
                    <a:pos x="f111" y="f108"/>
                  </a:cxn>
                  <a:cxn ang="f79">
                    <a:pos x="f98" y="f99"/>
                  </a:cxn>
                  <a:cxn ang="f79">
                    <a:pos x="f98" y="f99"/>
                  </a:cxn>
                  <a:cxn ang="f79">
                    <a:pos x="f98" y="f99"/>
                  </a:cxn>
                </a:cxnLst>
                <a:rect l="f94" t="f97" r="f95" b="f96"/>
                <a:pathLst>
                  <a:path w="572384" h="291243">
                    <a:moveTo>
                      <a:pt x="f8" y="f9"/>
                    </a:moveTo>
                    <a:cubicBezTo>
                      <a:pt x="f10" y="f11"/>
                      <a:pt x="f12" y="f13"/>
                      <a:pt x="f14" y="f15"/>
                    </a:cubicBezTo>
                    <a:lnTo>
                      <a:pt x="f16" y="f17"/>
                    </a:lnTo>
                    <a:cubicBezTo>
                      <a:pt x="f18" y="f19"/>
                      <a:pt x="f20" y="f19"/>
                      <a:pt x="f21" y="f17"/>
                    </a:cubicBezTo>
                    <a:lnTo>
                      <a:pt x="f22" y="f15"/>
                    </a:lnTo>
                    <a:cubicBezTo>
                      <a:pt x="f23" y="f24"/>
                      <a:pt x="f23" y="f25"/>
                      <a:pt x="f26" y="f9"/>
                    </a:cubicBezTo>
                    <a:cubicBezTo>
                      <a:pt x="f27" y="f28"/>
                      <a:pt x="f29" y="f28"/>
                      <a:pt x="f30" y="f31"/>
                    </a:cubicBezTo>
                    <a:lnTo>
                      <a:pt x="f32" y="f33"/>
                    </a:lnTo>
                    <a:lnTo>
                      <a:pt x="f34" y="f31"/>
                    </a:lnTo>
                    <a:cubicBezTo>
                      <a:pt x="f35" y="f28"/>
                      <a:pt x="f36" y="f37"/>
                      <a:pt x="f8" y="f9"/>
                    </a:cubicBezTo>
                    <a:lnTo>
                      <a:pt x="f8" y="f9"/>
                    </a:lnTo>
                    <a:lnTo>
                      <a:pt x="f8" y="f9"/>
                    </a:lnTo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  <p:sp>
            <p:nvSpPr>
              <p:cNvPr id="56" name="Graphic 51">
                <a:extLst>
                  <a:ext uri="{FF2B5EF4-FFF2-40B4-BE49-F238E27FC236}">
                    <a16:creationId xmlns:a16="http://schemas.microsoft.com/office/drawing/2014/main" id="{EF3888C0-C3EC-A874-99E5-585B0B19BF86}"/>
                  </a:ext>
                </a:extLst>
              </p:cNvPr>
              <p:cNvSpPr/>
              <p:nvPr/>
            </p:nvSpPr>
            <p:spPr>
              <a:xfrm>
                <a:off x="3948927" y="5959089"/>
                <a:ext cx="202082" cy="113129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45770"/>
                  <a:gd name="f7" fmla="val 249554"/>
                  <a:gd name="f8" fmla="val 419100"/>
                  <a:gd name="f9" fmla="val 952"/>
                  <a:gd name="f10" fmla="val 403860"/>
                  <a:gd name="f11" fmla="val 392430"/>
                  <a:gd name="f12" fmla="val 13335"/>
                  <a:gd name="f13" fmla="val 27622"/>
                  <a:gd name="f14" fmla="val 196215"/>
                  <a:gd name="f15" fmla="val 54293"/>
                  <a:gd name="f16" fmla="val 12382"/>
                  <a:gd name="f17" fmla="val 41910"/>
                  <a:gd name="f18" fmla="val 26670"/>
                  <a:gd name="f19" fmla="val 11430"/>
                  <a:gd name="f20" fmla="val 222885"/>
                  <a:gd name="f21" fmla="val 238125"/>
                  <a:gd name="f22" fmla="val 249555"/>
                  <a:gd name="f23" fmla="val 434340"/>
                  <a:gd name="f24" fmla="val 237172"/>
                  <a:gd name="f25" fmla="val 433388"/>
                  <a:gd name="f26" fmla="+- 0 0 -90"/>
                  <a:gd name="f27" fmla="*/ f3 1 445770"/>
                  <a:gd name="f28" fmla="*/ f4 1 249554"/>
                  <a:gd name="f29" fmla="+- f7 0 f5"/>
                  <a:gd name="f30" fmla="+- f6 0 f5"/>
                  <a:gd name="f31" fmla="*/ f26 f0 1"/>
                  <a:gd name="f32" fmla="*/ f30 1 445770"/>
                  <a:gd name="f33" fmla="*/ f29 1 249554"/>
                  <a:gd name="f34" fmla="*/ 419100 f30 1"/>
                  <a:gd name="f35" fmla="*/ 952 f29 1"/>
                  <a:gd name="f36" fmla="*/ 392430 f30 1"/>
                  <a:gd name="f37" fmla="*/ 27622 f29 1"/>
                  <a:gd name="f38" fmla="*/ 196215 f29 1"/>
                  <a:gd name="f39" fmla="*/ 54293 f30 1"/>
                  <a:gd name="f40" fmla="*/ 26670 f30 1"/>
                  <a:gd name="f41" fmla="*/ 0 f29 1"/>
                  <a:gd name="f42" fmla="*/ 0 f30 1"/>
                  <a:gd name="f43" fmla="*/ 222885 f29 1"/>
                  <a:gd name="f44" fmla="*/ 249555 f29 1"/>
                  <a:gd name="f45" fmla="*/ 445770 f30 1"/>
                  <a:gd name="f46" fmla="*/ f31 1 f2"/>
                  <a:gd name="f47" fmla="*/ f34 1 445770"/>
                  <a:gd name="f48" fmla="*/ f35 1 249554"/>
                  <a:gd name="f49" fmla="*/ f36 1 445770"/>
                  <a:gd name="f50" fmla="*/ f37 1 249554"/>
                  <a:gd name="f51" fmla="*/ f38 1 249554"/>
                  <a:gd name="f52" fmla="*/ f39 1 445770"/>
                  <a:gd name="f53" fmla="*/ f40 1 445770"/>
                  <a:gd name="f54" fmla="*/ f41 1 249554"/>
                  <a:gd name="f55" fmla="*/ f42 1 445770"/>
                  <a:gd name="f56" fmla="*/ f43 1 249554"/>
                  <a:gd name="f57" fmla="*/ f44 1 249554"/>
                  <a:gd name="f58" fmla="*/ f45 1 445770"/>
                  <a:gd name="f59" fmla="*/ f5 1 f32"/>
                  <a:gd name="f60" fmla="*/ f6 1 f32"/>
                  <a:gd name="f61" fmla="*/ f5 1 f33"/>
                  <a:gd name="f62" fmla="*/ f7 1 f33"/>
                  <a:gd name="f63" fmla="+- f46 0 f1"/>
                  <a:gd name="f64" fmla="*/ f47 1 f32"/>
                  <a:gd name="f65" fmla="*/ f48 1 f33"/>
                  <a:gd name="f66" fmla="*/ f49 1 f32"/>
                  <a:gd name="f67" fmla="*/ f50 1 f33"/>
                  <a:gd name="f68" fmla="*/ f51 1 f33"/>
                  <a:gd name="f69" fmla="*/ f52 1 f32"/>
                  <a:gd name="f70" fmla="*/ f53 1 f32"/>
                  <a:gd name="f71" fmla="*/ f54 1 f33"/>
                  <a:gd name="f72" fmla="*/ f55 1 f32"/>
                  <a:gd name="f73" fmla="*/ f56 1 f33"/>
                  <a:gd name="f74" fmla="*/ f57 1 f33"/>
                  <a:gd name="f75" fmla="*/ f58 1 f32"/>
                  <a:gd name="f76" fmla="*/ f59 f27 1"/>
                  <a:gd name="f77" fmla="*/ f60 f27 1"/>
                  <a:gd name="f78" fmla="*/ f62 f28 1"/>
                  <a:gd name="f79" fmla="*/ f61 f28 1"/>
                  <a:gd name="f80" fmla="*/ f64 f27 1"/>
                  <a:gd name="f81" fmla="*/ f65 f28 1"/>
                  <a:gd name="f82" fmla="*/ f66 f27 1"/>
                  <a:gd name="f83" fmla="*/ f67 f28 1"/>
                  <a:gd name="f84" fmla="*/ f68 f28 1"/>
                  <a:gd name="f85" fmla="*/ f69 f27 1"/>
                  <a:gd name="f86" fmla="*/ f70 f27 1"/>
                  <a:gd name="f87" fmla="*/ f71 f28 1"/>
                  <a:gd name="f88" fmla="*/ f72 f27 1"/>
                  <a:gd name="f89" fmla="*/ f73 f28 1"/>
                  <a:gd name="f90" fmla="*/ f74 f28 1"/>
                  <a:gd name="f91" fmla="*/ f75 f27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3">
                    <a:pos x="f80" y="f81"/>
                  </a:cxn>
                  <a:cxn ang="f63">
                    <a:pos x="f82" y="f83"/>
                  </a:cxn>
                  <a:cxn ang="f63">
                    <a:pos x="f82" y="f83"/>
                  </a:cxn>
                  <a:cxn ang="f63">
                    <a:pos x="f82" y="f84"/>
                  </a:cxn>
                  <a:cxn ang="f63">
                    <a:pos x="f85" y="f84"/>
                  </a:cxn>
                  <a:cxn ang="f63">
                    <a:pos x="f85" y="f83"/>
                  </a:cxn>
                  <a:cxn ang="f63">
                    <a:pos x="f86" y="f87"/>
                  </a:cxn>
                  <a:cxn ang="f63">
                    <a:pos x="f88" y="f83"/>
                  </a:cxn>
                  <a:cxn ang="f63">
                    <a:pos x="f88" y="f89"/>
                  </a:cxn>
                  <a:cxn ang="f63">
                    <a:pos x="f86" y="f90"/>
                  </a:cxn>
                  <a:cxn ang="f63">
                    <a:pos x="f86" y="f90"/>
                  </a:cxn>
                  <a:cxn ang="f63">
                    <a:pos x="f80" y="f90"/>
                  </a:cxn>
                  <a:cxn ang="f63">
                    <a:pos x="f91" y="f89"/>
                  </a:cxn>
                  <a:cxn ang="f63">
                    <a:pos x="f91" y="f89"/>
                  </a:cxn>
                  <a:cxn ang="f63">
                    <a:pos x="f91" y="f83"/>
                  </a:cxn>
                  <a:cxn ang="f63">
                    <a:pos x="f80" y="f81"/>
                  </a:cxn>
                </a:cxnLst>
                <a:rect l="f76" t="f79" r="f77" b="f78"/>
                <a:pathLst>
                  <a:path w="445770" h="249554">
                    <a:moveTo>
                      <a:pt x="f8" y="f9"/>
                    </a:moveTo>
                    <a:cubicBezTo>
                      <a:pt x="f10" y="f9"/>
                      <a:pt x="f11" y="f12"/>
                      <a:pt x="f11" y="f13"/>
                    </a:cubicBezTo>
                    <a:lnTo>
                      <a:pt x="f11" y="f13"/>
                    </a:lnTo>
                    <a:lnTo>
                      <a:pt x="f11" y="f14"/>
                    </a:lnTo>
                    <a:lnTo>
                      <a:pt x="f15" y="f14"/>
                    </a:lnTo>
                    <a:lnTo>
                      <a:pt x="f15" y="f13"/>
                    </a:lnTo>
                    <a:cubicBezTo>
                      <a:pt x="f15" y="f16"/>
                      <a:pt x="f17" y="f5"/>
                      <a:pt x="f18" y="f5"/>
                    </a:cubicBezTo>
                    <a:cubicBezTo>
                      <a:pt x="f19" y="f5"/>
                      <a:pt x="f5" y="f16"/>
                      <a:pt x="f5" y="f13"/>
                    </a:cubicBezTo>
                    <a:lnTo>
                      <a:pt x="f5" y="f20"/>
                    </a:lnTo>
                    <a:cubicBezTo>
                      <a:pt x="f5" y="f21"/>
                      <a:pt x="f16" y="f22"/>
                      <a:pt x="f18" y="f22"/>
                    </a:cubicBezTo>
                    <a:lnTo>
                      <a:pt x="f18" y="f22"/>
                    </a:lnTo>
                    <a:lnTo>
                      <a:pt x="f8" y="f22"/>
                    </a:lnTo>
                    <a:cubicBezTo>
                      <a:pt x="f23" y="f22"/>
                      <a:pt x="f6" y="f24"/>
                      <a:pt x="f6" y="f20"/>
                    </a:cubicBezTo>
                    <a:lnTo>
                      <a:pt x="f6" y="f20"/>
                    </a:lnTo>
                    <a:lnTo>
                      <a:pt x="f6" y="f13"/>
                    </a:lnTo>
                    <a:cubicBezTo>
                      <a:pt x="f6" y="f16"/>
                      <a:pt x="f25" y="f9"/>
                      <a:pt x="f8" y="f9"/>
                    </a:cubicBezTo>
                  </a:path>
                </a:pathLst>
              </a:custGeom>
              <a:noFill/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  <p:sp>
            <p:nvSpPr>
              <p:cNvPr id="57" name="Freeform: Shape 108">
                <a:extLst>
                  <a:ext uri="{FF2B5EF4-FFF2-40B4-BE49-F238E27FC236}">
                    <a16:creationId xmlns:a16="http://schemas.microsoft.com/office/drawing/2014/main" id="{DC124B19-FE44-B708-94AB-56465A7A22E9}"/>
                  </a:ext>
                </a:extLst>
              </p:cNvPr>
              <p:cNvSpPr/>
              <p:nvPr/>
            </p:nvSpPr>
            <p:spPr>
              <a:xfrm>
                <a:off x="4037853" y="5640138"/>
                <a:ext cx="301852" cy="432520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002228"/>
                  <a:gd name="f7" fmla="val 1436061"/>
                  <a:gd name="f8" fmla="val 921941"/>
                  <a:gd name="f9" fmla="val 1395917"/>
                  <a:gd name="f10" fmla="val 1417422"/>
                  <a:gd name="f11" fmla="val 985024"/>
                  <a:gd name="f12" fmla="val 962085"/>
                  <a:gd name="f13" fmla="val 473197"/>
                  <a:gd name="f14" fmla="val 450258"/>
                  <a:gd name="f15" fmla="val 431619"/>
                  <a:gd name="f16" fmla="val 1418856"/>
                  <a:gd name="f17" fmla="val 1372978"/>
                  <a:gd name="f18" fmla="val 1354340"/>
                  <a:gd name="f19" fmla="val 78"/>
                  <a:gd name="f20" fmla="val 81798"/>
                  <a:gd name="f21" fmla="val 507029"/>
                  <a:gd name="f22" fmla="val 509896"/>
                  <a:gd name="f23" fmla="val 80365"/>
                  <a:gd name="f24" fmla="val 531401"/>
                  <a:gd name="f25" fmla="val 61726"/>
                  <a:gd name="f26" fmla="val 550040"/>
                  <a:gd name="f27" fmla="val 38787"/>
                  <a:gd name="f28" fmla="val 548605"/>
                  <a:gd name="f29" fmla="val 17283"/>
                  <a:gd name="f30" fmla="val 547172"/>
                  <a:gd name="f31" fmla="+- 0 0 1356"/>
                  <a:gd name="f32" fmla="val 528534"/>
                  <a:gd name="f33" fmla="val 505595"/>
                  <a:gd name="f34" fmla="+- 0 0 -90"/>
                  <a:gd name="f35" fmla="*/ f3 1 1002228"/>
                  <a:gd name="f36" fmla="*/ f4 1 1436061"/>
                  <a:gd name="f37" fmla="+- f7 0 f5"/>
                  <a:gd name="f38" fmla="+- f6 0 f5"/>
                  <a:gd name="f39" fmla="*/ f34 f0 1"/>
                  <a:gd name="f40" fmla="*/ f38 1 1002228"/>
                  <a:gd name="f41" fmla="*/ f37 1 1436061"/>
                  <a:gd name="f42" fmla="*/ 921941 f38 1"/>
                  <a:gd name="f43" fmla="*/ 0 f37 1"/>
                  <a:gd name="f44" fmla="*/ 1002228 f38 1"/>
                  <a:gd name="f45" fmla="*/ 1395917 f37 1"/>
                  <a:gd name="f46" fmla="*/ 962085 f38 1"/>
                  <a:gd name="f47" fmla="*/ 1436061 f37 1"/>
                  <a:gd name="f48" fmla="*/ 473197 f38 1"/>
                  <a:gd name="f49" fmla="*/ 431619 f38 1"/>
                  <a:gd name="f50" fmla="*/ 1354340 f37 1"/>
                  <a:gd name="f51" fmla="*/ 78 f38 1"/>
                  <a:gd name="f52" fmla="*/ 81798 f38 1"/>
                  <a:gd name="f53" fmla="*/ 507029 f37 1"/>
                  <a:gd name="f54" fmla="*/ 509896 f37 1"/>
                  <a:gd name="f55" fmla="*/ 38787 f38 1"/>
                  <a:gd name="f56" fmla="*/ 548605 f37 1"/>
                  <a:gd name="f57" fmla="*/ 505595 f37 1"/>
                  <a:gd name="f58" fmla="*/ f39 1 f2"/>
                  <a:gd name="f59" fmla="*/ f42 1 1002228"/>
                  <a:gd name="f60" fmla="*/ f43 1 1436061"/>
                  <a:gd name="f61" fmla="*/ f44 1 1002228"/>
                  <a:gd name="f62" fmla="*/ f45 1 1436061"/>
                  <a:gd name="f63" fmla="*/ f46 1 1002228"/>
                  <a:gd name="f64" fmla="*/ f47 1 1436061"/>
                  <a:gd name="f65" fmla="*/ f48 1 1002228"/>
                  <a:gd name="f66" fmla="*/ f49 1 1002228"/>
                  <a:gd name="f67" fmla="*/ f50 1 1436061"/>
                  <a:gd name="f68" fmla="*/ f51 1 1002228"/>
                  <a:gd name="f69" fmla="*/ f52 1 1002228"/>
                  <a:gd name="f70" fmla="*/ f53 1 1436061"/>
                  <a:gd name="f71" fmla="*/ f54 1 1436061"/>
                  <a:gd name="f72" fmla="*/ f55 1 1002228"/>
                  <a:gd name="f73" fmla="*/ f56 1 1436061"/>
                  <a:gd name="f74" fmla="*/ f57 1 1436061"/>
                  <a:gd name="f75" fmla="*/ f5 1 f40"/>
                  <a:gd name="f76" fmla="*/ f6 1 f40"/>
                  <a:gd name="f77" fmla="*/ f5 1 f41"/>
                  <a:gd name="f78" fmla="*/ f7 1 f41"/>
                  <a:gd name="f79" fmla="+- f58 0 f1"/>
                  <a:gd name="f80" fmla="*/ f59 1 f40"/>
                  <a:gd name="f81" fmla="*/ f60 1 f41"/>
                  <a:gd name="f82" fmla="*/ f61 1 f40"/>
                  <a:gd name="f83" fmla="*/ f62 1 f41"/>
                  <a:gd name="f84" fmla="*/ f63 1 f40"/>
                  <a:gd name="f85" fmla="*/ f64 1 f41"/>
                  <a:gd name="f86" fmla="*/ f65 1 f40"/>
                  <a:gd name="f87" fmla="*/ f66 1 f40"/>
                  <a:gd name="f88" fmla="*/ f67 1 f41"/>
                  <a:gd name="f89" fmla="*/ f68 1 f40"/>
                  <a:gd name="f90" fmla="*/ f69 1 f40"/>
                  <a:gd name="f91" fmla="*/ f70 1 f41"/>
                  <a:gd name="f92" fmla="*/ f71 1 f41"/>
                  <a:gd name="f93" fmla="*/ f72 1 f40"/>
                  <a:gd name="f94" fmla="*/ f73 1 f41"/>
                  <a:gd name="f95" fmla="*/ f74 1 f41"/>
                  <a:gd name="f96" fmla="*/ f75 f35 1"/>
                  <a:gd name="f97" fmla="*/ f76 f35 1"/>
                  <a:gd name="f98" fmla="*/ f78 f36 1"/>
                  <a:gd name="f99" fmla="*/ f77 f36 1"/>
                  <a:gd name="f100" fmla="*/ f80 f35 1"/>
                  <a:gd name="f101" fmla="*/ f81 f36 1"/>
                  <a:gd name="f102" fmla="*/ f82 f35 1"/>
                  <a:gd name="f103" fmla="*/ f83 f36 1"/>
                  <a:gd name="f104" fmla="*/ f84 f35 1"/>
                  <a:gd name="f105" fmla="*/ f85 f36 1"/>
                  <a:gd name="f106" fmla="*/ f86 f35 1"/>
                  <a:gd name="f107" fmla="*/ f87 f35 1"/>
                  <a:gd name="f108" fmla="*/ f88 f36 1"/>
                  <a:gd name="f109" fmla="*/ f89 f35 1"/>
                  <a:gd name="f110" fmla="*/ f90 f35 1"/>
                  <a:gd name="f111" fmla="*/ f91 f36 1"/>
                  <a:gd name="f112" fmla="*/ f92 f36 1"/>
                  <a:gd name="f113" fmla="*/ f93 f35 1"/>
                  <a:gd name="f114" fmla="*/ f94 f36 1"/>
                  <a:gd name="f115" fmla="*/ f95 f3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9">
                    <a:pos x="f100" y="f101"/>
                  </a:cxn>
                  <a:cxn ang="f79">
                    <a:pos x="f102" y="f101"/>
                  </a:cxn>
                  <a:cxn ang="f79">
                    <a:pos x="f102" y="f103"/>
                  </a:cxn>
                  <a:cxn ang="f79">
                    <a:pos x="f104" y="f105"/>
                  </a:cxn>
                  <a:cxn ang="f79">
                    <a:pos x="f106" y="f105"/>
                  </a:cxn>
                  <a:cxn ang="f79">
                    <a:pos x="f107" y="f103"/>
                  </a:cxn>
                  <a:cxn ang="f79">
                    <a:pos x="f106" y="f108"/>
                  </a:cxn>
                  <a:cxn ang="f79">
                    <a:pos x="f100" y="f108"/>
                  </a:cxn>
                  <a:cxn ang="f79">
                    <a:pos x="f109" y="f101"/>
                  </a:cxn>
                  <a:cxn ang="f79">
                    <a:pos x="f110" y="f101"/>
                  </a:cxn>
                  <a:cxn ang="f79">
                    <a:pos x="f110" y="f111"/>
                  </a:cxn>
                  <a:cxn ang="f79">
                    <a:pos x="f110" y="f112"/>
                  </a:cxn>
                  <a:cxn ang="f79">
                    <a:pos x="f113" y="f114"/>
                  </a:cxn>
                  <a:cxn ang="f79">
                    <a:pos x="f109" y="f115"/>
                  </a:cxn>
                </a:cxnLst>
                <a:rect l="f96" t="f99" r="f97" b="f98"/>
                <a:pathLst>
                  <a:path w="1002228" h="1436061">
                    <a:moveTo>
                      <a:pt x="f8" y="f5"/>
                    </a:moveTo>
                    <a:lnTo>
                      <a:pt x="f6" y="f5"/>
                    </a:lnTo>
                    <a:lnTo>
                      <a:pt x="f6" y="f9"/>
                    </a:lnTo>
                    <a:cubicBezTo>
                      <a:pt x="f6" y="f10"/>
                      <a:pt x="f11" y="f7"/>
                      <a:pt x="f12" y="f7"/>
                    </a:cubicBezTo>
                    <a:lnTo>
                      <a:pt x="f13" y="f7"/>
                    </a:lnTo>
                    <a:cubicBezTo>
                      <a:pt x="f14" y="f7"/>
                      <a:pt x="f15" y="f16"/>
                      <a:pt x="f15" y="f9"/>
                    </a:cubicBezTo>
                    <a:cubicBezTo>
                      <a:pt x="f15" y="f17"/>
                      <a:pt x="f14" y="f18"/>
                      <a:pt x="f13" y="f18"/>
                    </a:cubicBezTo>
                    <a:lnTo>
                      <a:pt x="f8" y="f18"/>
                    </a:lnTo>
                    <a:close/>
                    <a:moveTo>
                      <a:pt x="f19" y="f5"/>
                    </a:moveTo>
                    <a:lnTo>
                      <a:pt x="f20" y="f5"/>
                    </a:lnTo>
                    <a:lnTo>
                      <a:pt x="f20" y="f21"/>
                    </a:lnTo>
                    <a:lnTo>
                      <a:pt x="f20" y="f22"/>
                    </a:lnTo>
                    <a:cubicBezTo>
                      <a:pt x="f23" y="f24"/>
                      <a:pt x="f25" y="f26"/>
                      <a:pt x="f27" y="f28"/>
                    </a:cubicBezTo>
                    <a:cubicBezTo>
                      <a:pt x="f29" y="f30"/>
                      <a:pt x="f31" y="f32"/>
                      <a:pt x="f19" y="f33"/>
                    </a:cubicBezTo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  <p:sp>
            <p:nvSpPr>
              <p:cNvPr id="58" name="Graphic 51">
                <a:extLst>
                  <a:ext uri="{FF2B5EF4-FFF2-40B4-BE49-F238E27FC236}">
                    <a16:creationId xmlns:a16="http://schemas.microsoft.com/office/drawing/2014/main" id="{71D73D0D-B9C6-127C-2881-C2EA551C1B84}"/>
                  </a:ext>
                </a:extLst>
              </p:cNvPr>
              <p:cNvSpPr/>
              <p:nvPr/>
            </p:nvSpPr>
            <p:spPr>
              <a:xfrm>
                <a:off x="4097472" y="5725917"/>
                <a:ext cx="79022" cy="7945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74307"/>
                  <a:gd name="f7" fmla="val 175259"/>
                  <a:gd name="f8" fmla="val 54292"/>
                  <a:gd name="f9" fmla="val 53340"/>
                  <a:gd name="f10" fmla="val 120967"/>
                  <a:gd name="f11" fmla="val 120015"/>
                  <a:gd name="f12" fmla="val 147638"/>
                  <a:gd name="f13" fmla="val 162877"/>
                  <a:gd name="f14" fmla="val 12382"/>
                  <a:gd name="f15" fmla="val 26670"/>
                  <a:gd name="f16" fmla="val 175260"/>
                  <a:gd name="f17" fmla="val 11430"/>
                  <a:gd name="f18" fmla="val 161925"/>
                  <a:gd name="f19" fmla="+- 0 0 -90"/>
                  <a:gd name="f20" fmla="*/ f3 1 174307"/>
                  <a:gd name="f21" fmla="*/ f4 1 175259"/>
                  <a:gd name="f22" fmla="+- f7 0 f5"/>
                  <a:gd name="f23" fmla="+- f6 0 f5"/>
                  <a:gd name="f24" fmla="*/ f19 f0 1"/>
                  <a:gd name="f25" fmla="*/ f23 1 174307"/>
                  <a:gd name="f26" fmla="*/ f22 1 175259"/>
                  <a:gd name="f27" fmla="*/ 54292 f23 1"/>
                  <a:gd name="f28" fmla="*/ 53340 f22 1"/>
                  <a:gd name="f29" fmla="*/ 120967 f23 1"/>
                  <a:gd name="f30" fmla="*/ 120015 f22 1"/>
                  <a:gd name="f31" fmla="*/ 0 f23 1"/>
                  <a:gd name="f32" fmla="*/ 147638 f22 1"/>
                  <a:gd name="f33" fmla="*/ 26670 f23 1"/>
                  <a:gd name="f34" fmla="*/ 175260 f22 1"/>
                  <a:gd name="f35" fmla="*/ 147638 f23 1"/>
                  <a:gd name="f36" fmla="*/ 174307 f23 1"/>
                  <a:gd name="f37" fmla="*/ 26670 f22 1"/>
                  <a:gd name="f38" fmla="*/ 0 f22 1"/>
                  <a:gd name="f39" fmla="*/ f24 1 f2"/>
                  <a:gd name="f40" fmla="*/ f27 1 174307"/>
                  <a:gd name="f41" fmla="*/ f28 1 175259"/>
                  <a:gd name="f42" fmla="*/ f29 1 174307"/>
                  <a:gd name="f43" fmla="*/ f30 1 175259"/>
                  <a:gd name="f44" fmla="*/ f31 1 174307"/>
                  <a:gd name="f45" fmla="*/ f32 1 175259"/>
                  <a:gd name="f46" fmla="*/ f33 1 174307"/>
                  <a:gd name="f47" fmla="*/ f34 1 175259"/>
                  <a:gd name="f48" fmla="*/ f35 1 174307"/>
                  <a:gd name="f49" fmla="*/ f36 1 174307"/>
                  <a:gd name="f50" fmla="*/ f37 1 175259"/>
                  <a:gd name="f51" fmla="*/ f38 1 175259"/>
                  <a:gd name="f52" fmla="*/ f5 1 f25"/>
                  <a:gd name="f53" fmla="*/ f6 1 f25"/>
                  <a:gd name="f54" fmla="*/ f5 1 f26"/>
                  <a:gd name="f55" fmla="*/ f7 1 f26"/>
                  <a:gd name="f56" fmla="+- f39 0 f1"/>
                  <a:gd name="f57" fmla="*/ f40 1 f25"/>
                  <a:gd name="f58" fmla="*/ f41 1 f26"/>
                  <a:gd name="f59" fmla="*/ f42 1 f25"/>
                  <a:gd name="f60" fmla="*/ f43 1 f26"/>
                  <a:gd name="f61" fmla="*/ f44 1 f25"/>
                  <a:gd name="f62" fmla="*/ f45 1 f26"/>
                  <a:gd name="f63" fmla="*/ f46 1 f25"/>
                  <a:gd name="f64" fmla="*/ f47 1 f26"/>
                  <a:gd name="f65" fmla="*/ f48 1 f25"/>
                  <a:gd name="f66" fmla="*/ f49 1 f25"/>
                  <a:gd name="f67" fmla="*/ f50 1 f26"/>
                  <a:gd name="f68" fmla="*/ f51 1 f26"/>
                  <a:gd name="f69" fmla="*/ f52 f20 1"/>
                  <a:gd name="f70" fmla="*/ f53 f20 1"/>
                  <a:gd name="f71" fmla="*/ f55 f21 1"/>
                  <a:gd name="f72" fmla="*/ f54 f21 1"/>
                  <a:gd name="f73" fmla="*/ f57 f20 1"/>
                  <a:gd name="f74" fmla="*/ f58 f21 1"/>
                  <a:gd name="f75" fmla="*/ f59 f20 1"/>
                  <a:gd name="f76" fmla="*/ f60 f21 1"/>
                  <a:gd name="f77" fmla="*/ f61 f20 1"/>
                  <a:gd name="f78" fmla="*/ f62 f21 1"/>
                  <a:gd name="f79" fmla="*/ f63 f20 1"/>
                  <a:gd name="f80" fmla="*/ f64 f21 1"/>
                  <a:gd name="f81" fmla="*/ f65 f20 1"/>
                  <a:gd name="f82" fmla="*/ f66 f20 1"/>
                  <a:gd name="f83" fmla="*/ f67 f21 1"/>
                  <a:gd name="f84" fmla="*/ f68 f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6">
                    <a:pos x="f73" y="f74"/>
                  </a:cxn>
                  <a:cxn ang="f56">
                    <a:pos x="f75" y="f74"/>
                  </a:cxn>
                  <a:cxn ang="f56">
                    <a:pos x="f75" y="f76"/>
                  </a:cxn>
                  <a:cxn ang="f56">
                    <a:pos x="f73" y="f76"/>
                  </a:cxn>
                  <a:cxn ang="f56">
                    <a:pos x="f73" y="f74"/>
                  </a:cxn>
                  <a:cxn ang="f56">
                    <a:pos x="f77" y="f78"/>
                  </a:cxn>
                  <a:cxn ang="f56">
                    <a:pos x="f79" y="f80"/>
                  </a:cxn>
                  <a:cxn ang="f56">
                    <a:pos x="f79" y="f80"/>
                  </a:cxn>
                  <a:cxn ang="f56">
                    <a:pos x="f81" y="f80"/>
                  </a:cxn>
                  <a:cxn ang="f56">
                    <a:pos x="f82" y="f78"/>
                  </a:cxn>
                  <a:cxn ang="f56">
                    <a:pos x="f82" y="f83"/>
                  </a:cxn>
                  <a:cxn ang="f56">
                    <a:pos x="f81" y="f84"/>
                  </a:cxn>
                  <a:cxn ang="f56">
                    <a:pos x="f79" y="f84"/>
                  </a:cxn>
                  <a:cxn ang="f56">
                    <a:pos x="f77" y="f83"/>
                  </a:cxn>
                  <a:cxn ang="f56">
                    <a:pos x="f77" y="f78"/>
                  </a:cxn>
                </a:cxnLst>
                <a:rect l="f69" t="f72" r="f70" b="f71"/>
                <a:pathLst>
                  <a:path w="174307" h="175259">
                    <a:moveTo>
                      <a:pt x="f8" y="f9"/>
                    </a:moveTo>
                    <a:lnTo>
                      <a:pt x="f10" y="f9"/>
                    </a:lnTo>
                    <a:lnTo>
                      <a:pt x="f10" y="f11"/>
                    </a:lnTo>
                    <a:lnTo>
                      <a:pt x="f8" y="f11"/>
                    </a:lnTo>
                    <a:lnTo>
                      <a:pt x="f8" y="f9"/>
                    </a:lnTo>
                    <a:close/>
                    <a:moveTo>
                      <a:pt x="f5" y="f12"/>
                    </a:moveTo>
                    <a:cubicBezTo>
                      <a:pt x="f5" y="f13"/>
                      <a:pt x="f14" y="f6"/>
                      <a:pt x="f15" y="f16"/>
                    </a:cubicBezTo>
                    <a:lnTo>
                      <a:pt x="f15" y="f16"/>
                    </a:lnTo>
                    <a:lnTo>
                      <a:pt x="f12" y="f16"/>
                    </a:lnTo>
                    <a:cubicBezTo>
                      <a:pt x="f13" y="f16"/>
                      <a:pt x="f6" y="f13"/>
                      <a:pt x="f6" y="f12"/>
                    </a:cubicBezTo>
                    <a:lnTo>
                      <a:pt x="f6" y="f15"/>
                    </a:lnTo>
                    <a:cubicBezTo>
                      <a:pt x="f6" y="f17"/>
                      <a:pt x="f18" y="f5"/>
                      <a:pt x="f12" y="f5"/>
                    </a:cubicBezTo>
                    <a:lnTo>
                      <a:pt x="f15" y="f5"/>
                    </a:lnTo>
                    <a:cubicBezTo>
                      <a:pt x="f17" y="f5"/>
                      <a:pt x="f5" y="f14"/>
                      <a:pt x="f5" y="f15"/>
                    </a:cubicBezTo>
                    <a:lnTo>
                      <a:pt x="f5" y="f12"/>
                    </a:lnTo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  <p:sp>
            <p:nvSpPr>
              <p:cNvPr id="59" name="Graphic 51">
                <a:extLst>
                  <a:ext uri="{FF2B5EF4-FFF2-40B4-BE49-F238E27FC236}">
                    <a16:creationId xmlns:a16="http://schemas.microsoft.com/office/drawing/2014/main" id="{FD7EDE47-1B61-4FC1-CB5F-45E8C5733538}"/>
                  </a:ext>
                </a:extLst>
              </p:cNvPr>
              <p:cNvSpPr/>
              <p:nvPr/>
            </p:nvSpPr>
            <p:spPr>
              <a:xfrm>
                <a:off x="4200241" y="5725917"/>
                <a:ext cx="79022" cy="7945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74307"/>
                  <a:gd name="f7" fmla="val 175259"/>
                  <a:gd name="f8" fmla="val 54293"/>
                  <a:gd name="f9" fmla="val 53340"/>
                  <a:gd name="f10" fmla="val 120968"/>
                  <a:gd name="f11" fmla="val 120015"/>
                  <a:gd name="f12" fmla="val 147638"/>
                  <a:gd name="f13" fmla="val 162877"/>
                  <a:gd name="f14" fmla="val 12383"/>
                  <a:gd name="f15" fmla="val 26670"/>
                  <a:gd name="f16" fmla="val 175260"/>
                  <a:gd name="f17" fmla="val 162878"/>
                  <a:gd name="f18" fmla="val 174308"/>
                  <a:gd name="f19" fmla="val 11430"/>
                  <a:gd name="f20" fmla="val 161925"/>
                  <a:gd name="f21" fmla="val 27623"/>
                  <a:gd name="f22" fmla="val 953"/>
                  <a:gd name="f23" fmla="val 12382"/>
                  <a:gd name="f24" fmla="+- 0 0 -90"/>
                  <a:gd name="f25" fmla="*/ f3 1 174307"/>
                  <a:gd name="f26" fmla="*/ f4 1 175259"/>
                  <a:gd name="f27" fmla="+- f7 0 f5"/>
                  <a:gd name="f28" fmla="+- f6 0 f5"/>
                  <a:gd name="f29" fmla="*/ f24 f0 1"/>
                  <a:gd name="f30" fmla="*/ f28 1 174307"/>
                  <a:gd name="f31" fmla="*/ f27 1 175259"/>
                  <a:gd name="f32" fmla="*/ 54293 f28 1"/>
                  <a:gd name="f33" fmla="*/ 53340 f27 1"/>
                  <a:gd name="f34" fmla="*/ 120968 f28 1"/>
                  <a:gd name="f35" fmla="*/ 120015 f27 1"/>
                  <a:gd name="f36" fmla="*/ 0 f28 1"/>
                  <a:gd name="f37" fmla="*/ 147638 f27 1"/>
                  <a:gd name="f38" fmla="*/ 26670 f28 1"/>
                  <a:gd name="f39" fmla="*/ 175260 f27 1"/>
                  <a:gd name="f40" fmla="*/ 147638 f28 1"/>
                  <a:gd name="f41" fmla="*/ 174308 f28 1"/>
                  <a:gd name="f42" fmla="*/ 26670 f27 1"/>
                  <a:gd name="f43" fmla="*/ 0 f27 1"/>
                  <a:gd name="f44" fmla="*/ 27623 f28 1"/>
                  <a:gd name="f45" fmla="*/ 953 f28 1"/>
                  <a:gd name="f46" fmla="*/ f29 1 f2"/>
                  <a:gd name="f47" fmla="*/ f32 1 174307"/>
                  <a:gd name="f48" fmla="*/ f33 1 175259"/>
                  <a:gd name="f49" fmla="*/ f34 1 174307"/>
                  <a:gd name="f50" fmla="*/ f35 1 175259"/>
                  <a:gd name="f51" fmla="*/ f36 1 174307"/>
                  <a:gd name="f52" fmla="*/ f37 1 175259"/>
                  <a:gd name="f53" fmla="*/ f38 1 174307"/>
                  <a:gd name="f54" fmla="*/ f39 1 175259"/>
                  <a:gd name="f55" fmla="*/ f40 1 174307"/>
                  <a:gd name="f56" fmla="*/ f41 1 174307"/>
                  <a:gd name="f57" fmla="*/ f42 1 175259"/>
                  <a:gd name="f58" fmla="*/ f43 1 175259"/>
                  <a:gd name="f59" fmla="*/ f44 1 174307"/>
                  <a:gd name="f60" fmla="*/ f45 1 174307"/>
                  <a:gd name="f61" fmla="*/ f5 1 f30"/>
                  <a:gd name="f62" fmla="*/ f6 1 f30"/>
                  <a:gd name="f63" fmla="*/ f5 1 f31"/>
                  <a:gd name="f64" fmla="*/ f7 1 f31"/>
                  <a:gd name="f65" fmla="+- f46 0 f1"/>
                  <a:gd name="f66" fmla="*/ f47 1 f30"/>
                  <a:gd name="f67" fmla="*/ f48 1 f31"/>
                  <a:gd name="f68" fmla="*/ f49 1 f30"/>
                  <a:gd name="f69" fmla="*/ f50 1 f31"/>
                  <a:gd name="f70" fmla="*/ f51 1 f30"/>
                  <a:gd name="f71" fmla="*/ f52 1 f31"/>
                  <a:gd name="f72" fmla="*/ f53 1 f30"/>
                  <a:gd name="f73" fmla="*/ f54 1 f31"/>
                  <a:gd name="f74" fmla="*/ f55 1 f30"/>
                  <a:gd name="f75" fmla="*/ f56 1 f30"/>
                  <a:gd name="f76" fmla="*/ f57 1 f31"/>
                  <a:gd name="f77" fmla="*/ f58 1 f31"/>
                  <a:gd name="f78" fmla="*/ f59 1 f30"/>
                  <a:gd name="f79" fmla="*/ f60 1 f30"/>
                  <a:gd name="f80" fmla="*/ f61 f25 1"/>
                  <a:gd name="f81" fmla="*/ f62 f25 1"/>
                  <a:gd name="f82" fmla="*/ f64 f26 1"/>
                  <a:gd name="f83" fmla="*/ f63 f26 1"/>
                  <a:gd name="f84" fmla="*/ f66 f25 1"/>
                  <a:gd name="f85" fmla="*/ f67 f26 1"/>
                  <a:gd name="f86" fmla="*/ f68 f25 1"/>
                  <a:gd name="f87" fmla="*/ f69 f26 1"/>
                  <a:gd name="f88" fmla="*/ f70 f25 1"/>
                  <a:gd name="f89" fmla="*/ f71 f26 1"/>
                  <a:gd name="f90" fmla="*/ f72 f25 1"/>
                  <a:gd name="f91" fmla="*/ f73 f26 1"/>
                  <a:gd name="f92" fmla="*/ f74 f25 1"/>
                  <a:gd name="f93" fmla="*/ f75 f25 1"/>
                  <a:gd name="f94" fmla="*/ f76 f26 1"/>
                  <a:gd name="f95" fmla="*/ f77 f26 1"/>
                  <a:gd name="f96" fmla="*/ f78 f25 1"/>
                  <a:gd name="f97" fmla="*/ f79 f25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5">
                    <a:pos x="f84" y="f85"/>
                  </a:cxn>
                  <a:cxn ang="f65">
                    <a:pos x="f86" y="f85"/>
                  </a:cxn>
                  <a:cxn ang="f65">
                    <a:pos x="f86" y="f87"/>
                  </a:cxn>
                  <a:cxn ang="f65">
                    <a:pos x="f84" y="f87"/>
                  </a:cxn>
                  <a:cxn ang="f65">
                    <a:pos x="f84" y="f85"/>
                  </a:cxn>
                  <a:cxn ang="f65">
                    <a:pos x="f88" y="f89"/>
                  </a:cxn>
                  <a:cxn ang="f65">
                    <a:pos x="f90" y="f91"/>
                  </a:cxn>
                  <a:cxn ang="f65">
                    <a:pos x="f92" y="f91"/>
                  </a:cxn>
                  <a:cxn ang="f65">
                    <a:pos x="f93" y="f89"/>
                  </a:cxn>
                  <a:cxn ang="f65">
                    <a:pos x="f93" y="f94"/>
                  </a:cxn>
                  <a:cxn ang="f65">
                    <a:pos x="f92" y="f95"/>
                  </a:cxn>
                  <a:cxn ang="f65">
                    <a:pos x="f96" y="f95"/>
                  </a:cxn>
                  <a:cxn ang="f65">
                    <a:pos x="f97" y="f94"/>
                  </a:cxn>
                  <a:cxn ang="f65">
                    <a:pos x="f88" y="f89"/>
                  </a:cxn>
                </a:cxnLst>
                <a:rect l="f80" t="f83" r="f81" b="f82"/>
                <a:pathLst>
                  <a:path w="174307" h="175259">
                    <a:moveTo>
                      <a:pt x="f8" y="f9"/>
                    </a:moveTo>
                    <a:lnTo>
                      <a:pt x="f10" y="f9"/>
                    </a:lnTo>
                    <a:lnTo>
                      <a:pt x="f10" y="f11"/>
                    </a:lnTo>
                    <a:lnTo>
                      <a:pt x="f8" y="f11"/>
                    </a:lnTo>
                    <a:lnTo>
                      <a:pt x="f8" y="f9"/>
                    </a:lnTo>
                    <a:close/>
                    <a:moveTo>
                      <a:pt x="f5" y="f12"/>
                    </a:moveTo>
                    <a:cubicBezTo>
                      <a:pt x="f5" y="f13"/>
                      <a:pt x="f14" y="f6"/>
                      <a:pt x="f15" y="f16"/>
                    </a:cubicBezTo>
                    <a:lnTo>
                      <a:pt x="f12" y="f16"/>
                    </a:lnTo>
                    <a:cubicBezTo>
                      <a:pt x="f17" y="f16"/>
                      <a:pt x="f18" y="f13"/>
                      <a:pt x="f18" y="f12"/>
                    </a:cubicBezTo>
                    <a:lnTo>
                      <a:pt x="f18" y="f15"/>
                    </a:lnTo>
                    <a:cubicBezTo>
                      <a:pt x="f18" y="f19"/>
                      <a:pt x="f20" y="f5"/>
                      <a:pt x="f12" y="f5"/>
                    </a:cubicBezTo>
                    <a:lnTo>
                      <a:pt x="f21" y="f5"/>
                    </a:lnTo>
                    <a:cubicBezTo>
                      <a:pt x="f14" y="f5"/>
                      <a:pt x="f22" y="f23"/>
                      <a:pt x="f22" y="f15"/>
                    </a:cubicBezTo>
                    <a:lnTo>
                      <a:pt x="f5" y="f12"/>
                    </a:lnTo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  <p:sp>
            <p:nvSpPr>
              <p:cNvPr id="60" name="Graphic 51">
                <a:extLst>
                  <a:ext uri="{FF2B5EF4-FFF2-40B4-BE49-F238E27FC236}">
                    <a16:creationId xmlns:a16="http://schemas.microsoft.com/office/drawing/2014/main" id="{DEEBCAA4-C893-3697-3055-292625BDB247}"/>
                  </a:ext>
                </a:extLst>
              </p:cNvPr>
              <p:cNvSpPr/>
              <p:nvPr/>
            </p:nvSpPr>
            <p:spPr>
              <a:xfrm>
                <a:off x="4200241" y="5830845"/>
                <a:ext cx="79022" cy="7945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74307"/>
                  <a:gd name="f7" fmla="val 175260"/>
                  <a:gd name="f8" fmla="val 54293"/>
                  <a:gd name="f9" fmla="val 120968"/>
                  <a:gd name="f10" fmla="val 147638"/>
                  <a:gd name="f11" fmla="val 162877"/>
                  <a:gd name="f12" fmla="val 12383"/>
                  <a:gd name="f13" fmla="val 174308"/>
                  <a:gd name="f14" fmla="val 26670"/>
                  <a:gd name="f15" fmla="val 162878"/>
                  <a:gd name="f16" fmla="val 11430"/>
                  <a:gd name="f17" fmla="val 161925"/>
                  <a:gd name="f18" fmla="val 27623"/>
                  <a:gd name="f19" fmla="val 953"/>
                  <a:gd name="f20" fmla="+- 0 0 -90"/>
                  <a:gd name="f21" fmla="*/ f3 1 174307"/>
                  <a:gd name="f22" fmla="*/ f4 1 175260"/>
                  <a:gd name="f23" fmla="+- f7 0 f5"/>
                  <a:gd name="f24" fmla="+- f6 0 f5"/>
                  <a:gd name="f25" fmla="*/ f20 f0 1"/>
                  <a:gd name="f26" fmla="*/ f24 1 174307"/>
                  <a:gd name="f27" fmla="*/ f23 1 175260"/>
                  <a:gd name="f28" fmla="*/ 54293 f24 1"/>
                  <a:gd name="f29" fmla="*/ 54293 f23 1"/>
                  <a:gd name="f30" fmla="*/ 120968 f24 1"/>
                  <a:gd name="f31" fmla="*/ 120968 f23 1"/>
                  <a:gd name="f32" fmla="*/ 0 f24 1"/>
                  <a:gd name="f33" fmla="*/ 147638 f23 1"/>
                  <a:gd name="f34" fmla="*/ 26670 f24 1"/>
                  <a:gd name="f35" fmla="*/ 175260 f23 1"/>
                  <a:gd name="f36" fmla="*/ 147638 f24 1"/>
                  <a:gd name="f37" fmla="*/ 174308 f24 1"/>
                  <a:gd name="f38" fmla="*/ 26670 f23 1"/>
                  <a:gd name="f39" fmla="*/ 0 f23 1"/>
                  <a:gd name="f40" fmla="*/ 27623 f24 1"/>
                  <a:gd name="f41" fmla="*/ 953 f24 1"/>
                  <a:gd name="f42" fmla="*/ f25 1 f2"/>
                  <a:gd name="f43" fmla="*/ f28 1 174307"/>
                  <a:gd name="f44" fmla="*/ f29 1 175260"/>
                  <a:gd name="f45" fmla="*/ f30 1 174307"/>
                  <a:gd name="f46" fmla="*/ f31 1 175260"/>
                  <a:gd name="f47" fmla="*/ f32 1 174307"/>
                  <a:gd name="f48" fmla="*/ f33 1 175260"/>
                  <a:gd name="f49" fmla="*/ f34 1 174307"/>
                  <a:gd name="f50" fmla="*/ f35 1 175260"/>
                  <a:gd name="f51" fmla="*/ f36 1 174307"/>
                  <a:gd name="f52" fmla="*/ f37 1 174307"/>
                  <a:gd name="f53" fmla="*/ f38 1 175260"/>
                  <a:gd name="f54" fmla="*/ f39 1 175260"/>
                  <a:gd name="f55" fmla="*/ f40 1 174307"/>
                  <a:gd name="f56" fmla="*/ f41 1 174307"/>
                  <a:gd name="f57" fmla="*/ f5 1 f26"/>
                  <a:gd name="f58" fmla="*/ f6 1 f26"/>
                  <a:gd name="f59" fmla="*/ f5 1 f27"/>
                  <a:gd name="f60" fmla="*/ f7 1 f27"/>
                  <a:gd name="f61" fmla="+- f42 0 f1"/>
                  <a:gd name="f62" fmla="*/ f43 1 f26"/>
                  <a:gd name="f63" fmla="*/ f44 1 f27"/>
                  <a:gd name="f64" fmla="*/ f45 1 f26"/>
                  <a:gd name="f65" fmla="*/ f46 1 f27"/>
                  <a:gd name="f66" fmla="*/ f47 1 f26"/>
                  <a:gd name="f67" fmla="*/ f48 1 f27"/>
                  <a:gd name="f68" fmla="*/ f49 1 f26"/>
                  <a:gd name="f69" fmla="*/ f50 1 f27"/>
                  <a:gd name="f70" fmla="*/ f51 1 f26"/>
                  <a:gd name="f71" fmla="*/ f52 1 f26"/>
                  <a:gd name="f72" fmla="*/ f53 1 f27"/>
                  <a:gd name="f73" fmla="*/ f54 1 f27"/>
                  <a:gd name="f74" fmla="*/ f55 1 f26"/>
                  <a:gd name="f75" fmla="*/ f56 1 f26"/>
                  <a:gd name="f76" fmla="*/ f57 f21 1"/>
                  <a:gd name="f77" fmla="*/ f58 f21 1"/>
                  <a:gd name="f78" fmla="*/ f60 f22 1"/>
                  <a:gd name="f79" fmla="*/ f59 f22 1"/>
                  <a:gd name="f80" fmla="*/ f62 f21 1"/>
                  <a:gd name="f81" fmla="*/ f63 f22 1"/>
                  <a:gd name="f82" fmla="*/ f64 f21 1"/>
                  <a:gd name="f83" fmla="*/ f65 f22 1"/>
                  <a:gd name="f84" fmla="*/ f66 f21 1"/>
                  <a:gd name="f85" fmla="*/ f67 f22 1"/>
                  <a:gd name="f86" fmla="*/ f68 f21 1"/>
                  <a:gd name="f87" fmla="*/ f69 f22 1"/>
                  <a:gd name="f88" fmla="*/ f70 f21 1"/>
                  <a:gd name="f89" fmla="*/ f71 f21 1"/>
                  <a:gd name="f90" fmla="*/ f72 f22 1"/>
                  <a:gd name="f91" fmla="*/ f73 f22 1"/>
                  <a:gd name="f92" fmla="*/ f74 f21 1"/>
                  <a:gd name="f93" fmla="*/ f75 f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1">
                    <a:pos x="f80" y="f81"/>
                  </a:cxn>
                  <a:cxn ang="f61">
                    <a:pos x="f82" y="f81"/>
                  </a:cxn>
                  <a:cxn ang="f61">
                    <a:pos x="f82" y="f83"/>
                  </a:cxn>
                  <a:cxn ang="f61">
                    <a:pos x="f80" y="f83"/>
                  </a:cxn>
                  <a:cxn ang="f61">
                    <a:pos x="f80" y="f81"/>
                  </a:cxn>
                  <a:cxn ang="f61">
                    <a:pos x="f84" y="f85"/>
                  </a:cxn>
                  <a:cxn ang="f61">
                    <a:pos x="f86" y="f87"/>
                  </a:cxn>
                  <a:cxn ang="f61">
                    <a:pos x="f88" y="f87"/>
                  </a:cxn>
                  <a:cxn ang="f61">
                    <a:pos x="f89" y="f85"/>
                  </a:cxn>
                  <a:cxn ang="f61">
                    <a:pos x="f89" y="f90"/>
                  </a:cxn>
                  <a:cxn ang="f61">
                    <a:pos x="f88" y="f91"/>
                  </a:cxn>
                  <a:cxn ang="f61">
                    <a:pos x="f92" y="f91"/>
                  </a:cxn>
                  <a:cxn ang="f61">
                    <a:pos x="f93" y="f90"/>
                  </a:cxn>
                  <a:cxn ang="f61">
                    <a:pos x="f84" y="f85"/>
                  </a:cxn>
                </a:cxnLst>
                <a:rect l="f76" t="f79" r="f77" b="f78"/>
                <a:pathLst>
                  <a:path w="174307" h="175260">
                    <a:moveTo>
                      <a:pt x="f8" y="f8"/>
                    </a:moveTo>
                    <a:lnTo>
                      <a:pt x="f9" y="f8"/>
                    </a:lnTo>
                    <a:lnTo>
                      <a:pt x="f9" y="f9"/>
                    </a:lnTo>
                    <a:lnTo>
                      <a:pt x="f8" y="f9"/>
                    </a:lnTo>
                    <a:lnTo>
                      <a:pt x="f8" y="f8"/>
                    </a:lnTo>
                    <a:close/>
                    <a:moveTo>
                      <a:pt x="f5" y="f10"/>
                    </a:moveTo>
                    <a:cubicBezTo>
                      <a:pt x="f5" y="f11"/>
                      <a:pt x="f12" y="f13"/>
                      <a:pt x="f14" y="f7"/>
                    </a:cubicBezTo>
                    <a:lnTo>
                      <a:pt x="f10" y="f7"/>
                    </a:lnTo>
                    <a:cubicBezTo>
                      <a:pt x="f15" y="f7"/>
                      <a:pt x="f13" y="f11"/>
                      <a:pt x="f13" y="f10"/>
                    </a:cubicBezTo>
                    <a:lnTo>
                      <a:pt x="f13" y="f14"/>
                    </a:lnTo>
                    <a:cubicBezTo>
                      <a:pt x="f13" y="f16"/>
                      <a:pt x="f17" y="f5"/>
                      <a:pt x="f10" y="f5"/>
                    </a:cubicBezTo>
                    <a:lnTo>
                      <a:pt x="f18" y="f5"/>
                    </a:lnTo>
                    <a:cubicBezTo>
                      <a:pt x="f12" y="f5"/>
                      <a:pt x="f19" y="f12"/>
                      <a:pt x="f19" y="f14"/>
                    </a:cubicBezTo>
                    <a:lnTo>
                      <a:pt x="f5" y="f10"/>
                    </a:lnTo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  <p:sp>
            <p:nvSpPr>
              <p:cNvPr id="61" name="Graphic 51">
                <a:extLst>
                  <a:ext uri="{FF2B5EF4-FFF2-40B4-BE49-F238E27FC236}">
                    <a16:creationId xmlns:a16="http://schemas.microsoft.com/office/drawing/2014/main" id="{CD94F854-F465-031F-B73F-24DDFBBF716C}"/>
                  </a:ext>
                </a:extLst>
              </p:cNvPr>
              <p:cNvSpPr/>
              <p:nvPr/>
            </p:nvSpPr>
            <p:spPr>
              <a:xfrm>
                <a:off x="4382161" y="5770540"/>
                <a:ext cx="79022" cy="7945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74307"/>
                  <a:gd name="f7" fmla="val 175260"/>
                  <a:gd name="f8" fmla="val 54293"/>
                  <a:gd name="f9" fmla="val 120968"/>
                  <a:gd name="f10" fmla="val 147638"/>
                  <a:gd name="f11" fmla="val 162877"/>
                  <a:gd name="f12" fmla="val 12383"/>
                  <a:gd name="f13" fmla="val 174308"/>
                  <a:gd name="f14" fmla="val 26670"/>
                  <a:gd name="f15" fmla="val 162878"/>
                  <a:gd name="f16" fmla="val 11430"/>
                  <a:gd name="f17" fmla="val 161925"/>
                  <a:gd name="f18" fmla="val 27623"/>
                  <a:gd name="f19" fmla="val 953"/>
                  <a:gd name="f20" fmla="+- 0 0 -90"/>
                  <a:gd name="f21" fmla="*/ f3 1 174307"/>
                  <a:gd name="f22" fmla="*/ f4 1 175260"/>
                  <a:gd name="f23" fmla="+- f7 0 f5"/>
                  <a:gd name="f24" fmla="+- f6 0 f5"/>
                  <a:gd name="f25" fmla="*/ f20 f0 1"/>
                  <a:gd name="f26" fmla="*/ f24 1 174307"/>
                  <a:gd name="f27" fmla="*/ f23 1 175260"/>
                  <a:gd name="f28" fmla="*/ 54293 f24 1"/>
                  <a:gd name="f29" fmla="*/ 54293 f23 1"/>
                  <a:gd name="f30" fmla="*/ 120968 f24 1"/>
                  <a:gd name="f31" fmla="*/ 120968 f23 1"/>
                  <a:gd name="f32" fmla="*/ 0 f24 1"/>
                  <a:gd name="f33" fmla="*/ 147638 f23 1"/>
                  <a:gd name="f34" fmla="*/ 26670 f24 1"/>
                  <a:gd name="f35" fmla="*/ 175260 f23 1"/>
                  <a:gd name="f36" fmla="*/ 147638 f24 1"/>
                  <a:gd name="f37" fmla="*/ 174308 f24 1"/>
                  <a:gd name="f38" fmla="*/ 26670 f23 1"/>
                  <a:gd name="f39" fmla="*/ 0 f23 1"/>
                  <a:gd name="f40" fmla="*/ 27623 f24 1"/>
                  <a:gd name="f41" fmla="*/ 953 f24 1"/>
                  <a:gd name="f42" fmla="*/ f25 1 f2"/>
                  <a:gd name="f43" fmla="*/ f28 1 174307"/>
                  <a:gd name="f44" fmla="*/ f29 1 175260"/>
                  <a:gd name="f45" fmla="*/ f30 1 174307"/>
                  <a:gd name="f46" fmla="*/ f31 1 175260"/>
                  <a:gd name="f47" fmla="*/ f32 1 174307"/>
                  <a:gd name="f48" fmla="*/ f33 1 175260"/>
                  <a:gd name="f49" fmla="*/ f34 1 174307"/>
                  <a:gd name="f50" fmla="*/ f35 1 175260"/>
                  <a:gd name="f51" fmla="*/ f36 1 174307"/>
                  <a:gd name="f52" fmla="*/ f37 1 174307"/>
                  <a:gd name="f53" fmla="*/ f38 1 175260"/>
                  <a:gd name="f54" fmla="*/ f39 1 175260"/>
                  <a:gd name="f55" fmla="*/ f40 1 174307"/>
                  <a:gd name="f56" fmla="*/ f41 1 174307"/>
                  <a:gd name="f57" fmla="*/ f5 1 f26"/>
                  <a:gd name="f58" fmla="*/ f6 1 f26"/>
                  <a:gd name="f59" fmla="*/ f5 1 f27"/>
                  <a:gd name="f60" fmla="*/ f7 1 f27"/>
                  <a:gd name="f61" fmla="+- f42 0 f1"/>
                  <a:gd name="f62" fmla="*/ f43 1 f26"/>
                  <a:gd name="f63" fmla="*/ f44 1 f27"/>
                  <a:gd name="f64" fmla="*/ f45 1 f26"/>
                  <a:gd name="f65" fmla="*/ f46 1 f27"/>
                  <a:gd name="f66" fmla="*/ f47 1 f26"/>
                  <a:gd name="f67" fmla="*/ f48 1 f27"/>
                  <a:gd name="f68" fmla="*/ f49 1 f26"/>
                  <a:gd name="f69" fmla="*/ f50 1 f27"/>
                  <a:gd name="f70" fmla="*/ f51 1 f26"/>
                  <a:gd name="f71" fmla="*/ f52 1 f26"/>
                  <a:gd name="f72" fmla="*/ f53 1 f27"/>
                  <a:gd name="f73" fmla="*/ f54 1 f27"/>
                  <a:gd name="f74" fmla="*/ f55 1 f26"/>
                  <a:gd name="f75" fmla="*/ f56 1 f26"/>
                  <a:gd name="f76" fmla="*/ f57 f21 1"/>
                  <a:gd name="f77" fmla="*/ f58 f21 1"/>
                  <a:gd name="f78" fmla="*/ f60 f22 1"/>
                  <a:gd name="f79" fmla="*/ f59 f22 1"/>
                  <a:gd name="f80" fmla="*/ f62 f21 1"/>
                  <a:gd name="f81" fmla="*/ f63 f22 1"/>
                  <a:gd name="f82" fmla="*/ f64 f21 1"/>
                  <a:gd name="f83" fmla="*/ f65 f22 1"/>
                  <a:gd name="f84" fmla="*/ f66 f21 1"/>
                  <a:gd name="f85" fmla="*/ f67 f22 1"/>
                  <a:gd name="f86" fmla="*/ f68 f21 1"/>
                  <a:gd name="f87" fmla="*/ f69 f22 1"/>
                  <a:gd name="f88" fmla="*/ f70 f21 1"/>
                  <a:gd name="f89" fmla="*/ f71 f21 1"/>
                  <a:gd name="f90" fmla="*/ f72 f22 1"/>
                  <a:gd name="f91" fmla="*/ f73 f22 1"/>
                  <a:gd name="f92" fmla="*/ f74 f21 1"/>
                  <a:gd name="f93" fmla="*/ f75 f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61">
                    <a:pos x="f80" y="f81"/>
                  </a:cxn>
                  <a:cxn ang="f61">
                    <a:pos x="f82" y="f81"/>
                  </a:cxn>
                  <a:cxn ang="f61">
                    <a:pos x="f82" y="f83"/>
                  </a:cxn>
                  <a:cxn ang="f61">
                    <a:pos x="f80" y="f83"/>
                  </a:cxn>
                  <a:cxn ang="f61">
                    <a:pos x="f80" y="f81"/>
                  </a:cxn>
                  <a:cxn ang="f61">
                    <a:pos x="f84" y="f85"/>
                  </a:cxn>
                  <a:cxn ang="f61">
                    <a:pos x="f86" y="f87"/>
                  </a:cxn>
                  <a:cxn ang="f61">
                    <a:pos x="f88" y="f87"/>
                  </a:cxn>
                  <a:cxn ang="f61">
                    <a:pos x="f89" y="f85"/>
                  </a:cxn>
                  <a:cxn ang="f61">
                    <a:pos x="f89" y="f90"/>
                  </a:cxn>
                  <a:cxn ang="f61">
                    <a:pos x="f88" y="f91"/>
                  </a:cxn>
                  <a:cxn ang="f61">
                    <a:pos x="f92" y="f91"/>
                  </a:cxn>
                  <a:cxn ang="f61">
                    <a:pos x="f93" y="f90"/>
                  </a:cxn>
                  <a:cxn ang="f61">
                    <a:pos x="f84" y="f85"/>
                  </a:cxn>
                </a:cxnLst>
                <a:rect l="f76" t="f79" r="f77" b="f78"/>
                <a:pathLst>
                  <a:path w="174307" h="175260">
                    <a:moveTo>
                      <a:pt x="f8" y="f8"/>
                    </a:moveTo>
                    <a:lnTo>
                      <a:pt x="f9" y="f8"/>
                    </a:lnTo>
                    <a:lnTo>
                      <a:pt x="f9" y="f9"/>
                    </a:lnTo>
                    <a:lnTo>
                      <a:pt x="f8" y="f9"/>
                    </a:lnTo>
                    <a:lnTo>
                      <a:pt x="f8" y="f8"/>
                    </a:lnTo>
                    <a:close/>
                    <a:moveTo>
                      <a:pt x="f5" y="f10"/>
                    </a:moveTo>
                    <a:cubicBezTo>
                      <a:pt x="f5" y="f11"/>
                      <a:pt x="f12" y="f13"/>
                      <a:pt x="f14" y="f7"/>
                    </a:cubicBezTo>
                    <a:lnTo>
                      <a:pt x="f10" y="f7"/>
                    </a:lnTo>
                    <a:cubicBezTo>
                      <a:pt x="f15" y="f7"/>
                      <a:pt x="f13" y="f11"/>
                      <a:pt x="f13" y="f10"/>
                    </a:cubicBezTo>
                    <a:lnTo>
                      <a:pt x="f13" y="f14"/>
                    </a:lnTo>
                    <a:cubicBezTo>
                      <a:pt x="f13" y="f16"/>
                      <a:pt x="f17" y="f5"/>
                      <a:pt x="f10" y="f5"/>
                    </a:cubicBezTo>
                    <a:lnTo>
                      <a:pt x="f18" y="f5"/>
                    </a:lnTo>
                    <a:cubicBezTo>
                      <a:pt x="f12" y="f5"/>
                      <a:pt x="f19" y="f12"/>
                      <a:pt x="f19" y="f14"/>
                    </a:cubicBezTo>
                    <a:lnTo>
                      <a:pt x="f5" y="f10"/>
                    </a:lnTo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  <p:sp>
            <p:nvSpPr>
              <p:cNvPr id="62" name="Freeform: Shape 113">
                <a:extLst>
                  <a:ext uri="{FF2B5EF4-FFF2-40B4-BE49-F238E27FC236}">
                    <a16:creationId xmlns:a16="http://schemas.microsoft.com/office/drawing/2014/main" id="{855487E2-30B6-4C9C-B72F-DC8F557AE831}"/>
                  </a:ext>
                </a:extLst>
              </p:cNvPr>
              <p:cNvSpPr/>
              <p:nvPr/>
            </p:nvSpPr>
            <p:spPr>
              <a:xfrm>
                <a:off x="4349773" y="5745065"/>
                <a:ext cx="171861" cy="217087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570608"/>
                  <a:gd name="f7" fmla="val 720788"/>
                  <a:gd name="f8" fmla="val 490322"/>
                  <a:gd name="f9" fmla="val 680646"/>
                  <a:gd name="f10" fmla="val 702150"/>
                  <a:gd name="f11" fmla="val 553404"/>
                  <a:gd name="f12" fmla="val 530466"/>
                  <a:gd name="f13" fmla="val 41577"/>
                  <a:gd name="f14" fmla="val 18637"/>
                  <a:gd name="f15" fmla="val 703584"/>
                  <a:gd name="f16" fmla="val 657706"/>
                  <a:gd name="f17" fmla="val 639067"/>
                  <a:gd name="f18" fmla="+- 0 0 -90"/>
                  <a:gd name="f19" fmla="*/ f3 1 570608"/>
                  <a:gd name="f20" fmla="*/ f4 1 720788"/>
                  <a:gd name="f21" fmla="+- f7 0 f5"/>
                  <a:gd name="f22" fmla="+- f6 0 f5"/>
                  <a:gd name="f23" fmla="*/ f18 f0 1"/>
                  <a:gd name="f24" fmla="*/ f22 1 570608"/>
                  <a:gd name="f25" fmla="*/ f21 1 720788"/>
                  <a:gd name="f26" fmla="*/ 490322 f22 1"/>
                  <a:gd name="f27" fmla="*/ 0 f21 1"/>
                  <a:gd name="f28" fmla="*/ 570608 f22 1"/>
                  <a:gd name="f29" fmla="*/ 680646 f21 1"/>
                  <a:gd name="f30" fmla="*/ 530466 f22 1"/>
                  <a:gd name="f31" fmla="*/ 720788 f21 1"/>
                  <a:gd name="f32" fmla="*/ 41577 f22 1"/>
                  <a:gd name="f33" fmla="*/ 0 f22 1"/>
                  <a:gd name="f34" fmla="*/ 639067 f21 1"/>
                  <a:gd name="f35" fmla="*/ f23 1 f2"/>
                  <a:gd name="f36" fmla="*/ f26 1 570608"/>
                  <a:gd name="f37" fmla="*/ f27 1 720788"/>
                  <a:gd name="f38" fmla="*/ f28 1 570608"/>
                  <a:gd name="f39" fmla="*/ f29 1 720788"/>
                  <a:gd name="f40" fmla="*/ f30 1 570608"/>
                  <a:gd name="f41" fmla="*/ f31 1 720788"/>
                  <a:gd name="f42" fmla="*/ f32 1 570608"/>
                  <a:gd name="f43" fmla="*/ f33 1 570608"/>
                  <a:gd name="f44" fmla="*/ f34 1 720788"/>
                  <a:gd name="f45" fmla="*/ f5 1 f24"/>
                  <a:gd name="f46" fmla="*/ f6 1 f24"/>
                  <a:gd name="f47" fmla="*/ f5 1 f25"/>
                  <a:gd name="f48" fmla="*/ f7 1 f25"/>
                  <a:gd name="f49" fmla="+- f35 0 f1"/>
                  <a:gd name="f50" fmla="*/ f36 1 f24"/>
                  <a:gd name="f51" fmla="*/ f37 1 f25"/>
                  <a:gd name="f52" fmla="*/ f38 1 f24"/>
                  <a:gd name="f53" fmla="*/ f39 1 f25"/>
                  <a:gd name="f54" fmla="*/ f40 1 f24"/>
                  <a:gd name="f55" fmla="*/ f41 1 f25"/>
                  <a:gd name="f56" fmla="*/ f42 1 f24"/>
                  <a:gd name="f57" fmla="*/ f43 1 f24"/>
                  <a:gd name="f58" fmla="*/ f44 1 f25"/>
                  <a:gd name="f59" fmla="*/ f45 f19 1"/>
                  <a:gd name="f60" fmla="*/ f46 f19 1"/>
                  <a:gd name="f61" fmla="*/ f48 f20 1"/>
                  <a:gd name="f62" fmla="*/ f47 f20 1"/>
                  <a:gd name="f63" fmla="*/ f50 f19 1"/>
                  <a:gd name="f64" fmla="*/ f51 f20 1"/>
                  <a:gd name="f65" fmla="*/ f52 f19 1"/>
                  <a:gd name="f66" fmla="*/ f53 f20 1"/>
                  <a:gd name="f67" fmla="*/ f54 f19 1"/>
                  <a:gd name="f68" fmla="*/ f55 f20 1"/>
                  <a:gd name="f69" fmla="*/ f56 f19 1"/>
                  <a:gd name="f70" fmla="*/ f57 f19 1"/>
                  <a:gd name="f71" fmla="*/ f58 f2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9">
                    <a:pos x="f63" y="f64"/>
                  </a:cxn>
                  <a:cxn ang="f49">
                    <a:pos x="f65" y="f64"/>
                  </a:cxn>
                  <a:cxn ang="f49">
                    <a:pos x="f65" y="f66"/>
                  </a:cxn>
                  <a:cxn ang="f49">
                    <a:pos x="f67" y="f68"/>
                  </a:cxn>
                  <a:cxn ang="f49">
                    <a:pos x="f69" y="f68"/>
                  </a:cxn>
                  <a:cxn ang="f49">
                    <a:pos x="f70" y="f66"/>
                  </a:cxn>
                  <a:cxn ang="f49">
                    <a:pos x="f69" y="f71"/>
                  </a:cxn>
                  <a:cxn ang="f49">
                    <a:pos x="f63" y="f71"/>
                  </a:cxn>
                </a:cxnLst>
                <a:rect l="f59" t="f62" r="f60" b="f61"/>
                <a:pathLst>
                  <a:path w="570608" h="720788">
                    <a:moveTo>
                      <a:pt x="f8" y="f5"/>
                    </a:moveTo>
                    <a:lnTo>
                      <a:pt x="f6" y="f5"/>
                    </a:lnTo>
                    <a:lnTo>
                      <a:pt x="f6" y="f9"/>
                    </a:lnTo>
                    <a:cubicBezTo>
                      <a:pt x="f6" y="f10"/>
                      <a:pt x="f11" y="f7"/>
                      <a:pt x="f12" y="f7"/>
                    </a:cubicBezTo>
                    <a:lnTo>
                      <a:pt x="f13" y="f7"/>
                    </a:lnTo>
                    <a:cubicBezTo>
                      <a:pt x="f14" y="f7"/>
                      <a:pt x="f5" y="f15"/>
                      <a:pt x="f5" y="f9"/>
                    </a:cubicBezTo>
                    <a:cubicBezTo>
                      <a:pt x="f5" y="f16"/>
                      <a:pt x="f14" y="f17"/>
                      <a:pt x="f13" y="f17"/>
                    </a:cubicBezTo>
                    <a:lnTo>
                      <a:pt x="f8" y="f17"/>
                    </a:lnTo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  <p:sp>
            <p:nvSpPr>
              <p:cNvPr id="63" name="Graphic 51">
                <a:extLst>
                  <a:ext uri="{FF2B5EF4-FFF2-40B4-BE49-F238E27FC236}">
                    <a16:creationId xmlns:a16="http://schemas.microsoft.com/office/drawing/2014/main" id="{6F402A69-3B4E-4036-19C4-FD88D750CF99}"/>
                  </a:ext>
                </a:extLst>
              </p:cNvPr>
              <p:cNvSpPr/>
              <p:nvPr/>
            </p:nvSpPr>
            <p:spPr>
              <a:xfrm>
                <a:off x="4097472" y="5623139"/>
                <a:ext cx="79022" cy="7945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174307"/>
                  <a:gd name="f7" fmla="val 175260"/>
                  <a:gd name="f8" fmla="val 54292"/>
                  <a:gd name="f9" fmla="val 120967"/>
                  <a:gd name="f10" fmla="val 26670"/>
                  <a:gd name="f11" fmla="val 147638"/>
                  <a:gd name="f12" fmla="val 162877"/>
                  <a:gd name="f13" fmla="val 148590"/>
                  <a:gd name="f14" fmla="val 11430"/>
                  <a:gd name="f15" fmla="val 161925"/>
                  <a:gd name="f16" fmla="val 12382"/>
                  <a:gd name="f17" fmla="+- 0 0 -90"/>
                  <a:gd name="f18" fmla="*/ f3 1 174307"/>
                  <a:gd name="f19" fmla="*/ f4 1 175260"/>
                  <a:gd name="f20" fmla="+- f7 0 f5"/>
                  <a:gd name="f21" fmla="+- f6 0 f5"/>
                  <a:gd name="f22" fmla="*/ f17 f0 1"/>
                  <a:gd name="f23" fmla="*/ f21 1 174307"/>
                  <a:gd name="f24" fmla="*/ f20 1 175260"/>
                  <a:gd name="f25" fmla="*/ 54292 f21 1"/>
                  <a:gd name="f26" fmla="*/ 54292 f20 1"/>
                  <a:gd name="f27" fmla="*/ 120967 f21 1"/>
                  <a:gd name="f28" fmla="*/ 120967 f20 1"/>
                  <a:gd name="f29" fmla="*/ 26670 f21 1"/>
                  <a:gd name="f30" fmla="*/ 175260 f20 1"/>
                  <a:gd name="f31" fmla="*/ 147638 f21 1"/>
                  <a:gd name="f32" fmla="*/ 174307 f21 1"/>
                  <a:gd name="f33" fmla="*/ 148590 f20 1"/>
                  <a:gd name="f34" fmla="*/ 26670 f20 1"/>
                  <a:gd name="f35" fmla="*/ 0 f20 1"/>
                  <a:gd name="f36" fmla="*/ 0 f21 1"/>
                  <a:gd name="f37" fmla="*/ 147638 f20 1"/>
                  <a:gd name="f38" fmla="*/ f22 1 f2"/>
                  <a:gd name="f39" fmla="*/ f25 1 174307"/>
                  <a:gd name="f40" fmla="*/ f26 1 175260"/>
                  <a:gd name="f41" fmla="*/ f27 1 174307"/>
                  <a:gd name="f42" fmla="*/ f28 1 175260"/>
                  <a:gd name="f43" fmla="*/ f29 1 174307"/>
                  <a:gd name="f44" fmla="*/ f30 1 175260"/>
                  <a:gd name="f45" fmla="*/ f31 1 174307"/>
                  <a:gd name="f46" fmla="*/ f32 1 174307"/>
                  <a:gd name="f47" fmla="*/ f33 1 175260"/>
                  <a:gd name="f48" fmla="*/ f34 1 175260"/>
                  <a:gd name="f49" fmla="*/ f35 1 175260"/>
                  <a:gd name="f50" fmla="*/ f36 1 174307"/>
                  <a:gd name="f51" fmla="*/ f37 1 175260"/>
                  <a:gd name="f52" fmla="*/ f5 1 f23"/>
                  <a:gd name="f53" fmla="*/ f6 1 f23"/>
                  <a:gd name="f54" fmla="*/ f5 1 f24"/>
                  <a:gd name="f55" fmla="*/ f7 1 f24"/>
                  <a:gd name="f56" fmla="+- f38 0 f1"/>
                  <a:gd name="f57" fmla="*/ f39 1 f23"/>
                  <a:gd name="f58" fmla="*/ f40 1 f24"/>
                  <a:gd name="f59" fmla="*/ f41 1 f23"/>
                  <a:gd name="f60" fmla="*/ f42 1 f24"/>
                  <a:gd name="f61" fmla="*/ f43 1 f23"/>
                  <a:gd name="f62" fmla="*/ f44 1 f24"/>
                  <a:gd name="f63" fmla="*/ f45 1 f23"/>
                  <a:gd name="f64" fmla="*/ f46 1 f23"/>
                  <a:gd name="f65" fmla="*/ f47 1 f24"/>
                  <a:gd name="f66" fmla="*/ f48 1 f24"/>
                  <a:gd name="f67" fmla="*/ f49 1 f24"/>
                  <a:gd name="f68" fmla="*/ f50 1 f23"/>
                  <a:gd name="f69" fmla="*/ f51 1 f24"/>
                  <a:gd name="f70" fmla="*/ f52 f18 1"/>
                  <a:gd name="f71" fmla="*/ f53 f18 1"/>
                  <a:gd name="f72" fmla="*/ f55 f19 1"/>
                  <a:gd name="f73" fmla="*/ f54 f19 1"/>
                  <a:gd name="f74" fmla="*/ f57 f18 1"/>
                  <a:gd name="f75" fmla="*/ f58 f19 1"/>
                  <a:gd name="f76" fmla="*/ f59 f18 1"/>
                  <a:gd name="f77" fmla="*/ f60 f19 1"/>
                  <a:gd name="f78" fmla="*/ f61 f18 1"/>
                  <a:gd name="f79" fmla="*/ f62 f19 1"/>
                  <a:gd name="f80" fmla="*/ f63 f18 1"/>
                  <a:gd name="f81" fmla="*/ f64 f18 1"/>
                  <a:gd name="f82" fmla="*/ f65 f19 1"/>
                  <a:gd name="f83" fmla="*/ f66 f19 1"/>
                  <a:gd name="f84" fmla="*/ f67 f19 1"/>
                  <a:gd name="f85" fmla="*/ f68 f18 1"/>
                  <a:gd name="f86" fmla="*/ f69 f19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56">
                    <a:pos x="f74" y="f75"/>
                  </a:cxn>
                  <a:cxn ang="f56">
                    <a:pos x="f76" y="f75"/>
                  </a:cxn>
                  <a:cxn ang="f56">
                    <a:pos x="f76" y="f77"/>
                  </a:cxn>
                  <a:cxn ang="f56">
                    <a:pos x="f74" y="f77"/>
                  </a:cxn>
                  <a:cxn ang="f56">
                    <a:pos x="f74" y="f75"/>
                  </a:cxn>
                  <a:cxn ang="f56">
                    <a:pos x="f78" y="f79"/>
                  </a:cxn>
                  <a:cxn ang="f56">
                    <a:pos x="f80" y="f79"/>
                  </a:cxn>
                  <a:cxn ang="f56">
                    <a:pos x="f81" y="f82"/>
                  </a:cxn>
                  <a:cxn ang="f56">
                    <a:pos x="f81" y="f83"/>
                  </a:cxn>
                  <a:cxn ang="f56">
                    <a:pos x="f80" y="f84"/>
                  </a:cxn>
                  <a:cxn ang="f56">
                    <a:pos x="f80" y="f84"/>
                  </a:cxn>
                  <a:cxn ang="f56">
                    <a:pos x="f78" y="f84"/>
                  </a:cxn>
                  <a:cxn ang="f56">
                    <a:pos x="f85" y="f83"/>
                  </a:cxn>
                  <a:cxn ang="f56">
                    <a:pos x="f85" y="f83"/>
                  </a:cxn>
                  <a:cxn ang="f56">
                    <a:pos x="f85" y="f86"/>
                  </a:cxn>
                  <a:cxn ang="f56">
                    <a:pos x="f78" y="f79"/>
                  </a:cxn>
                  <a:cxn ang="f56">
                    <a:pos x="f78" y="f79"/>
                  </a:cxn>
                </a:cxnLst>
                <a:rect l="f70" t="f73" r="f71" b="f72"/>
                <a:pathLst>
                  <a:path w="174307" h="175260">
                    <a:moveTo>
                      <a:pt x="f8" y="f8"/>
                    </a:moveTo>
                    <a:lnTo>
                      <a:pt x="f9" y="f8"/>
                    </a:lnTo>
                    <a:lnTo>
                      <a:pt x="f9" y="f9"/>
                    </a:lnTo>
                    <a:lnTo>
                      <a:pt x="f8" y="f9"/>
                    </a:lnTo>
                    <a:lnTo>
                      <a:pt x="f8" y="f8"/>
                    </a:lnTo>
                    <a:close/>
                    <a:moveTo>
                      <a:pt x="f10" y="f7"/>
                    </a:moveTo>
                    <a:lnTo>
                      <a:pt x="f11" y="f7"/>
                    </a:lnTo>
                    <a:cubicBezTo>
                      <a:pt x="f12" y="f7"/>
                      <a:pt x="f6" y="f12"/>
                      <a:pt x="f6" y="f13"/>
                    </a:cubicBezTo>
                    <a:lnTo>
                      <a:pt x="f6" y="f10"/>
                    </a:lnTo>
                    <a:cubicBezTo>
                      <a:pt x="f6" y="f14"/>
                      <a:pt x="f15" y="f5"/>
                      <a:pt x="f11" y="f5"/>
                    </a:cubicBezTo>
                    <a:lnTo>
                      <a:pt x="f11" y="f5"/>
                    </a:lnTo>
                    <a:lnTo>
                      <a:pt x="f10" y="f5"/>
                    </a:lnTo>
                    <a:cubicBezTo>
                      <a:pt x="f14" y="f5"/>
                      <a:pt x="f5" y="f16"/>
                      <a:pt x="f5" y="f10"/>
                    </a:cubicBezTo>
                    <a:lnTo>
                      <a:pt x="f5" y="f10"/>
                    </a:lnTo>
                    <a:lnTo>
                      <a:pt x="f5" y="f11"/>
                    </a:lnTo>
                    <a:cubicBezTo>
                      <a:pt x="f5" y="f12"/>
                      <a:pt x="f14" y="f7"/>
                      <a:pt x="f10" y="f7"/>
                    </a:cubicBezTo>
                    <a:lnTo>
                      <a:pt x="f10" y="f7"/>
                    </a:lnTo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  <p:sp>
            <p:nvSpPr>
              <p:cNvPr id="64" name="Rectangle 115">
                <a:extLst>
                  <a:ext uri="{FF2B5EF4-FFF2-40B4-BE49-F238E27FC236}">
                    <a16:creationId xmlns:a16="http://schemas.microsoft.com/office/drawing/2014/main" id="{9275FC32-AA88-F4F2-D7CE-01316BB91A61}"/>
                  </a:ext>
                </a:extLst>
              </p:cNvPr>
              <p:cNvSpPr/>
              <p:nvPr/>
            </p:nvSpPr>
            <p:spPr>
              <a:xfrm>
                <a:off x="4037853" y="5481416"/>
                <a:ext cx="24633" cy="178966"/>
              </a:xfrm>
              <a:prstGeom prst="rect">
                <a:avLst/>
              </a:pr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1" compatLnSpc="1">
                <a:noAutofit/>
              </a:bodyPr>
              <a:lstStyle/>
              <a:p>
                <a:pPr marL="0" marR="0" lvl="0" indent="0" algn="ctr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2000" b="0" i="0" u="none" strike="noStrike" kern="1200" cap="none" spc="0" baseline="0">
                  <a:solidFill>
                    <a:srgbClr val="FFFFFF"/>
                  </a:solidFill>
                  <a:uFillTx/>
                  <a:latin typeface="VeluxForOffice"/>
                </a:endParaRPr>
              </a:p>
            </p:txBody>
          </p:sp>
          <p:grpSp>
            <p:nvGrpSpPr>
              <p:cNvPr id="65" name="Group 116">
                <a:extLst>
                  <a:ext uri="{FF2B5EF4-FFF2-40B4-BE49-F238E27FC236}">
                    <a16:creationId xmlns:a16="http://schemas.microsoft.com/office/drawing/2014/main" id="{A2C89452-7088-7F4E-5812-3BFD509372B3}"/>
                  </a:ext>
                </a:extLst>
              </p:cNvPr>
              <p:cNvGrpSpPr/>
              <p:nvPr/>
            </p:nvGrpSpPr>
            <p:grpSpPr>
              <a:xfrm>
                <a:off x="4370612" y="5285771"/>
                <a:ext cx="68534" cy="320305"/>
                <a:chOff x="4370612" y="5285771"/>
                <a:chExt cx="68534" cy="320305"/>
              </a:xfrm>
            </p:grpSpPr>
            <p:cxnSp>
              <p:nvCxnSpPr>
                <p:cNvPr id="66" name="Straight Connector 125">
                  <a:extLst>
                    <a:ext uri="{FF2B5EF4-FFF2-40B4-BE49-F238E27FC236}">
                      <a16:creationId xmlns:a16="http://schemas.microsoft.com/office/drawing/2014/main" id="{EF28D93D-3E2A-F1B0-38F0-3BA643FCE049}"/>
                    </a:ext>
                  </a:extLst>
                </p:cNvPr>
                <p:cNvCxnSpPr/>
                <p:nvPr/>
              </p:nvCxnSpPr>
              <p:spPr>
                <a:xfrm flipH="1" flipV="1">
                  <a:off x="4404481" y="5469895"/>
                  <a:ext cx="26984" cy="74112"/>
                </a:xfrm>
                <a:prstGeom prst="straightConnector1">
                  <a:avLst/>
                </a:prstGeom>
                <a:noFill/>
                <a:ln w="12701" cap="flat">
                  <a:solidFill>
                    <a:srgbClr val="FFFFFF"/>
                  </a:solidFill>
                  <a:prstDash val="solid"/>
                  <a:miter/>
                </a:ln>
              </p:spPr>
            </p:cxnSp>
            <p:cxnSp>
              <p:nvCxnSpPr>
                <p:cNvPr id="67" name="Straight Connector 126">
                  <a:extLst>
                    <a:ext uri="{FF2B5EF4-FFF2-40B4-BE49-F238E27FC236}">
                      <a16:creationId xmlns:a16="http://schemas.microsoft.com/office/drawing/2014/main" id="{3CF4D510-66C5-36FB-BB98-259CC3D4EF24}"/>
                    </a:ext>
                  </a:extLst>
                </p:cNvPr>
                <p:cNvCxnSpPr/>
                <p:nvPr/>
              </p:nvCxnSpPr>
              <p:spPr>
                <a:xfrm flipV="1">
                  <a:off x="4404884" y="5428481"/>
                  <a:ext cx="0" cy="41852"/>
                </a:xfrm>
                <a:prstGeom prst="straightConnector1">
                  <a:avLst/>
                </a:prstGeom>
                <a:noFill/>
                <a:ln w="12701" cap="flat">
                  <a:solidFill>
                    <a:srgbClr val="FFFFFF"/>
                  </a:solidFill>
                  <a:prstDash val="solid"/>
                  <a:miter/>
                </a:ln>
              </p:spPr>
            </p:cxnSp>
            <p:cxnSp>
              <p:nvCxnSpPr>
                <p:cNvPr id="68" name="Straight Connector 127">
                  <a:extLst>
                    <a:ext uri="{FF2B5EF4-FFF2-40B4-BE49-F238E27FC236}">
                      <a16:creationId xmlns:a16="http://schemas.microsoft.com/office/drawing/2014/main" id="{6D6111A6-0CEA-3C6B-EC45-61D478223AB1}"/>
                    </a:ext>
                  </a:extLst>
                </p:cNvPr>
                <p:cNvCxnSpPr/>
                <p:nvPr/>
              </p:nvCxnSpPr>
              <p:spPr>
                <a:xfrm flipV="1">
                  <a:off x="4377360" y="5469895"/>
                  <a:ext cx="26984" cy="74112"/>
                </a:xfrm>
                <a:prstGeom prst="straightConnector1">
                  <a:avLst/>
                </a:prstGeom>
                <a:noFill/>
                <a:ln w="12701" cap="flat">
                  <a:solidFill>
                    <a:srgbClr val="FFFFFF"/>
                  </a:solidFill>
                  <a:prstDash val="solid"/>
                  <a:miter/>
                </a:ln>
              </p:spPr>
            </p:cxnSp>
            <p:cxnSp>
              <p:nvCxnSpPr>
                <p:cNvPr id="69" name="Straight Connector 128">
                  <a:extLst>
                    <a:ext uri="{FF2B5EF4-FFF2-40B4-BE49-F238E27FC236}">
                      <a16:creationId xmlns:a16="http://schemas.microsoft.com/office/drawing/2014/main" id="{C7F0CB46-7AE1-B37A-879B-4DFED4CE9D44}"/>
                    </a:ext>
                  </a:extLst>
                </p:cNvPr>
                <p:cNvCxnSpPr/>
                <p:nvPr/>
              </p:nvCxnSpPr>
              <p:spPr>
                <a:xfrm>
                  <a:off x="4399653" y="5285771"/>
                  <a:ext cx="0" cy="122859"/>
                </a:xfrm>
                <a:prstGeom prst="straightConnector1">
                  <a:avLst/>
                </a:prstGeom>
                <a:noFill/>
                <a:ln w="12701" cap="flat">
                  <a:solidFill>
                    <a:srgbClr val="FFFFFF"/>
                  </a:solidFill>
                  <a:prstDash val="solid"/>
                  <a:miter/>
                </a:ln>
              </p:spPr>
            </p:cxnSp>
            <p:cxnSp>
              <p:nvCxnSpPr>
                <p:cNvPr id="70" name="Straight Connector 129">
                  <a:extLst>
                    <a:ext uri="{FF2B5EF4-FFF2-40B4-BE49-F238E27FC236}">
                      <a16:creationId xmlns:a16="http://schemas.microsoft.com/office/drawing/2014/main" id="{E08967DA-222F-C313-527B-42E533AB510D}"/>
                    </a:ext>
                  </a:extLst>
                </p:cNvPr>
                <p:cNvCxnSpPr/>
                <p:nvPr/>
              </p:nvCxnSpPr>
              <p:spPr>
                <a:xfrm>
                  <a:off x="4408624" y="5285771"/>
                  <a:ext cx="0" cy="122859"/>
                </a:xfrm>
                <a:prstGeom prst="straightConnector1">
                  <a:avLst/>
                </a:prstGeom>
                <a:noFill/>
                <a:ln w="12701" cap="flat">
                  <a:solidFill>
                    <a:srgbClr val="FFFFFF"/>
                  </a:solidFill>
                  <a:prstDash val="solid"/>
                  <a:miter/>
                </a:ln>
              </p:spPr>
            </p:cxnSp>
            <p:sp>
              <p:nvSpPr>
                <p:cNvPr id="71" name="Rectangle: Top Corners Snipped 130">
                  <a:extLst>
                    <a:ext uri="{FF2B5EF4-FFF2-40B4-BE49-F238E27FC236}">
                      <a16:creationId xmlns:a16="http://schemas.microsoft.com/office/drawing/2014/main" id="{22CDA563-DF80-49FA-4007-BE4D8AD68ED0}"/>
                    </a:ext>
                  </a:extLst>
                </p:cNvPr>
                <p:cNvSpPr/>
                <p:nvPr/>
              </p:nvSpPr>
              <p:spPr>
                <a:xfrm rot="10799991">
                  <a:off x="4393966" y="5398654"/>
                  <a:ext cx="21689" cy="31848"/>
                </a:xfrm>
                <a:custGeom>
                  <a:avLst/>
                  <a:gdLst>
                    <a:gd name="f0" fmla="val w"/>
                    <a:gd name="f1" fmla="val h"/>
                    <a:gd name="f2" fmla="val ss"/>
                    <a:gd name="f3" fmla="val 0"/>
                    <a:gd name="f4" fmla="val 33859"/>
                    <a:gd name="f5" fmla="abs f0"/>
                    <a:gd name="f6" fmla="abs f1"/>
                    <a:gd name="f7" fmla="abs f2"/>
                    <a:gd name="f8" fmla="?: f5 f0 1"/>
                    <a:gd name="f9" fmla="?: f6 f1 1"/>
                    <a:gd name="f10" fmla="?: f7 f2 1"/>
                    <a:gd name="f11" fmla="*/ f8 1 21600"/>
                    <a:gd name="f12" fmla="*/ f9 1 21600"/>
                    <a:gd name="f13" fmla="*/ 21600 f8 1"/>
                    <a:gd name="f14" fmla="*/ 21600 f9 1"/>
                    <a:gd name="f15" fmla="min f12 f11"/>
                    <a:gd name="f16" fmla="*/ f13 1 f10"/>
                    <a:gd name="f17" fmla="*/ f14 1 f10"/>
                    <a:gd name="f18" fmla="val f16"/>
                    <a:gd name="f19" fmla="val f17"/>
                    <a:gd name="f20" fmla="*/ f3 f15 1"/>
                    <a:gd name="f21" fmla="+- f19 0 f3"/>
                    <a:gd name="f22" fmla="+- f18 0 f3"/>
                    <a:gd name="f23" fmla="*/ f18 f15 1"/>
                    <a:gd name="f24" fmla="*/ f19 f15 1"/>
                    <a:gd name="f25" fmla="min f22 f21"/>
                    <a:gd name="f26" fmla="*/ f25 f4 1"/>
                    <a:gd name="f27" fmla="*/ f25 f3 1"/>
                    <a:gd name="f28" fmla="*/ f26 1 100000"/>
                    <a:gd name="f29" fmla="*/ f27 1 100000"/>
                    <a:gd name="f30" fmla="+- f18 0 f28"/>
                    <a:gd name="f31" fmla="+- f18 0 f29"/>
                    <a:gd name="f32" fmla="+- f19 0 f29"/>
                    <a:gd name="f33" fmla="+- f28 0 f29"/>
                    <a:gd name="f34" fmla="*/ f28 1 2"/>
                    <a:gd name="f35" fmla="*/ f28 f15 1"/>
                    <a:gd name="f36" fmla="*/ f29 f15 1"/>
                    <a:gd name="f37" fmla="?: f33 f28 f29"/>
                    <a:gd name="f38" fmla="+- f32 f19 0"/>
                    <a:gd name="f39" fmla="*/ f34 f15 1"/>
                    <a:gd name="f40" fmla="*/ f30 f15 1"/>
                    <a:gd name="f41" fmla="*/ f32 f15 1"/>
                    <a:gd name="f42" fmla="*/ f31 f15 1"/>
                    <a:gd name="f43" fmla="*/ f37 1 2"/>
                    <a:gd name="f44" fmla="*/ f38 1 2"/>
                    <a:gd name="f45" fmla="+- f18 0 f43"/>
                    <a:gd name="f46" fmla="*/ f43 f15 1"/>
                    <a:gd name="f47" fmla="*/ f44 f15 1"/>
                    <a:gd name="f48" fmla="*/ f45 f15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</a:cxnLst>
                  <a:rect l="f46" t="f39" r="f48" b="f47"/>
                  <a:pathLst>
                    <a:path>
                      <a:moveTo>
                        <a:pt x="f35" y="f20"/>
                      </a:moveTo>
                      <a:lnTo>
                        <a:pt x="f40" y="f20"/>
                      </a:lnTo>
                      <a:lnTo>
                        <a:pt x="f23" y="f35"/>
                      </a:lnTo>
                      <a:lnTo>
                        <a:pt x="f23" y="f41"/>
                      </a:lnTo>
                      <a:lnTo>
                        <a:pt x="f42" y="f24"/>
                      </a:lnTo>
                      <a:lnTo>
                        <a:pt x="f36" y="f24"/>
                      </a:lnTo>
                      <a:lnTo>
                        <a:pt x="f20" y="f41"/>
                      </a:lnTo>
                      <a:lnTo>
                        <a:pt x="f20" y="f3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72" name="Graphic 51">
                  <a:extLst>
                    <a:ext uri="{FF2B5EF4-FFF2-40B4-BE49-F238E27FC236}">
                      <a16:creationId xmlns:a16="http://schemas.microsoft.com/office/drawing/2014/main" id="{65D1746D-750A-F6C1-0DF0-5A5CBAB86CC6}"/>
                    </a:ext>
                  </a:extLst>
                </p:cNvPr>
                <p:cNvSpPr/>
                <p:nvPr/>
              </p:nvSpPr>
              <p:spPr>
                <a:xfrm>
                  <a:off x="4370612" y="5537167"/>
                  <a:ext cx="68534" cy="68909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60"/>
                    <a:gd name="f8" fmla="val 54293"/>
                    <a:gd name="f9" fmla="val 120968"/>
                    <a:gd name="f10" fmla="val 147638"/>
                    <a:gd name="f11" fmla="val 162877"/>
                    <a:gd name="f12" fmla="val 12383"/>
                    <a:gd name="f13" fmla="val 174308"/>
                    <a:gd name="f14" fmla="val 26670"/>
                    <a:gd name="f15" fmla="val 162878"/>
                    <a:gd name="f16" fmla="val 11430"/>
                    <a:gd name="f17" fmla="val 161925"/>
                    <a:gd name="f18" fmla="val 27623"/>
                    <a:gd name="f19" fmla="val 953"/>
                    <a:gd name="f20" fmla="+- 0 0 -90"/>
                    <a:gd name="f21" fmla="*/ f3 1 174307"/>
                    <a:gd name="f22" fmla="*/ f4 1 175260"/>
                    <a:gd name="f23" fmla="+- f7 0 f5"/>
                    <a:gd name="f24" fmla="+- f6 0 f5"/>
                    <a:gd name="f25" fmla="*/ f20 f0 1"/>
                    <a:gd name="f26" fmla="*/ f24 1 174307"/>
                    <a:gd name="f27" fmla="*/ f23 1 175260"/>
                    <a:gd name="f28" fmla="*/ 54293 f24 1"/>
                    <a:gd name="f29" fmla="*/ 54293 f23 1"/>
                    <a:gd name="f30" fmla="*/ 120968 f24 1"/>
                    <a:gd name="f31" fmla="*/ 120968 f23 1"/>
                    <a:gd name="f32" fmla="*/ 0 f24 1"/>
                    <a:gd name="f33" fmla="*/ 147638 f23 1"/>
                    <a:gd name="f34" fmla="*/ 26670 f24 1"/>
                    <a:gd name="f35" fmla="*/ 175260 f23 1"/>
                    <a:gd name="f36" fmla="*/ 147638 f24 1"/>
                    <a:gd name="f37" fmla="*/ 174308 f24 1"/>
                    <a:gd name="f38" fmla="*/ 26670 f23 1"/>
                    <a:gd name="f39" fmla="*/ 0 f23 1"/>
                    <a:gd name="f40" fmla="*/ 27623 f24 1"/>
                    <a:gd name="f41" fmla="*/ 953 f24 1"/>
                    <a:gd name="f42" fmla="*/ f25 1 f2"/>
                    <a:gd name="f43" fmla="*/ f28 1 174307"/>
                    <a:gd name="f44" fmla="*/ f29 1 175260"/>
                    <a:gd name="f45" fmla="*/ f30 1 174307"/>
                    <a:gd name="f46" fmla="*/ f31 1 175260"/>
                    <a:gd name="f47" fmla="*/ f32 1 174307"/>
                    <a:gd name="f48" fmla="*/ f33 1 175260"/>
                    <a:gd name="f49" fmla="*/ f34 1 174307"/>
                    <a:gd name="f50" fmla="*/ f35 1 175260"/>
                    <a:gd name="f51" fmla="*/ f36 1 174307"/>
                    <a:gd name="f52" fmla="*/ f37 1 174307"/>
                    <a:gd name="f53" fmla="*/ f38 1 175260"/>
                    <a:gd name="f54" fmla="*/ f39 1 175260"/>
                    <a:gd name="f55" fmla="*/ f40 1 174307"/>
                    <a:gd name="f56" fmla="*/ f41 1 174307"/>
                    <a:gd name="f57" fmla="*/ f5 1 f26"/>
                    <a:gd name="f58" fmla="*/ f6 1 f26"/>
                    <a:gd name="f59" fmla="*/ f5 1 f27"/>
                    <a:gd name="f60" fmla="*/ f7 1 f27"/>
                    <a:gd name="f61" fmla="+- f42 0 f1"/>
                    <a:gd name="f62" fmla="*/ f43 1 f26"/>
                    <a:gd name="f63" fmla="*/ f44 1 f27"/>
                    <a:gd name="f64" fmla="*/ f45 1 f26"/>
                    <a:gd name="f65" fmla="*/ f46 1 f27"/>
                    <a:gd name="f66" fmla="*/ f47 1 f26"/>
                    <a:gd name="f67" fmla="*/ f48 1 f27"/>
                    <a:gd name="f68" fmla="*/ f49 1 f26"/>
                    <a:gd name="f69" fmla="*/ f50 1 f27"/>
                    <a:gd name="f70" fmla="*/ f51 1 f26"/>
                    <a:gd name="f71" fmla="*/ f52 1 f26"/>
                    <a:gd name="f72" fmla="*/ f53 1 f27"/>
                    <a:gd name="f73" fmla="*/ f54 1 f27"/>
                    <a:gd name="f74" fmla="*/ f55 1 f26"/>
                    <a:gd name="f75" fmla="*/ f56 1 f26"/>
                    <a:gd name="f76" fmla="*/ f57 f21 1"/>
                    <a:gd name="f77" fmla="*/ f58 f21 1"/>
                    <a:gd name="f78" fmla="*/ f60 f22 1"/>
                    <a:gd name="f79" fmla="*/ f59 f22 1"/>
                    <a:gd name="f80" fmla="*/ f62 f21 1"/>
                    <a:gd name="f81" fmla="*/ f63 f22 1"/>
                    <a:gd name="f82" fmla="*/ f64 f21 1"/>
                    <a:gd name="f83" fmla="*/ f65 f22 1"/>
                    <a:gd name="f84" fmla="*/ f66 f21 1"/>
                    <a:gd name="f85" fmla="*/ f67 f22 1"/>
                    <a:gd name="f86" fmla="*/ f68 f21 1"/>
                    <a:gd name="f87" fmla="*/ f69 f22 1"/>
                    <a:gd name="f88" fmla="*/ f70 f21 1"/>
                    <a:gd name="f89" fmla="*/ f71 f21 1"/>
                    <a:gd name="f90" fmla="*/ f72 f22 1"/>
                    <a:gd name="f91" fmla="*/ f73 f22 1"/>
                    <a:gd name="f92" fmla="*/ f74 f21 1"/>
                    <a:gd name="f93" fmla="*/ f75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1">
                      <a:pos x="f80" y="f81"/>
                    </a:cxn>
                    <a:cxn ang="f61">
                      <a:pos x="f82" y="f81"/>
                    </a:cxn>
                    <a:cxn ang="f61">
                      <a:pos x="f82" y="f83"/>
                    </a:cxn>
                    <a:cxn ang="f61">
                      <a:pos x="f80" y="f83"/>
                    </a:cxn>
                    <a:cxn ang="f61">
                      <a:pos x="f80" y="f81"/>
                    </a:cxn>
                    <a:cxn ang="f61">
                      <a:pos x="f84" y="f85"/>
                    </a:cxn>
                    <a:cxn ang="f61">
                      <a:pos x="f86" y="f87"/>
                    </a:cxn>
                    <a:cxn ang="f61">
                      <a:pos x="f88" y="f87"/>
                    </a:cxn>
                    <a:cxn ang="f61">
                      <a:pos x="f89" y="f85"/>
                    </a:cxn>
                    <a:cxn ang="f61">
                      <a:pos x="f89" y="f90"/>
                    </a:cxn>
                    <a:cxn ang="f61">
                      <a:pos x="f88" y="f91"/>
                    </a:cxn>
                    <a:cxn ang="f61">
                      <a:pos x="f92" y="f91"/>
                    </a:cxn>
                    <a:cxn ang="f61">
                      <a:pos x="f93" y="f90"/>
                    </a:cxn>
                    <a:cxn ang="f61">
                      <a:pos x="f84" y="f85"/>
                    </a:cxn>
                  </a:cxnLst>
                  <a:rect l="f76" t="f79" r="f77" b="f78"/>
                  <a:pathLst>
                    <a:path w="174307" h="175260">
                      <a:moveTo>
                        <a:pt x="f8" y="f8"/>
                      </a:moveTo>
                      <a:lnTo>
                        <a:pt x="f9" y="f8"/>
                      </a:lnTo>
                      <a:lnTo>
                        <a:pt x="f9" y="f9"/>
                      </a:lnTo>
                      <a:lnTo>
                        <a:pt x="f8" y="f9"/>
                      </a:lnTo>
                      <a:lnTo>
                        <a:pt x="f8" y="f8"/>
                      </a:lnTo>
                      <a:close/>
                      <a:moveTo>
                        <a:pt x="f5" y="f10"/>
                      </a:moveTo>
                      <a:cubicBezTo>
                        <a:pt x="f5" y="f11"/>
                        <a:pt x="f12" y="f13"/>
                        <a:pt x="f14" y="f7"/>
                      </a:cubicBezTo>
                      <a:lnTo>
                        <a:pt x="f10" y="f7"/>
                      </a:lnTo>
                      <a:cubicBezTo>
                        <a:pt x="f15" y="f7"/>
                        <a:pt x="f13" y="f11"/>
                        <a:pt x="f13" y="f10"/>
                      </a:cubicBezTo>
                      <a:lnTo>
                        <a:pt x="f13" y="f14"/>
                      </a:lnTo>
                      <a:cubicBezTo>
                        <a:pt x="f13" y="f16"/>
                        <a:pt x="f17" y="f5"/>
                        <a:pt x="f10" y="f5"/>
                      </a:cubicBezTo>
                      <a:lnTo>
                        <a:pt x="f18" y="f5"/>
                      </a:lnTo>
                      <a:cubicBezTo>
                        <a:pt x="f12" y="f5"/>
                        <a:pt x="f19" y="f12"/>
                        <a:pt x="f19" y="f14"/>
                      </a:cubicBezTo>
                      <a:lnTo>
                        <a:pt x="f5" y="f1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</p:grpSp>
          <p:grpSp>
            <p:nvGrpSpPr>
              <p:cNvPr id="73" name="Group 117">
                <a:extLst>
                  <a:ext uri="{FF2B5EF4-FFF2-40B4-BE49-F238E27FC236}">
                    <a16:creationId xmlns:a16="http://schemas.microsoft.com/office/drawing/2014/main" id="{411465EE-4C0E-695A-EAA7-23AAADB47077}"/>
                  </a:ext>
                </a:extLst>
              </p:cNvPr>
              <p:cNvGrpSpPr/>
              <p:nvPr/>
            </p:nvGrpSpPr>
            <p:grpSpPr>
              <a:xfrm>
                <a:off x="4549880" y="5887227"/>
                <a:ext cx="279139" cy="186345"/>
                <a:chOff x="4549880" y="5887227"/>
                <a:chExt cx="279139" cy="186345"/>
              </a:xfrm>
            </p:grpSpPr>
            <p:grpSp>
              <p:nvGrpSpPr>
                <p:cNvPr id="74" name="Group 118">
                  <a:extLst>
                    <a:ext uri="{FF2B5EF4-FFF2-40B4-BE49-F238E27FC236}">
                      <a16:creationId xmlns:a16="http://schemas.microsoft.com/office/drawing/2014/main" id="{E99F8E2C-DDE1-A5A4-AD9E-79ACB5700F7E}"/>
                    </a:ext>
                  </a:extLst>
                </p:cNvPr>
                <p:cNvGrpSpPr/>
                <p:nvPr/>
              </p:nvGrpSpPr>
              <p:grpSpPr>
                <a:xfrm>
                  <a:off x="4549880" y="5914869"/>
                  <a:ext cx="267187" cy="158703"/>
                  <a:chOff x="4549880" y="5914869"/>
                  <a:chExt cx="267187" cy="158703"/>
                </a:xfrm>
              </p:grpSpPr>
              <p:sp>
                <p:nvSpPr>
                  <p:cNvPr id="75" name="Graphic 179">
                    <a:extLst>
                      <a:ext uri="{FF2B5EF4-FFF2-40B4-BE49-F238E27FC236}">
                        <a16:creationId xmlns:a16="http://schemas.microsoft.com/office/drawing/2014/main" id="{A7DE57FC-A876-71C3-73E2-90CA2A76D88A}"/>
                      </a:ext>
                    </a:extLst>
                  </p:cNvPr>
                  <p:cNvSpPr/>
                  <p:nvPr/>
                </p:nvSpPr>
                <p:spPr>
                  <a:xfrm flipH="1">
                    <a:off x="4570015" y="5955286"/>
                    <a:ext cx="60103" cy="47877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86588"/>
                      <a:gd name="f7" fmla="val 68979"/>
                      <a:gd name="f8" fmla="val 77866"/>
                      <a:gd name="f9" fmla="val 8721"/>
                      <a:gd name="f10" fmla="val 3904"/>
                      <a:gd name="f11" fmla="val 65075"/>
                      <a:gd name="f12" fmla="val 60258"/>
                      <a:gd name="f13" fmla="val 54961"/>
                      <a:gd name="f14" fmla="val 58408"/>
                      <a:gd name="f15" fmla="+- 0 0 2"/>
                      <a:gd name="f16" fmla="val 61532"/>
                      <a:gd name="f17" fmla="val 2028"/>
                      <a:gd name="f18" fmla="val 62930"/>
                      <a:gd name="f19" fmla="val 5178"/>
                      <a:gd name="f20" fmla="val 85834"/>
                      <a:gd name="f21" fmla="val 56715"/>
                      <a:gd name="f22" fmla="val 87791"/>
                      <a:gd name="f23" fmla="val 61116"/>
                      <a:gd name="f24" fmla="val 85810"/>
                      <a:gd name="f25" fmla="val 66270"/>
                      <a:gd name="f26" fmla="val 81409"/>
                      <a:gd name="f27" fmla="val 68227"/>
                      <a:gd name="f28" fmla="val 80294"/>
                      <a:gd name="f29" fmla="val 68723"/>
                      <a:gd name="f30" fmla="val 79087"/>
                      <a:gd name="f31" fmla="val 17442"/>
                      <a:gd name="f32" fmla="val 51537"/>
                      <a:gd name="f33" fmla="val 64444"/>
                      <a:gd name="f34" fmla="val 49334"/>
                      <a:gd name="f35" fmla="val 17479"/>
                      <a:gd name="f36" fmla="+- 0 0 -90"/>
                      <a:gd name="f37" fmla="*/ f3 1 86588"/>
                      <a:gd name="f38" fmla="*/ f4 1 68979"/>
                      <a:gd name="f39" fmla="+- f7 0 f5"/>
                      <a:gd name="f40" fmla="+- f6 0 f5"/>
                      <a:gd name="f41" fmla="*/ f36 f0 1"/>
                      <a:gd name="f42" fmla="*/ f40 1 86588"/>
                      <a:gd name="f43" fmla="*/ f39 1 68979"/>
                      <a:gd name="f44" fmla="*/ 77866 f40 1"/>
                      <a:gd name="f45" fmla="*/ 68979 f39 1"/>
                      <a:gd name="f46" fmla="*/ 8721 f40 1"/>
                      <a:gd name="f47" fmla="*/ 0 f40 1"/>
                      <a:gd name="f48" fmla="*/ 60258 f39 1"/>
                      <a:gd name="f49" fmla="*/ 8721 f39 1"/>
                      <a:gd name="f50" fmla="*/ 0 f39 1"/>
                      <a:gd name="f51" fmla="*/ 54961 f40 1"/>
                      <a:gd name="f52" fmla="*/ 62930 f40 1"/>
                      <a:gd name="f53" fmla="*/ 5178 f39 1"/>
                      <a:gd name="f54" fmla="*/ 85834 f40 1"/>
                      <a:gd name="f55" fmla="*/ 56715 f39 1"/>
                      <a:gd name="f56" fmla="*/ 81409 f40 1"/>
                      <a:gd name="f57" fmla="*/ 68227 f39 1"/>
                      <a:gd name="f58" fmla="*/ 17442 f40 1"/>
                      <a:gd name="f59" fmla="*/ 51537 f39 1"/>
                      <a:gd name="f60" fmla="*/ 64444 f40 1"/>
                      <a:gd name="f61" fmla="*/ 49334 f40 1"/>
                      <a:gd name="f62" fmla="*/ 17442 f39 1"/>
                      <a:gd name="f63" fmla="*/ 17479 f40 1"/>
                      <a:gd name="f64" fmla="*/ f41 1 f2"/>
                      <a:gd name="f65" fmla="*/ f44 1 86588"/>
                      <a:gd name="f66" fmla="*/ f45 1 68979"/>
                      <a:gd name="f67" fmla="*/ f46 1 86588"/>
                      <a:gd name="f68" fmla="*/ f47 1 86588"/>
                      <a:gd name="f69" fmla="*/ f48 1 68979"/>
                      <a:gd name="f70" fmla="*/ f49 1 68979"/>
                      <a:gd name="f71" fmla="*/ f50 1 68979"/>
                      <a:gd name="f72" fmla="*/ f51 1 86588"/>
                      <a:gd name="f73" fmla="*/ f52 1 86588"/>
                      <a:gd name="f74" fmla="*/ f53 1 68979"/>
                      <a:gd name="f75" fmla="*/ f54 1 86588"/>
                      <a:gd name="f76" fmla="*/ f55 1 68979"/>
                      <a:gd name="f77" fmla="*/ f56 1 86588"/>
                      <a:gd name="f78" fmla="*/ f57 1 68979"/>
                      <a:gd name="f79" fmla="*/ f58 1 86588"/>
                      <a:gd name="f80" fmla="*/ f59 1 68979"/>
                      <a:gd name="f81" fmla="*/ f60 1 86588"/>
                      <a:gd name="f82" fmla="*/ f61 1 86588"/>
                      <a:gd name="f83" fmla="*/ f62 1 68979"/>
                      <a:gd name="f84" fmla="*/ f63 1 86588"/>
                      <a:gd name="f85" fmla="*/ f5 1 f42"/>
                      <a:gd name="f86" fmla="*/ f6 1 f42"/>
                      <a:gd name="f87" fmla="*/ f5 1 f43"/>
                      <a:gd name="f88" fmla="*/ f7 1 f43"/>
                      <a:gd name="f89" fmla="+- f64 0 f1"/>
                      <a:gd name="f90" fmla="*/ f65 1 f42"/>
                      <a:gd name="f91" fmla="*/ f66 1 f43"/>
                      <a:gd name="f92" fmla="*/ f67 1 f42"/>
                      <a:gd name="f93" fmla="*/ f68 1 f42"/>
                      <a:gd name="f94" fmla="*/ f69 1 f43"/>
                      <a:gd name="f95" fmla="*/ f70 1 f43"/>
                      <a:gd name="f96" fmla="*/ f71 1 f43"/>
                      <a:gd name="f97" fmla="*/ f72 1 f42"/>
                      <a:gd name="f98" fmla="*/ f73 1 f42"/>
                      <a:gd name="f99" fmla="*/ f74 1 f43"/>
                      <a:gd name="f100" fmla="*/ f75 1 f42"/>
                      <a:gd name="f101" fmla="*/ f76 1 f43"/>
                      <a:gd name="f102" fmla="*/ f77 1 f42"/>
                      <a:gd name="f103" fmla="*/ f78 1 f43"/>
                      <a:gd name="f104" fmla="*/ f79 1 f42"/>
                      <a:gd name="f105" fmla="*/ f80 1 f43"/>
                      <a:gd name="f106" fmla="*/ f81 1 f42"/>
                      <a:gd name="f107" fmla="*/ f82 1 f42"/>
                      <a:gd name="f108" fmla="*/ f83 1 f43"/>
                      <a:gd name="f109" fmla="*/ f84 1 f42"/>
                      <a:gd name="f110" fmla="*/ f85 f37 1"/>
                      <a:gd name="f111" fmla="*/ f86 f37 1"/>
                      <a:gd name="f112" fmla="*/ f88 f38 1"/>
                      <a:gd name="f113" fmla="*/ f87 f38 1"/>
                      <a:gd name="f114" fmla="*/ f90 f37 1"/>
                      <a:gd name="f115" fmla="*/ f91 f38 1"/>
                      <a:gd name="f116" fmla="*/ f92 f37 1"/>
                      <a:gd name="f117" fmla="*/ f93 f37 1"/>
                      <a:gd name="f118" fmla="*/ f94 f38 1"/>
                      <a:gd name="f119" fmla="*/ f95 f38 1"/>
                      <a:gd name="f120" fmla="*/ f96 f38 1"/>
                      <a:gd name="f121" fmla="*/ f97 f37 1"/>
                      <a:gd name="f122" fmla="*/ f98 f37 1"/>
                      <a:gd name="f123" fmla="*/ f99 f38 1"/>
                      <a:gd name="f124" fmla="*/ f100 f37 1"/>
                      <a:gd name="f125" fmla="*/ f101 f38 1"/>
                      <a:gd name="f126" fmla="*/ f102 f37 1"/>
                      <a:gd name="f127" fmla="*/ f103 f38 1"/>
                      <a:gd name="f128" fmla="*/ f104 f37 1"/>
                      <a:gd name="f129" fmla="*/ f105 f38 1"/>
                      <a:gd name="f130" fmla="*/ f106 f37 1"/>
                      <a:gd name="f131" fmla="*/ f107 f37 1"/>
                      <a:gd name="f132" fmla="*/ f108 f38 1"/>
                      <a:gd name="f133" fmla="*/ f109 f37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89">
                        <a:pos x="f114" y="f115"/>
                      </a:cxn>
                      <a:cxn ang="f89">
                        <a:pos x="f116" y="f115"/>
                      </a:cxn>
                      <a:cxn ang="f89">
                        <a:pos x="f117" y="f118"/>
                      </a:cxn>
                      <a:cxn ang="f89">
                        <a:pos x="f117" y="f119"/>
                      </a:cxn>
                      <a:cxn ang="f89">
                        <a:pos x="f116" y="f120"/>
                      </a:cxn>
                      <a:cxn ang="f89">
                        <a:pos x="f121" y="f120"/>
                      </a:cxn>
                      <a:cxn ang="f89">
                        <a:pos x="f122" y="f123"/>
                      </a:cxn>
                      <a:cxn ang="f89">
                        <a:pos x="f124" y="f125"/>
                      </a:cxn>
                      <a:cxn ang="f89">
                        <a:pos x="f126" y="f127"/>
                      </a:cxn>
                      <a:cxn ang="f89">
                        <a:pos x="f114" y="f115"/>
                      </a:cxn>
                      <a:cxn ang="f89">
                        <a:pos x="f128" y="f129"/>
                      </a:cxn>
                      <a:cxn ang="f89">
                        <a:pos x="f130" y="f129"/>
                      </a:cxn>
                      <a:cxn ang="f89">
                        <a:pos x="f131" y="f132"/>
                      </a:cxn>
                      <a:cxn ang="f89">
                        <a:pos x="f133" y="f132"/>
                      </a:cxn>
                    </a:cxnLst>
                    <a:rect l="f110" t="f113" r="f111" b="f112"/>
                    <a:pathLst>
                      <a:path w="86588" h="68979">
                        <a:moveTo>
                          <a:pt x="f8" y="f7"/>
                        </a:moveTo>
                        <a:lnTo>
                          <a:pt x="f9" y="f7"/>
                        </a:lnTo>
                        <a:cubicBezTo>
                          <a:pt x="f10" y="f7"/>
                          <a:pt x="f5" y="f11"/>
                          <a:pt x="f5" y="f12"/>
                        </a:cubicBezTo>
                        <a:lnTo>
                          <a:pt x="f5" y="f9"/>
                        </a:lnTo>
                        <a:cubicBezTo>
                          <a:pt x="f5" y="f10"/>
                          <a:pt x="f10" y="f5"/>
                          <a:pt x="f9" y="f5"/>
                        </a:cubicBezTo>
                        <a:lnTo>
                          <a:pt x="f13" y="f5"/>
                        </a:lnTo>
                        <a:cubicBezTo>
                          <a:pt x="f14" y="f15"/>
                          <a:pt x="f16" y="f17"/>
                          <a:pt x="f18" y="f19"/>
                        </a:cubicBezTo>
                        <a:lnTo>
                          <a:pt x="f20" y="f21"/>
                        </a:lnTo>
                        <a:cubicBezTo>
                          <a:pt x="f22" y="f23"/>
                          <a:pt x="f24" y="f25"/>
                          <a:pt x="f26" y="f27"/>
                        </a:cubicBezTo>
                        <a:cubicBezTo>
                          <a:pt x="f28" y="f29"/>
                          <a:pt x="f30" y="f7"/>
                          <a:pt x="f8" y="f7"/>
                        </a:cubicBezTo>
                        <a:close/>
                        <a:moveTo>
                          <a:pt x="f31" y="f32"/>
                        </a:moveTo>
                        <a:lnTo>
                          <a:pt x="f33" y="f32"/>
                        </a:lnTo>
                        <a:lnTo>
                          <a:pt x="f34" y="f31"/>
                        </a:lnTo>
                        <a:lnTo>
                          <a:pt x="f35" y="f3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76" name="Graphic 179">
                    <a:extLst>
                      <a:ext uri="{FF2B5EF4-FFF2-40B4-BE49-F238E27FC236}">
                        <a16:creationId xmlns:a16="http://schemas.microsoft.com/office/drawing/2014/main" id="{6666938B-6ECD-C465-FBE4-43725F5FF139}"/>
                      </a:ext>
                    </a:extLst>
                  </p:cNvPr>
                  <p:cNvSpPr/>
                  <p:nvPr/>
                </p:nvSpPr>
                <p:spPr>
                  <a:xfrm flipH="1">
                    <a:off x="4549880" y="5914869"/>
                    <a:ext cx="267187" cy="158703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384949"/>
                      <a:gd name="f7" fmla="val 228657"/>
                      <a:gd name="f8" fmla="val 384197"/>
                      <a:gd name="f9" fmla="val 114935"/>
                      <a:gd name="f10" fmla="val 349496"/>
                      <a:gd name="f11" fmla="val 37051"/>
                      <a:gd name="f12" fmla="val 348101"/>
                      <a:gd name="f13" fmla="val 33902"/>
                      <a:gd name="f14" fmla="val 344981"/>
                      <a:gd name="f15" fmla="val 31872"/>
                      <a:gd name="f16" fmla="val 341537"/>
                      <a:gd name="f17" fmla="val 31873"/>
                      <a:gd name="f18" fmla="val 260431"/>
                      <a:gd name="f19" fmla="val 8721"/>
                      <a:gd name="f20" fmla="val 3904"/>
                      <a:gd name="f21" fmla="val 256526"/>
                      <a:gd name="f22" fmla="val 251710"/>
                      <a:gd name="f23" fmla="val 20839"/>
                      <a:gd name="f24" fmla="val 9334"/>
                      <a:gd name="f25" fmla="val 10"/>
                      <a:gd name="f26" fmla="val 191240"/>
                      <a:gd name="f27" fmla="val 196057"/>
                      <a:gd name="f28" fmla="val 3905"/>
                      <a:gd name="f29" fmla="val 199961"/>
                      <a:gd name="f30" fmla="val 36105"/>
                      <a:gd name="f31" fmla="val 40922"/>
                      <a:gd name="f32" fmla="val 220032"/>
                      <a:gd name="f33" fmla="val 61096"/>
                      <a:gd name="f34" fmla="val 232397"/>
                      <a:gd name="f35" fmla="val 81167"/>
                      <a:gd name="f36" fmla="val 227581"/>
                      <a:gd name="f37" fmla="val 101237"/>
                      <a:gd name="f38" fmla="val 222764"/>
                      <a:gd name="f39" fmla="val 113603"/>
                      <a:gd name="f40" fmla="val 202590"/>
                      <a:gd name="f41" fmla="val 108786"/>
                      <a:gd name="f42" fmla="val 182519"/>
                      <a:gd name="f43" fmla="val 103969"/>
                      <a:gd name="f44" fmla="val 162449"/>
                      <a:gd name="f45" fmla="val 83795"/>
                      <a:gd name="f46" fmla="val 150083"/>
                      <a:gd name="f47" fmla="val 63725"/>
                      <a:gd name="f48" fmla="val 154900"/>
                      <a:gd name="f49" fmla="val 50057"/>
                      <a:gd name="f50" fmla="val 158180"/>
                      <a:gd name="f51" fmla="val 39385"/>
                      <a:gd name="f52" fmla="val 168852"/>
                      <a:gd name="f53" fmla="val 17442"/>
                      <a:gd name="f54" fmla="val 18963"/>
                      <a:gd name="f55" fmla="val 242998"/>
                      <a:gd name="f56" fmla="val 182556"/>
                      <a:gd name="f57" fmla="val 192415"/>
                      <a:gd name="f58" fmla="val 187598"/>
                      <a:gd name="f59" fmla="val 162485"/>
                      <a:gd name="f60" fmla="val 167424"/>
                      <a:gd name="f61" fmla="val 150120"/>
                      <a:gd name="f62" fmla="val 147354"/>
                      <a:gd name="f63" fmla="val 154937"/>
                      <a:gd name="f64" fmla="val 127283"/>
                      <a:gd name="f65" fmla="val 159753"/>
                      <a:gd name="f66" fmla="val 114918"/>
                      <a:gd name="f67" fmla="val 179928"/>
                      <a:gd name="f68" fmla="val 119734"/>
                      <a:gd name="f69" fmla="val 199998"/>
                      <a:gd name="f70" fmla="val 124551"/>
                      <a:gd name="f71" fmla="val 220069"/>
                      <a:gd name="f72" fmla="val 144725"/>
                      <a:gd name="f73" fmla="val 232434"/>
                      <a:gd name="f74" fmla="val 164796"/>
                      <a:gd name="f75" fmla="val 227617"/>
                      <a:gd name="f76" fmla="val 178463"/>
                      <a:gd name="f77" fmla="val 224337"/>
                      <a:gd name="f78" fmla="val 189135"/>
                      <a:gd name="f79" fmla="val 213665"/>
                      <a:gd name="f80" fmla="val 196094"/>
                      <a:gd name="f81" fmla="val 191277"/>
                      <a:gd name="f82" fmla="val 49316"/>
                      <a:gd name="f83" fmla="val 335873"/>
                      <a:gd name="f84" fmla="val 367508"/>
                      <a:gd name="f85" fmla="val 120342"/>
                      <a:gd name="f86" fmla="val 343052"/>
                      <a:gd name="f87" fmla="val 338235"/>
                      <a:gd name="f88" fmla="val 318061"/>
                      <a:gd name="f89" fmla="val 297990"/>
                      <a:gd name="f90" fmla="val 277920"/>
                      <a:gd name="f91" fmla="val 265554"/>
                      <a:gd name="f92" fmla="val 270371"/>
                      <a:gd name="f93" fmla="val 275188"/>
                      <a:gd name="f94" fmla="val 295362"/>
                      <a:gd name="f95" fmla="val 315433"/>
                      <a:gd name="f96" fmla="val 329100"/>
                      <a:gd name="f97" fmla="val 339772"/>
                      <a:gd name="f98" fmla="val 376229"/>
                      <a:gd name="f99" fmla="val 381046"/>
                      <a:gd name="f100" fmla="val 384950"/>
                      <a:gd name="f101" fmla="val 118488"/>
                      <a:gd name="f102" fmla="val 117264"/>
                      <a:gd name="f103" fmla="val 384694"/>
                      <a:gd name="f104" fmla="val 116053"/>
                      <a:gd name="f105" fmla="val 72440"/>
                      <a:gd name="f106" fmla="val 171310"/>
                      <a:gd name="f107" fmla="val 83447"/>
                      <a:gd name="f108" fmla="val 92370"/>
                      <a:gd name="f109" fmla="val 180233"/>
                      <a:gd name="f110" fmla="val 202247"/>
                      <a:gd name="f111" fmla="val 211170"/>
                      <a:gd name="f112" fmla="val 61433"/>
                      <a:gd name="f113" fmla="val 52510"/>
                      <a:gd name="f114" fmla="val 52526"/>
                      <a:gd name="f115" fmla="val 180240"/>
                      <a:gd name="f116" fmla="val 61440"/>
                      <a:gd name="f117" fmla="val 171326"/>
                      <a:gd name="f118" fmla="val 156090"/>
                      <a:gd name="f119" fmla="val 145083"/>
                      <a:gd name="f120" fmla="val 211176"/>
                      <a:gd name="f121" fmla="val 136156"/>
                      <a:gd name="f122" fmla="val 202256"/>
                      <a:gd name="f123" fmla="val 136150"/>
                      <a:gd name="f124" fmla="val 191249"/>
                      <a:gd name="f125" fmla="val 136145"/>
                      <a:gd name="f126" fmla="val 180242"/>
                      <a:gd name="f127" fmla="val 145064"/>
                      <a:gd name="f128" fmla="val 171316"/>
                      <a:gd name="f129" fmla="val 156071"/>
                      <a:gd name="f130" fmla="val 167078"/>
                      <a:gd name="f131" fmla="val 171305"/>
                      <a:gd name="f132" fmla="val 176006"/>
                      <a:gd name="f133" fmla="val 180224"/>
                      <a:gd name="f134" fmla="val 176010"/>
                      <a:gd name="f135" fmla="val 191231"/>
                      <a:gd name="f136" fmla="val 191234"/>
                      <a:gd name="f137" fmla="val 191237"/>
                      <a:gd name="f138" fmla="val 175996"/>
                      <a:gd name="f139" fmla="val 202237"/>
                      <a:gd name="f140" fmla="val 167086"/>
                      <a:gd name="f141" fmla="val 211150"/>
                      <a:gd name="f142" fmla="val 306717"/>
                      <a:gd name="f143" fmla="val 295710"/>
                      <a:gd name="f144" fmla="val 286787"/>
                      <a:gd name="f145" fmla="val 317724"/>
                      <a:gd name="f146" fmla="val 326647"/>
                      <a:gd name="f147" fmla="val 326632"/>
                      <a:gd name="f148" fmla="val 202231"/>
                      <a:gd name="f149" fmla="val 317735"/>
                      <a:gd name="f150" fmla="val 211140"/>
                      <a:gd name="f151" fmla="val 306744"/>
                      <a:gd name="f152" fmla="+- 0 0 -90"/>
                      <a:gd name="f153" fmla="*/ f3 1 384949"/>
                      <a:gd name="f154" fmla="*/ f4 1 228657"/>
                      <a:gd name="f155" fmla="+- f7 0 f5"/>
                      <a:gd name="f156" fmla="+- f6 0 f5"/>
                      <a:gd name="f157" fmla="*/ f152 f0 1"/>
                      <a:gd name="f158" fmla="*/ f156 1 384949"/>
                      <a:gd name="f159" fmla="*/ f155 1 228657"/>
                      <a:gd name="f160" fmla="*/ 384197 f156 1"/>
                      <a:gd name="f161" fmla="*/ 114935 f155 1"/>
                      <a:gd name="f162" fmla="*/ 349496 f156 1"/>
                      <a:gd name="f163" fmla="*/ 37051 f155 1"/>
                      <a:gd name="f164" fmla="*/ 341537 f156 1"/>
                      <a:gd name="f165" fmla="*/ 31873 f155 1"/>
                      <a:gd name="f166" fmla="*/ 260431 f156 1"/>
                      <a:gd name="f167" fmla="*/ 8721 f155 1"/>
                      <a:gd name="f168" fmla="*/ 251710 f156 1"/>
                      <a:gd name="f169" fmla="*/ 0 f155 1"/>
                      <a:gd name="f170" fmla="*/ 20839 f156 1"/>
                      <a:gd name="f171" fmla="*/ 0 f156 1"/>
                      <a:gd name="f172" fmla="*/ 20839 f155 1"/>
                      <a:gd name="f173" fmla="*/ 191240 f155 1"/>
                      <a:gd name="f174" fmla="*/ 8721 f156 1"/>
                      <a:gd name="f175" fmla="*/ 199961 f155 1"/>
                      <a:gd name="f176" fmla="*/ 36105 f156 1"/>
                      <a:gd name="f177" fmla="*/ 81167 f156 1"/>
                      <a:gd name="f178" fmla="*/ 227581 f155 1"/>
                      <a:gd name="f179" fmla="*/ 108786 f156 1"/>
                      <a:gd name="f180" fmla="*/ 182519 f155 1"/>
                      <a:gd name="f181" fmla="*/ 63725 f156 1"/>
                      <a:gd name="f182" fmla="*/ 154900 f155 1"/>
                      <a:gd name="f183" fmla="*/ 17442 f156 1"/>
                      <a:gd name="f184" fmla="*/ 17442 f155 1"/>
                      <a:gd name="f185" fmla="*/ 242998 f156 1"/>
                      <a:gd name="f186" fmla="*/ 182556 f155 1"/>
                      <a:gd name="f187" fmla="*/ 192415 f156 1"/>
                      <a:gd name="f188" fmla="*/ 147354 f156 1"/>
                      <a:gd name="f189" fmla="*/ 154937 f155 1"/>
                      <a:gd name="f190" fmla="*/ 119734 f156 1"/>
                      <a:gd name="f191" fmla="*/ 199998 f155 1"/>
                      <a:gd name="f192" fmla="*/ 164796 f156 1"/>
                      <a:gd name="f193" fmla="*/ 227617 f155 1"/>
                      <a:gd name="f194" fmla="*/ 191277 f155 1"/>
                      <a:gd name="f195" fmla="*/ 49316 f155 1"/>
                      <a:gd name="f196" fmla="*/ 335873 f156 1"/>
                      <a:gd name="f197" fmla="*/ 367508 f156 1"/>
                      <a:gd name="f198" fmla="*/ 120342 f155 1"/>
                      <a:gd name="f199" fmla="*/ 343052 f156 1"/>
                      <a:gd name="f200" fmla="*/ 297990 f156 1"/>
                      <a:gd name="f201" fmla="*/ 270371 f156 1"/>
                      <a:gd name="f202" fmla="*/ 315433 f156 1"/>
                      <a:gd name="f203" fmla="*/ 376229 f156 1"/>
                      <a:gd name="f204" fmla="*/ 384950 f156 1"/>
                      <a:gd name="f205" fmla="*/ 118488 f155 1"/>
                      <a:gd name="f206" fmla="*/ 72440 f156 1"/>
                      <a:gd name="f207" fmla="*/ 171310 f155 1"/>
                      <a:gd name="f208" fmla="*/ 92370 f156 1"/>
                      <a:gd name="f209" fmla="*/ 211170 f155 1"/>
                      <a:gd name="f210" fmla="*/ 52510 f156 1"/>
                      <a:gd name="f211" fmla="*/ 156090 f156 1"/>
                      <a:gd name="f212" fmla="*/ 136150 f156 1"/>
                      <a:gd name="f213" fmla="*/ 191249 f155 1"/>
                      <a:gd name="f214" fmla="*/ 156071 f156 1"/>
                      <a:gd name="f215" fmla="*/ 176010 f156 1"/>
                      <a:gd name="f216" fmla="*/ 191231 f155 1"/>
                      <a:gd name="f217" fmla="*/ 306717 f156 1"/>
                      <a:gd name="f218" fmla="*/ 286787 f156 1"/>
                      <a:gd name="f219" fmla="*/ 326647 f156 1"/>
                      <a:gd name="f220" fmla="*/ 306744 f156 1"/>
                      <a:gd name="f221" fmla="*/ f157 1 f2"/>
                      <a:gd name="f222" fmla="*/ f160 1 384949"/>
                      <a:gd name="f223" fmla="*/ f161 1 228657"/>
                      <a:gd name="f224" fmla="*/ f162 1 384949"/>
                      <a:gd name="f225" fmla="*/ f163 1 228657"/>
                      <a:gd name="f226" fmla="*/ f164 1 384949"/>
                      <a:gd name="f227" fmla="*/ f165 1 228657"/>
                      <a:gd name="f228" fmla="*/ f166 1 384949"/>
                      <a:gd name="f229" fmla="*/ f167 1 228657"/>
                      <a:gd name="f230" fmla="*/ f168 1 384949"/>
                      <a:gd name="f231" fmla="*/ f169 1 228657"/>
                      <a:gd name="f232" fmla="*/ f170 1 384949"/>
                      <a:gd name="f233" fmla="*/ f171 1 384949"/>
                      <a:gd name="f234" fmla="*/ f172 1 228657"/>
                      <a:gd name="f235" fmla="*/ f173 1 228657"/>
                      <a:gd name="f236" fmla="*/ f174 1 384949"/>
                      <a:gd name="f237" fmla="*/ f175 1 228657"/>
                      <a:gd name="f238" fmla="*/ f176 1 384949"/>
                      <a:gd name="f239" fmla="*/ f177 1 384949"/>
                      <a:gd name="f240" fmla="*/ f178 1 228657"/>
                      <a:gd name="f241" fmla="*/ f179 1 384949"/>
                      <a:gd name="f242" fmla="*/ f180 1 228657"/>
                      <a:gd name="f243" fmla="*/ f181 1 384949"/>
                      <a:gd name="f244" fmla="*/ f182 1 228657"/>
                      <a:gd name="f245" fmla="*/ f183 1 384949"/>
                      <a:gd name="f246" fmla="*/ f184 1 228657"/>
                      <a:gd name="f247" fmla="*/ f185 1 384949"/>
                      <a:gd name="f248" fmla="*/ f186 1 228657"/>
                      <a:gd name="f249" fmla="*/ f187 1 384949"/>
                      <a:gd name="f250" fmla="*/ f188 1 384949"/>
                      <a:gd name="f251" fmla="*/ f189 1 228657"/>
                      <a:gd name="f252" fmla="*/ f190 1 384949"/>
                      <a:gd name="f253" fmla="*/ f191 1 228657"/>
                      <a:gd name="f254" fmla="*/ f192 1 384949"/>
                      <a:gd name="f255" fmla="*/ f193 1 228657"/>
                      <a:gd name="f256" fmla="*/ f194 1 228657"/>
                      <a:gd name="f257" fmla="*/ f195 1 228657"/>
                      <a:gd name="f258" fmla="*/ f196 1 384949"/>
                      <a:gd name="f259" fmla="*/ f197 1 384949"/>
                      <a:gd name="f260" fmla="*/ f198 1 228657"/>
                      <a:gd name="f261" fmla="*/ f199 1 384949"/>
                      <a:gd name="f262" fmla="*/ f200 1 384949"/>
                      <a:gd name="f263" fmla="*/ f201 1 384949"/>
                      <a:gd name="f264" fmla="*/ f202 1 384949"/>
                      <a:gd name="f265" fmla="*/ f203 1 384949"/>
                      <a:gd name="f266" fmla="*/ f204 1 384949"/>
                      <a:gd name="f267" fmla="*/ f205 1 228657"/>
                      <a:gd name="f268" fmla="*/ f206 1 384949"/>
                      <a:gd name="f269" fmla="*/ f207 1 228657"/>
                      <a:gd name="f270" fmla="*/ f208 1 384949"/>
                      <a:gd name="f271" fmla="*/ f209 1 228657"/>
                      <a:gd name="f272" fmla="*/ f210 1 384949"/>
                      <a:gd name="f273" fmla="*/ f211 1 384949"/>
                      <a:gd name="f274" fmla="*/ f212 1 384949"/>
                      <a:gd name="f275" fmla="*/ f213 1 228657"/>
                      <a:gd name="f276" fmla="*/ f214 1 384949"/>
                      <a:gd name="f277" fmla="*/ f215 1 384949"/>
                      <a:gd name="f278" fmla="*/ f216 1 228657"/>
                      <a:gd name="f279" fmla="*/ f217 1 384949"/>
                      <a:gd name="f280" fmla="*/ f218 1 384949"/>
                      <a:gd name="f281" fmla="*/ f219 1 384949"/>
                      <a:gd name="f282" fmla="*/ f220 1 384949"/>
                      <a:gd name="f283" fmla="*/ f5 1 f158"/>
                      <a:gd name="f284" fmla="*/ f6 1 f158"/>
                      <a:gd name="f285" fmla="*/ f5 1 f159"/>
                      <a:gd name="f286" fmla="*/ f7 1 f159"/>
                      <a:gd name="f287" fmla="+- f221 0 f1"/>
                      <a:gd name="f288" fmla="*/ f222 1 f158"/>
                      <a:gd name="f289" fmla="*/ f223 1 f159"/>
                      <a:gd name="f290" fmla="*/ f224 1 f158"/>
                      <a:gd name="f291" fmla="*/ f225 1 f159"/>
                      <a:gd name="f292" fmla="*/ f226 1 f158"/>
                      <a:gd name="f293" fmla="*/ f227 1 f159"/>
                      <a:gd name="f294" fmla="*/ f228 1 f158"/>
                      <a:gd name="f295" fmla="*/ f229 1 f159"/>
                      <a:gd name="f296" fmla="*/ f230 1 f158"/>
                      <a:gd name="f297" fmla="*/ f231 1 f159"/>
                      <a:gd name="f298" fmla="*/ f232 1 f158"/>
                      <a:gd name="f299" fmla="*/ f233 1 f158"/>
                      <a:gd name="f300" fmla="*/ f234 1 f159"/>
                      <a:gd name="f301" fmla="*/ f235 1 f159"/>
                      <a:gd name="f302" fmla="*/ f236 1 f158"/>
                      <a:gd name="f303" fmla="*/ f237 1 f159"/>
                      <a:gd name="f304" fmla="*/ f238 1 f158"/>
                      <a:gd name="f305" fmla="*/ f239 1 f158"/>
                      <a:gd name="f306" fmla="*/ f240 1 f159"/>
                      <a:gd name="f307" fmla="*/ f241 1 f158"/>
                      <a:gd name="f308" fmla="*/ f242 1 f159"/>
                      <a:gd name="f309" fmla="*/ f243 1 f158"/>
                      <a:gd name="f310" fmla="*/ f244 1 f159"/>
                      <a:gd name="f311" fmla="*/ f245 1 f158"/>
                      <a:gd name="f312" fmla="*/ f246 1 f159"/>
                      <a:gd name="f313" fmla="*/ f247 1 f158"/>
                      <a:gd name="f314" fmla="*/ f248 1 f159"/>
                      <a:gd name="f315" fmla="*/ f249 1 f158"/>
                      <a:gd name="f316" fmla="*/ f250 1 f158"/>
                      <a:gd name="f317" fmla="*/ f251 1 f159"/>
                      <a:gd name="f318" fmla="*/ f252 1 f158"/>
                      <a:gd name="f319" fmla="*/ f253 1 f159"/>
                      <a:gd name="f320" fmla="*/ f254 1 f158"/>
                      <a:gd name="f321" fmla="*/ f255 1 f159"/>
                      <a:gd name="f322" fmla="*/ f256 1 f159"/>
                      <a:gd name="f323" fmla="*/ f257 1 f159"/>
                      <a:gd name="f324" fmla="*/ f258 1 f158"/>
                      <a:gd name="f325" fmla="*/ f259 1 f158"/>
                      <a:gd name="f326" fmla="*/ f260 1 f159"/>
                      <a:gd name="f327" fmla="*/ f261 1 f158"/>
                      <a:gd name="f328" fmla="*/ f262 1 f158"/>
                      <a:gd name="f329" fmla="*/ f263 1 f158"/>
                      <a:gd name="f330" fmla="*/ f264 1 f158"/>
                      <a:gd name="f331" fmla="*/ f265 1 f158"/>
                      <a:gd name="f332" fmla="*/ f266 1 f158"/>
                      <a:gd name="f333" fmla="*/ f267 1 f159"/>
                      <a:gd name="f334" fmla="*/ f268 1 f158"/>
                      <a:gd name="f335" fmla="*/ f269 1 f159"/>
                      <a:gd name="f336" fmla="*/ f270 1 f158"/>
                      <a:gd name="f337" fmla="*/ f271 1 f159"/>
                      <a:gd name="f338" fmla="*/ f272 1 f158"/>
                      <a:gd name="f339" fmla="*/ f273 1 f158"/>
                      <a:gd name="f340" fmla="*/ f274 1 f158"/>
                      <a:gd name="f341" fmla="*/ f275 1 f159"/>
                      <a:gd name="f342" fmla="*/ f276 1 f158"/>
                      <a:gd name="f343" fmla="*/ f277 1 f158"/>
                      <a:gd name="f344" fmla="*/ f278 1 f159"/>
                      <a:gd name="f345" fmla="*/ f279 1 f158"/>
                      <a:gd name="f346" fmla="*/ f280 1 f158"/>
                      <a:gd name="f347" fmla="*/ f281 1 f158"/>
                      <a:gd name="f348" fmla="*/ f282 1 f158"/>
                      <a:gd name="f349" fmla="*/ f283 f153 1"/>
                      <a:gd name="f350" fmla="*/ f284 f153 1"/>
                      <a:gd name="f351" fmla="*/ f286 f154 1"/>
                      <a:gd name="f352" fmla="*/ f285 f154 1"/>
                      <a:gd name="f353" fmla="*/ f288 f153 1"/>
                      <a:gd name="f354" fmla="*/ f289 f154 1"/>
                      <a:gd name="f355" fmla="*/ f290 f153 1"/>
                      <a:gd name="f356" fmla="*/ f291 f154 1"/>
                      <a:gd name="f357" fmla="*/ f292 f153 1"/>
                      <a:gd name="f358" fmla="*/ f293 f154 1"/>
                      <a:gd name="f359" fmla="*/ f294 f153 1"/>
                      <a:gd name="f360" fmla="*/ f295 f154 1"/>
                      <a:gd name="f361" fmla="*/ f296 f153 1"/>
                      <a:gd name="f362" fmla="*/ f297 f154 1"/>
                      <a:gd name="f363" fmla="*/ f298 f153 1"/>
                      <a:gd name="f364" fmla="*/ f299 f153 1"/>
                      <a:gd name="f365" fmla="*/ f300 f154 1"/>
                      <a:gd name="f366" fmla="*/ f301 f154 1"/>
                      <a:gd name="f367" fmla="*/ f302 f153 1"/>
                      <a:gd name="f368" fmla="*/ f303 f154 1"/>
                      <a:gd name="f369" fmla="*/ f304 f153 1"/>
                      <a:gd name="f370" fmla="*/ f305 f153 1"/>
                      <a:gd name="f371" fmla="*/ f306 f154 1"/>
                      <a:gd name="f372" fmla="*/ f307 f153 1"/>
                      <a:gd name="f373" fmla="*/ f308 f154 1"/>
                      <a:gd name="f374" fmla="*/ f309 f153 1"/>
                      <a:gd name="f375" fmla="*/ f310 f154 1"/>
                      <a:gd name="f376" fmla="*/ f311 f153 1"/>
                      <a:gd name="f377" fmla="*/ f312 f154 1"/>
                      <a:gd name="f378" fmla="*/ f313 f153 1"/>
                      <a:gd name="f379" fmla="*/ f314 f154 1"/>
                      <a:gd name="f380" fmla="*/ f315 f153 1"/>
                      <a:gd name="f381" fmla="*/ f316 f153 1"/>
                      <a:gd name="f382" fmla="*/ f317 f154 1"/>
                      <a:gd name="f383" fmla="*/ f318 f153 1"/>
                      <a:gd name="f384" fmla="*/ f319 f154 1"/>
                      <a:gd name="f385" fmla="*/ f320 f153 1"/>
                      <a:gd name="f386" fmla="*/ f321 f154 1"/>
                      <a:gd name="f387" fmla="*/ f322 f154 1"/>
                      <a:gd name="f388" fmla="*/ f323 f154 1"/>
                      <a:gd name="f389" fmla="*/ f324 f153 1"/>
                      <a:gd name="f390" fmla="*/ f325 f153 1"/>
                      <a:gd name="f391" fmla="*/ f326 f154 1"/>
                      <a:gd name="f392" fmla="*/ f327 f153 1"/>
                      <a:gd name="f393" fmla="*/ f328 f153 1"/>
                      <a:gd name="f394" fmla="*/ f329 f153 1"/>
                      <a:gd name="f395" fmla="*/ f330 f153 1"/>
                      <a:gd name="f396" fmla="*/ f331 f153 1"/>
                      <a:gd name="f397" fmla="*/ f332 f153 1"/>
                      <a:gd name="f398" fmla="*/ f333 f154 1"/>
                      <a:gd name="f399" fmla="*/ f334 f153 1"/>
                      <a:gd name="f400" fmla="*/ f335 f154 1"/>
                      <a:gd name="f401" fmla="*/ f336 f153 1"/>
                      <a:gd name="f402" fmla="*/ f337 f154 1"/>
                      <a:gd name="f403" fmla="*/ f338 f153 1"/>
                      <a:gd name="f404" fmla="*/ f339 f153 1"/>
                      <a:gd name="f405" fmla="*/ f340 f153 1"/>
                      <a:gd name="f406" fmla="*/ f341 f154 1"/>
                      <a:gd name="f407" fmla="*/ f342 f153 1"/>
                      <a:gd name="f408" fmla="*/ f343 f153 1"/>
                      <a:gd name="f409" fmla="*/ f344 f154 1"/>
                      <a:gd name="f410" fmla="*/ f345 f153 1"/>
                      <a:gd name="f411" fmla="*/ f346 f153 1"/>
                      <a:gd name="f412" fmla="*/ f347 f153 1"/>
                      <a:gd name="f413" fmla="*/ f348 f153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287">
                        <a:pos x="f353" y="f354"/>
                      </a:cxn>
                      <a:cxn ang="f287">
                        <a:pos x="f355" y="f356"/>
                      </a:cxn>
                      <a:cxn ang="f287">
                        <a:pos x="f357" y="f358"/>
                      </a:cxn>
                      <a:cxn ang="f287">
                        <a:pos x="f359" y="f358"/>
                      </a:cxn>
                      <a:cxn ang="f287">
                        <a:pos x="f359" y="f360"/>
                      </a:cxn>
                      <a:cxn ang="f287">
                        <a:pos x="f361" y="f362"/>
                      </a:cxn>
                      <a:cxn ang="f287">
                        <a:pos x="f363" y="f362"/>
                      </a:cxn>
                      <a:cxn ang="f287">
                        <a:pos x="f364" y="f365"/>
                      </a:cxn>
                      <a:cxn ang="f287">
                        <a:pos x="f364" y="f366"/>
                      </a:cxn>
                      <a:cxn ang="f287">
                        <a:pos x="f367" y="f368"/>
                      </a:cxn>
                      <a:cxn ang="f287">
                        <a:pos x="f369" y="f368"/>
                      </a:cxn>
                      <a:cxn ang="f287">
                        <a:pos x="f370" y="f371"/>
                      </a:cxn>
                      <a:cxn ang="f287">
                        <a:pos x="f372" y="f373"/>
                      </a:cxn>
                      <a:cxn ang="f287">
                        <a:pos x="f374" y="f375"/>
                      </a:cxn>
                      <a:cxn ang="f287">
                        <a:pos x="f369" y="f373"/>
                      </a:cxn>
                      <a:cxn ang="f287">
                        <a:pos x="f376" y="f373"/>
                      </a:cxn>
                      <a:cxn ang="f287">
                        <a:pos x="f376" y="f365"/>
                      </a:cxn>
                      <a:cxn ang="f287">
                        <a:pos x="f363" y="f377"/>
                      </a:cxn>
                      <a:cxn ang="f287">
                        <a:pos x="f378" y="f377"/>
                      </a:cxn>
                      <a:cxn ang="f287">
                        <a:pos x="f378" y="f379"/>
                      </a:cxn>
                      <a:cxn ang="f287">
                        <a:pos x="f380" y="f379"/>
                      </a:cxn>
                      <a:cxn ang="f287">
                        <a:pos x="f381" y="f382"/>
                      </a:cxn>
                      <a:cxn ang="f287">
                        <a:pos x="f383" y="f384"/>
                      </a:cxn>
                      <a:cxn ang="f287">
                        <a:pos x="f385" y="f386"/>
                      </a:cxn>
                      <a:cxn ang="f287">
                        <a:pos x="f380" y="f384"/>
                      </a:cxn>
                      <a:cxn ang="f287">
                        <a:pos x="f361" y="f384"/>
                      </a:cxn>
                      <a:cxn ang="f287">
                        <a:pos x="f359" y="f387"/>
                      </a:cxn>
                      <a:cxn ang="f287">
                        <a:pos x="f359" y="f388"/>
                      </a:cxn>
                      <a:cxn ang="f287">
                        <a:pos x="f389" y="f388"/>
                      </a:cxn>
                      <a:cxn ang="f287">
                        <a:pos x="f390" y="f391"/>
                      </a:cxn>
                      <a:cxn ang="f287">
                        <a:pos x="f390" y="f379"/>
                      </a:cxn>
                      <a:cxn ang="f287">
                        <a:pos x="f392" y="f379"/>
                      </a:cxn>
                      <a:cxn ang="f287">
                        <a:pos x="f393" y="f382"/>
                      </a:cxn>
                      <a:cxn ang="f287">
                        <a:pos x="f394" y="f384"/>
                      </a:cxn>
                      <a:cxn ang="f287">
                        <a:pos x="f395" y="f386"/>
                      </a:cxn>
                      <a:cxn ang="f287">
                        <a:pos x="f392" y="f384"/>
                      </a:cxn>
                      <a:cxn ang="f287">
                        <a:pos x="f396" y="f384"/>
                      </a:cxn>
                      <a:cxn ang="f287">
                        <a:pos x="f397" y="f387"/>
                      </a:cxn>
                      <a:cxn ang="f287">
                        <a:pos x="f397" y="f398"/>
                      </a:cxn>
                      <a:cxn ang="f287">
                        <a:pos x="f353" y="f354"/>
                      </a:cxn>
                      <a:cxn ang="f287">
                        <a:pos x="f399" y="f400"/>
                      </a:cxn>
                      <a:cxn ang="f287">
                        <a:pos x="f401" y="f366"/>
                      </a:cxn>
                      <a:cxn ang="f287">
                        <a:pos x="f399" y="f402"/>
                      </a:cxn>
                      <a:cxn ang="f287">
                        <a:pos x="f403" y="f366"/>
                      </a:cxn>
                      <a:cxn ang="f287">
                        <a:pos x="f399" y="f400"/>
                      </a:cxn>
                      <a:cxn ang="f287">
                        <a:pos x="f404" y="f402"/>
                      </a:cxn>
                      <a:cxn ang="f287">
                        <a:pos x="f405" y="f406"/>
                      </a:cxn>
                      <a:cxn ang="f287">
                        <a:pos x="f407" y="f400"/>
                      </a:cxn>
                      <a:cxn ang="f287">
                        <a:pos x="f408" y="f409"/>
                      </a:cxn>
                      <a:cxn ang="f287">
                        <a:pos x="f408" y="f366"/>
                      </a:cxn>
                      <a:cxn ang="f287">
                        <a:pos x="f404" y="f402"/>
                      </a:cxn>
                      <a:cxn ang="f287">
                        <a:pos x="f410" y="f402"/>
                      </a:cxn>
                      <a:cxn ang="f287">
                        <a:pos x="f411" y="f366"/>
                      </a:cxn>
                      <a:cxn ang="f287">
                        <a:pos x="f410" y="f400"/>
                      </a:cxn>
                      <a:cxn ang="f287">
                        <a:pos x="f412" y="f366"/>
                      </a:cxn>
                      <a:cxn ang="f287">
                        <a:pos x="f413" y="f402"/>
                      </a:cxn>
                    </a:cxnLst>
                    <a:rect l="f349" t="f352" r="f350" b="f351"/>
                    <a:pathLst>
                      <a:path w="384949" h="228657">
                        <a:moveTo>
                          <a:pt x="f8" y="f9"/>
                        </a:moveTo>
                        <a:lnTo>
                          <a:pt x="f10" y="f11"/>
                        </a:lnTo>
                        <a:cubicBezTo>
                          <a:pt x="f12" y="f13"/>
                          <a:pt x="f14" y="f15"/>
                          <a:pt x="f16" y="f17"/>
                        </a:cubicBezTo>
                        <a:lnTo>
                          <a:pt x="f18" y="f17"/>
                        </a:lnTo>
                        <a:lnTo>
                          <a:pt x="f18" y="f19"/>
                        </a:lnTo>
                        <a:cubicBezTo>
                          <a:pt x="f18" y="f20"/>
                          <a:pt x="f21" y="f5"/>
                          <a:pt x="f22" y="f5"/>
                        </a:cubicBezTo>
                        <a:lnTo>
                          <a:pt x="f23" y="f5"/>
                        </a:lnTo>
                        <a:cubicBezTo>
                          <a:pt x="f24" y="f25"/>
                          <a:pt x="f25" y="f24"/>
                          <a:pt x="f5" y="f23"/>
                        </a:cubicBezTo>
                        <a:lnTo>
                          <a:pt x="f5" y="f26"/>
                        </a:lnTo>
                        <a:cubicBezTo>
                          <a:pt x="f5" y="f27"/>
                          <a:pt x="f28" y="f29"/>
                          <a:pt x="f19" y="f29"/>
                        </a:cubicBezTo>
                        <a:lnTo>
                          <a:pt x="f30" y="f29"/>
                        </a:lnTo>
                        <a:cubicBezTo>
                          <a:pt x="f31" y="f32"/>
                          <a:pt x="f33" y="f34"/>
                          <a:pt x="f35" y="f36"/>
                        </a:cubicBezTo>
                        <a:cubicBezTo>
                          <a:pt x="f37" y="f38"/>
                          <a:pt x="f39" y="f40"/>
                          <a:pt x="f41" y="f42"/>
                        </a:cubicBezTo>
                        <a:cubicBezTo>
                          <a:pt x="f43" y="f44"/>
                          <a:pt x="f45" y="f46"/>
                          <a:pt x="f47" y="f48"/>
                        </a:cubicBezTo>
                        <a:cubicBezTo>
                          <a:pt x="f49" y="f50"/>
                          <a:pt x="f51" y="f52"/>
                          <a:pt x="f30" y="f42"/>
                        </a:cubicBezTo>
                        <a:lnTo>
                          <a:pt x="f53" y="f42"/>
                        </a:lnTo>
                        <a:lnTo>
                          <a:pt x="f53" y="f23"/>
                        </a:lnTo>
                        <a:cubicBezTo>
                          <a:pt x="f53" y="f54"/>
                          <a:pt x="f54" y="f53"/>
                          <a:pt x="f23" y="f53"/>
                        </a:cubicBezTo>
                        <a:lnTo>
                          <a:pt x="f55" y="f53"/>
                        </a:lnTo>
                        <a:lnTo>
                          <a:pt x="f55" y="f56"/>
                        </a:lnTo>
                        <a:lnTo>
                          <a:pt x="f57" y="f56"/>
                        </a:lnTo>
                        <a:cubicBezTo>
                          <a:pt x="f58" y="f59"/>
                          <a:pt x="f60" y="f61"/>
                          <a:pt x="f62" y="f63"/>
                        </a:cubicBezTo>
                        <a:cubicBezTo>
                          <a:pt x="f64" y="f65"/>
                          <a:pt x="f66" y="f67"/>
                          <a:pt x="f68" y="f69"/>
                        </a:cubicBezTo>
                        <a:cubicBezTo>
                          <a:pt x="f70" y="f71"/>
                          <a:pt x="f72" y="f73"/>
                          <a:pt x="f74" y="f75"/>
                        </a:cubicBezTo>
                        <a:cubicBezTo>
                          <a:pt x="f76" y="f77"/>
                          <a:pt x="f78" y="f79"/>
                          <a:pt x="f57" y="f69"/>
                        </a:cubicBezTo>
                        <a:lnTo>
                          <a:pt x="f22" y="f69"/>
                        </a:lnTo>
                        <a:cubicBezTo>
                          <a:pt x="f21" y="f69"/>
                          <a:pt x="f18" y="f80"/>
                          <a:pt x="f18" y="f81"/>
                        </a:cubicBezTo>
                        <a:lnTo>
                          <a:pt x="f18" y="f82"/>
                        </a:lnTo>
                        <a:lnTo>
                          <a:pt x="f83" y="f82"/>
                        </a:lnTo>
                        <a:lnTo>
                          <a:pt x="f84" y="f85"/>
                        </a:lnTo>
                        <a:lnTo>
                          <a:pt x="f84" y="f56"/>
                        </a:lnTo>
                        <a:lnTo>
                          <a:pt x="f86" y="f56"/>
                        </a:lnTo>
                        <a:cubicBezTo>
                          <a:pt x="f87" y="f59"/>
                          <a:pt x="f88" y="f61"/>
                          <a:pt x="f89" y="f63"/>
                        </a:cubicBezTo>
                        <a:cubicBezTo>
                          <a:pt x="f90" y="f65"/>
                          <a:pt x="f91" y="f67"/>
                          <a:pt x="f92" y="f69"/>
                        </a:cubicBezTo>
                        <a:cubicBezTo>
                          <a:pt x="f93" y="f71"/>
                          <a:pt x="f94" y="f73"/>
                          <a:pt x="f95" y="f75"/>
                        </a:cubicBezTo>
                        <a:cubicBezTo>
                          <a:pt x="f96" y="f77"/>
                          <a:pt x="f97" y="f79"/>
                          <a:pt x="f86" y="f69"/>
                        </a:cubicBezTo>
                        <a:lnTo>
                          <a:pt x="f98" y="f69"/>
                        </a:lnTo>
                        <a:cubicBezTo>
                          <a:pt x="f99" y="f69"/>
                          <a:pt x="f100" y="f80"/>
                          <a:pt x="f100" y="f81"/>
                        </a:cubicBezTo>
                        <a:lnTo>
                          <a:pt x="f100" y="f101"/>
                        </a:lnTo>
                        <a:cubicBezTo>
                          <a:pt x="f100" y="f102"/>
                          <a:pt x="f103" y="f104"/>
                          <a:pt x="f8" y="f9"/>
                        </a:cubicBezTo>
                        <a:close/>
                        <a:moveTo>
                          <a:pt x="f105" y="f106"/>
                        </a:moveTo>
                        <a:cubicBezTo>
                          <a:pt x="f107" y="f106"/>
                          <a:pt x="f108" y="f109"/>
                          <a:pt x="f108" y="f26"/>
                        </a:cubicBezTo>
                        <a:cubicBezTo>
                          <a:pt x="f108" y="f110"/>
                          <a:pt x="f107" y="f111"/>
                          <a:pt x="f105" y="f111"/>
                        </a:cubicBezTo>
                        <a:cubicBezTo>
                          <a:pt x="f112" y="f111"/>
                          <a:pt x="f113" y="f110"/>
                          <a:pt x="f113" y="f26"/>
                        </a:cubicBezTo>
                        <a:cubicBezTo>
                          <a:pt x="f114" y="f115"/>
                          <a:pt x="f116" y="f117"/>
                          <a:pt x="f105" y="f106"/>
                        </a:cubicBezTo>
                        <a:close/>
                        <a:moveTo>
                          <a:pt x="f118" y="f111"/>
                        </a:moveTo>
                        <a:cubicBezTo>
                          <a:pt x="f119" y="f120"/>
                          <a:pt x="f121" y="f122"/>
                          <a:pt x="f123" y="f124"/>
                        </a:cubicBezTo>
                        <a:cubicBezTo>
                          <a:pt x="f125" y="f126"/>
                          <a:pt x="f127" y="f128"/>
                          <a:pt x="f129" y="f106"/>
                        </a:cubicBezTo>
                        <a:cubicBezTo>
                          <a:pt x="f130" y="f131"/>
                          <a:pt x="f132" y="f133"/>
                          <a:pt x="f134" y="f135"/>
                        </a:cubicBezTo>
                        <a:cubicBezTo>
                          <a:pt x="f134" y="f136"/>
                          <a:pt x="f134" y="f137"/>
                          <a:pt x="f134" y="f26"/>
                        </a:cubicBezTo>
                        <a:cubicBezTo>
                          <a:pt x="f138" y="f139"/>
                          <a:pt x="f140" y="f141"/>
                          <a:pt x="f118" y="f111"/>
                        </a:cubicBezTo>
                        <a:close/>
                        <a:moveTo>
                          <a:pt x="f142" y="f111"/>
                        </a:moveTo>
                        <a:cubicBezTo>
                          <a:pt x="f143" y="f111"/>
                          <a:pt x="f144" y="f110"/>
                          <a:pt x="f144" y="f26"/>
                        </a:cubicBezTo>
                        <a:cubicBezTo>
                          <a:pt x="f144" y="f109"/>
                          <a:pt x="f143" y="f106"/>
                          <a:pt x="f142" y="f106"/>
                        </a:cubicBezTo>
                        <a:cubicBezTo>
                          <a:pt x="f145" y="f106"/>
                          <a:pt x="f146" y="f109"/>
                          <a:pt x="f146" y="f26"/>
                        </a:cubicBezTo>
                        <a:cubicBezTo>
                          <a:pt x="f147" y="f148"/>
                          <a:pt x="f149" y="f150"/>
                          <a:pt x="f151" y="f1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</p:grpSp>
            <p:sp>
              <p:nvSpPr>
                <p:cNvPr id="77" name="Rectangle 119">
                  <a:extLst>
                    <a:ext uri="{FF2B5EF4-FFF2-40B4-BE49-F238E27FC236}">
                      <a16:creationId xmlns:a16="http://schemas.microsoft.com/office/drawing/2014/main" id="{DB839DFB-91F0-A7EB-B5A0-46F3153A4166}"/>
                    </a:ext>
                  </a:extLst>
                </p:cNvPr>
                <p:cNvSpPr/>
                <p:nvPr/>
              </p:nvSpPr>
              <p:spPr>
                <a:xfrm flipH="1">
                  <a:off x="4648160" y="5887227"/>
                  <a:ext cx="180859" cy="121999"/>
                </a:xfrm>
                <a:prstGeom prst="rect">
                  <a:avLst/>
                </a:prstGeom>
                <a:solidFill>
                  <a:srgbClr val="A9CAE4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cxnSp>
              <p:nvCxnSpPr>
                <p:cNvPr id="78" name="Straight Connector 120">
                  <a:extLst>
                    <a:ext uri="{FF2B5EF4-FFF2-40B4-BE49-F238E27FC236}">
                      <a16:creationId xmlns:a16="http://schemas.microsoft.com/office/drawing/2014/main" id="{36BDEB68-0869-8DDB-48F9-D418741F1D20}"/>
                    </a:ext>
                  </a:extLst>
                </p:cNvPr>
                <p:cNvCxnSpPr/>
                <p:nvPr/>
              </p:nvCxnSpPr>
              <p:spPr>
                <a:xfrm>
                  <a:off x="4647127" y="6011430"/>
                  <a:ext cx="174906" cy="0"/>
                </a:xfrm>
                <a:prstGeom prst="straightConnector1">
                  <a:avLst/>
                </a:prstGeom>
                <a:noFill/>
                <a:ln w="12701" cap="rnd">
                  <a:solidFill>
                    <a:srgbClr val="FFFFFF"/>
                  </a:solidFill>
                  <a:prstDash val="solid"/>
                  <a:round/>
                </a:ln>
              </p:spPr>
            </p:cxnSp>
            <p:sp>
              <p:nvSpPr>
                <p:cNvPr id="79" name="Graphic 51">
                  <a:extLst>
                    <a:ext uri="{FF2B5EF4-FFF2-40B4-BE49-F238E27FC236}">
                      <a16:creationId xmlns:a16="http://schemas.microsoft.com/office/drawing/2014/main" id="{C5D547DB-6906-80C0-04B7-5D257C997DA9}"/>
                    </a:ext>
                  </a:extLst>
                </p:cNvPr>
                <p:cNvSpPr/>
                <p:nvPr/>
              </p:nvSpPr>
              <p:spPr>
                <a:xfrm flipH="1">
                  <a:off x="4664043" y="5939942"/>
                  <a:ext cx="59893" cy="6022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2"/>
                    <a:gd name="f9" fmla="val 53340"/>
                    <a:gd name="f10" fmla="val 120967"/>
                    <a:gd name="f11" fmla="val 120015"/>
                    <a:gd name="f12" fmla="val 147638"/>
                    <a:gd name="f13" fmla="val 162877"/>
                    <a:gd name="f14" fmla="val 12382"/>
                    <a:gd name="f15" fmla="val 26670"/>
                    <a:gd name="f16" fmla="val 175260"/>
                    <a:gd name="f17" fmla="val 11430"/>
                    <a:gd name="f18" fmla="val 161925"/>
                    <a:gd name="f19" fmla="+- 0 0 -90"/>
                    <a:gd name="f20" fmla="*/ f3 1 174307"/>
                    <a:gd name="f21" fmla="*/ f4 1 175259"/>
                    <a:gd name="f22" fmla="+- f7 0 f5"/>
                    <a:gd name="f23" fmla="+- f6 0 f5"/>
                    <a:gd name="f24" fmla="*/ f19 f0 1"/>
                    <a:gd name="f25" fmla="*/ f23 1 174307"/>
                    <a:gd name="f26" fmla="*/ f22 1 175259"/>
                    <a:gd name="f27" fmla="*/ 54292 f23 1"/>
                    <a:gd name="f28" fmla="*/ 53340 f22 1"/>
                    <a:gd name="f29" fmla="*/ 120967 f23 1"/>
                    <a:gd name="f30" fmla="*/ 120015 f22 1"/>
                    <a:gd name="f31" fmla="*/ 0 f23 1"/>
                    <a:gd name="f32" fmla="*/ 147638 f22 1"/>
                    <a:gd name="f33" fmla="*/ 26670 f23 1"/>
                    <a:gd name="f34" fmla="*/ 175260 f22 1"/>
                    <a:gd name="f35" fmla="*/ 147638 f23 1"/>
                    <a:gd name="f36" fmla="*/ 174307 f23 1"/>
                    <a:gd name="f37" fmla="*/ 26670 f22 1"/>
                    <a:gd name="f38" fmla="*/ 0 f22 1"/>
                    <a:gd name="f39" fmla="*/ f24 1 f2"/>
                    <a:gd name="f40" fmla="*/ f27 1 174307"/>
                    <a:gd name="f41" fmla="*/ f28 1 175259"/>
                    <a:gd name="f42" fmla="*/ f29 1 174307"/>
                    <a:gd name="f43" fmla="*/ f30 1 175259"/>
                    <a:gd name="f44" fmla="*/ f31 1 174307"/>
                    <a:gd name="f45" fmla="*/ f32 1 175259"/>
                    <a:gd name="f46" fmla="*/ f33 1 174307"/>
                    <a:gd name="f47" fmla="*/ f34 1 175259"/>
                    <a:gd name="f48" fmla="*/ f35 1 174307"/>
                    <a:gd name="f49" fmla="*/ f36 1 174307"/>
                    <a:gd name="f50" fmla="*/ f37 1 175259"/>
                    <a:gd name="f51" fmla="*/ f38 1 175259"/>
                    <a:gd name="f52" fmla="*/ f5 1 f25"/>
                    <a:gd name="f53" fmla="*/ f6 1 f25"/>
                    <a:gd name="f54" fmla="*/ f5 1 f26"/>
                    <a:gd name="f55" fmla="*/ f7 1 f26"/>
                    <a:gd name="f56" fmla="+- f39 0 f1"/>
                    <a:gd name="f57" fmla="*/ f40 1 f25"/>
                    <a:gd name="f58" fmla="*/ f41 1 f26"/>
                    <a:gd name="f59" fmla="*/ f42 1 f25"/>
                    <a:gd name="f60" fmla="*/ f43 1 f26"/>
                    <a:gd name="f61" fmla="*/ f44 1 f25"/>
                    <a:gd name="f62" fmla="*/ f45 1 f26"/>
                    <a:gd name="f63" fmla="*/ f46 1 f25"/>
                    <a:gd name="f64" fmla="*/ f47 1 f26"/>
                    <a:gd name="f65" fmla="*/ f48 1 f25"/>
                    <a:gd name="f66" fmla="*/ f49 1 f25"/>
                    <a:gd name="f67" fmla="*/ f50 1 f26"/>
                    <a:gd name="f68" fmla="*/ f51 1 f26"/>
                    <a:gd name="f69" fmla="*/ f52 f20 1"/>
                    <a:gd name="f70" fmla="*/ f53 f20 1"/>
                    <a:gd name="f71" fmla="*/ f55 f21 1"/>
                    <a:gd name="f72" fmla="*/ f54 f21 1"/>
                    <a:gd name="f73" fmla="*/ f57 f20 1"/>
                    <a:gd name="f74" fmla="*/ f58 f21 1"/>
                    <a:gd name="f75" fmla="*/ f59 f20 1"/>
                    <a:gd name="f76" fmla="*/ f60 f21 1"/>
                    <a:gd name="f77" fmla="*/ f61 f20 1"/>
                    <a:gd name="f78" fmla="*/ f62 f21 1"/>
                    <a:gd name="f79" fmla="*/ f63 f20 1"/>
                    <a:gd name="f80" fmla="*/ f64 f21 1"/>
                    <a:gd name="f81" fmla="*/ f65 f20 1"/>
                    <a:gd name="f82" fmla="*/ f66 f20 1"/>
                    <a:gd name="f83" fmla="*/ f67 f21 1"/>
                    <a:gd name="f84" fmla="*/ f68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3" y="f74"/>
                    </a:cxn>
                    <a:cxn ang="f56">
                      <a:pos x="f75" y="f74"/>
                    </a:cxn>
                    <a:cxn ang="f56">
                      <a:pos x="f75" y="f76"/>
                    </a:cxn>
                    <a:cxn ang="f56">
                      <a:pos x="f73" y="f76"/>
                    </a:cxn>
                    <a:cxn ang="f56">
                      <a:pos x="f73" y="f74"/>
                    </a:cxn>
                    <a:cxn ang="f56">
                      <a:pos x="f77" y="f78"/>
                    </a:cxn>
                    <a:cxn ang="f56">
                      <a:pos x="f79" y="f80"/>
                    </a:cxn>
                    <a:cxn ang="f56">
                      <a:pos x="f79" y="f80"/>
                    </a:cxn>
                    <a:cxn ang="f56">
                      <a:pos x="f81" y="f80"/>
                    </a:cxn>
                    <a:cxn ang="f56">
                      <a:pos x="f82" y="f78"/>
                    </a:cxn>
                    <a:cxn ang="f56">
                      <a:pos x="f82" y="f83"/>
                    </a:cxn>
                    <a:cxn ang="f56">
                      <a:pos x="f81" y="f84"/>
                    </a:cxn>
                    <a:cxn ang="f56">
                      <a:pos x="f79" y="f84"/>
                    </a:cxn>
                    <a:cxn ang="f56">
                      <a:pos x="f77" y="f83"/>
                    </a:cxn>
                    <a:cxn ang="f56">
                      <a:pos x="f77" y="f78"/>
                    </a:cxn>
                  </a:cxnLst>
                  <a:rect l="f69" t="f72" r="f70" b="f71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5" y="f16"/>
                      </a:lnTo>
                      <a:lnTo>
                        <a:pt x="f12" y="f16"/>
                      </a:lnTo>
                      <a:cubicBezTo>
                        <a:pt x="f13" y="f16"/>
                        <a:pt x="f6" y="f13"/>
                        <a:pt x="f6" y="f12"/>
                      </a:cubicBezTo>
                      <a:lnTo>
                        <a:pt x="f6" y="f15"/>
                      </a:lnTo>
                      <a:cubicBezTo>
                        <a:pt x="f6" y="f17"/>
                        <a:pt x="f18" y="f5"/>
                        <a:pt x="f12" y="f5"/>
                      </a:cubicBezTo>
                      <a:lnTo>
                        <a:pt x="f15" y="f5"/>
                      </a:lnTo>
                      <a:cubicBezTo>
                        <a:pt x="f17" y="f5"/>
                        <a:pt x="f5" y="f14"/>
                        <a:pt x="f5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80" name="Graphic 51">
                  <a:extLst>
                    <a:ext uri="{FF2B5EF4-FFF2-40B4-BE49-F238E27FC236}">
                      <a16:creationId xmlns:a16="http://schemas.microsoft.com/office/drawing/2014/main" id="{E4F3B3EE-6106-5D80-6710-5B68447FB0B3}"/>
                    </a:ext>
                  </a:extLst>
                </p:cNvPr>
                <p:cNvSpPr/>
                <p:nvPr/>
              </p:nvSpPr>
              <p:spPr>
                <a:xfrm flipH="1">
                  <a:off x="4730712" y="5939942"/>
                  <a:ext cx="59893" cy="6022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2"/>
                    <a:gd name="f9" fmla="val 53340"/>
                    <a:gd name="f10" fmla="val 120967"/>
                    <a:gd name="f11" fmla="val 120015"/>
                    <a:gd name="f12" fmla="val 147638"/>
                    <a:gd name="f13" fmla="val 162877"/>
                    <a:gd name="f14" fmla="val 12382"/>
                    <a:gd name="f15" fmla="val 26670"/>
                    <a:gd name="f16" fmla="val 175260"/>
                    <a:gd name="f17" fmla="val 11430"/>
                    <a:gd name="f18" fmla="val 161925"/>
                    <a:gd name="f19" fmla="+- 0 0 -90"/>
                    <a:gd name="f20" fmla="*/ f3 1 174307"/>
                    <a:gd name="f21" fmla="*/ f4 1 175259"/>
                    <a:gd name="f22" fmla="+- f7 0 f5"/>
                    <a:gd name="f23" fmla="+- f6 0 f5"/>
                    <a:gd name="f24" fmla="*/ f19 f0 1"/>
                    <a:gd name="f25" fmla="*/ f23 1 174307"/>
                    <a:gd name="f26" fmla="*/ f22 1 175259"/>
                    <a:gd name="f27" fmla="*/ 54292 f23 1"/>
                    <a:gd name="f28" fmla="*/ 53340 f22 1"/>
                    <a:gd name="f29" fmla="*/ 120967 f23 1"/>
                    <a:gd name="f30" fmla="*/ 120015 f22 1"/>
                    <a:gd name="f31" fmla="*/ 0 f23 1"/>
                    <a:gd name="f32" fmla="*/ 147638 f22 1"/>
                    <a:gd name="f33" fmla="*/ 26670 f23 1"/>
                    <a:gd name="f34" fmla="*/ 175260 f22 1"/>
                    <a:gd name="f35" fmla="*/ 147638 f23 1"/>
                    <a:gd name="f36" fmla="*/ 174307 f23 1"/>
                    <a:gd name="f37" fmla="*/ 26670 f22 1"/>
                    <a:gd name="f38" fmla="*/ 0 f22 1"/>
                    <a:gd name="f39" fmla="*/ f24 1 f2"/>
                    <a:gd name="f40" fmla="*/ f27 1 174307"/>
                    <a:gd name="f41" fmla="*/ f28 1 175259"/>
                    <a:gd name="f42" fmla="*/ f29 1 174307"/>
                    <a:gd name="f43" fmla="*/ f30 1 175259"/>
                    <a:gd name="f44" fmla="*/ f31 1 174307"/>
                    <a:gd name="f45" fmla="*/ f32 1 175259"/>
                    <a:gd name="f46" fmla="*/ f33 1 174307"/>
                    <a:gd name="f47" fmla="*/ f34 1 175259"/>
                    <a:gd name="f48" fmla="*/ f35 1 174307"/>
                    <a:gd name="f49" fmla="*/ f36 1 174307"/>
                    <a:gd name="f50" fmla="*/ f37 1 175259"/>
                    <a:gd name="f51" fmla="*/ f38 1 175259"/>
                    <a:gd name="f52" fmla="*/ f5 1 f25"/>
                    <a:gd name="f53" fmla="*/ f6 1 f25"/>
                    <a:gd name="f54" fmla="*/ f5 1 f26"/>
                    <a:gd name="f55" fmla="*/ f7 1 f26"/>
                    <a:gd name="f56" fmla="+- f39 0 f1"/>
                    <a:gd name="f57" fmla="*/ f40 1 f25"/>
                    <a:gd name="f58" fmla="*/ f41 1 f26"/>
                    <a:gd name="f59" fmla="*/ f42 1 f25"/>
                    <a:gd name="f60" fmla="*/ f43 1 f26"/>
                    <a:gd name="f61" fmla="*/ f44 1 f25"/>
                    <a:gd name="f62" fmla="*/ f45 1 f26"/>
                    <a:gd name="f63" fmla="*/ f46 1 f25"/>
                    <a:gd name="f64" fmla="*/ f47 1 f26"/>
                    <a:gd name="f65" fmla="*/ f48 1 f25"/>
                    <a:gd name="f66" fmla="*/ f49 1 f25"/>
                    <a:gd name="f67" fmla="*/ f50 1 f26"/>
                    <a:gd name="f68" fmla="*/ f51 1 f26"/>
                    <a:gd name="f69" fmla="*/ f52 f20 1"/>
                    <a:gd name="f70" fmla="*/ f53 f20 1"/>
                    <a:gd name="f71" fmla="*/ f55 f21 1"/>
                    <a:gd name="f72" fmla="*/ f54 f21 1"/>
                    <a:gd name="f73" fmla="*/ f57 f20 1"/>
                    <a:gd name="f74" fmla="*/ f58 f21 1"/>
                    <a:gd name="f75" fmla="*/ f59 f20 1"/>
                    <a:gd name="f76" fmla="*/ f60 f21 1"/>
                    <a:gd name="f77" fmla="*/ f61 f20 1"/>
                    <a:gd name="f78" fmla="*/ f62 f21 1"/>
                    <a:gd name="f79" fmla="*/ f63 f20 1"/>
                    <a:gd name="f80" fmla="*/ f64 f21 1"/>
                    <a:gd name="f81" fmla="*/ f65 f20 1"/>
                    <a:gd name="f82" fmla="*/ f66 f20 1"/>
                    <a:gd name="f83" fmla="*/ f67 f21 1"/>
                    <a:gd name="f84" fmla="*/ f68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3" y="f74"/>
                    </a:cxn>
                    <a:cxn ang="f56">
                      <a:pos x="f75" y="f74"/>
                    </a:cxn>
                    <a:cxn ang="f56">
                      <a:pos x="f75" y="f76"/>
                    </a:cxn>
                    <a:cxn ang="f56">
                      <a:pos x="f73" y="f76"/>
                    </a:cxn>
                    <a:cxn ang="f56">
                      <a:pos x="f73" y="f74"/>
                    </a:cxn>
                    <a:cxn ang="f56">
                      <a:pos x="f77" y="f78"/>
                    </a:cxn>
                    <a:cxn ang="f56">
                      <a:pos x="f79" y="f80"/>
                    </a:cxn>
                    <a:cxn ang="f56">
                      <a:pos x="f79" y="f80"/>
                    </a:cxn>
                    <a:cxn ang="f56">
                      <a:pos x="f81" y="f80"/>
                    </a:cxn>
                    <a:cxn ang="f56">
                      <a:pos x="f82" y="f78"/>
                    </a:cxn>
                    <a:cxn ang="f56">
                      <a:pos x="f82" y="f83"/>
                    </a:cxn>
                    <a:cxn ang="f56">
                      <a:pos x="f81" y="f84"/>
                    </a:cxn>
                    <a:cxn ang="f56">
                      <a:pos x="f79" y="f84"/>
                    </a:cxn>
                    <a:cxn ang="f56">
                      <a:pos x="f77" y="f83"/>
                    </a:cxn>
                    <a:cxn ang="f56">
                      <a:pos x="f77" y="f78"/>
                    </a:cxn>
                  </a:cxnLst>
                  <a:rect l="f69" t="f72" r="f70" b="f71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5" y="f16"/>
                      </a:lnTo>
                      <a:lnTo>
                        <a:pt x="f12" y="f16"/>
                      </a:lnTo>
                      <a:cubicBezTo>
                        <a:pt x="f13" y="f16"/>
                        <a:pt x="f6" y="f13"/>
                        <a:pt x="f6" y="f12"/>
                      </a:cubicBezTo>
                      <a:lnTo>
                        <a:pt x="f6" y="f15"/>
                      </a:lnTo>
                      <a:cubicBezTo>
                        <a:pt x="f6" y="f17"/>
                        <a:pt x="f18" y="f5"/>
                        <a:pt x="f12" y="f5"/>
                      </a:cubicBezTo>
                      <a:lnTo>
                        <a:pt x="f15" y="f5"/>
                      </a:lnTo>
                      <a:cubicBezTo>
                        <a:pt x="f17" y="f5"/>
                        <a:pt x="f5" y="f14"/>
                        <a:pt x="f5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</p:grpSp>
        </p:grpSp>
        <p:grpSp>
          <p:nvGrpSpPr>
            <p:cNvPr id="81" name="Group 18">
              <a:extLst>
                <a:ext uri="{FF2B5EF4-FFF2-40B4-BE49-F238E27FC236}">
                  <a16:creationId xmlns:a16="http://schemas.microsoft.com/office/drawing/2014/main" id="{8B9DF9CC-FD37-55CE-270E-628CA3E09404}"/>
                </a:ext>
              </a:extLst>
            </p:cNvPr>
            <p:cNvGrpSpPr/>
            <p:nvPr/>
          </p:nvGrpSpPr>
          <p:grpSpPr>
            <a:xfrm>
              <a:off x="7513149" y="5268973"/>
              <a:ext cx="908593" cy="871076"/>
              <a:chOff x="7513149" y="5268973"/>
              <a:chExt cx="908593" cy="871076"/>
            </a:xfrm>
          </p:grpSpPr>
          <p:grpSp>
            <p:nvGrpSpPr>
              <p:cNvPr id="82" name="Group 79">
                <a:extLst>
                  <a:ext uri="{FF2B5EF4-FFF2-40B4-BE49-F238E27FC236}">
                    <a16:creationId xmlns:a16="http://schemas.microsoft.com/office/drawing/2014/main" id="{8E194E0A-D3CE-4730-E712-1A6907A0DECE}"/>
                  </a:ext>
                </a:extLst>
              </p:cNvPr>
              <p:cNvGrpSpPr/>
              <p:nvPr/>
            </p:nvGrpSpPr>
            <p:grpSpPr>
              <a:xfrm>
                <a:off x="7513149" y="5268973"/>
                <a:ext cx="601309" cy="866430"/>
                <a:chOff x="7513149" y="5268973"/>
                <a:chExt cx="601309" cy="866430"/>
              </a:xfrm>
            </p:grpSpPr>
            <p:grpSp>
              <p:nvGrpSpPr>
                <p:cNvPr id="83" name="Graphic 51">
                  <a:extLst>
                    <a:ext uri="{FF2B5EF4-FFF2-40B4-BE49-F238E27FC236}">
                      <a16:creationId xmlns:a16="http://schemas.microsoft.com/office/drawing/2014/main" id="{82965E19-2767-E6F0-90B2-2D70A29BC8F6}"/>
                    </a:ext>
                  </a:extLst>
                </p:cNvPr>
                <p:cNvGrpSpPr/>
                <p:nvPr/>
              </p:nvGrpSpPr>
              <p:grpSpPr>
                <a:xfrm>
                  <a:off x="7513149" y="5542324"/>
                  <a:ext cx="419389" cy="593079"/>
                  <a:chOff x="7513149" y="5542324"/>
                  <a:chExt cx="419389" cy="593079"/>
                </a:xfrm>
              </p:grpSpPr>
              <p:sp>
                <p:nvSpPr>
                  <p:cNvPr id="84" name="Graphic 51">
                    <a:extLst>
                      <a:ext uri="{FF2B5EF4-FFF2-40B4-BE49-F238E27FC236}">
                        <a16:creationId xmlns:a16="http://schemas.microsoft.com/office/drawing/2014/main" id="{70489478-8970-FD43-4276-F2633C79E857}"/>
                      </a:ext>
                    </a:extLst>
                  </p:cNvPr>
                  <p:cNvSpPr/>
                  <p:nvPr/>
                </p:nvSpPr>
                <p:spPr>
                  <a:xfrm>
                    <a:off x="7513149" y="5885178"/>
                    <a:ext cx="259479" cy="132030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572384"/>
                      <a:gd name="f7" fmla="val 291243"/>
                      <a:gd name="f8" fmla="val 565087"/>
                      <a:gd name="f9" fmla="val 282416"/>
                      <a:gd name="f10" fmla="val 575564"/>
                      <a:gd name="f11" fmla="val 270986"/>
                      <a:gd name="f12" fmla="val 574612"/>
                      <a:gd name="f13" fmla="val 253841"/>
                      <a:gd name="f14" fmla="val 563182"/>
                      <a:gd name="f15" fmla="val 244316"/>
                      <a:gd name="f16" fmla="val 303149"/>
                      <a:gd name="f17" fmla="val 7144"/>
                      <a:gd name="f18" fmla="val 292672"/>
                      <a:gd name="f19" fmla="+- 0 0 2381"/>
                      <a:gd name="f20" fmla="val 276479"/>
                      <a:gd name="f21" fmla="val 266954"/>
                      <a:gd name="f22" fmla="val 8827"/>
                      <a:gd name="f23" fmla="+- 0 0 2603"/>
                      <a:gd name="f24" fmla="val 254794"/>
                      <a:gd name="f25" fmla="val 271939"/>
                      <a:gd name="f26" fmla="val 6922"/>
                      <a:gd name="f27" fmla="val 17399"/>
                      <a:gd name="f28" fmla="val 293846"/>
                      <a:gd name="f29" fmla="val 34544"/>
                      <a:gd name="f30" fmla="val 45022"/>
                      <a:gd name="f31" fmla="val 284321"/>
                      <a:gd name="f32" fmla="val 284099"/>
                      <a:gd name="f33" fmla="val 64294"/>
                      <a:gd name="f34" fmla="val 526034"/>
                      <a:gd name="f35" fmla="val 537464"/>
                      <a:gd name="f36" fmla="val 554609"/>
                      <a:gd name="f37" fmla="val 292894"/>
                      <a:gd name="f38" fmla="+- 0 0 -90"/>
                      <a:gd name="f39" fmla="*/ f3 1 572384"/>
                      <a:gd name="f40" fmla="*/ f4 1 291243"/>
                      <a:gd name="f41" fmla="+- f7 0 f5"/>
                      <a:gd name="f42" fmla="+- f6 0 f5"/>
                      <a:gd name="f43" fmla="*/ f38 f0 1"/>
                      <a:gd name="f44" fmla="*/ f42 1 572384"/>
                      <a:gd name="f45" fmla="*/ f41 1 291243"/>
                      <a:gd name="f46" fmla="*/ 565087 f42 1"/>
                      <a:gd name="f47" fmla="*/ 282416 f41 1"/>
                      <a:gd name="f48" fmla="*/ 563182 f42 1"/>
                      <a:gd name="f49" fmla="*/ 244316 f41 1"/>
                      <a:gd name="f50" fmla="*/ 303149 f42 1"/>
                      <a:gd name="f51" fmla="*/ 7144 f41 1"/>
                      <a:gd name="f52" fmla="*/ 266954 f42 1"/>
                      <a:gd name="f53" fmla="*/ 8827 f42 1"/>
                      <a:gd name="f54" fmla="*/ 6922 f42 1"/>
                      <a:gd name="f55" fmla="*/ 45022 f42 1"/>
                      <a:gd name="f56" fmla="*/ 284321 f41 1"/>
                      <a:gd name="f57" fmla="*/ 284099 f42 1"/>
                      <a:gd name="f58" fmla="*/ 64294 f41 1"/>
                      <a:gd name="f59" fmla="*/ 526034 f42 1"/>
                      <a:gd name="f60" fmla="*/ f43 1 f2"/>
                      <a:gd name="f61" fmla="*/ f46 1 572384"/>
                      <a:gd name="f62" fmla="*/ f47 1 291243"/>
                      <a:gd name="f63" fmla="*/ f48 1 572384"/>
                      <a:gd name="f64" fmla="*/ f49 1 291243"/>
                      <a:gd name="f65" fmla="*/ f50 1 572384"/>
                      <a:gd name="f66" fmla="*/ f51 1 291243"/>
                      <a:gd name="f67" fmla="*/ f52 1 572384"/>
                      <a:gd name="f68" fmla="*/ f53 1 572384"/>
                      <a:gd name="f69" fmla="*/ f54 1 572384"/>
                      <a:gd name="f70" fmla="*/ f55 1 572384"/>
                      <a:gd name="f71" fmla="*/ f56 1 291243"/>
                      <a:gd name="f72" fmla="*/ f57 1 572384"/>
                      <a:gd name="f73" fmla="*/ f58 1 291243"/>
                      <a:gd name="f74" fmla="*/ f59 1 572384"/>
                      <a:gd name="f75" fmla="*/ f5 1 f44"/>
                      <a:gd name="f76" fmla="*/ f6 1 f44"/>
                      <a:gd name="f77" fmla="*/ f5 1 f45"/>
                      <a:gd name="f78" fmla="*/ f7 1 f45"/>
                      <a:gd name="f79" fmla="+- f60 0 f1"/>
                      <a:gd name="f80" fmla="*/ f61 1 f44"/>
                      <a:gd name="f81" fmla="*/ f62 1 f45"/>
                      <a:gd name="f82" fmla="*/ f63 1 f44"/>
                      <a:gd name="f83" fmla="*/ f64 1 f45"/>
                      <a:gd name="f84" fmla="*/ f65 1 f44"/>
                      <a:gd name="f85" fmla="*/ f66 1 f45"/>
                      <a:gd name="f86" fmla="*/ f67 1 f44"/>
                      <a:gd name="f87" fmla="*/ f68 1 f44"/>
                      <a:gd name="f88" fmla="*/ f69 1 f44"/>
                      <a:gd name="f89" fmla="*/ f70 1 f44"/>
                      <a:gd name="f90" fmla="*/ f71 1 f45"/>
                      <a:gd name="f91" fmla="*/ f72 1 f44"/>
                      <a:gd name="f92" fmla="*/ f73 1 f45"/>
                      <a:gd name="f93" fmla="*/ f74 1 f44"/>
                      <a:gd name="f94" fmla="*/ f75 f39 1"/>
                      <a:gd name="f95" fmla="*/ f76 f39 1"/>
                      <a:gd name="f96" fmla="*/ f78 f40 1"/>
                      <a:gd name="f97" fmla="*/ f77 f40 1"/>
                      <a:gd name="f98" fmla="*/ f80 f39 1"/>
                      <a:gd name="f99" fmla="*/ f81 f40 1"/>
                      <a:gd name="f100" fmla="*/ f82 f39 1"/>
                      <a:gd name="f101" fmla="*/ f83 f40 1"/>
                      <a:gd name="f102" fmla="*/ f84 f39 1"/>
                      <a:gd name="f103" fmla="*/ f85 f40 1"/>
                      <a:gd name="f104" fmla="*/ f86 f39 1"/>
                      <a:gd name="f105" fmla="*/ f87 f39 1"/>
                      <a:gd name="f106" fmla="*/ f88 f39 1"/>
                      <a:gd name="f107" fmla="*/ f89 f39 1"/>
                      <a:gd name="f108" fmla="*/ f90 f40 1"/>
                      <a:gd name="f109" fmla="*/ f91 f39 1"/>
                      <a:gd name="f110" fmla="*/ f92 f40 1"/>
                      <a:gd name="f111" fmla="*/ f93 f39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79">
                        <a:pos x="f98" y="f99"/>
                      </a:cxn>
                      <a:cxn ang="f79">
                        <a:pos x="f100" y="f101"/>
                      </a:cxn>
                      <a:cxn ang="f79">
                        <a:pos x="f102" y="f103"/>
                      </a:cxn>
                      <a:cxn ang="f79">
                        <a:pos x="f104" y="f103"/>
                      </a:cxn>
                      <a:cxn ang="f79">
                        <a:pos x="f105" y="f101"/>
                      </a:cxn>
                      <a:cxn ang="f79">
                        <a:pos x="f106" y="f99"/>
                      </a:cxn>
                      <a:cxn ang="f79">
                        <a:pos x="f107" y="f108"/>
                      </a:cxn>
                      <a:cxn ang="f79">
                        <a:pos x="f109" y="f110"/>
                      </a:cxn>
                      <a:cxn ang="f79">
                        <a:pos x="f111" y="f108"/>
                      </a:cxn>
                      <a:cxn ang="f79">
                        <a:pos x="f98" y="f99"/>
                      </a:cxn>
                      <a:cxn ang="f79">
                        <a:pos x="f98" y="f99"/>
                      </a:cxn>
                      <a:cxn ang="f79">
                        <a:pos x="f98" y="f99"/>
                      </a:cxn>
                    </a:cxnLst>
                    <a:rect l="f94" t="f97" r="f95" b="f96"/>
                    <a:pathLst>
                      <a:path w="572384" h="291243">
                        <a:moveTo>
                          <a:pt x="f8" y="f9"/>
                        </a:moveTo>
                        <a:cubicBezTo>
                          <a:pt x="f10" y="f11"/>
                          <a:pt x="f12" y="f13"/>
                          <a:pt x="f14" y="f15"/>
                        </a:cubicBezTo>
                        <a:lnTo>
                          <a:pt x="f16" y="f17"/>
                        </a:lnTo>
                        <a:cubicBezTo>
                          <a:pt x="f18" y="f19"/>
                          <a:pt x="f20" y="f19"/>
                          <a:pt x="f21" y="f17"/>
                        </a:cubicBezTo>
                        <a:lnTo>
                          <a:pt x="f22" y="f15"/>
                        </a:lnTo>
                        <a:cubicBezTo>
                          <a:pt x="f23" y="f24"/>
                          <a:pt x="f23" y="f25"/>
                          <a:pt x="f26" y="f9"/>
                        </a:cubicBezTo>
                        <a:cubicBezTo>
                          <a:pt x="f27" y="f28"/>
                          <a:pt x="f29" y="f28"/>
                          <a:pt x="f30" y="f31"/>
                        </a:cubicBezTo>
                        <a:lnTo>
                          <a:pt x="f32" y="f33"/>
                        </a:lnTo>
                        <a:lnTo>
                          <a:pt x="f34" y="f31"/>
                        </a:lnTo>
                        <a:cubicBezTo>
                          <a:pt x="f35" y="f28"/>
                          <a:pt x="f36" y="f37"/>
                          <a:pt x="f8" y="f9"/>
                        </a:cubicBezTo>
                        <a:lnTo>
                          <a:pt x="f8" y="f9"/>
                        </a:lnTo>
                        <a:lnTo>
                          <a:pt x="f8" y="f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85" name="Graphic 51">
                    <a:extLst>
                      <a:ext uri="{FF2B5EF4-FFF2-40B4-BE49-F238E27FC236}">
                        <a16:creationId xmlns:a16="http://schemas.microsoft.com/office/drawing/2014/main" id="{069C42A8-6A54-77AF-4C1C-63AD13964705}"/>
                      </a:ext>
                    </a:extLst>
                  </p:cNvPr>
                  <p:cNvSpPr/>
                  <p:nvPr/>
                </p:nvSpPr>
                <p:spPr>
                  <a:xfrm>
                    <a:off x="7541760" y="6021845"/>
                    <a:ext cx="202082" cy="113129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445770"/>
                      <a:gd name="f7" fmla="val 249554"/>
                      <a:gd name="f8" fmla="val 419100"/>
                      <a:gd name="f9" fmla="val 952"/>
                      <a:gd name="f10" fmla="val 403860"/>
                      <a:gd name="f11" fmla="val 392430"/>
                      <a:gd name="f12" fmla="val 13335"/>
                      <a:gd name="f13" fmla="val 27622"/>
                      <a:gd name="f14" fmla="val 196215"/>
                      <a:gd name="f15" fmla="val 54293"/>
                      <a:gd name="f16" fmla="val 12382"/>
                      <a:gd name="f17" fmla="val 41910"/>
                      <a:gd name="f18" fmla="val 26670"/>
                      <a:gd name="f19" fmla="val 11430"/>
                      <a:gd name="f20" fmla="val 222885"/>
                      <a:gd name="f21" fmla="val 238125"/>
                      <a:gd name="f22" fmla="val 249555"/>
                      <a:gd name="f23" fmla="val 434340"/>
                      <a:gd name="f24" fmla="val 237172"/>
                      <a:gd name="f25" fmla="val 433388"/>
                      <a:gd name="f26" fmla="+- 0 0 -90"/>
                      <a:gd name="f27" fmla="*/ f3 1 445770"/>
                      <a:gd name="f28" fmla="*/ f4 1 249554"/>
                      <a:gd name="f29" fmla="+- f7 0 f5"/>
                      <a:gd name="f30" fmla="+- f6 0 f5"/>
                      <a:gd name="f31" fmla="*/ f26 f0 1"/>
                      <a:gd name="f32" fmla="*/ f30 1 445770"/>
                      <a:gd name="f33" fmla="*/ f29 1 249554"/>
                      <a:gd name="f34" fmla="*/ 419100 f30 1"/>
                      <a:gd name="f35" fmla="*/ 952 f29 1"/>
                      <a:gd name="f36" fmla="*/ 392430 f30 1"/>
                      <a:gd name="f37" fmla="*/ 27622 f29 1"/>
                      <a:gd name="f38" fmla="*/ 196215 f29 1"/>
                      <a:gd name="f39" fmla="*/ 54293 f30 1"/>
                      <a:gd name="f40" fmla="*/ 26670 f30 1"/>
                      <a:gd name="f41" fmla="*/ 0 f29 1"/>
                      <a:gd name="f42" fmla="*/ 0 f30 1"/>
                      <a:gd name="f43" fmla="*/ 222885 f29 1"/>
                      <a:gd name="f44" fmla="*/ 249555 f29 1"/>
                      <a:gd name="f45" fmla="*/ 445770 f30 1"/>
                      <a:gd name="f46" fmla="*/ f31 1 f2"/>
                      <a:gd name="f47" fmla="*/ f34 1 445770"/>
                      <a:gd name="f48" fmla="*/ f35 1 249554"/>
                      <a:gd name="f49" fmla="*/ f36 1 445770"/>
                      <a:gd name="f50" fmla="*/ f37 1 249554"/>
                      <a:gd name="f51" fmla="*/ f38 1 249554"/>
                      <a:gd name="f52" fmla="*/ f39 1 445770"/>
                      <a:gd name="f53" fmla="*/ f40 1 445770"/>
                      <a:gd name="f54" fmla="*/ f41 1 249554"/>
                      <a:gd name="f55" fmla="*/ f42 1 445770"/>
                      <a:gd name="f56" fmla="*/ f43 1 249554"/>
                      <a:gd name="f57" fmla="*/ f44 1 249554"/>
                      <a:gd name="f58" fmla="*/ f45 1 445770"/>
                      <a:gd name="f59" fmla="*/ f5 1 f32"/>
                      <a:gd name="f60" fmla="*/ f6 1 f32"/>
                      <a:gd name="f61" fmla="*/ f5 1 f33"/>
                      <a:gd name="f62" fmla="*/ f7 1 f33"/>
                      <a:gd name="f63" fmla="+- f46 0 f1"/>
                      <a:gd name="f64" fmla="*/ f47 1 f32"/>
                      <a:gd name="f65" fmla="*/ f48 1 f33"/>
                      <a:gd name="f66" fmla="*/ f49 1 f32"/>
                      <a:gd name="f67" fmla="*/ f50 1 f33"/>
                      <a:gd name="f68" fmla="*/ f51 1 f33"/>
                      <a:gd name="f69" fmla="*/ f52 1 f32"/>
                      <a:gd name="f70" fmla="*/ f53 1 f32"/>
                      <a:gd name="f71" fmla="*/ f54 1 f33"/>
                      <a:gd name="f72" fmla="*/ f55 1 f32"/>
                      <a:gd name="f73" fmla="*/ f56 1 f33"/>
                      <a:gd name="f74" fmla="*/ f57 1 f33"/>
                      <a:gd name="f75" fmla="*/ f58 1 f32"/>
                      <a:gd name="f76" fmla="*/ f59 f27 1"/>
                      <a:gd name="f77" fmla="*/ f60 f27 1"/>
                      <a:gd name="f78" fmla="*/ f62 f28 1"/>
                      <a:gd name="f79" fmla="*/ f61 f28 1"/>
                      <a:gd name="f80" fmla="*/ f64 f27 1"/>
                      <a:gd name="f81" fmla="*/ f65 f28 1"/>
                      <a:gd name="f82" fmla="*/ f66 f27 1"/>
                      <a:gd name="f83" fmla="*/ f67 f28 1"/>
                      <a:gd name="f84" fmla="*/ f68 f28 1"/>
                      <a:gd name="f85" fmla="*/ f69 f27 1"/>
                      <a:gd name="f86" fmla="*/ f70 f27 1"/>
                      <a:gd name="f87" fmla="*/ f71 f28 1"/>
                      <a:gd name="f88" fmla="*/ f72 f27 1"/>
                      <a:gd name="f89" fmla="*/ f73 f28 1"/>
                      <a:gd name="f90" fmla="*/ f74 f28 1"/>
                      <a:gd name="f91" fmla="*/ f75 f27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3">
                        <a:pos x="f80" y="f81"/>
                      </a:cxn>
                      <a:cxn ang="f63">
                        <a:pos x="f82" y="f83"/>
                      </a:cxn>
                      <a:cxn ang="f63">
                        <a:pos x="f82" y="f83"/>
                      </a:cxn>
                      <a:cxn ang="f63">
                        <a:pos x="f82" y="f84"/>
                      </a:cxn>
                      <a:cxn ang="f63">
                        <a:pos x="f85" y="f84"/>
                      </a:cxn>
                      <a:cxn ang="f63">
                        <a:pos x="f85" y="f83"/>
                      </a:cxn>
                      <a:cxn ang="f63">
                        <a:pos x="f86" y="f87"/>
                      </a:cxn>
                      <a:cxn ang="f63">
                        <a:pos x="f88" y="f83"/>
                      </a:cxn>
                      <a:cxn ang="f63">
                        <a:pos x="f88" y="f89"/>
                      </a:cxn>
                      <a:cxn ang="f63">
                        <a:pos x="f86" y="f90"/>
                      </a:cxn>
                      <a:cxn ang="f63">
                        <a:pos x="f86" y="f90"/>
                      </a:cxn>
                      <a:cxn ang="f63">
                        <a:pos x="f80" y="f90"/>
                      </a:cxn>
                      <a:cxn ang="f63">
                        <a:pos x="f91" y="f89"/>
                      </a:cxn>
                      <a:cxn ang="f63">
                        <a:pos x="f91" y="f89"/>
                      </a:cxn>
                      <a:cxn ang="f63">
                        <a:pos x="f91" y="f83"/>
                      </a:cxn>
                      <a:cxn ang="f63">
                        <a:pos x="f80" y="f81"/>
                      </a:cxn>
                    </a:cxnLst>
                    <a:rect l="f76" t="f79" r="f77" b="f78"/>
                    <a:pathLst>
                      <a:path w="445770" h="249554">
                        <a:moveTo>
                          <a:pt x="f8" y="f9"/>
                        </a:moveTo>
                        <a:cubicBezTo>
                          <a:pt x="f10" y="f9"/>
                          <a:pt x="f11" y="f12"/>
                          <a:pt x="f11" y="f13"/>
                        </a:cubicBezTo>
                        <a:lnTo>
                          <a:pt x="f11" y="f13"/>
                        </a:lnTo>
                        <a:lnTo>
                          <a:pt x="f11" y="f14"/>
                        </a:lnTo>
                        <a:lnTo>
                          <a:pt x="f15" y="f14"/>
                        </a:lnTo>
                        <a:lnTo>
                          <a:pt x="f15" y="f13"/>
                        </a:lnTo>
                        <a:cubicBezTo>
                          <a:pt x="f15" y="f16"/>
                          <a:pt x="f17" y="f5"/>
                          <a:pt x="f18" y="f5"/>
                        </a:cubicBezTo>
                        <a:cubicBezTo>
                          <a:pt x="f19" y="f5"/>
                          <a:pt x="f5" y="f16"/>
                          <a:pt x="f5" y="f13"/>
                        </a:cubicBezTo>
                        <a:lnTo>
                          <a:pt x="f5" y="f20"/>
                        </a:lnTo>
                        <a:cubicBezTo>
                          <a:pt x="f5" y="f21"/>
                          <a:pt x="f16" y="f22"/>
                          <a:pt x="f18" y="f22"/>
                        </a:cubicBezTo>
                        <a:lnTo>
                          <a:pt x="f18" y="f22"/>
                        </a:lnTo>
                        <a:lnTo>
                          <a:pt x="f8" y="f22"/>
                        </a:lnTo>
                        <a:cubicBezTo>
                          <a:pt x="f23" y="f22"/>
                          <a:pt x="f6" y="f24"/>
                          <a:pt x="f6" y="f20"/>
                        </a:cubicBezTo>
                        <a:lnTo>
                          <a:pt x="f6" y="f20"/>
                        </a:lnTo>
                        <a:lnTo>
                          <a:pt x="f6" y="f13"/>
                        </a:lnTo>
                        <a:cubicBezTo>
                          <a:pt x="f6" y="f16"/>
                          <a:pt x="f25" y="f9"/>
                          <a:pt x="f8" y="f9"/>
                        </a:cubicBezTo>
                      </a:path>
                    </a:pathLst>
                  </a:custGeom>
                  <a:noFill/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86" name="Graphic 51">
                    <a:extLst>
                      <a:ext uri="{FF2B5EF4-FFF2-40B4-BE49-F238E27FC236}">
                        <a16:creationId xmlns:a16="http://schemas.microsoft.com/office/drawing/2014/main" id="{670DF782-FBB1-A02F-5C44-732AA42A5C9C}"/>
                      </a:ext>
                    </a:extLst>
                  </p:cNvPr>
                  <p:cNvSpPr/>
                  <p:nvPr/>
                </p:nvSpPr>
                <p:spPr>
                  <a:xfrm>
                    <a:off x="7630686" y="5542324"/>
                    <a:ext cx="301852" cy="593079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665849"/>
                      <a:gd name="f7" fmla="val 1308258"/>
                      <a:gd name="f8" fmla="val 351524"/>
                      <a:gd name="f9" fmla="val 7144"/>
                      <a:gd name="f10" fmla="val 341047"/>
                      <a:gd name="f11" fmla="+- 0 0 2381"/>
                      <a:gd name="f12" fmla="val 324854"/>
                      <a:gd name="f13" fmla="val 314377"/>
                      <a:gd name="f14" fmla="val 8624"/>
                      <a:gd name="f15" fmla="val 290989"/>
                      <a:gd name="f16" fmla="val 2909"/>
                      <a:gd name="f17" fmla="val 295751"/>
                      <a:gd name="f18" fmla="val 52"/>
                      <a:gd name="f19" fmla="val 303371"/>
                      <a:gd name="f20" fmla="val 310991"/>
                      <a:gd name="f21" fmla="val 690086"/>
                      <a:gd name="f22" fmla="+- 0 0 901"/>
                      <a:gd name="f23" fmla="val 705326"/>
                      <a:gd name="f24" fmla="val 11482"/>
                      <a:gd name="f25" fmla="val 717709"/>
                      <a:gd name="f26" fmla="val 25769"/>
                      <a:gd name="f27" fmla="val 718661"/>
                      <a:gd name="f28" fmla="val 41009"/>
                      <a:gd name="f29" fmla="val 719614"/>
                      <a:gd name="f30" fmla="val 53392"/>
                      <a:gd name="f31" fmla="val 707231"/>
                      <a:gd name="f32" fmla="val 54344"/>
                      <a:gd name="f33" fmla="val 692944"/>
                      <a:gd name="f34" fmla="val 691039"/>
                      <a:gd name="f35" fmla="val 323374"/>
                      <a:gd name="f36" fmla="val 333427"/>
                      <a:gd name="f37" fmla="val 64294"/>
                      <a:gd name="f38" fmla="val 612509"/>
                      <a:gd name="f39" fmla="val 1253966"/>
                      <a:gd name="f40" fmla="val 299137"/>
                      <a:gd name="f41" fmla="val 286754"/>
                      <a:gd name="f42" fmla="val 1266349"/>
                      <a:gd name="f43" fmla="val 1281589"/>
                      <a:gd name="f44" fmla="val 1296829"/>
                      <a:gd name="f45" fmla="val 1308259"/>
                      <a:gd name="f46" fmla="val 639179"/>
                      <a:gd name="f47" fmla="val 654419"/>
                      <a:gd name="f48" fmla="val 1295876"/>
                      <a:gd name="f49" fmla="val 662992"/>
                      <a:gd name="f50" fmla="val 657277"/>
                      <a:gd name="f51" fmla="+- 0 0 -90"/>
                      <a:gd name="f52" fmla="*/ f3 1 665849"/>
                      <a:gd name="f53" fmla="*/ f4 1 1308258"/>
                      <a:gd name="f54" fmla="+- f7 0 f5"/>
                      <a:gd name="f55" fmla="+- f6 0 f5"/>
                      <a:gd name="f56" fmla="*/ f51 f0 1"/>
                      <a:gd name="f57" fmla="*/ f55 1 665849"/>
                      <a:gd name="f58" fmla="*/ f54 1 1308258"/>
                      <a:gd name="f59" fmla="*/ 351524 f55 1"/>
                      <a:gd name="f60" fmla="*/ 7144 f54 1"/>
                      <a:gd name="f61" fmla="*/ 314377 f55 1"/>
                      <a:gd name="f62" fmla="*/ 8624 f55 1"/>
                      <a:gd name="f63" fmla="*/ 290989 f54 1"/>
                      <a:gd name="f64" fmla="*/ 52 f55 1"/>
                      <a:gd name="f65" fmla="*/ 310991 f54 1"/>
                      <a:gd name="f66" fmla="*/ 690086 f54 1"/>
                      <a:gd name="f67" fmla="*/ 25769 f55 1"/>
                      <a:gd name="f68" fmla="*/ 718661 f54 1"/>
                      <a:gd name="f69" fmla="*/ 54344 f55 1"/>
                      <a:gd name="f70" fmla="*/ 692944 f54 1"/>
                      <a:gd name="f71" fmla="*/ 691039 f54 1"/>
                      <a:gd name="f72" fmla="*/ 323374 f54 1"/>
                      <a:gd name="f73" fmla="*/ 333427 f55 1"/>
                      <a:gd name="f74" fmla="*/ 64294 f54 1"/>
                      <a:gd name="f75" fmla="*/ 612509 f55 1"/>
                      <a:gd name="f76" fmla="*/ 1253966 f54 1"/>
                      <a:gd name="f77" fmla="*/ 286754 f55 1"/>
                      <a:gd name="f78" fmla="*/ 1281589 f54 1"/>
                      <a:gd name="f79" fmla="*/ 1308259 f54 1"/>
                      <a:gd name="f80" fmla="*/ 639179 f55 1"/>
                      <a:gd name="f81" fmla="*/ 665849 f55 1"/>
                      <a:gd name="f82" fmla="*/ 657277 f55 1"/>
                      <a:gd name="f83" fmla="*/ f56 1 f2"/>
                      <a:gd name="f84" fmla="*/ f59 1 665849"/>
                      <a:gd name="f85" fmla="*/ f60 1 1308258"/>
                      <a:gd name="f86" fmla="*/ f61 1 665849"/>
                      <a:gd name="f87" fmla="*/ f62 1 665849"/>
                      <a:gd name="f88" fmla="*/ f63 1 1308258"/>
                      <a:gd name="f89" fmla="*/ f64 1 665849"/>
                      <a:gd name="f90" fmla="*/ f65 1 1308258"/>
                      <a:gd name="f91" fmla="*/ f66 1 1308258"/>
                      <a:gd name="f92" fmla="*/ f67 1 665849"/>
                      <a:gd name="f93" fmla="*/ f68 1 1308258"/>
                      <a:gd name="f94" fmla="*/ f69 1 665849"/>
                      <a:gd name="f95" fmla="*/ f70 1 1308258"/>
                      <a:gd name="f96" fmla="*/ f71 1 1308258"/>
                      <a:gd name="f97" fmla="*/ f72 1 1308258"/>
                      <a:gd name="f98" fmla="*/ f73 1 665849"/>
                      <a:gd name="f99" fmla="*/ f74 1 1308258"/>
                      <a:gd name="f100" fmla="*/ f75 1 665849"/>
                      <a:gd name="f101" fmla="*/ f76 1 1308258"/>
                      <a:gd name="f102" fmla="*/ f77 1 665849"/>
                      <a:gd name="f103" fmla="*/ f78 1 1308258"/>
                      <a:gd name="f104" fmla="*/ f79 1 1308258"/>
                      <a:gd name="f105" fmla="*/ f80 1 665849"/>
                      <a:gd name="f106" fmla="*/ f81 1 665849"/>
                      <a:gd name="f107" fmla="*/ f82 1 665849"/>
                      <a:gd name="f108" fmla="*/ f5 1 f57"/>
                      <a:gd name="f109" fmla="*/ f6 1 f57"/>
                      <a:gd name="f110" fmla="*/ f5 1 f58"/>
                      <a:gd name="f111" fmla="*/ f7 1 f58"/>
                      <a:gd name="f112" fmla="+- f83 0 f1"/>
                      <a:gd name="f113" fmla="*/ f84 1 f57"/>
                      <a:gd name="f114" fmla="*/ f85 1 f58"/>
                      <a:gd name="f115" fmla="*/ f86 1 f57"/>
                      <a:gd name="f116" fmla="*/ f87 1 f57"/>
                      <a:gd name="f117" fmla="*/ f88 1 f58"/>
                      <a:gd name="f118" fmla="*/ f89 1 f57"/>
                      <a:gd name="f119" fmla="*/ f90 1 f58"/>
                      <a:gd name="f120" fmla="*/ f91 1 f58"/>
                      <a:gd name="f121" fmla="*/ f92 1 f57"/>
                      <a:gd name="f122" fmla="*/ f93 1 f58"/>
                      <a:gd name="f123" fmla="*/ f94 1 f57"/>
                      <a:gd name="f124" fmla="*/ f95 1 f58"/>
                      <a:gd name="f125" fmla="*/ f96 1 f58"/>
                      <a:gd name="f126" fmla="*/ f97 1 f58"/>
                      <a:gd name="f127" fmla="*/ f98 1 f57"/>
                      <a:gd name="f128" fmla="*/ f99 1 f58"/>
                      <a:gd name="f129" fmla="*/ f100 1 f57"/>
                      <a:gd name="f130" fmla="*/ f101 1 f58"/>
                      <a:gd name="f131" fmla="*/ f102 1 f57"/>
                      <a:gd name="f132" fmla="*/ f103 1 f58"/>
                      <a:gd name="f133" fmla="*/ f104 1 f58"/>
                      <a:gd name="f134" fmla="*/ f105 1 f57"/>
                      <a:gd name="f135" fmla="*/ f106 1 f57"/>
                      <a:gd name="f136" fmla="*/ f107 1 f57"/>
                      <a:gd name="f137" fmla="*/ f108 f52 1"/>
                      <a:gd name="f138" fmla="*/ f109 f52 1"/>
                      <a:gd name="f139" fmla="*/ f111 f53 1"/>
                      <a:gd name="f140" fmla="*/ f110 f53 1"/>
                      <a:gd name="f141" fmla="*/ f113 f52 1"/>
                      <a:gd name="f142" fmla="*/ f114 f53 1"/>
                      <a:gd name="f143" fmla="*/ f115 f52 1"/>
                      <a:gd name="f144" fmla="*/ f116 f52 1"/>
                      <a:gd name="f145" fmla="*/ f117 f53 1"/>
                      <a:gd name="f146" fmla="*/ f118 f52 1"/>
                      <a:gd name="f147" fmla="*/ f119 f53 1"/>
                      <a:gd name="f148" fmla="*/ f120 f53 1"/>
                      <a:gd name="f149" fmla="*/ f121 f52 1"/>
                      <a:gd name="f150" fmla="*/ f122 f53 1"/>
                      <a:gd name="f151" fmla="*/ f123 f52 1"/>
                      <a:gd name="f152" fmla="*/ f124 f53 1"/>
                      <a:gd name="f153" fmla="*/ f125 f53 1"/>
                      <a:gd name="f154" fmla="*/ f126 f53 1"/>
                      <a:gd name="f155" fmla="*/ f127 f52 1"/>
                      <a:gd name="f156" fmla="*/ f128 f53 1"/>
                      <a:gd name="f157" fmla="*/ f129 f52 1"/>
                      <a:gd name="f158" fmla="*/ f130 f53 1"/>
                      <a:gd name="f159" fmla="*/ f131 f52 1"/>
                      <a:gd name="f160" fmla="*/ f132 f53 1"/>
                      <a:gd name="f161" fmla="*/ f133 f53 1"/>
                      <a:gd name="f162" fmla="*/ f134 f52 1"/>
                      <a:gd name="f163" fmla="*/ f135 f52 1"/>
                      <a:gd name="f164" fmla="*/ f136 f52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112">
                        <a:pos x="f141" y="f142"/>
                      </a:cxn>
                      <a:cxn ang="f112">
                        <a:pos x="f143" y="f142"/>
                      </a:cxn>
                      <a:cxn ang="f112">
                        <a:pos x="f144" y="f145"/>
                      </a:cxn>
                      <a:cxn ang="f112">
                        <a:pos x="f146" y="f147"/>
                      </a:cxn>
                      <a:cxn ang="f112">
                        <a:pos x="f146" y="f148"/>
                      </a:cxn>
                      <a:cxn ang="f112">
                        <a:pos x="f149" y="f150"/>
                      </a:cxn>
                      <a:cxn ang="f112">
                        <a:pos x="f151" y="f152"/>
                      </a:cxn>
                      <a:cxn ang="f112">
                        <a:pos x="f151" y="f153"/>
                      </a:cxn>
                      <a:cxn ang="f112">
                        <a:pos x="f151" y="f154"/>
                      </a:cxn>
                      <a:cxn ang="f112">
                        <a:pos x="f155" y="f156"/>
                      </a:cxn>
                      <a:cxn ang="f112">
                        <a:pos x="f157" y="f154"/>
                      </a:cxn>
                      <a:cxn ang="f112">
                        <a:pos x="f157" y="f158"/>
                      </a:cxn>
                      <a:cxn ang="f112">
                        <a:pos x="f143" y="f158"/>
                      </a:cxn>
                      <a:cxn ang="f112">
                        <a:pos x="f159" y="f160"/>
                      </a:cxn>
                      <a:cxn ang="f112">
                        <a:pos x="f143" y="f161"/>
                      </a:cxn>
                      <a:cxn ang="f112">
                        <a:pos x="f162" y="f161"/>
                      </a:cxn>
                      <a:cxn ang="f112">
                        <a:pos x="f163" y="f160"/>
                      </a:cxn>
                      <a:cxn ang="f112">
                        <a:pos x="f163" y="f160"/>
                      </a:cxn>
                      <a:cxn ang="f112">
                        <a:pos x="f163" y="f147"/>
                      </a:cxn>
                      <a:cxn ang="f112">
                        <a:pos x="f164" y="f145"/>
                      </a:cxn>
                      <a:cxn ang="f112">
                        <a:pos x="f141" y="f142"/>
                      </a:cxn>
                    </a:cxnLst>
                    <a:rect l="f137" t="f140" r="f138" b="f139"/>
                    <a:pathLst>
                      <a:path w="665849" h="1308258">
                        <a:moveTo>
                          <a:pt x="f8" y="f9"/>
                        </a:moveTo>
                        <a:cubicBezTo>
                          <a:pt x="f10" y="f11"/>
                          <a:pt x="f12" y="f11"/>
                          <a:pt x="f13" y="f9"/>
                        </a:cubicBezTo>
                        <a:lnTo>
                          <a:pt x="f14" y="f15"/>
                        </a:lnTo>
                        <a:cubicBezTo>
                          <a:pt x="f16" y="f17"/>
                          <a:pt x="f18" y="f19"/>
                          <a:pt x="f18" y="f20"/>
                        </a:cubicBezTo>
                        <a:lnTo>
                          <a:pt x="f18" y="f21"/>
                        </a:lnTo>
                        <a:cubicBezTo>
                          <a:pt x="f22" y="f23"/>
                          <a:pt x="f24" y="f25"/>
                          <a:pt x="f26" y="f27"/>
                        </a:cubicBezTo>
                        <a:cubicBezTo>
                          <a:pt x="f28" y="f29"/>
                          <a:pt x="f30" y="f31"/>
                          <a:pt x="f32" y="f33"/>
                        </a:cubicBezTo>
                        <a:lnTo>
                          <a:pt x="f32" y="f34"/>
                        </a:lnTo>
                        <a:lnTo>
                          <a:pt x="f32" y="f35"/>
                        </a:lnTo>
                        <a:lnTo>
                          <a:pt x="f36" y="f37"/>
                        </a:lnTo>
                        <a:lnTo>
                          <a:pt x="f38" y="f35"/>
                        </a:lnTo>
                        <a:lnTo>
                          <a:pt x="f38" y="f39"/>
                        </a:lnTo>
                        <a:lnTo>
                          <a:pt x="f13" y="f39"/>
                        </a:lnTo>
                        <a:cubicBezTo>
                          <a:pt x="f40" y="f39"/>
                          <a:pt x="f41" y="f42"/>
                          <a:pt x="f41" y="f43"/>
                        </a:cubicBezTo>
                        <a:cubicBezTo>
                          <a:pt x="f41" y="f44"/>
                          <a:pt x="f40" y="f45"/>
                          <a:pt x="f13" y="f45"/>
                        </a:cubicBezTo>
                        <a:lnTo>
                          <a:pt x="f46" y="f45"/>
                        </a:lnTo>
                        <a:cubicBezTo>
                          <a:pt x="f47" y="f45"/>
                          <a:pt x="f6" y="f48"/>
                          <a:pt x="f6" y="f43"/>
                        </a:cubicBezTo>
                        <a:lnTo>
                          <a:pt x="f6" y="f43"/>
                        </a:lnTo>
                        <a:lnTo>
                          <a:pt x="f6" y="f20"/>
                        </a:lnTo>
                        <a:cubicBezTo>
                          <a:pt x="f6" y="f19"/>
                          <a:pt x="f49" y="f17"/>
                          <a:pt x="f50" y="f15"/>
                        </a:cubicBezTo>
                        <a:lnTo>
                          <a:pt x="f8" y="f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87" name="Graphic 51">
                    <a:extLst>
                      <a:ext uri="{FF2B5EF4-FFF2-40B4-BE49-F238E27FC236}">
                        <a16:creationId xmlns:a16="http://schemas.microsoft.com/office/drawing/2014/main" id="{05A04A9F-9A47-4AB8-772D-E64D9CBC8E0D}"/>
                      </a:ext>
                    </a:extLst>
                  </p:cNvPr>
                  <p:cNvSpPr/>
                  <p:nvPr/>
                </p:nvSpPr>
                <p:spPr>
                  <a:xfrm>
                    <a:off x="7690296" y="5683306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2"/>
                      <a:gd name="f9" fmla="val 120967"/>
                      <a:gd name="f10" fmla="val 26670"/>
                      <a:gd name="f11" fmla="val 147638"/>
                      <a:gd name="f12" fmla="val 162877"/>
                      <a:gd name="f13" fmla="val 148590"/>
                      <a:gd name="f14" fmla="val 11430"/>
                      <a:gd name="f15" fmla="val 161925"/>
                      <a:gd name="f16" fmla="val 12382"/>
                      <a:gd name="f17" fmla="+- 0 0 -90"/>
                      <a:gd name="f18" fmla="*/ f3 1 174307"/>
                      <a:gd name="f19" fmla="*/ f4 1 175260"/>
                      <a:gd name="f20" fmla="+- f7 0 f5"/>
                      <a:gd name="f21" fmla="+- f6 0 f5"/>
                      <a:gd name="f22" fmla="*/ f17 f0 1"/>
                      <a:gd name="f23" fmla="*/ f21 1 174307"/>
                      <a:gd name="f24" fmla="*/ f20 1 175260"/>
                      <a:gd name="f25" fmla="*/ 54292 f21 1"/>
                      <a:gd name="f26" fmla="*/ 54292 f20 1"/>
                      <a:gd name="f27" fmla="*/ 120967 f21 1"/>
                      <a:gd name="f28" fmla="*/ 120967 f20 1"/>
                      <a:gd name="f29" fmla="*/ 26670 f21 1"/>
                      <a:gd name="f30" fmla="*/ 175260 f20 1"/>
                      <a:gd name="f31" fmla="*/ 147638 f21 1"/>
                      <a:gd name="f32" fmla="*/ 174307 f21 1"/>
                      <a:gd name="f33" fmla="*/ 148590 f20 1"/>
                      <a:gd name="f34" fmla="*/ 26670 f20 1"/>
                      <a:gd name="f35" fmla="*/ 0 f20 1"/>
                      <a:gd name="f36" fmla="*/ 0 f21 1"/>
                      <a:gd name="f37" fmla="*/ 147638 f20 1"/>
                      <a:gd name="f38" fmla="*/ f22 1 f2"/>
                      <a:gd name="f39" fmla="*/ f25 1 174307"/>
                      <a:gd name="f40" fmla="*/ f26 1 175260"/>
                      <a:gd name="f41" fmla="*/ f27 1 174307"/>
                      <a:gd name="f42" fmla="*/ f28 1 175260"/>
                      <a:gd name="f43" fmla="*/ f29 1 174307"/>
                      <a:gd name="f44" fmla="*/ f30 1 175260"/>
                      <a:gd name="f45" fmla="*/ f31 1 174307"/>
                      <a:gd name="f46" fmla="*/ f32 1 174307"/>
                      <a:gd name="f47" fmla="*/ f33 1 175260"/>
                      <a:gd name="f48" fmla="*/ f34 1 175260"/>
                      <a:gd name="f49" fmla="*/ f35 1 175260"/>
                      <a:gd name="f50" fmla="*/ f36 1 174307"/>
                      <a:gd name="f51" fmla="*/ f37 1 175260"/>
                      <a:gd name="f52" fmla="*/ f5 1 f23"/>
                      <a:gd name="f53" fmla="*/ f6 1 f23"/>
                      <a:gd name="f54" fmla="*/ f5 1 f24"/>
                      <a:gd name="f55" fmla="*/ f7 1 f24"/>
                      <a:gd name="f56" fmla="+- f38 0 f1"/>
                      <a:gd name="f57" fmla="*/ f39 1 f23"/>
                      <a:gd name="f58" fmla="*/ f40 1 f24"/>
                      <a:gd name="f59" fmla="*/ f41 1 f23"/>
                      <a:gd name="f60" fmla="*/ f42 1 f24"/>
                      <a:gd name="f61" fmla="*/ f43 1 f23"/>
                      <a:gd name="f62" fmla="*/ f44 1 f24"/>
                      <a:gd name="f63" fmla="*/ f45 1 f23"/>
                      <a:gd name="f64" fmla="*/ f46 1 f23"/>
                      <a:gd name="f65" fmla="*/ f47 1 f24"/>
                      <a:gd name="f66" fmla="*/ f48 1 f24"/>
                      <a:gd name="f67" fmla="*/ f49 1 f24"/>
                      <a:gd name="f68" fmla="*/ f50 1 f23"/>
                      <a:gd name="f69" fmla="*/ f51 1 f24"/>
                      <a:gd name="f70" fmla="*/ f52 f18 1"/>
                      <a:gd name="f71" fmla="*/ f53 f18 1"/>
                      <a:gd name="f72" fmla="*/ f55 f19 1"/>
                      <a:gd name="f73" fmla="*/ f54 f19 1"/>
                      <a:gd name="f74" fmla="*/ f57 f18 1"/>
                      <a:gd name="f75" fmla="*/ f58 f19 1"/>
                      <a:gd name="f76" fmla="*/ f59 f18 1"/>
                      <a:gd name="f77" fmla="*/ f60 f19 1"/>
                      <a:gd name="f78" fmla="*/ f61 f18 1"/>
                      <a:gd name="f79" fmla="*/ f62 f19 1"/>
                      <a:gd name="f80" fmla="*/ f63 f18 1"/>
                      <a:gd name="f81" fmla="*/ f64 f18 1"/>
                      <a:gd name="f82" fmla="*/ f65 f19 1"/>
                      <a:gd name="f83" fmla="*/ f66 f19 1"/>
                      <a:gd name="f84" fmla="*/ f67 f19 1"/>
                      <a:gd name="f85" fmla="*/ f68 f18 1"/>
                      <a:gd name="f86" fmla="*/ f69 f19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6">
                        <a:pos x="f74" y="f75"/>
                      </a:cxn>
                      <a:cxn ang="f56">
                        <a:pos x="f76" y="f75"/>
                      </a:cxn>
                      <a:cxn ang="f56">
                        <a:pos x="f76" y="f77"/>
                      </a:cxn>
                      <a:cxn ang="f56">
                        <a:pos x="f74" y="f77"/>
                      </a:cxn>
                      <a:cxn ang="f56">
                        <a:pos x="f74" y="f75"/>
                      </a:cxn>
                      <a:cxn ang="f56">
                        <a:pos x="f78" y="f79"/>
                      </a:cxn>
                      <a:cxn ang="f56">
                        <a:pos x="f80" y="f79"/>
                      </a:cxn>
                      <a:cxn ang="f56">
                        <a:pos x="f81" y="f82"/>
                      </a:cxn>
                      <a:cxn ang="f56">
                        <a:pos x="f81" y="f83"/>
                      </a:cxn>
                      <a:cxn ang="f56">
                        <a:pos x="f80" y="f84"/>
                      </a:cxn>
                      <a:cxn ang="f56">
                        <a:pos x="f80" y="f84"/>
                      </a:cxn>
                      <a:cxn ang="f56">
                        <a:pos x="f78" y="f84"/>
                      </a:cxn>
                      <a:cxn ang="f56">
                        <a:pos x="f85" y="f83"/>
                      </a:cxn>
                      <a:cxn ang="f56">
                        <a:pos x="f85" y="f83"/>
                      </a:cxn>
                      <a:cxn ang="f56">
                        <a:pos x="f85" y="f86"/>
                      </a:cxn>
                      <a:cxn ang="f56">
                        <a:pos x="f78" y="f79"/>
                      </a:cxn>
                      <a:cxn ang="f56">
                        <a:pos x="f78" y="f79"/>
                      </a:cxn>
                    </a:cxnLst>
                    <a:rect l="f70" t="f73" r="f71" b="f72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10" y="f7"/>
                        </a:moveTo>
                        <a:lnTo>
                          <a:pt x="f11" y="f7"/>
                        </a:lnTo>
                        <a:cubicBezTo>
                          <a:pt x="f12" y="f7"/>
                          <a:pt x="f6" y="f12"/>
                          <a:pt x="f6" y="f13"/>
                        </a:cubicBezTo>
                        <a:lnTo>
                          <a:pt x="f6" y="f10"/>
                        </a:lnTo>
                        <a:cubicBezTo>
                          <a:pt x="f6" y="f14"/>
                          <a:pt x="f15" y="f5"/>
                          <a:pt x="f11" y="f5"/>
                        </a:cubicBezTo>
                        <a:lnTo>
                          <a:pt x="f11" y="f5"/>
                        </a:lnTo>
                        <a:lnTo>
                          <a:pt x="f10" y="f5"/>
                        </a:lnTo>
                        <a:cubicBezTo>
                          <a:pt x="f14" y="f5"/>
                          <a:pt x="f5" y="f16"/>
                          <a:pt x="f5" y="f10"/>
                        </a:cubicBezTo>
                        <a:lnTo>
                          <a:pt x="f5" y="f10"/>
                        </a:lnTo>
                        <a:lnTo>
                          <a:pt x="f5" y="f11"/>
                        </a:lnTo>
                        <a:cubicBezTo>
                          <a:pt x="f5" y="f12"/>
                          <a:pt x="f14" y="f7"/>
                          <a:pt x="f10" y="f7"/>
                        </a:cubicBezTo>
                        <a:lnTo>
                          <a:pt x="f10" y="f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88" name="Graphic 51">
                    <a:extLst>
                      <a:ext uri="{FF2B5EF4-FFF2-40B4-BE49-F238E27FC236}">
                        <a16:creationId xmlns:a16="http://schemas.microsoft.com/office/drawing/2014/main" id="{ADA11B5D-2E2C-13FF-E477-B53F6328D80B}"/>
                      </a:ext>
                    </a:extLst>
                  </p:cNvPr>
                  <p:cNvSpPr/>
                  <p:nvPr/>
                </p:nvSpPr>
                <p:spPr>
                  <a:xfrm>
                    <a:off x="7793504" y="5683306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3340"/>
                      <a:gd name="f9" fmla="val 54292"/>
                      <a:gd name="f10" fmla="val 120015"/>
                      <a:gd name="f11" fmla="val 120967"/>
                      <a:gd name="f12" fmla="val 26670"/>
                      <a:gd name="f13" fmla="val 147638"/>
                      <a:gd name="f14" fmla="val 162877"/>
                      <a:gd name="f15" fmla="val 148590"/>
                      <a:gd name="f16" fmla="val 11430"/>
                      <a:gd name="f17" fmla="val 161925"/>
                      <a:gd name="f18" fmla="val 12382"/>
                      <a:gd name="f19" fmla="+- 0 0 -90"/>
                      <a:gd name="f20" fmla="*/ f3 1 174307"/>
                      <a:gd name="f21" fmla="*/ f4 1 175260"/>
                      <a:gd name="f22" fmla="+- f7 0 f5"/>
                      <a:gd name="f23" fmla="+- f6 0 f5"/>
                      <a:gd name="f24" fmla="*/ f19 f0 1"/>
                      <a:gd name="f25" fmla="*/ f23 1 174307"/>
                      <a:gd name="f26" fmla="*/ f22 1 175260"/>
                      <a:gd name="f27" fmla="*/ 53340 f23 1"/>
                      <a:gd name="f28" fmla="*/ 54292 f22 1"/>
                      <a:gd name="f29" fmla="*/ 120015 f23 1"/>
                      <a:gd name="f30" fmla="*/ 120967 f22 1"/>
                      <a:gd name="f31" fmla="*/ 26670 f23 1"/>
                      <a:gd name="f32" fmla="*/ 175260 f22 1"/>
                      <a:gd name="f33" fmla="*/ 147638 f23 1"/>
                      <a:gd name="f34" fmla="*/ 174307 f23 1"/>
                      <a:gd name="f35" fmla="*/ 148590 f22 1"/>
                      <a:gd name="f36" fmla="*/ 26670 f22 1"/>
                      <a:gd name="f37" fmla="*/ 0 f22 1"/>
                      <a:gd name="f38" fmla="*/ 0 f23 1"/>
                      <a:gd name="f39" fmla="*/ 147638 f22 1"/>
                      <a:gd name="f40" fmla="*/ f24 1 f2"/>
                      <a:gd name="f41" fmla="*/ f27 1 174307"/>
                      <a:gd name="f42" fmla="*/ f28 1 175260"/>
                      <a:gd name="f43" fmla="*/ f29 1 174307"/>
                      <a:gd name="f44" fmla="*/ f30 1 175260"/>
                      <a:gd name="f45" fmla="*/ f31 1 174307"/>
                      <a:gd name="f46" fmla="*/ f32 1 175260"/>
                      <a:gd name="f47" fmla="*/ f33 1 174307"/>
                      <a:gd name="f48" fmla="*/ f34 1 174307"/>
                      <a:gd name="f49" fmla="*/ f35 1 175260"/>
                      <a:gd name="f50" fmla="*/ f36 1 175260"/>
                      <a:gd name="f51" fmla="*/ f37 1 175260"/>
                      <a:gd name="f52" fmla="*/ f38 1 174307"/>
                      <a:gd name="f53" fmla="*/ f39 1 175260"/>
                      <a:gd name="f54" fmla="*/ f5 1 f25"/>
                      <a:gd name="f55" fmla="*/ f6 1 f25"/>
                      <a:gd name="f56" fmla="*/ f5 1 f26"/>
                      <a:gd name="f57" fmla="*/ f7 1 f26"/>
                      <a:gd name="f58" fmla="+- f40 0 f1"/>
                      <a:gd name="f59" fmla="*/ f41 1 f25"/>
                      <a:gd name="f60" fmla="*/ f42 1 f26"/>
                      <a:gd name="f61" fmla="*/ f43 1 f25"/>
                      <a:gd name="f62" fmla="*/ f44 1 f26"/>
                      <a:gd name="f63" fmla="*/ f45 1 f25"/>
                      <a:gd name="f64" fmla="*/ f46 1 f26"/>
                      <a:gd name="f65" fmla="*/ f47 1 f25"/>
                      <a:gd name="f66" fmla="*/ f48 1 f25"/>
                      <a:gd name="f67" fmla="*/ f49 1 f26"/>
                      <a:gd name="f68" fmla="*/ f50 1 f26"/>
                      <a:gd name="f69" fmla="*/ f51 1 f26"/>
                      <a:gd name="f70" fmla="*/ f52 1 f25"/>
                      <a:gd name="f71" fmla="*/ f53 1 f26"/>
                      <a:gd name="f72" fmla="*/ f54 f20 1"/>
                      <a:gd name="f73" fmla="*/ f55 f20 1"/>
                      <a:gd name="f74" fmla="*/ f57 f21 1"/>
                      <a:gd name="f75" fmla="*/ f56 f21 1"/>
                      <a:gd name="f76" fmla="*/ f59 f20 1"/>
                      <a:gd name="f77" fmla="*/ f60 f21 1"/>
                      <a:gd name="f78" fmla="*/ f61 f20 1"/>
                      <a:gd name="f79" fmla="*/ f62 f21 1"/>
                      <a:gd name="f80" fmla="*/ f63 f20 1"/>
                      <a:gd name="f81" fmla="*/ f64 f21 1"/>
                      <a:gd name="f82" fmla="*/ f65 f20 1"/>
                      <a:gd name="f83" fmla="*/ f66 f20 1"/>
                      <a:gd name="f84" fmla="*/ f67 f21 1"/>
                      <a:gd name="f85" fmla="*/ f68 f21 1"/>
                      <a:gd name="f86" fmla="*/ f69 f21 1"/>
                      <a:gd name="f87" fmla="*/ f70 f20 1"/>
                      <a:gd name="f88" fmla="*/ f71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8">
                        <a:pos x="f76" y="f77"/>
                      </a:cxn>
                      <a:cxn ang="f58">
                        <a:pos x="f78" y="f77"/>
                      </a:cxn>
                      <a:cxn ang="f58">
                        <a:pos x="f78" y="f79"/>
                      </a:cxn>
                      <a:cxn ang="f58">
                        <a:pos x="f76" y="f79"/>
                      </a:cxn>
                      <a:cxn ang="f58">
                        <a:pos x="f76" y="f77"/>
                      </a:cxn>
                      <a:cxn ang="f58">
                        <a:pos x="f80" y="f81"/>
                      </a:cxn>
                      <a:cxn ang="f58">
                        <a:pos x="f82" y="f81"/>
                      </a:cxn>
                      <a:cxn ang="f58">
                        <a:pos x="f83" y="f84"/>
                      </a:cxn>
                      <a:cxn ang="f58">
                        <a:pos x="f83" y="f85"/>
                      </a:cxn>
                      <a:cxn ang="f58">
                        <a:pos x="f82" y="f86"/>
                      </a:cxn>
                      <a:cxn ang="f58">
                        <a:pos x="f80" y="f86"/>
                      </a:cxn>
                      <a:cxn ang="f58">
                        <a:pos x="f87" y="f85"/>
                      </a:cxn>
                      <a:cxn ang="f58">
                        <a:pos x="f87" y="f85"/>
                      </a:cxn>
                      <a:cxn ang="f58">
                        <a:pos x="f87" y="f88"/>
                      </a:cxn>
                      <a:cxn ang="f58">
                        <a:pos x="f80" y="f81"/>
                      </a:cxn>
                      <a:cxn ang="f58">
                        <a:pos x="f80" y="f81"/>
                      </a:cxn>
                    </a:cxnLst>
                    <a:rect l="f72" t="f75" r="f73" b="f74"/>
                    <a:pathLst>
                      <a:path w="174307" h="175260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12" y="f7"/>
                        </a:moveTo>
                        <a:lnTo>
                          <a:pt x="f13" y="f7"/>
                        </a:lnTo>
                        <a:cubicBezTo>
                          <a:pt x="f14" y="f7"/>
                          <a:pt x="f6" y="f14"/>
                          <a:pt x="f6" y="f15"/>
                        </a:cubicBezTo>
                        <a:lnTo>
                          <a:pt x="f6" y="f12"/>
                        </a:lnTo>
                        <a:cubicBezTo>
                          <a:pt x="f6" y="f16"/>
                          <a:pt x="f17" y="f5"/>
                          <a:pt x="f13" y="f5"/>
                        </a:cubicBezTo>
                        <a:lnTo>
                          <a:pt x="f12" y="f5"/>
                        </a:lnTo>
                        <a:cubicBezTo>
                          <a:pt x="f16" y="f5"/>
                          <a:pt x="f5" y="f18"/>
                          <a:pt x="f5" y="f12"/>
                        </a:cubicBezTo>
                        <a:lnTo>
                          <a:pt x="f5" y="f12"/>
                        </a:lnTo>
                        <a:lnTo>
                          <a:pt x="f5" y="f13"/>
                        </a:lnTo>
                        <a:cubicBezTo>
                          <a:pt x="f5" y="f14"/>
                          <a:pt x="f16" y="f7"/>
                          <a:pt x="f12" y="f7"/>
                        </a:cubicBezTo>
                        <a:lnTo>
                          <a:pt x="f12" y="f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89" name="Graphic 51">
                    <a:extLst>
                      <a:ext uri="{FF2B5EF4-FFF2-40B4-BE49-F238E27FC236}">
                        <a16:creationId xmlns:a16="http://schemas.microsoft.com/office/drawing/2014/main" id="{7A1C304C-8AEC-E968-F154-6F086EEA8D33}"/>
                      </a:ext>
                    </a:extLst>
                  </p:cNvPr>
                  <p:cNvSpPr/>
                  <p:nvPr/>
                </p:nvSpPr>
                <p:spPr>
                  <a:xfrm>
                    <a:off x="7690296" y="5788673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2"/>
                      <a:gd name="f9" fmla="val 53340"/>
                      <a:gd name="f10" fmla="val 120967"/>
                      <a:gd name="f11" fmla="val 120015"/>
                      <a:gd name="f12" fmla="val 147638"/>
                      <a:gd name="f13" fmla="val 162877"/>
                      <a:gd name="f14" fmla="val 12382"/>
                      <a:gd name="f15" fmla="val 26670"/>
                      <a:gd name="f16" fmla="val 175260"/>
                      <a:gd name="f17" fmla="val 11430"/>
                      <a:gd name="f18" fmla="val 161925"/>
                      <a:gd name="f19" fmla="+- 0 0 -90"/>
                      <a:gd name="f20" fmla="*/ f3 1 174307"/>
                      <a:gd name="f21" fmla="*/ f4 1 175259"/>
                      <a:gd name="f22" fmla="+- f7 0 f5"/>
                      <a:gd name="f23" fmla="+- f6 0 f5"/>
                      <a:gd name="f24" fmla="*/ f19 f0 1"/>
                      <a:gd name="f25" fmla="*/ f23 1 174307"/>
                      <a:gd name="f26" fmla="*/ f22 1 175259"/>
                      <a:gd name="f27" fmla="*/ 54292 f23 1"/>
                      <a:gd name="f28" fmla="*/ 53340 f22 1"/>
                      <a:gd name="f29" fmla="*/ 120967 f23 1"/>
                      <a:gd name="f30" fmla="*/ 120015 f22 1"/>
                      <a:gd name="f31" fmla="*/ 0 f23 1"/>
                      <a:gd name="f32" fmla="*/ 147638 f22 1"/>
                      <a:gd name="f33" fmla="*/ 26670 f23 1"/>
                      <a:gd name="f34" fmla="*/ 175260 f22 1"/>
                      <a:gd name="f35" fmla="*/ 147638 f23 1"/>
                      <a:gd name="f36" fmla="*/ 174307 f23 1"/>
                      <a:gd name="f37" fmla="*/ 26670 f22 1"/>
                      <a:gd name="f38" fmla="*/ 0 f22 1"/>
                      <a:gd name="f39" fmla="*/ f24 1 f2"/>
                      <a:gd name="f40" fmla="*/ f27 1 174307"/>
                      <a:gd name="f41" fmla="*/ f28 1 175259"/>
                      <a:gd name="f42" fmla="*/ f29 1 174307"/>
                      <a:gd name="f43" fmla="*/ f30 1 175259"/>
                      <a:gd name="f44" fmla="*/ f31 1 174307"/>
                      <a:gd name="f45" fmla="*/ f32 1 175259"/>
                      <a:gd name="f46" fmla="*/ f33 1 174307"/>
                      <a:gd name="f47" fmla="*/ f34 1 175259"/>
                      <a:gd name="f48" fmla="*/ f35 1 174307"/>
                      <a:gd name="f49" fmla="*/ f36 1 174307"/>
                      <a:gd name="f50" fmla="*/ f37 1 175259"/>
                      <a:gd name="f51" fmla="*/ f38 1 175259"/>
                      <a:gd name="f52" fmla="*/ f5 1 f25"/>
                      <a:gd name="f53" fmla="*/ f6 1 f25"/>
                      <a:gd name="f54" fmla="*/ f5 1 f26"/>
                      <a:gd name="f55" fmla="*/ f7 1 f26"/>
                      <a:gd name="f56" fmla="+- f39 0 f1"/>
                      <a:gd name="f57" fmla="*/ f40 1 f25"/>
                      <a:gd name="f58" fmla="*/ f41 1 f26"/>
                      <a:gd name="f59" fmla="*/ f42 1 f25"/>
                      <a:gd name="f60" fmla="*/ f43 1 f26"/>
                      <a:gd name="f61" fmla="*/ f44 1 f25"/>
                      <a:gd name="f62" fmla="*/ f45 1 f26"/>
                      <a:gd name="f63" fmla="*/ f46 1 f25"/>
                      <a:gd name="f64" fmla="*/ f47 1 f26"/>
                      <a:gd name="f65" fmla="*/ f48 1 f25"/>
                      <a:gd name="f66" fmla="*/ f49 1 f25"/>
                      <a:gd name="f67" fmla="*/ f50 1 f26"/>
                      <a:gd name="f68" fmla="*/ f51 1 f26"/>
                      <a:gd name="f69" fmla="*/ f52 f20 1"/>
                      <a:gd name="f70" fmla="*/ f53 f20 1"/>
                      <a:gd name="f71" fmla="*/ f55 f21 1"/>
                      <a:gd name="f72" fmla="*/ f54 f21 1"/>
                      <a:gd name="f73" fmla="*/ f57 f20 1"/>
                      <a:gd name="f74" fmla="*/ f58 f21 1"/>
                      <a:gd name="f75" fmla="*/ f59 f20 1"/>
                      <a:gd name="f76" fmla="*/ f60 f21 1"/>
                      <a:gd name="f77" fmla="*/ f61 f20 1"/>
                      <a:gd name="f78" fmla="*/ f62 f21 1"/>
                      <a:gd name="f79" fmla="*/ f63 f20 1"/>
                      <a:gd name="f80" fmla="*/ f64 f21 1"/>
                      <a:gd name="f81" fmla="*/ f65 f20 1"/>
                      <a:gd name="f82" fmla="*/ f66 f20 1"/>
                      <a:gd name="f83" fmla="*/ f67 f21 1"/>
                      <a:gd name="f84" fmla="*/ f68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6">
                        <a:pos x="f73" y="f74"/>
                      </a:cxn>
                      <a:cxn ang="f56">
                        <a:pos x="f75" y="f74"/>
                      </a:cxn>
                      <a:cxn ang="f56">
                        <a:pos x="f75" y="f76"/>
                      </a:cxn>
                      <a:cxn ang="f56">
                        <a:pos x="f73" y="f76"/>
                      </a:cxn>
                      <a:cxn ang="f56">
                        <a:pos x="f73" y="f74"/>
                      </a:cxn>
                      <a:cxn ang="f56">
                        <a:pos x="f77" y="f78"/>
                      </a:cxn>
                      <a:cxn ang="f56">
                        <a:pos x="f79" y="f80"/>
                      </a:cxn>
                      <a:cxn ang="f56">
                        <a:pos x="f79" y="f80"/>
                      </a:cxn>
                      <a:cxn ang="f56">
                        <a:pos x="f81" y="f80"/>
                      </a:cxn>
                      <a:cxn ang="f56">
                        <a:pos x="f82" y="f78"/>
                      </a:cxn>
                      <a:cxn ang="f56">
                        <a:pos x="f82" y="f83"/>
                      </a:cxn>
                      <a:cxn ang="f56">
                        <a:pos x="f81" y="f84"/>
                      </a:cxn>
                      <a:cxn ang="f56">
                        <a:pos x="f79" y="f84"/>
                      </a:cxn>
                      <a:cxn ang="f56">
                        <a:pos x="f77" y="f83"/>
                      </a:cxn>
                      <a:cxn ang="f56">
                        <a:pos x="f77" y="f78"/>
                      </a:cxn>
                    </a:cxnLst>
                    <a:rect l="f69" t="f72" r="f70" b="f71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5" y="f16"/>
                        </a:lnTo>
                        <a:lnTo>
                          <a:pt x="f12" y="f16"/>
                        </a:lnTo>
                        <a:cubicBezTo>
                          <a:pt x="f13" y="f16"/>
                          <a:pt x="f6" y="f13"/>
                          <a:pt x="f6" y="f12"/>
                        </a:cubicBezTo>
                        <a:lnTo>
                          <a:pt x="f6" y="f15"/>
                        </a:lnTo>
                        <a:cubicBezTo>
                          <a:pt x="f6" y="f17"/>
                          <a:pt x="f18" y="f5"/>
                          <a:pt x="f12" y="f5"/>
                        </a:cubicBezTo>
                        <a:lnTo>
                          <a:pt x="f15" y="f5"/>
                        </a:lnTo>
                        <a:cubicBezTo>
                          <a:pt x="f17" y="f5"/>
                          <a:pt x="f5" y="f14"/>
                          <a:pt x="f5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90" name="Graphic 51">
                    <a:extLst>
                      <a:ext uri="{FF2B5EF4-FFF2-40B4-BE49-F238E27FC236}">
                        <a16:creationId xmlns:a16="http://schemas.microsoft.com/office/drawing/2014/main" id="{03FFF9AF-DD3F-BEA3-07FF-CBE7CCED091B}"/>
                      </a:ext>
                    </a:extLst>
                  </p:cNvPr>
                  <p:cNvSpPr/>
                  <p:nvPr/>
                </p:nvSpPr>
                <p:spPr>
                  <a:xfrm>
                    <a:off x="7793065" y="5788673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3"/>
                      <a:gd name="f9" fmla="val 53340"/>
                      <a:gd name="f10" fmla="val 120968"/>
                      <a:gd name="f11" fmla="val 120015"/>
                      <a:gd name="f12" fmla="val 147638"/>
                      <a:gd name="f13" fmla="val 162877"/>
                      <a:gd name="f14" fmla="val 12383"/>
                      <a:gd name="f15" fmla="val 26670"/>
                      <a:gd name="f16" fmla="val 175260"/>
                      <a:gd name="f17" fmla="val 162878"/>
                      <a:gd name="f18" fmla="val 174308"/>
                      <a:gd name="f19" fmla="val 11430"/>
                      <a:gd name="f20" fmla="val 161925"/>
                      <a:gd name="f21" fmla="val 27623"/>
                      <a:gd name="f22" fmla="val 953"/>
                      <a:gd name="f23" fmla="val 12382"/>
                      <a:gd name="f24" fmla="+- 0 0 -90"/>
                      <a:gd name="f25" fmla="*/ f3 1 174307"/>
                      <a:gd name="f26" fmla="*/ f4 1 175259"/>
                      <a:gd name="f27" fmla="+- f7 0 f5"/>
                      <a:gd name="f28" fmla="+- f6 0 f5"/>
                      <a:gd name="f29" fmla="*/ f24 f0 1"/>
                      <a:gd name="f30" fmla="*/ f28 1 174307"/>
                      <a:gd name="f31" fmla="*/ f27 1 175259"/>
                      <a:gd name="f32" fmla="*/ 54293 f28 1"/>
                      <a:gd name="f33" fmla="*/ 53340 f27 1"/>
                      <a:gd name="f34" fmla="*/ 120968 f28 1"/>
                      <a:gd name="f35" fmla="*/ 120015 f27 1"/>
                      <a:gd name="f36" fmla="*/ 0 f28 1"/>
                      <a:gd name="f37" fmla="*/ 147638 f27 1"/>
                      <a:gd name="f38" fmla="*/ 26670 f28 1"/>
                      <a:gd name="f39" fmla="*/ 175260 f27 1"/>
                      <a:gd name="f40" fmla="*/ 147638 f28 1"/>
                      <a:gd name="f41" fmla="*/ 174308 f28 1"/>
                      <a:gd name="f42" fmla="*/ 26670 f27 1"/>
                      <a:gd name="f43" fmla="*/ 0 f27 1"/>
                      <a:gd name="f44" fmla="*/ 27623 f28 1"/>
                      <a:gd name="f45" fmla="*/ 953 f28 1"/>
                      <a:gd name="f46" fmla="*/ f29 1 f2"/>
                      <a:gd name="f47" fmla="*/ f32 1 174307"/>
                      <a:gd name="f48" fmla="*/ f33 1 175259"/>
                      <a:gd name="f49" fmla="*/ f34 1 174307"/>
                      <a:gd name="f50" fmla="*/ f35 1 175259"/>
                      <a:gd name="f51" fmla="*/ f36 1 174307"/>
                      <a:gd name="f52" fmla="*/ f37 1 175259"/>
                      <a:gd name="f53" fmla="*/ f38 1 174307"/>
                      <a:gd name="f54" fmla="*/ f39 1 175259"/>
                      <a:gd name="f55" fmla="*/ f40 1 174307"/>
                      <a:gd name="f56" fmla="*/ f41 1 174307"/>
                      <a:gd name="f57" fmla="*/ f42 1 175259"/>
                      <a:gd name="f58" fmla="*/ f43 1 175259"/>
                      <a:gd name="f59" fmla="*/ f44 1 174307"/>
                      <a:gd name="f60" fmla="*/ f45 1 174307"/>
                      <a:gd name="f61" fmla="*/ f5 1 f30"/>
                      <a:gd name="f62" fmla="*/ f6 1 f30"/>
                      <a:gd name="f63" fmla="*/ f5 1 f31"/>
                      <a:gd name="f64" fmla="*/ f7 1 f31"/>
                      <a:gd name="f65" fmla="+- f46 0 f1"/>
                      <a:gd name="f66" fmla="*/ f47 1 f30"/>
                      <a:gd name="f67" fmla="*/ f48 1 f31"/>
                      <a:gd name="f68" fmla="*/ f49 1 f30"/>
                      <a:gd name="f69" fmla="*/ f50 1 f31"/>
                      <a:gd name="f70" fmla="*/ f51 1 f30"/>
                      <a:gd name="f71" fmla="*/ f52 1 f31"/>
                      <a:gd name="f72" fmla="*/ f53 1 f30"/>
                      <a:gd name="f73" fmla="*/ f54 1 f31"/>
                      <a:gd name="f74" fmla="*/ f55 1 f30"/>
                      <a:gd name="f75" fmla="*/ f56 1 f30"/>
                      <a:gd name="f76" fmla="*/ f57 1 f31"/>
                      <a:gd name="f77" fmla="*/ f58 1 f31"/>
                      <a:gd name="f78" fmla="*/ f59 1 f30"/>
                      <a:gd name="f79" fmla="*/ f60 1 f30"/>
                      <a:gd name="f80" fmla="*/ f61 f25 1"/>
                      <a:gd name="f81" fmla="*/ f62 f25 1"/>
                      <a:gd name="f82" fmla="*/ f64 f26 1"/>
                      <a:gd name="f83" fmla="*/ f63 f26 1"/>
                      <a:gd name="f84" fmla="*/ f66 f25 1"/>
                      <a:gd name="f85" fmla="*/ f67 f26 1"/>
                      <a:gd name="f86" fmla="*/ f68 f25 1"/>
                      <a:gd name="f87" fmla="*/ f69 f26 1"/>
                      <a:gd name="f88" fmla="*/ f70 f25 1"/>
                      <a:gd name="f89" fmla="*/ f71 f26 1"/>
                      <a:gd name="f90" fmla="*/ f72 f25 1"/>
                      <a:gd name="f91" fmla="*/ f73 f26 1"/>
                      <a:gd name="f92" fmla="*/ f74 f25 1"/>
                      <a:gd name="f93" fmla="*/ f75 f25 1"/>
                      <a:gd name="f94" fmla="*/ f76 f26 1"/>
                      <a:gd name="f95" fmla="*/ f77 f26 1"/>
                      <a:gd name="f96" fmla="*/ f78 f25 1"/>
                      <a:gd name="f97" fmla="*/ f79 f25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5">
                        <a:pos x="f84" y="f85"/>
                      </a:cxn>
                      <a:cxn ang="f65">
                        <a:pos x="f86" y="f85"/>
                      </a:cxn>
                      <a:cxn ang="f65">
                        <a:pos x="f86" y="f87"/>
                      </a:cxn>
                      <a:cxn ang="f65">
                        <a:pos x="f84" y="f87"/>
                      </a:cxn>
                      <a:cxn ang="f65">
                        <a:pos x="f84" y="f85"/>
                      </a:cxn>
                      <a:cxn ang="f65">
                        <a:pos x="f88" y="f89"/>
                      </a:cxn>
                      <a:cxn ang="f65">
                        <a:pos x="f90" y="f91"/>
                      </a:cxn>
                      <a:cxn ang="f65">
                        <a:pos x="f92" y="f91"/>
                      </a:cxn>
                      <a:cxn ang="f65">
                        <a:pos x="f93" y="f89"/>
                      </a:cxn>
                      <a:cxn ang="f65">
                        <a:pos x="f93" y="f94"/>
                      </a:cxn>
                      <a:cxn ang="f65">
                        <a:pos x="f92" y="f95"/>
                      </a:cxn>
                      <a:cxn ang="f65">
                        <a:pos x="f96" y="f95"/>
                      </a:cxn>
                      <a:cxn ang="f65">
                        <a:pos x="f97" y="f94"/>
                      </a:cxn>
                      <a:cxn ang="f65">
                        <a:pos x="f88" y="f89"/>
                      </a:cxn>
                    </a:cxnLst>
                    <a:rect l="f80" t="f83" r="f81" b="f82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2" y="f16"/>
                        </a:lnTo>
                        <a:cubicBezTo>
                          <a:pt x="f17" y="f16"/>
                          <a:pt x="f18" y="f13"/>
                          <a:pt x="f18" y="f12"/>
                        </a:cubicBezTo>
                        <a:lnTo>
                          <a:pt x="f18" y="f15"/>
                        </a:lnTo>
                        <a:cubicBezTo>
                          <a:pt x="f18" y="f19"/>
                          <a:pt x="f20" y="f5"/>
                          <a:pt x="f12" y="f5"/>
                        </a:cubicBezTo>
                        <a:lnTo>
                          <a:pt x="f21" y="f5"/>
                        </a:lnTo>
                        <a:cubicBezTo>
                          <a:pt x="f14" y="f5"/>
                          <a:pt x="f22" y="f23"/>
                          <a:pt x="f22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91" name="Graphic 51">
                    <a:extLst>
                      <a:ext uri="{FF2B5EF4-FFF2-40B4-BE49-F238E27FC236}">
                        <a16:creationId xmlns:a16="http://schemas.microsoft.com/office/drawing/2014/main" id="{DE34626D-4085-4060-FE21-249D90D6596D}"/>
                      </a:ext>
                    </a:extLst>
                  </p:cNvPr>
                  <p:cNvSpPr/>
                  <p:nvPr/>
                </p:nvSpPr>
                <p:spPr>
                  <a:xfrm>
                    <a:off x="7793065" y="5893600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3"/>
                      <a:gd name="f9" fmla="val 120968"/>
                      <a:gd name="f10" fmla="val 147638"/>
                      <a:gd name="f11" fmla="val 162877"/>
                      <a:gd name="f12" fmla="val 12383"/>
                      <a:gd name="f13" fmla="val 174308"/>
                      <a:gd name="f14" fmla="val 26670"/>
                      <a:gd name="f15" fmla="val 162878"/>
                      <a:gd name="f16" fmla="val 11430"/>
                      <a:gd name="f17" fmla="val 161925"/>
                      <a:gd name="f18" fmla="val 27623"/>
                      <a:gd name="f19" fmla="val 953"/>
                      <a:gd name="f20" fmla="+- 0 0 -90"/>
                      <a:gd name="f21" fmla="*/ f3 1 174307"/>
                      <a:gd name="f22" fmla="*/ f4 1 175260"/>
                      <a:gd name="f23" fmla="+- f7 0 f5"/>
                      <a:gd name="f24" fmla="+- f6 0 f5"/>
                      <a:gd name="f25" fmla="*/ f20 f0 1"/>
                      <a:gd name="f26" fmla="*/ f24 1 174307"/>
                      <a:gd name="f27" fmla="*/ f23 1 175260"/>
                      <a:gd name="f28" fmla="*/ 54293 f24 1"/>
                      <a:gd name="f29" fmla="*/ 54293 f23 1"/>
                      <a:gd name="f30" fmla="*/ 120968 f24 1"/>
                      <a:gd name="f31" fmla="*/ 120968 f23 1"/>
                      <a:gd name="f32" fmla="*/ 0 f24 1"/>
                      <a:gd name="f33" fmla="*/ 147638 f23 1"/>
                      <a:gd name="f34" fmla="*/ 26670 f24 1"/>
                      <a:gd name="f35" fmla="*/ 175260 f23 1"/>
                      <a:gd name="f36" fmla="*/ 147638 f24 1"/>
                      <a:gd name="f37" fmla="*/ 174308 f24 1"/>
                      <a:gd name="f38" fmla="*/ 26670 f23 1"/>
                      <a:gd name="f39" fmla="*/ 0 f23 1"/>
                      <a:gd name="f40" fmla="*/ 27623 f24 1"/>
                      <a:gd name="f41" fmla="*/ 953 f24 1"/>
                      <a:gd name="f42" fmla="*/ f25 1 f2"/>
                      <a:gd name="f43" fmla="*/ f28 1 174307"/>
                      <a:gd name="f44" fmla="*/ f29 1 175260"/>
                      <a:gd name="f45" fmla="*/ f30 1 174307"/>
                      <a:gd name="f46" fmla="*/ f31 1 175260"/>
                      <a:gd name="f47" fmla="*/ f32 1 174307"/>
                      <a:gd name="f48" fmla="*/ f33 1 175260"/>
                      <a:gd name="f49" fmla="*/ f34 1 174307"/>
                      <a:gd name="f50" fmla="*/ f35 1 175260"/>
                      <a:gd name="f51" fmla="*/ f36 1 174307"/>
                      <a:gd name="f52" fmla="*/ f37 1 174307"/>
                      <a:gd name="f53" fmla="*/ f38 1 175260"/>
                      <a:gd name="f54" fmla="*/ f39 1 175260"/>
                      <a:gd name="f55" fmla="*/ f40 1 174307"/>
                      <a:gd name="f56" fmla="*/ f41 1 174307"/>
                      <a:gd name="f57" fmla="*/ f5 1 f26"/>
                      <a:gd name="f58" fmla="*/ f6 1 f26"/>
                      <a:gd name="f59" fmla="*/ f5 1 f27"/>
                      <a:gd name="f60" fmla="*/ f7 1 f27"/>
                      <a:gd name="f61" fmla="+- f42 0 f1"/>
                      <a:gd name="f62" fmla="*/ f43 1 f26"/>
                      <a:gd name="f63" fmla="*/ f44 1 f27"/>
                      <a:gd name="f64" fmla="*/ f45 1 f26"/>
                      <a:gd name="f65" fmla="*/ f46 1 f27"/>
                      <a:gd name="f66" fmla="*/ f47 1 f26"/>
                      <a:gd name="f67" fmla="*/ f48 1 f27"/>
                      <a:gd name="f68" fmla="*/ f49 1 f26"/>
                      <a:gd name="f69" fmla="*/ f50 1 f27"/>
                      <a:gd name="f70" fmla="*/ f51 1 f26"/>
                      <a:gd name="f71" fmla="*/ f52 1 f26"/>
                      <a:gd name="f72" fmla="*/ f53 1 f27"/>
                      <a:gd name="f73" fmla="*/ f54 1 f27"/>
                      <a:gd name="f74" fmla="*/ f55 1 f26"/>
                      <a:gd name="f75" fmla="*/ f56 1 f26"/>
                      <a:gd name="f76" fmla="*/ f57 f21 1"/>
                      <a:gd name="f77" fmla="*/ f58 f21 1"/>
                      <a:gd name="f78" fmla="*/ f60 f22 1"/>
                      <a:gd name="f79" fmla="*/ f59 f22 1"/>
                      <a:gd name="f80" fmla="*/ f62 f21 1"/>
                      <a:gd name="f81" fmla="*/ f63 f22 1"/>
                      <a:gd name="f82" fmla="*/ f64 f21 1"/>
                      <a:gd name="f83" fmla="*/ f65 f22 1"/>
                      <a:gd name="f84" fmla="*/ f66 f21 1"/>
                      <a:gd name="f85" fmla="*/ f67 f22 1"/>
                      <a:gd name="f86" fmla="*/ f68 f21 1"/>
                      <a:gd name="f87" fmla="*/ f69 f22 1"/>
                      <a:gd name="f88" fmla="*/ f70 f21 1"/>
                      <a:gd name="f89" fmla="*/ f71 f21 1"/>
                      <a:gd name="f90" fmla="*/ f72 f22 1"/>
                      <a:gd name="f91" fmla="*/ f73 f22 1"/>
                      <a:gd name="f92" fmla="*/ f74 f21 1"/>
                      <a:gd name="f93" fmla="*/ f75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1">
                        <a:pos x="f80" y="f81"/>
                      </a:cxn>
                      <a:cxn ang="f61">
                        <a:pos x="f82" y="f81"/>
                      </a:cxn>
                      <a:cxn ang="f61">
                        <a:pos x="f82" y="f83"/>
                      </a:cxn>
                      <a:cxn ang="f61">
                        <a:pos x="f80" y="f83"/>
                      </a:cxn>
                      <a:cxn ang="f61">
                        <a:pos x="f80" y="f81"/>
                      </a:cxn>
                      <a:cxn ang="f61">
                        <a:pos x="f84" y="f85"/>
                      </a:cxn>
                      <a:cxn ang="f61">
                        <a:pos x="f86" y="f87"/>
                      </a:cxn>
                      <a:cxn ang="f61">
                        <a:pos x="f88" y="f87"/>
                      </a:cxn>
                      <a:cxn ang="f61">
                        <a:pos x="f89" y="f85"/>
                      </a:cxn>
                      <a:cxn ang="f61">
                        <a:pos x="f89" y="f90"/>
                      </a:cxn>
                      <a:cxn ang="f61">
                        <a:pos x="f88" y="f91"/>
                      </a:cxn>
                      <a:cxn ang="f61">
                        <a:pos x="f92" y="f91"/>
                      </a:cxn>
                      <a:cxn ang="f61">
                        <a:pos x="f93" y="f90"/>
                      </a:cxn>
                      <a:cxn ang="f61">
                        <a:pos x="f84" y="f85"/>
                      </a:cxn>
                    </a:cxnLst>
                    <a:rect l="f76" t="f79" r="f77" b="f78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5" y="f10"/>
                        </a:moveTo>
                        <a:cubicBezTo>
                          <a:pt x="f5" y="f11"/>
                          <a:pt x="f12" y="f13"/>
                          <a:pt x="f14" y="f7"/>
                        </a:cubicBezTo>
                        <a:lnTo>
                          <a:pt x="f10" y="f7"/>
                        </a:lnTo>
                        <a:cubicBezTo>
                          <a:pt x="f15" y="f7"/>
                          <a:pt x="f13" y="f11"/>
                          <a:pt x="f13" y="f10"/>
                        </a:cubicBezTo>
                        <a:lnTo>
                          <a:pt x="f13" y="f14"/>
                        </a:lnTo>
                        <a:cubicBezTo>
                          <a:pt x="f13" y="f16"/>
                          <a:pt x="f17" y="f5"/>
                          <a:pt x="f10" y="f5"/>
                        </a:cubicBezTo>
                        <a:lnTo>
                          <a:pt x="f18" y="f5"/>
                        </a:lnTo>
                        <a:cubicBezTo>
                          <a:pt x="f12" y="f5"/>
                          <a:pt x="f19" y="f12"/>
                          <a:pt x="f19" y="f14"/>
                        </a:cubicBezTo>
                        <a:lnTo>
                          <a:pt x="f5" y="f1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</p:grpSp>
            <p:grpSp>
              <p:nvGrpSpPr>
                <p:cNvPr id="92" name="Group 89">
                  <a:extLst>
                    <a:ext uri="{FF2B5EF4-FFF2-40B4-BE49-F238E27FC236}">
                      <a16:creationId xmlns:a16="http://schemas.microsoft.com/office/drawing/2014/main" id="{1D350881-F95F-EC2C-E1FB-A340ED5BE9CF}"/>
                    </a:ext>
                  </a:extLst>
                </p:cNvPr>
                <p:cNvGrpSpPr/>
                <p:nvPr/>
              </p:nvGrpSpPr>
              <p:grpSpPr>
                <a:xfrm>
                  <a:off x="7812606" y="5268973"/>
                  <a:ext cx="301852" cy="755934"/>
                  <a:chOff x="7812606" y="5268973"/>
                  <a:chExt cx="301852" cy="755934"/>
                </a:xfrm>
              </p:grpSpPr>
              <p:sp>
                <p:nvSpPr>
                  <p:cNvPr id="93" name="Graphic 51">
                    <a:extLst>
                      <a:ext uri="{FF2B5EF4-FFF2-40B4-BE49-F238E27FC236}">
                        <a16:creationId xmlns:a16="http://schemas.microsoft.com/office/drawing/2014/main" id="{60A7D0F8-5287-857F-5D95-E4B83CA87DFE}"/>
                      </a:ext>
                    </a:extLst>
                  </p:cNvPr>
                  <p:cNvSpPr/>
                  <p:nvPr/>
                </p:nvSpPr>
                <p:spPr>
                  <a:xfrm>
                    <a:off x="7872215" y="5409956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2"/>
                      <a:gd name="f9" fmla="val 120967"/>
                      <a:gd name="f10" fmla="val 26670"/>
                      <a:gd name="f11" fmla="val 147638"/>
                      <a:gd name="f12" fmla="val 162877"/>
                      <a:gd name="f13" fmla="val 148590"/>
                      <a:gd name="f14" fmla="val 11430"/>
                      <a:gd name="f15" fmla="val 161925"/>
                      <a:gd name="f16" fmla="val 12382"/>
                      <a:gd name="f17" fmla="+- 0 0 -90"/>
                      <a:gd name="f18" fmla="*/ f3 1 174307"/>
                      <a:gd name="f19" fmla="*/ f4 1 175260"/>
                      <a:gd name="f20" fmla="+- f7 0 f5"/>
                      <a:gd name="f21" fmla="+- f6 0 f5"/>
                      <a:gd name="f22" fmla="*/ f17 f0 1"/>
                      <a:gd name="f23" fmla="*/ f21 1 174307"/>
                      <a:gd name="f24" fmla="*/ f20 1 175260"/>
                      <a:gd name="f25" fmla="*/ 54292 f21 1"/>
                      <a:gd name="f26" fmla="*/ 54292 f20 1"/>
                      <a:gd name="f27" fmla="*/ 120967 f21 1"/>
                      <a:gd name="f28" fmla="*/ 120967 f20 1"/>
                      <a:gd name="f29" fmla="*/ 26670 f21 1"/>
                      <a:gd name="f30" fmla="*/ 175260 f20 1"/>
                      <a:gd name="f31" fmla="*/ 147638 f21 1"/>
                      <a:gd name="f32" fmla="*/ 174307 f21 1"/>
                      <a:gd name="f33" fmla="*/ 148590 f20 1"/>
                      <a:gd name="f34" fmla="*/ 26670 f20 1"/>
                      <a:gd name="f35" fmla="*/ 0 f20 1"/>
                      <a:gd name="f36" fmla="*/ 0 f21 1"/>
                      <a:gd name="f37" fmla="*/ 147638 f20 1"/>
                      <a:gd name="f38" fmla="*/ f22 1 f2"/>
                      <a:gd name="f39" fmla="*/ f25 1 174307"/>
                      <a:gd name="f40" fmla="*/ f26 1 175260"/>
                      <a:gd name="f41" fmla="*/ f27 1 174307"/>
                      <a:gd name="f42" fmla="*/ f28 1 175260"/>
                      <a:gd name="f43" fmla="*/ f29 1 174307"/>
                      <a:gd name="f44" fmla="*/ f30 1 175260"/>
                      <a:gd name="f45" fmla="*/ f31 1 174307"/>
                      <a:gd name="f46" fmla="*/ f32 1 174307"/>
                      <a:gd name="f47" fmla="*/ f33 1 175260"/>
                      <a:gd name="f48" fmla="*/ f34 1 175260"/>
                      <a:gd name="f49" fmla="*/ f35 1 175260"/>
                      <a:gd name="f50" fmla="*/ f36 1 174307"/>
                      <a:gd name="f51" fmla="*/ f37 1 175260"/>
                      <a:gd name="f52" fmla="*/ f5 1 f23"/>
                      <a:gd name="f53" fmla="*/ f6 1 f23"/>
                      <a:gd name="f54" fmla="*/ f5 1 f24"/>
                      <a:gd name="f55" fmla="*/ f7 1 f24"/>
                      <a:gd name="f56" fmla="+- f38 0 f1"/>
                      <a:gd name="f57" fmla="*/ f39 1 f23"/>
                      <a:gd name="f58" fmla="*/ f40 1 f24"/>
                      <a:gd name="f59" fmla="*/ f41 1 f23"/>
                      <a:gd name="f60" fmla="*/ f42 1 f24"/>
                      <a:gd name="f61" fmla="*/ f43 1 f23"/>
                      <a:gd name="f62" fmla="*/ f44 1 f24"/>
                      <a:gd name="f63" fmla="*/ f45 1 f23"/>
                      <a:gd name="f64" fmla="*/ f46 1 f23"/>
                      <a:gd name="f65" fmla="*/ f47 1 f24"/>
                      <a:gd name="f66" fmla="*/ f48 1 f24"/>
                      <a:gd name="f67" fmla="*/ f49 1 f24"/>
                      <a:gd name="f68" fmla="*/ f50 1 f23"/>
                      <a:gd name="f69" fmla="*/ f51 1 f24"/>
                      <a:gd name="f70" fmla="*/ f52 f18 1"/>
                      <a:gd name="f71" fmla="*/ f53 f18 1"/>
                      <a:gd name="f72" fmla="*/ f55 f19 1"/>
                      <a:gd name="f73" fmla="*/ f54 f19 1"/>
                      <a:gd name="f74" fmla="*/ f57 f18 1"/>
                      <a:gd name="f75" fmla="*/ f58 f19 1"/>
                      <a:gd name="f76" fmla="*/ f59 f18 1"/>
                      <a:gd name="f77" fmla="*/ f60 f19 1"/>
                      <a:gd name="f78" fmla="*/ f61 f18 1"/>
                      <a:gd name="f79" fmla="*/ f62 f19 1"/>
                      <a:gd name="f80" fmla="*/ f63 f18 1"/>
                      <a:gd name="f81" fmla="*/ f64 f18 1"/>
                      <a:gd name="f82" fmla="*/ f65 f19 1"/>
                      <a:gd name="f83" fmla="*/ f66 f19 1"/>
                      <a:gd name="f84" fmla="*/ f67 f19 1"/>
                      <a:gd name="f85" fmla="*/ f68 f18 1"/>
                      <a:gd name="f86" fmla="*/ f69 f19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6">
                        <a:pos x="f74" y="f75"/>
                      </a:cxn>
                      <a:cxn ang="f56">
                        <a:pos x="f76" y="f75"/>
                      </a:cxn>
                      <a:cxn ang="f56">
                        <a:pos x="f76" y="f77"/>
                      </a:cxn>
                      <a:cxn ang="f56">
                        <a:pos x="f74" y="f77"/>
                      </a:cxn>
                      <a:cxn ang="f56">
                        <a:pos x="f74" y="f75"/>
                      </a:cxn>
                      <a:cxn ang="f56">
                        <a:pos x="f78" y="f79"/>
                      </a:cxn>
                      <a:cxn ang="f56">
                        <a:pos x="f80" y="f79"/>
                      </a:cxn>
                      <a:cxn ang="f56">
                        <a:pos x="f81" y="f82"/>
                      </a:cxn>
                      <a:cxn ang="f56">
                        <a:pos x="f81" y="f83"/>
                      </a:cxn>
                      <a:cxn ang="f56">
                        <a:pos x="f80" y="f84"/>
                      </a:cxn>
                      <a:cxn ang="f56">
                        <a:pos x="f80" y="f84"/>
                      </a:cxn>
                      <a:cxn ang="f56">
                        <a:pos x="f78" y="f84"/>
                      </a:cxn>
                      <a:cxn ang="f56">
                        <a:pos x="f85" y="f83"/>
                      </a:cxn>
                      <a:cxn ang="f56">
                        <a:pos x="f85" y="f83"/>
                      </a:cxn>
                      <a:cxn ang="f56">
                        <a:pos x="f85" y="f86"/>
                      </a:cxn>
                      <a:cxn ang="f56">
                        <a:pos x="f78" y="f79"/>
                      </a:cxn>
                      <a:cxn ang="f56">
                        <a:pos x="f78" y="f79"/>
                      </a:cxn>
                    </a:cxnLst>
                    <a:rect l="f70" t="f73" r="f71" b="f72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10" y="f7"/>
                        </a:moveTo>
                        <a:lnTo>
                          <a:pt x="f11" y="f7"/>
                        </a:lnTo>
                        <a:cubicBezTo>
                          <a:pt x="f12" y="f7"/>
                          <a:pt x="f6" y="f12"/>
                          <a:pt x="f6" y="f13"/>
                        </a:cubicBezTo>
                        <a:lnTo>
                          <a:pt x="f6" y="f10"/>
                        </a:lnTo>
                        <a:cubicBezTo>
                          <a:pt x="f6" y="f14"/>
                          <a:pt x="f15" y="f5"/>
                          <a:pt x="f11" y="f5"/>
                        </a:cubicBezTo>
                        <a:lnTo>
                          <a:pt x="f11" y="f5"/>
                        </a:lnTo>
                        <a:lnTo>
                          <a:pt x="f10" y="f5"/>
                        </a:lnTo>
                        <a:cubicBezTo>
                          <a:pt x="f14" y="f5"/>
                          <a:pt x="f5" y="f16"/>
                          <a:pt x="f5" y="f10"/>
                        </a:cubicBezTo>
                        <a:lnTo>
                          <a:pt x="f5" y="f10"/>
                        </a:lnTo>
                        <a:lnTo>
                          <a:pt x="f5" y="f11"/>
                        </a:lnTo>
                        <a:cubicBezTo>
                          <a:pt x="f5" y="f12"/>
                          <a:pt x="f14" y="f7"/>
                          <a:pt x="f10" y="f7"/>
                        </a:cubicBezTo>
                        <a:lnTo>
                          <a:pt x="f10" y="f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94" name="Graphic 51">
                    <a:extLst>
                      <a:ext uri="{FF2B5EF4-FFF2-40B4-BE49-F238E27FC236}">
                        <a16:creationId xmlns:a16="http://schemas.microsoft.com/office/drawing/2014/main" id="{1BB3CD97-98AD-9BE6-48D8-39B90F4B43A7}"/>
                      </a:ext>
                    </a:extLst>
                  </p:cNvPr>
                  <p:cNvSpPr/>
                  <p:nvPr/>
                </p:nvSpPr>
                <p:spPr>
                  <a:xfrm>
                    <a:off x="7975424" y="5409956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3340"/>
                      <a:gd name="f9" fmla="val 54292"/>
                      <a:gd name="f10" fmla="val 120015"/>
                      <a:gd name="f11" fmla="val 120967"/>
                      <a:gd name="f12" fmla="val 26670"/>
                      <a:gd name="f13" fmla="val 147638"/>
                      <a:gd name="f14" fmla="val 162877"/>
                      <a:gd name="f15" fmla="val 148590"/>
                      <a:gd name="f16" fmla="val 11430"/>
                      <a:gd name="f17" fmla="val 161925"/>
                      <a:gd name="f18" fmla="val 12382"/>
                      <a:gd name="f19" fmla="+- 0 0 -90"/>
                      <a:gd name="f20" fmla="*/ f3 1 174307"/>
                      <a:gd name="f21" fmla="*/ f4 1 175260"/>
                      <a:gd name="f22" fmla="+- f7 0 f5"/>
                      <a:gd name="f23" fmla="+- f6 0 f5"/>
                      <a:gd name="f24" fmla="*/ f19 f0 1"/>
                      <a:gd name="f25" fmla="*/ f23 1 174307"/>
                      <a:gd name="f26" fmla="*/ f22 1 175260"/>
                      <a:gd name="f27" fmla="*/ 53340 f23 1"/>
                      <a:gd name="f28" fmla="*/ 54292 f22 1"/>
                      <a:gd name="f29" fmla="*/ 120015 f23 1"/>
                      <a:gd name="f30" fmla="*/ 120967 f22 1"/>
                      <a:gd name="f31" fmla="*/ 26670 f23 1"/>
                      <a:gd name="f32" fmla="*/ 175260 f22 1"/>
                      <a:gd name="f33" fmla="*/ 147638 f23 1"/>
                      <a:gd name="f34" fmla="*/ 174307 f23 1"/>
                      <a:gd name="f35" fmla="*/ 148590 f22 1"/>
                      <a:gd name="f36" fmla="*/ 26670 f22 1"/>
                      <a:gd name="f37" fmla="*/ 0 f22 1"/>
                      <a:gd name="f38" fmla="*/ 0 f23 1"/>
                      <a:gd name="f39" fmla="*/ 147638 f22 1"/>
                      <a:gd name="f40" fmla="*/ f24 1 f2"/>
                      <a:gd name="f41" fmla="*/ f27 1 174307"/>
                      <a:gd name="f42" fmla="*/ f28 1 175260"/>
                      <a:gd name="f43" fmla="*/ f29 1 174307"/>
                      <a:gd name="f44" fmla="*/ f30 1 175260"/>
                      <a:gd name="f45" fmla="*/ f31 1 174307"/>
                      <a:gd name="f46" fmla="*/ f32 1 175260"/>
                      <a:gd name="f47" fmla="*/ f33 1 174307"/>
                      <a:gd name="f48" fmla="*/ f34 1 174307"/>
                      <a:gd name="f49" fmla="*/ f35 1 175260"/>
                      <a:gd name="f50" fmla="*/ f36 1 175260"/>
                      <a:gd name="f51" fmla="*/ f37 1 175260"/>
                      <a:gd name="f52" fmla="*/ f38 1 174307"/>
                      <a:gd name="f53" fmla="*/ f39 1 175260"/>
                      <a:gd name="f54" fmla="*/ f5 1 f25"/>
                      <a:gd name="f55" fmla="*/ f6 1 f25"/>
                      <a:gd name="f56" fmla="*/ f5 1 f26"/>
                      <a:gd name="f57" fmla="*/ f7 1 f26"/>
                      <a:gd name="f58" fmla="+- f40 0 f1"/>
                      <a:gd name="f59" fmla="*/ f41 1 f25"/>
                      <a:gd name="f60" fmla="*/ f42 1 f26"/>
                      <a:gd name="f61" fmla="*/ f43 1 f25"/>
                      <a:gd name="f62" fmla="*/ f44 1 f26"/>
                      <a:gd name="f63" fmla="*/ f45 1 f25"/>
                      <a:gd name="f64" fmla="*/ f46 1 f26"/>
                      <a:gd name="f65" fmla="*/ f47 1 f25"/>
                      <a:gd name="f66" fmla="*/ f48 1 f25"/>
                      <a:gd name="f67" fmla="*/ f49 1 f26"/>
                      <a:gd name="f68" fmla="*/ f50 1 f26"/>
                      <a:gd name="f69" fmla="*/ f51 1 f26"/>
                      <a:gd name="f70" fmla="*/ f52 1 f25"/>
                      <a:gd name="f71" fmla="*/ f53 1 f26"/>
                      <a:gd name="f72" fmla="*/ f54 f20 1"/>
                      <a:gd name="f73" fmla="*/ f55 f20 1"/>
                      <a:gd name="f74" fmla="*/ f57 f21 1"/>
                      <a:gd name="f75" fmla="*/ f56 f21 1"/>
                      <a:gd name="f76" fmla="*/ f59 f20 1"/>
                      <a:gd name="f77" fmla="*/ f60 f21 1"/>
                      <a:gd name="f78" fmla="*/ f61 f20 1"/>
                      <a:gd name="f79" fmla="*/ f62 f21 1"/>
                      <a:gd name="f80" fmla="*/ f63 f20 1"/>
                      <a:gd name="f81" fmla="*/ f64 f21 1"/>
                      <a:gd name="f82" fmla="*/ f65 f20 1"/>
                      <a:gd name="f83" fmla="*/ f66 f20 1"/>
                      <a:gd name="f84" fmla="*/ f67 f21 1"/>
                      <a:gd name="f85" fmla="*/ f68 f21 1"/>
                      <a:gd name="f86" fmla="*/ f69 f21 1"/>
                      <a:gd name="f87" fmla="*/ f70 f20 1"/>
                      <a:gd name="f88" fmla="*/ f71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8">
                        <a:pos x="f76" y="f77"/>
                      </a:cxn>
                      <a:cxn ang="f58">
                        <a:pos x="f78" y="f77"/>
                      </a:cxn>
                      <a:cxn ang="f58">
                        <a:pos x="f78" y="f79"/>
                      </a:cxn>
                      <a:cxn ang="f58">
                        <a:pos x="f76" y="f79"/>
                      </a:cxn>
                      <a:cxn ang="f58">
                        <a:pos x="f76" y="f77"/>
                      </a:cxn>
                      <a:cxn ang="f58">
                        <a:pos x="f80" y="f81"/>
                      </a:cxn>
                      <a:cxn ang="f58">
                        <a:pos x="f82" y="f81"/>
                      </a:cxn>
                      <a:cxn ang="f58">
                        <a:pos x="f83" y="f84"/>
                      </a:cxn>
                      <a:cxn ang="f58">
                        <a:pos x="f83" y="f85"/>
                      </a:cxn>
                      <a:cxn ang="f58">
                        <a:pos x="f82" y="f86"/>
                      </a:cxn>
                      <a:cxn ang="f58">
                        <a:pos x="f80" y="f86"/>
                      </a:cxn>
                      <a:cxn ang="f58">
                        <a:pos x="f87" y="f85"/>
                      </a:cxn>
                      <a:cxn ang="f58">
                        <a:pos x="f87" y="f85"/>
                      </a:cxn>
                      <a:cxn ang="f58">
                        <a:pos x="f87" y="f88"/>
                      </a:cxn>
                      <a:cxn ang="f58">
                        <a:pos x="f80" y="f81"/>
                      </a:cxn>
                      <a:cxn ang="f58">
                        <a:pos x="f80" y="f81"/>
                      </a:cxn>
                    </a:cxnLst>
                    <a:rect l="f72" t="f75" r="f73" b="f74"/>
                    <a:pathLst>
                      <a:path w="174307" h="175260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12" y="f7"/>
                        </a:moveTo>
                        <a:lnTo>
                          <a:pt x="f13" y="f7"/>
                        </a:lnTo>
                        <a:cubicBezTo>
                          <a:pt x="f14" y="f7"/>
                          <a:pt x="f6" y="f14"/>
                          <a:pt x="f6" y="f15"/>
                        </a:cubicBezTo>
                        <a:lnTo>
                          <a:pt x="f6" y="f12"/>
                        </a:lnTo>
                        <a:cubicBezTo>
                          <a:pt x="f6" y="f16"/>
                          <a:pt x="f17" y="f5"/>
                          <a:pt x="f13" y="f5"/>
                        </a:cubicBezTo>
                        <a:lnTo>
                          <a:pt x="f12" y="f5"/>
                        </a:lnTo>
                        <a:cubicBezTo>
                          <a:pt x="f16" y="f5"/>
                          <a:pt x="f5" y="f18"/>
                          <a:pt x="f5" y="f12"/>
                        </a:cubicBezTo>
                        <a:lnTo>
                          <a:pt x="f5" y="f12"/>
                        </a:lnTo>
                        <a:lnTo>
                          <a:pt x="f5" y="f13"/>
                        </a:lnTo>
                        <a:cubicBezTo>
                          <a:pt x="f5" y="f14"/>
                          <a:pt x="f16" y="f7"/>
                          <a:pt x="f12" y="f7"/>
                        </a:cubicBezTo>
                        <a:lnTo>
                          <a:pt x="f12" y="f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95" name="Graphic 51">
                    <a:extLst>
                      <a:ext uri="{FF2B5EF4-FFF2-40B4-BE49-F238E27FC236}">
                        <a16:creationId xmlns:a16="http://schemas.microsoft.com/office/drawing/2014/main" id="{A9D17C6E-9AEC-A3F4-5E62-E253FC9DB884}"/>
                      </a:ext>
                    </a:extLst>
                  </p:cNvPr>
                  <p:cNvSpPr/>
                  <p:nvPr/>
                </p:nvSpPr>
                <p:spPr>
                  <a:xfrm>
                    <a:off x="7872215" y="5515313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2"/>
                      <a:gd name="f9" fmla="val 53340"/>
                      <a:gd name="f10" fmla="val 120967"/>
                      <a:gd name="f11" fmla="val 120015"/>
                      <a:gd name="f12" fmla="val 147638"/>
                      <a:gd name="f13" fmla="val 162877"/>
                      <a:gd name="f14" fmla="val 12382"/>
                      <a:gd name="f15" fmla="val 26670"/>
                      <a:gd name="f16" fmla="val 175260"/>
                      <a:gd name="f17" fmla="val 11430"/>
                      <a:gd name="f18" fmla="val 161925"/>
                      <a:gd name="f19" fmla="+- 0 0 -90"/>
                      <a:gd name="f20" fmla="*/ f3 1 174307"/>
                      <a:gd name="f21" fmla="*/ f4 1 175259"/>
                      <a:gd name="f22" fmla="+- f7 0 f5"/>
                      <a:gd name="f23" fmla="+- f6 0 f5"/>
                      <a:gd name="f24" fmla="*/ f19 f0 1"/>
                      <a:gd name="f25" fmla="*/ f23 1 174307"/>
                      <a:gd name="f26" fmla="*/ f22 1 175259"/>
                      <a:gd name="f27" fmla="*/ 54292 f23 1"/>
                      <a:gd name="f28" fmla="*/ 53340 f22 1"/>
                      <a:gd name="f29" fmla="*/ 120967 f23 1"/>
                      <a:gd name="f30" fmla="*/ 120015 f22 1"/>
                      <a:gd name="f31" fmla="*/ 0 f23 1"/>
                      <a:gd name="f32" fmla="*/ 147638 f22 1"/>
                      <a:gd name="f33" fmla="*/ 26670 f23 1"/>
                      <a:gd name="f34" fmla="*/ 175260 f22 1"/>
                      <a:gd name="f35" fmla="*/ 147638 f23 1"/>
                      <a:gd name="f36" fmla="*/ 174307 f23 1"/>
                      <a:gd name="f37" fmla="*/ 26670 f22 1"/>
                      <a:gd name="f38" fmla="*/ 0 f22 1"/>
                      <a:gd name="f39" fmla="*/ f24 1 f2"/>
                      <a:gd name="f40" fmla="*/ f27 1 174307"/>
                      <a:gd name="f41" fmla="*/ f28 1 175259"/>
                      <a:gd name="f42" fmla="*/ f29 1 174307"/>
                      <a:gd name="f43" fmla="*/ f30 1 175259"/>
                      <a:gd name="f44" fmla="*/ f31 1 174307"/>
                      <a:gd name="f45" fmla="*/ f32 1 175259"/>
                      <a:gd name="f46" fmla="*/ f33 1 174307"/>
                      <a:gd name="f47" fmla="*/ f34 1 175259"/>
                      <a:gd name="f48" fmla="*/ f35 1 174307"/>
                      <a:gd name="f49" fmla="*/ f36 1 174307"/>
                      <a:gd name="f50" fmla="*/ f37 1 175259"/>
                      <a:gd name="f51" fmla="*/ f38 1 175259"/>
                      <a:gd name="f52" fmla="*/ f5 1 f25"/>
                      <a:gd name="f53" fmla="*/ f6 1 f25"/>
                      <a:gd name="f54" fmla="*/ f5 1 f26"/>
                      <a:gd name="f55" fmla="*/ f7 1 f26"/>
                      <a:gd name="f56" fmla="+- f39 0 f1"/>
                      <a:gd name="f57" fmla="*/ f40 1 f25"/>
                      <a:gd name="f58" fmla="*/ f41 1 f26"/>
                      <a:gd name="f59" fmla="*/ f42 1 f25"/>
                      <a:gd name="f60" fmla="*/ f43 1 f26"/>
                      <a:gd name="f61" fmla="*/ f44 1 f25"/>
                      <a:gd name="f62" fmla="*/ f45 1 f26"/>
                      <a:gd name="f63" fmla="*/ f46 1 f25"/>
                      <a:gd name="f64" fmla="*/ f47 1 f26"/>
                      <a:gd name="f65" fmla="*/ f48 1 f25"/>
                      <a:gd name="f66" fmla="*/ f49 1 f25"/>
                      <a:gd name="f67" fmla="*/ f50 1 f26"/>
                      <a:gd name="f68" fmla="*/ f51 1 f26"/>
                      <a:gd name="f69" fmla="*/ f52 f20 1"/>
                      <a:gd name="f70" fmla="*/ f53 f20 1"/>
                      <a:gd name="f71" fmla="*/ f55 f21 1"/>
                      <a:gd name="f72" fmla="*/ f54 f21 1"/>
                      <a:gd name="f73" fmla="*/ f57 f20 1"/>
                      <a:gd name="f74" fmla="*/ f58 f21 1"/>
                      <a:gd name="f75" fmla="*/ f59 f20 1"/>
                      <a:gd name="f76" fmla="*/ f60 f21 1"/>
                      <a:gd name="f77" fmla="*/ f61 f20 1"/>
                      <a:gd name="f78" fmla="*/ f62 f21 1"/>
                      <a:gd name="f79" fmla="*/ f63 f20 1"/>
                      <a:gd name="f80" fmla="*/ f64 f21 1"/>
                      <a:gd name="f81" fmla="*/ f65 f20 1"/>
                      <a:gd name="f82" fmla="*/ f66 f20 1"/>
                      <a:gd name="f83" fmla="*/ f67 f21 1"/>
                      <a:gd name="f84" fmla="*/ f68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6">
                        <a:pos x="f73" y="f74"/>
                      </a:cxn>
                      <a:cxn ang="f56">
                        <a:pos x="f75" y="f74"/>
                      </a:cxn>
                      <a:cxn ang="f56">
                        <a:pos x="f75" y="f76"/>
                      </a:cxn>
                      <a:cxn ang="f56">
                        <a:pos x="f73" y="f76"/>
                      </a:cxn>
                      <a:cxn ang="f56">
                        <a:pos x="f73" y="f74"/>
                      </a:cxn>
                      <a:cxn ang="f56">
                        <a:pos x="f77" y="f78"/>
                      </a:cxn>
                      <a:cxn ang="f56">
                        <a:pos x="f79" y="f80"/>
                      </a:cxn>
                      <a:cxn ang="f56">
                        <a:pos x="f79" y="f80"/>
                      </a:cxn>
                      <a:cxn ang="f56">
                        <a:pos x="f81" y="f80"/>
                      </a:cxn>
                      <a:cxn ang="f56">
                        <a:pos x="f82" y="f78"/>
                      </a:cxn>
                      <a:cxn ang="f56">
                        <a:pos x="f82" y="f83"/>
                      </a:cxn>
                      <a:cxn ang="f56">
                        <a:pos x="f81" y="f84"/>
                      </a:cxn>
                      <a:cxn ang="f56">
                        <a:pos x="f79" y="f84"/>
                      </a:cxn>
                      <a:cxn ang="f56">
                        <a:pos x="f77" y="f83"/>
                      </a:cxn>
                      <a:cxn ang="f56">
                        <a:pos x="f77" y="f78"/>
                      </a:cxn>
                    </a:cxnLst>
                    <a:rect l="f69" t="f72" r="f70" b="f71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5" y="f16"/>
                        </a:lnTo>
                        <a:lnTo>
                          <a:pt x="f12" y="f16"/>
                        </a:lnTo>
                        <a:cubicBezTo>
                          <a:pt x="f13" y="f16"/>
                          <a:pt x="f6" y="f13"/>
                          <a:pt x="f6" y="f12"/>
                        </a:cubicBezTo>
                        <a:lnTo>
                          <a:pt x="f6" y="f15"/>
                        </a:lnTo>
                        <a:cubicBezTo>
                          <a:pt x="f6" y="f17"/>
                          <a:pt x="f18" y="f5"/>
                          <a:pt x="f12" y="f5"/>
                        </a:cubicBezTo>
                        <a:lnTo>
                          <a:pt x="f15" y="f5"/>
                        </a:lnTo>
                        <a:cubicBezTo>
                          <a:pt x="f17" y="f5"/>
                          <a:pt x="f5" y="f14"/>
                          <a:pt x="f5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96" name="Graphic 51">
                    <a:extLst>
                      <a:ext uri="{FF2B5EF4-FFF2-40B4-BE49-F238E27FC236}">
                        <a16:creationId xmlns:a16="http://schemas.microsoft.com/office/drawing/2014/main" id="{549DC488-8CED-6783-0A56-8240D795CA9F}"/>
                      </a:ext>
                    </a:extLst>
                  </p:cNvPr>
                  <p:cNvSpPr/>
                  <p:nvPr/>
                </p:nvSpPr>
                <p:spPr>
                  <a:xfrm>
                    <a:off x="7974985" y="5515313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3"/>
                      <a:gd name="f9" fmla="val 53340"/>
                      <a:gd name="f10" fmla="val 120968"/>
                      <a:gd name="f11" fmla="val 120015"/>
                      <a:gd name="f12" fmla="val 147638"/>
                      <a:gd name="f13" fmla="val 162877"/>
                      <a:gd name="f14" fmla="val 12383"/>
                      <a:gd name="f15" fmla="val 26670"/>
                      <a:gd name="f16" fmla="val 175260"/>
                      <a:gd name="f17" fmla="val 162878"/>
                      <a:gd name="f18" fmla="val 174308"/>
                      <a:gd name="f19" fmla="val 11430"/>
                      <a:gd name="f20" fmla="val 161925"/>
                      <a:gd name="f21" fmla="val 27623"/>
                      <a:gd name="f22" fmla="val 953"/>
                      <a:gd name="f23" fmla="val 12382"/>
                      <a:gd name="f24" fmla="+- 0 0 -90"/>
                      <a:gd name="f25" fmla="*/ f3 1 174307"/>
                      <a:gd name="f26" fmla="*/ f4 1 175259"/>
                      <a:gd name="f27" fmla="+- f7 0 f5"/>
                      <a:gd name="f28" fmla="+- f6 0 f5"/>
                      <a:gd name="f29" fmla="*/ f24 f0 1"/>
                      <a:gd name="f30" fmla="*/ f28 1 174307"/>
                      <a:gd name="f31" fmla="*/ f27 1 175259"/>
                      <a:gd name="f32" fmla="*/ 54293 f28 1"/>
                      <a:gd name="f33" fmla="*/ 53340 f27 1"/>
                      <a:gd name="f34" fmla="*/ 120968 f28 1"/>
                      <a:gd name="f35" fmla="*/ 120015 f27 1"/>
                      <a:gd name="f36" fmla="*/ 0 f28 1"/>
                      <a:gd name="f37" fmla="*/ 147638 f27 1"/>
                      <a:gd name="f38" fmla="*/ 26670 f28 1"/>
                      <a:gd name="f39" fmla="*/ 175260 f27 1"/>
                      <a:gd name="f40" fmla="*/ 147638 f28 1"/>
                      <a:gd name="f41" fmla="*/ 174308 f28 1"/>
                      <a:gd name="f42" fmla="*/ 26670 f27 1"/>
                      <a:gd name="f43" fmla="*/ 0 f27 1"/>
                      <a:gd name="f44" fmla="*/ 27623 f28 1"/>
                      <a:gd name="f45" fmla="*/ 953 f28 1"/>
                      <a:gd name="f46" fmla="*/ f29 1 f2"/>
                      <a:gd name="f47" fmla="*/ f32 1 174307"/>
                      <a:gd name="f48" fmla="*/ f33 1 175259"/>
                      <a:gd name="f49" fmla="*/ f34 1 174307"/>
                      <a:gd name="f50" fmla="*/ f35 1 175259"/>
                      <a:gd name="f51" fmla="*/ f36 1 174307"/>
                      <a:gd name="f52" fmla="*/ f37 1 175259"/>
                      <a:gd name="f53" fmla="*/ f38 1 174307"/>
                      <a:gd name="f54" fmla="*/ f39 1 175259"/>
                      <a:gd name="f55" fmla="*/ f40 1 174307"/>
                      <a:gd name="f56" fmla="*/ f41 1 174307"/>
                      <a:gd name="f57" fmla="*/ f42 1 175259"/>
                      <a:gd name="f58" fmla="*/ f43 1 175259"/>
                      <a:gd name="f59" fmla="*/ f44 1 174307"/>
                      <a:gd name="f60" fmla="*/ f45 1 174307"/>
                      <a:gd name="f61" fmla="*/ f5 1 f30"/>
                      <a:gd name="f62" fmla="*/ f6 1 f30"/>
                      <a:gd name="f63" fmla="*/ f5 1 f31"/>
                      <a:gd name="f64" fmla="*/ f7 1 f31"/>
                      <a:gd name="f65" fmla="+- f46 0 f1"/>
                      <a:gd name="f66" fmla="*/ f47 1 f30"/>
                      <a:gd name="f67" fmla="*/ f48 1 f31"/>
                      <a:gd name="f68" fmla="*/ f49 1 f30"/>
                      <a:gd name="f69" fmla="*/ f50 1 f31"/>
                      <a:gd name="f70" fmla="*/ f51 1 f30"/>
                      <a:gd name="f71" fmla="*/ f52 1 f31"/>
                      <a:gd name="f72" fmla="*/ f53 1 f30"/>
                      <a:gd name="f73" fmla="*/ f54 1 f31"/>
                      <a:gd name="f74" fmla="*/ f55 1 f30"/>
                      <a:gd name="f75" fmla="*/ f56 1 f30"/>
                      <a:gd name="f76" fmla="*/ f57 1 f31"/>
                      <a:gd name="f77" fmla="*/ f58 1 f31"/>
                      <a:gd name="f78" fmla="*/ f59 1 f30"/>
                      <a:gd name="f79" fmla="*/ f60 1 f30"/>
                      <a:gd name="f80" fmla="*/ f61 f25 1"/>
                      <a:gd name="f81" fmla="*/ f62 f25 1"/>
                      <a:gd name="f82" fmla="*/ f64 f26 1"/>
                      <a:gd name="f83" fmla="*/ f63 f26 1"/>
                      <a:gd name="f84" fmla="*/ f66 f25 1"/>
                      <a:gd name="f85" fmla="*/ f67 f26 1"/>
                      <a:gd name="f86" fmla="*/ f68 f25 1"/>
                      <a:gd name="f87" fmla="*/ f69 f26 1"/>
                      <a:gd name="f88" fmla="*/ f70 f25 1"/>
                      <a:gd name="f89" fmla="*/ f71 f26 1"/>
                      <a:gd name="f90" fmla="*/ f72 f25 1"/>
                      <a:gd name="f91" fmla="*/ f73 f26 1"/>
                      <a:gd name="f92" fmla="*/ f74 f25 1"/>
                      <a:gd name="f93" fmla="*/ f75 f25 1"/>
                      <a:gd name="f94" fmla="*/ f76 f26 1"/>
                      <a:gd name="f95" fmla="*/ f77 f26 1"/>
                      <a:gd name="f96" fmla="*/ f78 f25 1"/>
                      <a:gd name="f97" fmla="*/ f79 f25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5">
                        <a:pos x="f84" y="f85"/>
                      </a:cxn>
                      <a:cxn ang="f65">
                        <a:pos x="f86" y="f85"/>
                      </a:cxn>
                      <a:cxn ang="f65">
                        <a:pos x="f86" y="f87"/>
                      </a:cxn>
                      <a:cxn ang="f65">
                        <a:pos x="f84" y="f87"/>
                      </a:cxn>
                      <a:cxn ang="f65">
                        <a:pos x="f84" y="f85"/>
                      </a:cxn>
                      <a:cxn ang="f65">
                        <a:pos x="f88" y="f89"/>
                      </a:cxn>
                      <a:cxn ang="f65">
                        <a:pos x="f90" y="f91"/>
                      </a:cxn>
                      <a:cxn ang="f65">
                        <a:pos x="f92" y="f91"/>
                      </a:cxn>
                      <a:cxn ang="f65">
                        <a:pos x="f93" y="f89"/>
                      </a:cxn>
                      <a:cxn ang="f65">
                        <a:pos x="f93" y="f94"/>
                      </a:cxn>
                      <a:cxn ang="f65">
                        <a:pos x="f92" y="f95"/>
                      </a:cxn>
                      <a:cxn ang="f65">
                        <a:pos x="f96" y="f95"/>
                      </a:cxn>
                      <a:cxn ang="f65">
                        <a:pos x="f97" y="f94"/>
                      </a:cxn>
                      <a:cxn ang="f65">
                        <a:pos x="f88" y="f89"/>
                      </a:cxn>
                    </a:cxnLst>
                    <a:rect l="f80" t="f83" r="f81" b="f82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2" y="f16"/>
                        </a:lnTo>
                        <a:cubicBezTo>
                          <a:pt x="f17" y="f16"/>
                          <a:pt x="f18" y="f13"/>
                          <a:pt x="f18" y="f12"/>
                        </a:cubicBezTo>
                        <a:lnTo>
                          <a:pt x="f18" y="f15"/>
                        </a:lnTo>
                        <a:cubicBezTo>
                          <a:pt x="f18" y="f19"/>
                          <a:pt x="f20" y="f5"/>
                          <a:pt x="f12" y="f5"/>
                        </a:cubicBezTo>
                        <a:lnTo>
                          <a:pt x="f21" y="f5"/>
                        </a:lnTo>
                        <a:cubicBezTo>
                          <a:pt x="f14" y="f5"/>
                          <a:pt x="f22" y="f23"/>
                          <a:pt x="f22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97" name="Graphic 51">
                    <a:extLst>
                      <a:ext uri="{FF2B5EF4-FFF2-40B4-BE49-F238E27FC236}">
                        <a16:creationId xmlns:a16="http://schemas.microsoft.com/office/drawing/2014/main" id="{B142404B-2426-52E2-D3DE-FE5100452ED7}"/>
                      </a:ext>
                    </a:extLst>
                  </p:cNvPr>
                  <p:cNvSpPr/>
                  <p:nvPr/>
                </p:nvSpPr>
                <p:spPr>
                  <a:xfrm>
                    <a:off x="7974985" y="5620240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3"/>
                      <a:gd name="f9" fmla="val 120968"/>
                      <a:gd name="f10" fmla="val 147638"/>
                      <a:gd name="f11" fmla="val 162877"/>
                      <a:gd name="f12" fmla="val 12383"/>
                      <a:gd name="f13" fmla="val 174308"/>
                      <a:gd name="f14" fmla="val 26670"/>
                      <a:gd name="f15" fmla="val 162878"/>
                      <a:gd name="f16" fmla="val 11430"/>
                      <a:gd name="f17" fmla="val 161925"/>
                      <a:gd name="f18" fmla="val 27623"/>
                      <a:gd name="f19" fmla="val 953"/>
                      <a:gd name="f20" fmla="+- 0 0 -90"/>
                      <a:gd name="f21" fmla="*/ f3 1 174307"/>
                      <a:gd name="f22" fmla="*/ f4 1 175260"/>
                      <a:gd name="f23" fmla="+- f7 0 f5"/>
                      <a:gd name="f24" fmla="+- f6 0 f5"/>
                      <a:gd name="f25" fmla="*/ f20 f0 1"/>
                      <a:gd name="f26" fmla="*/ f24 1 174307"/>
                      <a:gd name="f27" fmla="*/ f23 1 175260"/>
                      <a:gd name="f28" fmla="*/ 54293 f24 1"/>
                      <a:gd name="f29" fmla="*/ 54293 f23 1"/>
                      <a:gd name="f30" fmla="*/ 120968 f24 1"/>
                      <a:gd name="f31" fmla="*/ 120968 f23 1"/>
                      <a:gd name="f32" fmla="*/ 0 f24 1"/>
                      <a:gd name="f33" fmla="*/ 147638 f23 1"/>
                      <a:gd name="f34" fmla="*/ 26670 f24 1"/>
                      <a:gd name="f35" fmla="*/ 175260 f23 1"/>
                      <a:gd name="f36" fmla="*/ 147638 f24 1"/>
                      <a:gd name="f37" fmla="*/ 174308 f24 1"/>
                      <a:gd name="f38" fmla="*/ 26670 f23 1"/>
                      <a:gd name="f39" fmla="*/ 0 f23 1"/>
                      <a:gd name="f40" fmla="*/ 27623 f24 1"/>
                      <a:gd name="f41" fmla="*/ 953 f24 1"/>
                      <a:gd name="f42" fmla="*/ f25 1 f2"/>
                      <a:gd name="f43" fmla="*/ f28 1 174307"/>
                      <a:gd name="f44" fmla="*/ f29 1 175260"/>
                      <a:gd name="f45" fmla="*/ f30 1 174307"/>
                      <a:gd name="f46" fmla="*/ f31 1 175260"/>
                      <a:gd name="f47" fmla="*/ f32 1 174307"/>
                      <a:gd name="f48" fmla="*/ f33 1 175260"/>
                      <a:gd name="f49" fmla="*/ f34 1 174307"/>
                      <a:gd name="f50" fmla="*/ f35 1 175260"/>
                      <a:gd name="f51" fmla="*/ f36 1 174307"/>
                      <a:gd name="f52" fmla="*/ f37 1 174307"/>
                      <a:gd name="f53" fmla="*/ f38 1 175260"/>
                      <a:gd name="f54" fmla="*/ f39 1 175260"/>
                      <a:gd name="f55" fmla="*/ f40 1 174307"/>
                      <a:gd name="f56" fmla="*/ f41 1 174307"/>
                      <a:gd name="f57" fmla="*/ f5 1 f26"/>
                      <a:gd name="f58" fmla="*/ f6 1 f26"/>
                      <a:gd name="f59" fmla="*/ f5 1 f27"/>
                      <a:gd name="f60" fmla="*/ f7 1 f27"/>
                      <a:gd name="f61" fmla="+- f42 0 f1"/>
                      <a:gd name="f62" fmla="*/ f43 1 f26"/>
                      <a:gd name="f63" fmla="*/ f44 1 f27"/>
                      <a:gd name="f64" fmla="*/ f45 1 f26"/>
                      <a:gd name="f65" fmla="*/ f46 1 f27"/>
                      <a:gd name="f66" fmla="*/ f47 1 f26"/>
                      <a:gd name="f67" fmla="*/ f48 1 f27"/>
                      <a:gd name="f68" fmla="*/ f49 1 f26"/>
                      <a:gd name="f69" fmla="*/ f50 1 f27"/>
                      <a:gd name="f70" fmla="*/ f51 1 f26"/>
                      <a:gd name="f71" fmla="*/ f52 1 f26"/>
                      <a:gd name="f72" fmla="*/ f53 1 f27"/>
                      <a:gd name="f73" fmla="*/ f54 1 f27"/>
                      <a:gd name="f74" fmla="*/ f55 1 f26"/>
                      <a:gd name="f75" fmla="*/ f56 1 f26"/>
                      <a:gd name="f76" fmla="*/ f57 f21 1"/>
                      <a:gd name="f77" fmla="*/ f58 f21 1"/>
                      <a:gd name="f78" fmla="*/ f60 f22 1"/>
                      <a:gd name="f79" fmla="*/ f59 f22 1"/>
                      <a:gd name="f80" fmla="*/ f62 f21 1"/>
                      <a:gd name="f81" fmla="*/ f63 f22 1"/>
                      <a:gd name="f82" fmla="*/ f64 f21 1"/>
                      <a:gd name="f83" fmla="*/ f65 f22 1"/>
                      <a:gd name="f84" fmla="*/ f66 f21 1"/>
                      <a:gd name="f85" fmla="*/ f67 f22 1"/>
                      <a:gd name="f86" fmla="*/ f68 f21 1"/>
                      <a:gd name="f87" fmla="*/ f69 f22 1"/>
                      <a:gd name="f88" fmla="*/ f70 f21 1"/>
                      <a:gd name="f89" fmla="*/ f71 f21 1"/>
                      <a:gd name="f90" fmla="*/ f72 f22 1"/>
                      <a:gd name="f91" fmla="*/ f73 f22 1"/>
                      <a:gd name="f92" fmla="*/ f74 f21 1"/>
                      <a:gd name="f93" fmla="*/ f75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1">
                        <a:pos x="f80" y="f81"/>
                      </a:cxn>
                      <a:cxn ang="f61">
                        <a:pos x="f82" y="f81"/>
                      </a:cxn>
                      <a:cxn ang="f61">
                        <a:pos x="f82" y="f83"/>
                      </a:cxn>
                      <a:cxn ang="f61">
                        <a:pos x="f80" y="f83"/>
                      </a:cxn>
                      <a:cxn ang="f61">
                        <a:pos x="f80" y="f81"/>
                      </a:cxn>
                      <a:cxn ang="f61">
                        <a:pos x="f84" y="f85"/>
                      </a:cxn>
                      <a:cxn ang="f61">
                        <a:pos x="f86" y="f87"/>
                      </a:cxn>
                      <a:cxn ang="f61">
                        <a:pos x="f88" y="f87"/>
                      </a:cxn>
                      <a:cxn ang="f61">
                        <a:pos x="f89" y="f85"/>
                      </a:cxn>
                      <a:cxn ang="f61">
                        <a:pos x="f89" y="f90"/>
                      </a:cxn>
                      <a:cxn ang="f61">
                        <a:pos x="f88" y="f91"/>
                      </a:cxn>
                      <a:cxn ang="f61">
                        <a:pos x="f92" y="f91"/>
                      </a:cxn>
                      <a:cxn ang="f61">
                        <a:pos x="f93" y="f90"/>
                      </a:cxn>
                      <a:cxn ang="f61">
                        <a:pos x="f84" y="f85"/>
                      </a:cxn>
                    </a:cxnLst>
                    <a:rect l="f76" t="f79" r="f77" b="f78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5" y="f10"/>
                        </a:moveTo>
                        <a:cubicBezTo>
                          <a:pt x="f5" y="f11"/>
                          <a:pt x="f12" y="f13"/>
                          <a:pt x="f14" y="f7"/>
                        </a:cubicBezTo>
                        <a:lnTo>
                          <a:pt x="f10" y="f7"/>
                        </a:lnTo>
                        <a:cubicBezTo>
                          <a:pt x="f15" y="f7"/>
                          <a:pt x="f13" y="f11"/>
                          <a:pt x="f13" y="f10"/>
                        </a:cubicBezTo>
                        <a:lnTo>
                          <a:pt x="f13" y="f14"/>
                        </a:lnTo>
                        <a:cubicBezTo>
                          <a:pt x="f13" y="f16"/>
                          <a:pt x="f17" y="f5"/>
                          <a:pt x="f10" y="f5"/>
                        </a:cubicBezTo>
                        <a:lnTo>
                          <a:pt x="f18" y="f5"/>
                        </a:lnTo>
                        <a:cubicBezTo>
                          <a:pt x="f12" y="f5"/>
                          <a:pt x="f19" y="f12"/>
                          <a:pt x="f19" y="f14"/>
                        </a:cubicBezTo>
                        <a:lnTo>
                          <a:pt x="f5" y="f1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98" name="Graphic 51">
                    <a:extLst>
                      <a:ext uri="{FF2B5EF4-FFF2-40B4-BE49-F238E27FC236}">
                        <a16:creationId xmlns:a16="http://schemas.microsoft.com/office/drawing/2014/main" id="{0EF2D6A9-71A8-1F3C-FBAB-C7046FB23C8F}"/>
                      </a:ext>
                    </a:extLst>
                  </p:cNvPr>
                  <p:cNvSpPr/>
                  <p:nvPr/>
                </p:nvSpPr>
                <p:spPr>
                  <a:xfrm>
                    <a:off x="7974985" y="5728368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3"/>
                      <a:gd name="f9" fmla="val 53340"/>
                      <a:gd name="f10" fmla="val 120968"/>
                      <a:gd name="f11" fmla="val 120015"/>
                      <a:gd name="f12" fmla="val 147638"/>
                      <a:gd name="f13" fmla="val 162877"/>
                      <a:gd name="f14" fmla="val 12383"/>
                      <a:gd name="f15" fmla="val 26670"/>
                      <a:gd name="f16" fmla="val 175260"/>
                      <a:gd name="f17" fmla="val 162878"/>
                      <a:gd name="f18" fmla="val 174308"/>
                      <a:gd name="f19" fmla="val 11430"/>
                      <a:gd name="f20" fmla="val 161925"/>
                      <a:gd name="f21" fmla="val 27623"/>
                      <a:gd name="f22" fmla="val 953"/>
                      <a:gd name="f23" fmla="val 12382"/>
                      <a:gd name="f24" fmla="+- 0 0 -90"/>
                      <a:gd name="f25" fmla="*/ f3 1 174307"/>
                      <a:gd name="f26" fmla="*/ f4 1 175259"/>
                      <a:gd name="f27" fmla="+- f7 0 f5"/>
                      <a:gd name="f28" fmla="+- f6 0 f5"/>
                      <a:gd name="f29" fmla="*/ f24 f0 1"/>
                      <a:gd name="f30" fmla="*/ f28 1 174307"/>
                      <a:gd name="f31" fmla="*/ f27 1 175259"/>
                      <a:gd name="f32" fmla="*/ 54293 f28 1"/>
                      <a:gd name="f33" fmla="*/ 53340 f27 1"/>
                      <a:gd name="f34" fmla="*/ 120968 f28 1"/>
                      <a:gd name="f35" fmla="*/ 120015 f27 1"/>
                      <a:gd name="f36" fmla="*/ 0 f28 1"/>
                      <a:gd name="f37" fmla="*/ 147638 f27 1"/>
                      <a:gd name="f38" fmla="*/ 26670 f28 1"/>
                      <a:gd name="f39" fmla="*/ 175260 f27 1"/>
                      <a:gd name="f40" fmla="*/ 147638 f28 1"/>
                      <a:gd name="f41" fmla="*/ 174308 f28 1"/>
                      <a:gd name="f42" fmla="*/ 26670 f27 1"/>
                      <a:gd name="f43" fmla="*/ 0 f27 1"/>
                      <a:gd name="f44" fmla="*/ 27623 f28 1"/>
                      <a:gd name="f45" fmla="*/ 953 f28 1"/>
                      <a:gd name="f46" fmla="*/ f29 1 f2"/>
                      <a:gd name="f47" fmla="*/ f32 1 174307"/>
                      <a:gd name="f48" fmla="*/ f33 1 175259"/>
                      <a:gd name="f49" fmla="*/ f34 1 174307"/>
                      <a:gd name="f50" fmla="*/ f35 1 175259"/>
                      <a:gd name="f51" fmla="*/ f36 1 174307"/>
                      <a:gd name="f52" fmla="*/ f37 1 175259"/>
                      <a:gd name="f53" fmla="*/ f38 1 174307"/>
                      <a:gd name="f54" fmla="*/ f39 1 175259"/>
                      <a:gd name="f55" fmla="*/ f40 1 174307"/>
                      <a:gd name="f56" fmla="*/ f41 1 174307"/>
                      <a:gd name="f57" fmla="*/ f42 1 175259"/>
                      <a:gd name="f58" fmla="*/ f43 1 175259"/>
                      <a:gd name="f59" fmla="*/ f44 1 174307"/>
                      <a:gd name="f60" fmla="*/ f45 1 174307"/>
                      <a:gd name="f61" fmla="*/ f5 1 f30"/>
                      <a:gd name="f62" fmla="*/ f6 1 f30"/>
                      <a:gd name="f63" fmla="*/ f5 1 f31"/>
                      <a:gd name="f64" fmla="*/ f7 1 f31"/>
                      <a:gd name="f65" fmla="+- f46 0 f1"/>
                      <a:gd name="f66" fmla="*/ f47 1 f30"/>
                      <a:gd name="f67" fmla="*/ f48 1 f31"/>
                      <a:gd name="f68" fmla="*/ f49 1 f30"/>
                      <a:gd name="f69" fmla="*/ f50 1 f31"/>
                      <a:gd name="f70" fmla="*/ f51 1 f30"/>
                      <a:gd name="f71" fmla="*/ f52 1 f31"/>
                      <a:gd name="f72" fmla="*/ f53 1 f30"/>
                      <a:gd name="f73" fmla="*/ f54 1 f31"/>
                      <a:gd name="f74" fmla="*/ f55 1 f30"/>
                      <a:gd name="f75" fmla="*/ f56 1 f30"/>
                      <a:gd name="f76" fmla="*/ f57 1 f31"/>
                      <a:gd name="f77" fmla="*/ f58 1 f31"/>
                      <a:gd name="f78" fmla="*/ f59 1 f30"/>
                      <a:gd name="f79" fmla="*/ f60 1 f30"/>
                      <a:gd name="f80" fmla="*/ f61 f25 1"/>
                      <a:gd name="f81" fmla="*/ f62 f25 1"/>
                      <a:gd name="f82" fmla="*/ f64 f26 1"/>
                      <a:gd name="f83" fmla="*/ f63 f26 1"/>
                      <a:gd name="f84" fmla="*/ f66 f25 1"/>
                      <a:gd name="f85" fmla="*/ f67 f26 1"/>
                      <a:gd name="f86" fmla="*/ f68 f25 1"/>
                      <a:gd name="f87" fmla="*/ f69 f26 1"/>
                      <a:gd name="f88" fmla="*/ f70 f25 1"/>
                      <a:gd name="f89" fmla="*/ f71 f26 1"/>
                      <a:gd name="f90" fmla="*/ f72 f25 1"/>
                      <a:gd name="f91" fmla="*/ f73 f26 1"/>
                      <a:gd name="f92" fmla="*/ f74 f25 1"/>
                      <a:gd name="f93" fmla="*/ f75 f25 1"/>
                      <a:gd name="f94" fmla="*/ f76 f26 1"/>
                      <a:gd name="f95" fmla="*/ f77 f26 1"/>
                      <a:gd name="f96" fmla="*/ f78 f25 1"/>
                      <a:gd name="f97" fmla="*/ f79 f25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5">
                        <a:pos x="f84" y="f85"/>
                      </a:cxn>
                      <a:cxn ang="f65">
                        <a:pos x="f86" y="f85"/>
                      </a:cxn>
                      <a:cxn ang="f65">
                        <a:pos x="f86" y="f87"/>
                      </a:cxn>
                      <a:cxn ang="f65">
                        <a:pos x="f84" y="f87"/>
                      </a:cxn>
                      <a:cxn ang="f65">
                        <a:pos x="f84" y="f85"/>
                      </a:cxn>
                      <a:cxn ang="f65">
                        <a:pos x="f88" y="f89"/>
                      </a:cxn>
                      <a:cxn ang="f65">
                        <a:pos x="f90" y="f91"/>
                      </a:cxn>
                      <a:cxn ang="f65">
                        <a:pos x="f92" y="f91"/>
                      </a:cxn>
                      <a:cxn ang="f65">
                        <a:pos x="f93" y="f89"/>
                      </a:cxn>
                      <a:cxn ang="f65">
                        <a:pos x="f93" y="f94"/>
                      </a:cxn>
                      <a:cxn ang="f65">
                        <a:pos x="f92" y="f95"/>
                      </a:cxn>
                      <a:cxn ang="f65">
                        <a:pos x="f96" y="f95"/>
                      </a:cxn>
                      <a:cxn ang="f65">
                        <a:pos x="f97" y="f94"/>
                      </a:cxn>
                      <a:cxn ang="f65">
                        <a:pos x="f88" y="f89"/>
                      </a:cxn>
                    </a:cxnLst>
                    <a:rect l="f80" t="f83" r="f81" b="f82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2" y="f16"/>
                        </a:lnTo>
                        <a:cubicBezTo>
                          <a:pt x="f17" y="f16"/>
                          <a:pt x="f18" y="f13"/>
                          <a:pt x="f18" y="f12"/>
                        </a:cubicBezTo>
                        <a:lnTo>
                          <a:pt x="f18" y="f15"/>
                        </a:lnTo>
                        <a:cubicBezTo>
                          <a:pt x="f18" y="f19"/>
                          <a:pt x="f20" y="f5"/>
                          <a:pt x="f12" y="f5"/>
                        </a:cubicBezTo>
                        <a:lnTo>
                          <a:pt x="f21" y="f5"/>
                        </a:lnTo>
                        <a:cubicBezTo>
                          <a:pt x="f14" y="f5"/>
                          <a:pt x="f22" y="f23"/>
                          <a:pt x="f22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99" name="Graphic 51">
                    <a:extLst>
                      <a:ext uri="{FF2B5EF4-FFF2-40B4-BE49-F238E27FC236}">
                        <a16:creationId xmlns:a16="http://schemas.microsoft.com/office/drawing/2014/main" id="{7B7ED356-5237-E577-474A-CCDE5C5FA8AA}"/>
                      </a:ext>
                    </a:extLst>
                  </p:cNvPr>
                  <p:cNvSpPr/>
                  <p:nvPr/>
                </p:nvSpPr>
                <p:spPr>
                  <a:xfrm>
                    <a:off x="7974985" y="5833295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3"/>
                      <a:gd name="f9" fmla="val 120968"/>
                      <a:gd name="f10" fmla="val 147638"/>
                      <a:gd name="f11" fmla="val 162877"/>
                      <a:gd name="f12" fmla="val 12383"/>
                      <a:gd name="f13" fmla="val 174308"/>
                      <a:gd name="f14" fmla="val 26670"/>
                      <a:gd name="f15" fmla="val 162878"/>
                      <a:gd name="f16" fmla="val 11430"/>
                      <a:gd name="f17" fmla="val 161925"/>
                      <a:gd name="f18" fmla="val 27623"/>
                      <a:gd name="f19" fmla="val 953"/>
                      <a:gd name="f20" fmla="+- 0 0 -90"/>
                      <a:gd name="f21" fmla="*/ f3 1 174307"/>
                      <a:gd name="f22" fmla="*/ f4 1 175260"/>
                      <a:gd name="f23" fmla="+- f7 0 f5"/>
                      <a:gd name="f24" fmla="+- f6 0 f5"/>
                      <a:gd name="f25" fmla="*/ f20 f0 1"/>
                      <a:gd name="f26" fmla="*/ f24 1 174307"/>
                      <a:gd name="f27" fmla="*/ f23 1 175260"/>
                      <a:gd name="f28" fmla="*/ 54293 f24 1"/>
                      <a:gd name="f29" fmla="*/ 54293 f23 1"/>
                      <a:gd name="f30" fmla="*/ 120968 f24 1"/>
                      <a:gd name="f31" fmla="*/ 120968 f23 1"/>
                      <a:gd name="f32" fmla="*/ 0 f24 1"/>
                      <a:gd name="f33" fmla="*/ 147638 f23 1"/>
                      <a:gd name="f34" fmla="*/ 26670 f24 1"/>
                      <a:gd name="f35" fmla="*/ 175260 f23 1"/>
                      <a:gd name="f36" fmla="*/ 147638 f24 1"/>
                      <a:gd name="f37" fmla="*/ 174308 f24 1"/>
                      <a:gd name="f38" fmla="*/ 26670 f23 1"/>
                      <a:gd name="f39" fmla="*/ 0 f23 1"/>
                      <a:gd name="f40" fmla="*/ 27623 f24 1"/>
                      <a:gd name="f41" fmla="*/ 953 f24 1"/>
                      <a:gd name="f42" fmla="*/ f25 1 f2"/>
                      <a:gd name="f43" fmla="*/ f28 1 174307"/>
                      <a:gd name="f44" fmla="*/ f29 1 175260"/>
                      <a:gd name="f45" fmla="*/ f30 1 174307"/>
                      <a:gd name="f46" fmla="*/ f31 1 175260"/>
                      <a:gd name="f47" fmla="*/ f32 1 174307"/>
                      <a:gd name="f48" fmla="*/ f33 1 175260"/>
                      <a:gd name="f49" fmla="*/ f34 1 174307"/>
                      <a:gd name="f50" fmla="*/ f35 1 175260"/>
                      <a:gd name="f51" fmla="*/ f36 1 174307"/>
                      <a:gd name="f52" fmla="*/ f37 1 174307"/>
                      <a:gd name="f53" fmla="*/ f38 1 175260"/>
                      <a:gd name="f54" fmla="*/ f39 1 175260"/>
                      <a:gd name="f55" fmla="*/ f40 1 174307"/>
                      <a:gd name="f56" fmla="*/ f41 1 174307"/>
                      <a:gd name="f57" fmla="*/ f5 1 f26"/>
                      <a:gd name="f58" fmla="*/ f6 1 f26"/>
                      <a:gd name="f59" fmla="*/ f5 1 f27"/>
                      <a:gd name="f60" fmla="*/ f7 1 f27"/>
                      <a:gd name="f61" fmla="+- f42 0 f1"/>
                      <a:gd name="f62" fmla="*/ f43 1 f26"/>
                      <a:gd name="f63" fmla="*/ f44 1 f27"/>
                      <a:gd name="f64" fmla="*/ f45 1 f26"/>
                      <a:gd name="f65" fmla="*/ f46 1 f27"/>
                      <a:gd name="f66" fmla="*/ f47 1 f26"/>
                      <a:gd name="f67" fmla="*/ f48 1 f27"/>
                      <a:gd name="f68" fmla="*/ f49 1 f26"/>
                      <a:gd name="f69" fmla="*/ f50 1 f27"/>
                      <a:gd name="f70" fmla="*/ f51 1 f26"/>
                      <a:gd name="f71" fmla="*/ f52 1 f26"/>
                      <a:gd name="f72" fmla="*/ f53 1 f27"/>
                      <a:gd name="f73" fmla="*/ f54 1 f27"/>
                      <a:gd name="f74" fmla="*/ f55 1 f26"/>
                      <a:gd name="f75" fmla="*/ f56 1 f26"/>
                      <a:gd name="f76" fmla="*/ f57 f21 1"/>
                      <a:gd name="f77" fmla="*/ f58 f21 1"/>
                      <a:gd name="f78" fmla="*/ f60 f22 1"/>
                      <a:gd name="f79" fmla="*/ f59 f22 1"/>
                      <a:gd name="f80" fmla="*/ f62 f21 1"/>
                      <a:gd name="f81" fmla="*/ f63 f22 1"/>
                      <a:gd name="f82" fmla="*/ f64 f21 1"/>
                      <a:gd name="f83" fmla="*/ f65 f22 1"/>
                      <a:gd name="f84" fmla="*/ f66 f21 1"/>
                      <a:gd name="f85" fmla="*/ f67 f22 1"/>
                      <a:gd name="f86" fmla="*/ f68 f21 1"/>
                      <a:gd name="f87" fmla="*/ f69 f22 1"/>
                      <a:gd name="f88" fmla="*/ f70 f21 1"/>
                      <a:gd name="f89" fmla="*/ f71 f21 1"/>
                      <a:gd name="f90" fmla="*/ f72 f22 1"/>
                      <a:gd name="f91" fmla="*/ f73 f22 1"/>
                      <a:gd name="f92" fmla="*/ f74 f21 1"/>
                      <a:gd name="f93" fmla="*/ f75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1">
                        <a:pos x="f80" y="f81"/>
                      </a:cxn>
                      <a:cxn ang="f61">
                        <a:pos x="f82" y="f81"/>
                      </a:cxn>
                      <a:cxn ang="f61">
                        <a:pos x="f82" y="f83"/>
                      </a:cxn>
                      <a:cxn ang="f61">
                        <a:pos x="f80" y="f83"/>
                      </a:cxn>
                      <a:cxn ang="f61">
                        <a:pos x="f80" y="f81"/>
                      </a:cxn>
                      <a:cxn ang="f61">
                        <a:pos x="f84" y="f85"/>
                      </a:cxn>
                      <a:cxn ang="f61">
                        <a:pos x="f86" y="f87"/>
                      </a:cxn>
                      <a:cxn ang="f61">
                        <a:pos x="f88" y="f87"/>
                      </a:cxn>
                      <a:cxn ang="f61">
                        <a:pos x="f89" y="f85"/>
                      </a:cxn>
                      <a:cxn ang="f61">
                        <a:pos x="f89" y="f90"/>
                      </a:cxn>
                      <a:cxn ang="f61">
                        <a:pos x="f88" y="f91"/>
                      </a:cxn>
                      <a:cxn ang="f61">
                        <a:pos x="f92" y="f91"/>
                      </a:cxn>
                      <a:cxn ang="f61">
                        <a:pos x="f93" y="f90"/>
                      </a:cxn>
                      <a:cxn ang="f61">
                        <a:pos x="f84" y="f85"/>
                      </a:cxn>
                    </a:cxnLst>
                    <a:rect l="f76" t="f79" r="f77" b="f78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5" y="f10"/>
                        </a:moveTo>
                        <a:cubicBezTo>
                          <a:pt x="f5" y="f11"/>
                          <a:pt x="f12" y="f13"/>
                          <a:pt x="f14" y="f7"/>
                        </a:cubicBezTo>
                        <a:lnTo>
                          <a:pt x="f10" y="f7"/>
                        </a:lnTo>
                        <a:cubicBezTo>
                          <a:pt x="f15" y="f7"/>
                          <a:pt x="f13" y="f11"/>
                          <a:pt x="f13" y="f10"/>
                        </a:cubicBezTo>
                        <a:lnTo>
                          <a:pt x="f13" y="f14"/>
                        </a:lnTo>
                        <a:cubicBezTo>
                          <a:pt x="f13" y="f16"/>
                          <a:pt x="f17" y="f5"/>
                          <a:pt x="f10" y="f5"/>
                        </a:cubicBezTo>
                        <a:lnTo>
                          <a:pt x="f18" y="f5"/>
                        </a:lnTo>
                        <a:cubicBezTo>
                          <a:pt x="f12" y="f5"/>
                          <a:pt x="f19" y="f12"/>
                          <a:pt x="f19" y="f14"/>
                        </a:cubicBezTo>
                        <a:lnTo>
                          <a:pt x="f5" y="f1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00" name="Freeform: Shape 97">
                    <a:extLst>
                      <a:ext uri="{FF2B5EF4-FFF2-40B4-BE49-F238E27FC236}">
                        <a16:creationId xmlns:a16="http://schemas.microsoft.com/office/drawing/2014/main" id="{3DEB346A-9828-BFD7-D16B-4E204504803E}"/>
                      </a:ext>
                    </a:extLst>
                  </p:cNvPr>
                  <p:cNvSpPr/>
                  <p:nvPr/>
                </p:nvSpPr>
                <p:spPr>
                  <a:xfrm>
                    <a:off x="7812606" y="5268973"/>
                    <a:ext cx="301852" cy="755934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650984"/>
                      <a:gd name="f7" fmla="val 1630272"/>
                      <a:gd name="f8" fmla="val 325517"/>
                      <a:gd name="f9" fmla="val 332036"/>
                      <a:gd name="f10" fmla="val 338555"/>
                      <a:gd name="f11" fmla="val 2329"/>
                      <a:gd name="f12" fmla="val 343676"/>
                      <a:gd name="f13" fmla="val 6985"/>
                      <a:gd name="f14" fmla="val 642604"/>
                      <a:gd name="f15" fmla="val 284493"/>
                      <a:gd name="f16" fmla="val 648191"/>
                      <a:gd name="f17" fmla="val 289149"/>
                      <a:gd name="f18" fmla="val 296599"/>
                      <a:gd name="f19" fmla="val 304049"/>
                      <a:gd name="f20" fmla="val 698741"/>
                      <a:gd name="f21" fmla="val 1065604"/>
                      <a:gd name="f22" fmla="val 1604198"/>
                      <a:gd name="f23" fmla="val 1618166"/>
                      <a:gd name="f24" fmla="val 639809"/>
                      <a:gd name="f25" fmla="val 624910"/>
                      <a:gd name="f26" fmla="val 307358"/>
                      <a:gd name="f27" fmla="val 292458"/>
                      <a:gd name="f28" fmla="val 280352"/>
                      <a:gd name="f29" fmla="val 1619097"/>
                      <a:gd name="f30" fmla="val 1589298"/>
                      <a:gd name="f31" fmla="val 1577191"/>
                      <a:gd name="f32" fmla="val 598835"/>
                      <a:gd name="f33" fmla="val 316155"/>
                      <a:gd name="f34" fmla="val 325983"/>
                      <a:gd name="f35" fmla="val 62859"/>
                      <a:gd name="f36" fmla="val 53130"/>
                      <a:gd name="f37" fmla="val 675613"/>
                      <a:gd name="f38" fmla="val 677475"/>
                      <a:gd name="f39" fmla="val 52199"/>
                      <a:gd name="f40" fmla="val 691443"/>
                      <a:gd name="f41" fmla="val 40093"/>
                      <a:gd name="f42" fmla="val 703550"/>
                      <a:gd name="f43" fmla="val 25193"/>
                      <a:gd name="f44" fmla="val 702618"/>
                      <a:gd name="f45" fmla="val 11225"/>
                      <a:gd name="f46" fmla="val 701687"/>
                      <a:gd name="f47" fmla="+- 0 0 882"/>
                      <a:gd name="f48" fmla="val 689581"/>
                      <a:gd name="f49" fmla="val 50"/>
                      <a:gd name="f50" fmla="val 674681"/>
                      <a:gd name="f51" fmla="val 2843"/>
                      <a:gd name="f52" fmla="val 8431"/>
                      <a:gd name="f53" fmla="val 312480"/>
                      <a:gd name="f54" fmla="val 318998"/>
                      <a:gd name="f55" fmla="+- 0 0 -90"/>
                      <a:gd name="f56" fmla="*/ f3 1 650984"/>
                      <a:gd name="f57" fmla="*/ f4 1 1630272"/>
                      <a:gd name="f58" fmla="+- f7 0 f5"/>
                      <a:gd name="f59" fmla="+- f6 0 f5"/>
                      <a:gd name="f60" fmla="*/ f55 f0 1"/>
                      <a:gd name="f61" fmla="*/ f59 1 650984"/>
                      <a:gd name="f62" fmla="*/ f58 1 1630272"/>
                      <a:gd name="f63" fmla="*/ 325517 f59 1"/>
                      <a:gd name="f64" fmla="*/ 0 f58 1"/>
                      <a:gd name="f65" fmla="*/ 343676 f59 1"/>
                      <a:gd name="f66" fmla="*/ 6985 f58 1"/>
                      <a:gd name="f67" fmla="*/ 642604 f59 1"/>
                      <a:gd name="f68" fmla="*/ 284493 f58 1"/>
                      <a:gd name="f69" fmla="*/ 650984 f59 1"/>
                      <a:gd name="f70" fmla="*/ 304049 f58 1"/>
                      <a:gd name="f71" fmla="*/ 698741 f58 1"/>
                      <a:gd name="f72" fmla="*/ 1065604 f58 1"/>
                      <a:gd name="f73" fmla="*/ 1604198 f58 1"/>
                      <a:gd name="f74" fmla="*/ 624910 f59 1"/>
                      <a:gd name="f75" fmla="*/ 1630272 f58 1"/>
                      <a:gd name="f76" fmla="*/ 307358 f59 1"/>
                      <a:gd name="f77" fmla="*/ 280352 f59 1"/>
                      <a:gd name="f78" fmla="*/ 1577191 f58 1"/>
                      <a:gd name="f79" fmla="*/ 598835 f59 1"/>
                      <a:gd name="f80" fmla="*/ 316155 f58 1"/>
                      <a:gd name="f81" fmla="*/ 325983 f59 1"/>
                      <a:gd name="f82" fmla="*/ 62859 f58 1"/>
                      <a:gd name="f83" fmla="*/ 53130 f59 1"/>
                      <a:gd name="f84" fmla="*/ 675613 f58 1"/>
                      <a:gd name="f85" fmla="*/ 677475 f58 1"/>
                      <a:gd name="f86" fmla="*/ 25193 f59 1"/>
                      <a:gd name="f87" fmla="*/ 702618 f58 1"/>
                      <a:gd name="f88" fmla="*/ 50 f59 1"/>
                      <a:gd name="f89" fmla="*/ 674681 f58 1"/>
                      <a:gd name="f90" fmla="*/ 8431 f59 1"/>
                      <a:gd name="f91" fmla="*/ f60 1 f2"/>
                      <a:gd name="f92" fmla="*/ f63 1 650984"/>
                      <a:gd name="f93" fmla="*/ f64 1 1630272"/>
                      <a:gd name="f94" fmla="*/ f65 1 650984"/>
                      <a:gd name="f95" fmla="*/ f66 1 1630272"/>
                      <a:gd name="f96" fmla="*/ f67 1 650984"/>
                      <a:gd name="f97" fmla="*/ f68 1 1630272"/>
                      <a:gd name="f98" fmla="*/ f69 1 650984"/>
                      <a:gd name="f99" fmla="*/ f70 1 1630272"/>
                      <a:gd name="f100" fmla="*/ f71 1 1630272"/>
                      <a:gd name="f101" fmla="*/ f72 1 1630272"/>
                      <a:gd name="f102" fmla="*/ f73 1 1630272"/>
                      <a:gd name="f103" fmla="*/ f74 1 650984"/>
                      <a:gd name="f104" fmla="*/ f75 1 1630272"/>
                      <a:gd name="f105" fmla="*/ f76 1 650984"/>
                      <a:gd name="f106" fmla="*/ f77 1 650984"/>
                      <a:gd name="f107" fmla="*/ f78 1 1630272"/>
                      <a:gd name="f108" fmla="*/ f79 1 650984"/>
                      <a:gd name="f109" fmla="*/ f80 1 1630272"/>
                      <a:gd name="f110" fmla="*/ f81 1 650984"/>
                      <a:gd name="f111" fmla="*/ f82 1 1630272"/>
                      <a:gd name="f112" fmla="*/ f83 1 650984"/>
                      <a:gd name="f113" fmla="*/ f84 1 1630272"/>
                      <a:gd name="f114" fmla="*/ f85 1 1630272"/>
                      <a:gd name="f115" fmla="*/ f86 1 650984"/>
                      <a:gd name="f116" fmla="*/ f87 1 1630272"/>
                      <a:gd name="f117" fmla="*/ f88 1 650984"/>
                      <a:gd name="f118" fmla="*/ f89 1 1630272"/>
                      <a:gd name="f119" fmla="*/ f90 1 650984"/>
                      <a:gd name="f120" fmla="*/ f5 1 f61"/>
                      <a:gd name="f121" fmla="*/ f6 1 f61"/>
                      <a:gd name="f122" fmla="*/ f5 1 f62"/>
                      <a:gd name="f123" fmla="*/ f7 1 f62"/>
                      <a:gd name="f124" fmla="+- f91 0 f1"/>
                      <a:gd name="f125" fmla="*/ f92 1 f61"/>
                      <a:gd name="f126" fmla="*/ f93 1 f62"/>
                      <a:gd name="f127" fmla="*/ f94 1 f61"/>
                      <a:gd name="f128" fmla="*/ f95 1 f62"/>
                      <a:gd name="f129" fmla="*/ f96 1 f61"/>
                      <a:gd name="f130" fmla="*/ f97 1 f62"/>
                      <a:gd name="f131" fmla="*/ f98 1 f61"/>
                      <a:gd name="f132" fmla="*/ f99 1 f62"/>
                      <a:gd name="f133" fmla="*/ f100 1 f62"/>
                      <a:gd name="f134" fmla="*/ f101 1 f62"/>
                      <a:gd name="f135" fmla="*/ f102 1 f62"/>
                      <a:gd name="f136" fmla="*/ f103 1 f61"/>
                      <a:gd name="f137" fmla="*/ f104 1 f62"/>
                      <a:gd name="f138" fmla="*/ f105 1 f61"/>
                      <a:gd name="f139" fmla="*/ f106 1 f61"/>
                      <a:gd name="f140" fmla="*/ f107 1 f62"/>
                      <a:gd name="f141" fmla="*/ f108 1 f61"/>
                      <a:gd name="f142" fmla="*/ f109 1 f62"/>
                      <a:gd name="f143" fmla="*/ f110 1 f61"/>
                      <a:gd name="f144" fmla="*/ f111 1 f62"/>
                      <a:gd name="f145" fmla="*/ f112 1 f61"/>
                      <a:gd name="f146" fmla="*/ f113 1 f62"/>
                      <a:gd name="f147" fmla="*/ f114 1 f62"/>
                      <a:gd name="f148" fmla="*/ f115 1 f61"/>
                      <a:gd name="f149" fmla="*/ f116 1 f62"/>
                      <a:gd name="f150" fmla="*/ f117 1 f61"/>
                      <a:gd name="f151" fmla="*/ f118 1 f62"/>
                      <a:gd name="f152" fmla="*/ f119 1 f61"/>
                      <a:gd name="f153" fmla="*/ f120 f56 1"/>
                      <a:gd name="f154" fmla="*/ f121 f56 1"/>
                      <a:gd name="f155" fmla="*/ f123 f57 1"/>
                      <a:gd name="f156" fmla="*/ f122 f57 1"/>
                      <a:gd name="f157" fmla="*/ f125 f56 1"/>
                      <a:gd name="f158" fmla="*/ f126 f57 1"/>
                      <a:gd name="f159" fmla="*/ f127 f56 1"/>
                      <a:gd name="f160" fmla="*/ f128 f57 1"/>
                      <a:gd name="f161" fmla="*/ f129 f56 1"/>
                      <a:gd name="f162" fmla="*/ f130 f57 1"/>
                      <a:gd name="f163" fmla="*/ f131 f56 1"/>
                      <a:gd name="f164" fmla="*/ f132 f57 1"/>
                      <a:gd name="f165" fmla="*/ f133 f57 1"/>
                      <a:gd name="f166" fmla="*/ f134 f57 1"/>
                      <a:gd name="f167" fmla="*/ f135 f57 1"/>
                      <a:gd name="f168" fmla="*/ f136 f56 1"/>
                      <a:gd name="f169" fmla="*/ f137 f57 1"/>
                      <a:gd name="f170" fmla="*/ f138 f56 1"/>
                      <a:gd name="f171" fmla="*/ f139 f56 1"/>
                      <a:gd name="f172" fmla="*/ f140 f57 1"/>
                      <a:gd name="f173" fmla="*/ f141 f56 1"/>
                      <a:gd name="f174" fmla="*/ f142 f57 1"/>
                      <a:gd name="f175" fmla="*/ f143 f56 1"/>
                      <a:gd name="f176" fmla="*/ f144 f57 1"/>
                      <a:gd name="f177" fmla="*/ f145 f56 1"/>
                      <a:gd name="f178" fmla="*/ f146 f57 1"/>
                      <a:gd name="f179" fmla="*/ f147 f57 1"/>
                      <a:gd name="f180" fmla="*/ f148 f56 1"/>
                      <a:gd name="f181" fmla="*/ f149 f57 1"/>
                      <a:gd name="f182" fmla="*/ f150 f56 1"/>
                      <a:gd name="f183" fmla="*/ f151 f57 1"/>
                      <a:gd name="f184" fmla="*/ f152 f56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124">
                        <a:pos x="f157" y="f158"/>
                      </a:cxn>
                      <a:cxn ang="f124">
                        <a:pos x="f159" y="f160"/>
                      </a:cxn>
                      <a:cxn ang="f124">
                        <a:pos x="f161" y="f162"/>
                      </a:cxn>
                      <a:cxn ang="f124">
                        <a:pos x="f163" y="f164"/>
                      </a:cxn>
                      <a:cxn ang="f124">
                        <a:pos x="f163" y="f165"/>
                      </a:cxn>
                      <a:cxn ang="f124">
                        <a:pos x="f163" y="f166"/>
                      </a:cxn>
                      <a:cxn ang="f124">
                        <a:pos x="f163" y="f167"/>
                      </a:cxn>
                      <a:cxn ang="f124">
                        <a:pos x="f168" y="f169"/>
                      </a:cxn>
                      <a:cxn ang="f124">
                        <a:pos x="f170" y="f169"/>
                      </a:cxn>
                      <a:cxn ang="f124">
                        <a:pos x="f171" y="f167"/>
                      </a:cxn>
                      <a:cxn ang="f124">
                        <a:pos x="f170" y="f172"/>
                      </a:cxn>
                      <a:cxn ang="f124">
                        <a:pos x="f173" y="f172"/>
                      </a:cxn>
                      <a:cxn ang="f124">
                        <a:pos x="f173" y="f166"/>
                      </a:cxn>
                      <a:cxn ang="f124">
                        <a:pos x="f173" y="f165"/>
                      </a:cxn>
                      <a:cxn ang="f124">
                        <a:pos x="f173" y="f174"/>
                      </a:cxn>
                      <a:cxn ang="f124">
                        <a:pos x="f175" y="f176"/>
                      </a:cxn>
                      <a:cxn ang="f124">
                        <a:pos x="f177" y="f174"/>
                      </a:cxn>
                      <a:cxn ang="f124">
                        <a:pos x="f177" y="f178"/>
                      </a:cxn>
                      <a:cxn ang="f124">
                        <a:pos x="f177" y="f179"/>
                      </a:cxn>
                      <a:cxn ang="f124">
                        <a:pos x="f180" y="f181"/>
                      </a:cxn>
                      <a:cxn ang="f124">
                        <a:pos x="f182" y="f183"/>
                      </a:cxn>
                      <a:cxn ang="f124">
                        <a:pos x="f182" y="f164"/>
                      </a:cxn>
                      <a:cxn ang="f124">
                        <a:pos x="f184" y="f162"/>
                      </a:cxn>
                      <a:cxn ang="f124">
                        <a:pos x="f170" y="f160"/>
                      </a:cxn>
                      <a:cxn ang="f124">
                        <a:pos x="f157" y="f158"/>
                      </a:cxn>
                    </a:cxnLst>
                    <a:rect l="f153" t="f156" r="f154" b="f155"/>
                    <a:pathLst>
                      <a:path w="650984" h="1630272">
                        <a:moveTo>
                          <a:pt x="f8" y="f5"/>
                        </a:moveTo>
                        <a:cubicBezTo>
                          <a:pt x="f9" y="f5"/>
                          <a:pt x="f10" y="f11"/>
                          <a:pt x="f12" y="f13"/>
                        </a:cubicBezTo>
                        <a:lnTo>
                          <a:pt x="f14" y="f15"/>
                        </a:lnTo>
                        <a:cubicBezTo>
                          <a:pt x="f16" y="f17"/>
                          <a:pt x="f6" y="f18"/>
                          <a:pt x="f6" y="f19"/>
                        </a:cubicBezTo>
                        <a:lnTo>
                          <a:pt x="f6" y="f20"/>
                        </a:lnTo>
                        <a:lnTo>
                          <a:pt x="f6" y="f21"/>
                        </a:lnTo>
                        <a:lnTo>
                          <a:pt x="f6" y="f22"/>
                        </a:lnTo>
                        <a:cubicBezTo>
                          <a:pt x="f6" y="f23"/>
                          <a:pt x="f24" y="f7"/>
                          <a:pt x="f25" y="f7"/>
                        </a:cubicBezTo>
                        <a:lnTo>
                          <a:pt x="f26" y="f7"/>
                        </a:lnTo>
                        <a:cubicBezTo>
                          <a:pt x="f27" y="f7"/>
                          <a:pt x="f28" y="f29"/>
                          <a:pt x="f28" y="f22"/>
                        </a:cubicBezTo>
                        <a:cubicBezTo>
                          <a:pt x="f28" y="f30"/>
                          <a:pt x="f27" y="f31"/>
                          <a:pt x="f26" y="f31"/>
                        </a:cubicBezTo>
                        <a:lnTo>
                          <a:pt x="f32" y="f31"/>
                        </a:lnTo>
                        <a:lnTo>
                          <a:pt x="f32" y="f21"/>
                        </a:lnTo>
                        <a:lnTo>
                          <a:pt x="f32" y="f20"/>
                        </a:lnTo>
                        <a:lnTo>
                          <a:pt x="f32" y="f33"/>
                        </a:lnTo>
                        <a:lnTo>
                          <a:pt x="f34" y="f35"/>
                        </a:lnTo>
                        <a:lnTo>
                          <a:pt x="f36" y="f33"/>
                        </a:lnTo>
                        <a:lnTo>
                          <a:pt x="f36" y="f37"/>
                        </a:lnTo>
                        <a:lnTo>
                          <a:pt x="f36" y="f38"/>
                        </a:lnTo>
                        <a:cubicBezTo>
                          <a:pt x="f39" y="f40"/>
                          <a:pt x="f41" y="f42"/>
                          <a:pt x="f43" y="f44"/>
                        </a:cubicBezTo>
                        <a:cubicBezTo>
                          <a:pt x="f45" y="f46"/>
                          <a:pt x="f47" y="f48"/>
                          <a:pt x="f49" y="f50"/>
                        </a:cubicBezTo>
                        <a:lnTo>
                          <a:pt x="f49" y="f19"/>
                        </a:lnTo>
                        <a:cubicBezTo>
                          <a:pt x="f49" y="f18"/>
                          <a:pt x="f51" y="f17"/>
                          <a:pt x="f52" y="f15"/>
                        </a:cubicBezTo>
                        <a:lnTo>
                          <a:pt x="f26" y="f13"/>
                        </a:lnTo>
                        <a:cubicBezTo>
                          <a:pt x="f53" y="f11"/>
                          <a:pt x="f54" y="f5"/>
                          <a:pt x="f8" y="f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</p:grpSp>
          </p:grpSp>
          <p:grpSp>
            <p:nvGrpSpPr>
              <p:cNvPr id="101" name="Group 80">
                <a:extLst>
                  <a:ext uri="{FF2B5EF4-FFF2-40B4-BE49-F238E27FC236}">
                    <a16:creationId xmlns:a16="http://schemas.microsoft.com/office/drawing/2014/main" id="{929D53F0-8814-48AA-719D-EE55E2C6C578}"/>
                  </a:ext>
                </a:extLst>
              </p:cNvPr>
              <p:cNvGrpSpPr/>
              <p:nvPr/>
            </p:nvGrpSpPr>
            <p:grpSpPr>
              <a:xfrm>
                <a:off x="8142594" y="5953704"/>
                <a:ext cx="279148" cy="186345"/>
                <a:chOff x="8142594" y="5953704"/>
                <a:chExt cx="279148" cy="186345"/>
              </a:xfrm>
            </p:grpSpPr>
            <p:grpSp>
              <p:nvGrpSpPr>
                <p:cNvPr id="102" name="Group 81">
                  <a:extLst>
                    <a:ext uri="{FF2B5EF4-FFF2-40B4-BE49-F238E27FC236}">
                      <a16:creationId xmlns:a16="http://schemas.microsoft.com/office/drawing/2014/main" id="{D1BC0914-C50D-FFB4-D3B8-90FCC700B16D}"/>
                    </a:ext>
                  </a:extLst>
                </p:cNvPr>
                <p:cNvGrpSpPr/>
                <p:nvPr/>
              </p:nvGrpSpPr>
              <p:grpSpPr>
                <a:xfrm>
                  <a:off x="8142594" y="5981346"/>
                  <a:ext cx="267187" cy="158703"/>
                  <a:chOff x="8142594" y="5981346"/>
                  <a:chExt cx="267187" cy="158703"/>
                </a:xfrm>
              </p:grpSpPr>
              <p:sp>
                <p:nvSpPr>
                  <p:cNvPr id="103" name="Graphic 179">
                    <a:extLst>
                      <a:ext uri="{FF2B5EF4-FFF2-40B4-BE49-F238E27FC236}">
                        <a16:creationId xmlns:a16="http://schemas.microsoft.com/office/drawing/2014/main" id="{20930A63-80EF-0ACB-1A5B-310B14C0A47D}"/>
                      </a:ext>
                    </a:extLst>
                  </p:cNvPr>
                  <p:cNvSpPr/>
                  <p:nvPr/>
                </p:nvSpPr>
                <p:spPr>
                  <a:xfrm flipH="1">
                    <a:off x="8162739" y="6021762"/>
                    <a:ext cx="60103" cy="47877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86588"/>
                      <a:gd name="f7" fmla="val 68979"/>
                      <a:gd name="f8" fmla="val 77866"/>
                      <a:gd name="f9" fmla="val 8721"/>
                      <a:gd name="f10" fmla="val 3904"/>
                      <a:gd name="f11" fmla="val 65075"/>
                      <a:gd name="f12" fmla="val 60258"/>
                      <a:gd name="f13" fmla="val 54961"/>
                      <a:gd name="f14" fmla="val 58408"/>
                      <a:gd name="f15" fmla="+- 0 0 2"/>
                      <a:gd name="f16" fmla="val 61532"/>
                      <a:gd name="f17" fmla="val 2028"/>
                      <a:gd name="f18" fmla="val 62930"/>
                      <a:gd name="f19" fmla="val 5178"/>
                      <a:gd name="f20" fmla="val 85834"/>
                      <a:gd name="f21" fmla="val 56715"/>
                      <a:gd name="f22" fmla="val 87791"/>
                      <a:gd name="f23" fmla="val 61116"/>
                      <a:gd name="f24" fmla="val 85810"/>
                      <a:gd name="f25" fmla="val 66270"/>
                      <a:gd name="f26" fmla="val 81409"/>
                      <a:gd name="f27" fmla="val 68227"/>
                      <a:gd name="f28" fmla="val 80294"/>
                      <a:gd name="f29" fmla="val 68723"/>
                      <a:gd name="f30" fmla="val 79087"/>
                      <a:gd name="f31" fmla="val 17442"/>
                      <a:gd name="f32" fmla="val 51537"/>
                      <a:gd name="f33" fmla="val 64444"/>
                      <a:gd name="f34" fmla="val 49334"/>
                      <a:gd name="f35" fmla="val 17479"/>
                      <a:gd name="f36" fmla="+- 0 0 -90"/>
                      <a:gd name="f37" fmla="*/ f3 1 86588"/>
                      <a:gd name="f38" fmla="*/ f4 1 68979"/>
                      <a:gd name="f39" fmla="+- f7 0 f5"/>
                      <a:gd name="f40" fmla="+- f6 0 f5"/>
                      <a:gd name="f41" fmla="*/ f36 f0 1"/>
                      <a:gd name="f42" fmla="*/ f40 1 86588"/>
                      <a:gd name="f43" fmla="*/ f39 1 68979"/>
                      <a:gd name="f44" fmla="*/ 77866 f40 1"/>
                      <a:gd name="f45" fmla="*/ 68979 f39 1"/>
                      <a:gd name="f46" fmla="*/ 8721 f40 1"/>
                      <a:gd name="f47" fmla="*/ 0 f40 1"/>
                      <a:gd name="f48" fmla="*/ 60258 f39 1"/>
                      <a:gd name="f49" fmla="*/ 8721 f39 1"/>
                      <a:gd name="f50" fmla="*/ 0 f39 1"/>
                      <a:gd name="f51" fmla="*/ 54961 f40 1"/>
                      <a:gd name="f52" fmla="*/ 62930 f40 1"/>
                      <a:gd name="f53" fmla="*/ 5178 f39 1"/>
                      <a:gd name="f54" fmla="*/ 85834 f40 1"/>
                      <a:gd name="f55" fmla="*/ 56715 f39 1"/>
                      <a:gd name="f56" fmla="*/ 81409 f40 1"/>
                      <a:gd name="f57" fmla="*/ 68227 f39 1"/>
                      <a:gd name="f58" fmla="*/ 17442 f40 1"/>
                      <a:gd name="f59" fmla="*/ 51537 f39 1"/>
                      <a:gd name="f60" fmla="*/ 64444 f40 1"/>
                      <a:gd name="f61" fmla="*/ 49334 f40 1"/>
                      <a:gd name="f62" fmla="*/ 17442 f39 1"/>
                      <a:gd name="f63" fmla="*/ 17479 f40 1"/>
                      <a:gd name="f64" fmla="*/ f41 1 f2"/>
                      <a:gd name="f65" fmla="*/ f44 1 86588"/>
                      <a:gd name="f66" fmla="*/ f45 1 68979"/>
                      <a:gd name="f67" fmla="*/ f46 1 86588"/>
                      <a:gd name="f68" fmla="*/ f47 1 86588"/>
                      <a:gd name="f69" fmla="*/ f48 1 68979"/>
                      <a:gd name="f70" fmla="*/ f49 1 68979"/>
                      <a:gd name="f71" fmla="*/ f50 1 68979"/>
                      <a:gd name="f72" fmla="*/ f51 1 86588"/>
                      <a:gd name="f73" fmla="*/ f52 1 86588"/>
                      <a:gd name="f74" fmla="*/ f53 1 68979"/>
                      <a:gd name="f75" fmla="*/ f54 1 86588"/>
                      <a:gd name="f76" fmla="*/ f55 1 68979"/>
                      <a:gd name="f77" fmla="*/ f56 1 86588"/>
                      <a:gd name="f78" fmla="*/ f57 1 68979"/>
                      <a:gd name="f79" fmla="*/ f58 1 86588"/>
                      <a:gd name="f80" fmla="*/ f59 1 68979"/>
                      <a:gd name="f81" fmla="*/ f60 1 86588"/>
                      <a:gd name="f82" fmla="*/ f61 1 86588"/>
                      <a:gd name="f83" fmla="*/ f62 1 68979"/>
                      <a:gd name="f84" fmla="*/ f63 1 86588"/>
                      <a:gd name="f85" fmla="*/ f5 1 f42"/>
                      <a:gd name="f86" fmla="*/ f6 1 f42"/>
                      <a:gd name="f87" fmla="*/ f5 1 f43"/>
                      <a:gd name="f88" fmla="*/ f7 1 f43"/>
                      <a:gd name="f89" fmla="+- f64 0 f1"/>
                      <a:gd name="f90" fmla="*/ f65 1 f42"/>
                      <a:gd name="f91" fmla="*/ f66 1 f43"/>
                      <a:gd name="f92" fmla="*/ f67 1 f42"/>
                      <a:gd name="f93" fmla="*/ f68 1 f42"/>
                      <a:gd name="f94" fmla="*/ f69 1 f43"/>
                      <a:gd name="f95" fmla="*/ f70 1 f43"/>
                      <a:gd name="f96" fmla="*/ f71 1 f43"/>
                      <a:gd name="f97" fmla="*/ f72 1 f42"/>
                      <a:gd name="f98" fmla="*/ f73 1 f42"/>
                      <a:gd name="f99" fmla="*/ f74 1 f43"/>
                      <a:gd name="f100" fmla="*/ f75 1 f42"/>
                      <a:gd name="f101" fmla="*/ f76 1 f43"/>
                      <a:gd name="f102" fmla="*/ f77 1 f42"/>
                      <a:gd name="f103" fmla="*/ f78 1 f43"/>
                      <a:gd name="f104" fmla="*/ f79 1 f42"/>
                      <a:gd name="f105" fmla="*/ f80 1 f43"/>
                      <a:gd name="f106" fmla="*/ f81 1 f42"/>
                      <a:gd name="f107" fmla="*/ f82 1 f42"/>
                      <a:gd name="f108" fmla="*/ f83 1 f43"/>
                      <a:gd name="f109" fmla="*/ f84 1 f42"/>
                      <a:gd name="f110" fmla="*/ f85 f37 1"/>
                      <a:gd name="f111" fmla="*/ f86 f37 1"/>
                      <a:gd name="f112" fmla="*/ f88 f38 1"/>
                      <a:gd name="f113" fmla="*/ f87 f38 1"/>
                      <a:gd name="f114" fmla="*/ f90 f37 1"/>
                      <a:gd name="f115" fmla="*/ f91 f38 1"/>
                      <a:gd name="f116" fmla="*/ f92 f37 1"/>
                      <a:gd name="f117" fmla="*/ f93 f37 1"/>
                      <a:gd name="f118" fmla="*/ f94 f38 1"/>
                      <a:gd name="f119" fmla="*/ f95 f38 1"/>
                      <a:gd name="f120" fmla="*/ f96 f38 1"/>
                      <a:gd name="f121" fmla="*/ f97 f37 1"/>
                      <a:gd name="f122" fmla="*/ f98 f37 1"/>
                      <a:gd name="f123" fmla="*/ f99 f38 1"/>
                      <a:gd name="f124" fmla="*/ f100 f37 1"/>
                      <a:gd name="f125" fmla="*/ f101 f38 1"/>
                      <a:gd name="f126" fmla="*/ f102 f37 1"/>
                      <a:gd name="f127" fmla="*/ f103 f38 1"/>
                      <a:gd name="f128" fmla="*/ f104 f37 1"/>
                      <a:gd name="f129" fmla="*/ f105 f38 1"/>
                      <a:gd name="f130" fmla="*/ f106 f37 1"/>
                      <a:gd name="f131" fmla="*/ f107 f37 1"/>
                      <a:gd name="f132" fmla="*/ f108 f38 1"/>
                      <a:gd name="f133" fmla="*/ f109 f37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89">
                        <a:pos x="f114" y="f115"/>
                      </a:cxn>
                      <a:cxn ang="f89">
                        <a:pos x="f116" y="f115"/>
                      </a:cxn>
                      <a:cxn ang="f89">
                        <a:pos x="f117" y="f118"/>
                      </a:cxn>
                      <a:cxn ang="f89">
                        <a:pos x="f117" y="f119"/>
                      </a:cxn>
                      <a:cxn ang="f89">
                        <a:pos x="f116" y="f120"/>
                      </a:cxn>
                      <a:cxn ang="f89">
                        <a:pos x="f121" y="f120"/>
                      </a:cxn>
                      <a:cxn ang="f89">
                        <a:pos x="f122" y="f123"/>
                      </a:cxn>
                      <a:cxn ang="f89">
                        <a:pos x="f124" y="f125"/>
                      </a:cxn>
                      <a:cxn ang="f89">
                        <a:pos x="f126" y="f127"/>
                      </a:cxn>
                      <a:cxn ang="f89">
                        <a:pos x="f114" y="f115"/>
                      </a:cxn>
                      <a:cxn ang="f89">
                        <a:pos x="f128" y="f129"/>
                      </a:cxn>
                      <a:cxn ang="f89">
                        <a:pos x="f130" y="f129"/>
                      </a:cxn>
                      <a:cxn ang="f89">
                        <a:pos x="f131" y="f132"/>
                      </a:cxn>
                      <a:cxn ang="f89">
                        <a:pos x="f133" y="f132"/>
                      </a:cxn>
                    </a:cxnLst>
                    <a:rect l="f110" t="f113" r="f111" b="f112"/>
                    <a:pathLst>
                      <a:path w="86588" h="68979">
                        <a:moveTo>
                          <a:pt x="f8" y="f7"/>
                        </a:moveTo>
                        <a:lnTo>
                          <a:pt x="f9" y="f7"/>
                        </a:lnTo>
                        <a:cubicBezTo>
                          <a:pt x="f10" y="f7"/>
                          <a:pt x="f5" y="f11"/>
                          <a:pt x="f5" y="f12"/>
                        </a:cubicBezTo>
                        <a:lnTo>
                          <a:pt x="f5" y="f9"/>
                        </a:lnTo>
                        <a:cubicBezTo>
                          <a:pt x="f5" y="f10"/>
                          <a:pt x="f10" y="f5"/>
                          <a:pt x="f9" y="f5"/>
                        </a:cubicBezTo>
                        <a:lnTo>
                          <a:pt x="f13" y="f5"/>
                        </a:lnTo>
                        <a:cubicBezTo>
                          <a:pt x="f14" y="f15"/>
                          <a:pt x="f16" y="f17"/>
                          <a:pt x="f18" y="f19"/>
                        </a:cubicBezTo>
                        <a:lnTo>
                          <a:pt x="f20" y="f21"/>
                        </a:lnTo>
                        <a:cubicBezTo>
                          <a:pt x="f22" y="f23"/>
                          <a:pt x="f24" y="f25"/>
                          <a:pt x="f26" y="f27"/>
                        </a:cubicBezTo>
                        <a:cubicBezTo>
                          <a:pt x="f28" y="f29"/>
                          <a:pt x="f30" y="f7"/>
                          <a:pt x="f8" y="f7"/>
                        </a:cubicBezTo>
                        <a:close/>
                        <a:moveTo>
                          <a:pt x="f31" y="f32"/>
                        </a:moveTo>
                        <a:lnTo>
                          <a:pt x="f33" y="f32"/>
                        </a:lnTo>
                        <a:lnTo>
                          <a:pt x="f34" y="f31"/>
                        </a:lnTo>
                        <a:lnTo>
                          <a:pt x="f35" y="f3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04" name="Graphic 179">
                    <a:extLst>
                      <a:ext uri="{FF2B5EF4-FFF2-40B4-BE49-F238E27FC236}">
                        <a16:creationId xmlns:a16="http://schemas.microsoft.com/office/drawing/2014/main" id="{88FA0455-8BDD-39BC-01CA-CE41C821AB26}"/>
                      </a:ext>
                    </a:extLst>
                  </p:cNvPr>
                  <p:cNvSpPr/>
                  <p:nvPr/>
                </p:nvSpPr>
                <p:spPr>
                  <a:xfrm flipH="1">
                    <a:off x="8142594" y="5981346"/>
                    <a:ext cx="267187" cy="158703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384949"/>
                      <a:gd name="f7" fmla="val 228657"/>
                      <a:gd name="f8" fmla="val 384197"/>
                      <a:gd name="f9" fmla="val 114935"/>
                      <a:gd name="f10" fmla="val 349496"/>
                      <a:gd name="f11" fmla="val 37051"/>
                      <a:gd name="f12" fmla="val 348101"/>
                      <a:gd name="f13" fmla="val 33902"/>
                      <a:gd name="f14" fmla="val 344981"/>
                      <a:gd name="f15" fmla="val 31872"/>
                      <a:gd name="f16" fmla="val 341537"/>
                      <a:gd name="f17" fmla="val 31873"/>
                      <a:gd name="f18" fmla="val 260431"/>
                      <a:gd name="f19" fmla="val 8721"/>
                      <a:gd name="f20" fmla="val 3904"/>
                      <a:gd name="f21" fmla="val 256526"/>
                      <a:gd name="f22" fmla="val 251710"/>
                      <a:gd name="f23" fmla="val 20839"/>
                      <a:gd name="f24" fmla="val 9334"/>
                      <a:gd name="f25" fmla="val 10"/>
                      <a:gd name="f26" fmla="val 191240"/>
                      <a:gd name="f27" fmla="val 196057"/>
                      <a:gd name="f28" fmla="val 3905"/>
                      <a:gd name="f29" fmla="val 199961"/>
                      <a:gd name="f30" fmla="val 36105"/>
                      <a:gd name="f31" fmla="val 40922"/>
                      <a:gd name="f32" fmla="val 220032"/>
                      <a:gd name="f33" fmla="val 61096"/>
                      <a:gd name="f34" fmla="val 232397"/>
                      <a:gd name="f35" fmla="val 81167"/>
                      <a:gd name="f36" fmla="val 227581"/>
                      <a:gd name="f37" fmla="val 101237"/>
                      <a:gd name="f38" fmla="val 222764"/>
                      <a:gd name="f39" fmla="val 113603"/>
                      <a:gd name="f40" fmla="val 202590"/>
                      <a:gd name="f41" fmla="val 108786"/>
                      <a:gd name="f42" fmla="val 182519"/>
                      <a:gd name="f43" fmla="val 103969"/>
                      <a:gd name="f44" fmla="val 162449"/>
                      <a:gd name="f45" fmla="val 83795"/>
                      <a:gd name="f46" fmla="val 150083"/>
                      <a:gd name="f47" fmla="val 63725"/>
                      <a:gd name="f48" fmla="val 154900"/>
                      <a:gd name="f49" fmla="val 50057"/>
                      <a:gd name="f50" fmla="val 158180"/>
                      <a:gd name="f51" fmla="val 39385"/>
                      <a:gd name="f52" fmla="val 168852"/>
                      <a:gd name="f53" fmla="val 17442"/>
                      <a:gd name="f54" fmla="val 18963"/>
                      <a:gd name="f55" fmla="val 242998"/>
                      <a:gd name="f56" fmla="val 182556"/>
                      <a:gd name="f57" fmla="val 192415"/>
                      <a:gd name="f58" fmla="val 187598"/>
                      <a:gd name="f59" fmla="val 162485"/>
                      <a:gd name="f60" fmla="val 167424"/>
                      <a:gd name="f61" fmla="val 150120"/>
                      <a:gd name="f62" fmla="val 147354"/>
                      <a:gd name="f63" fmla="val 154937"/>
                      <a:gd name="f64" fmla="val 127283"/>
                      <a:gd name="f65" fmla="val 159753"/>
                      <a:gd name="f66" fmla="val 114918"/>
                      <a:gd name="f67" fmla="val 179928"/>
                      <a:gd name="f68" fmla="val 119734"/>
                      <a:gd name="f69" fmla="val 199998"/>
                      <a:gd name="f70" fmla="val 124551"/>
                      <a:gd name="f71" fmla="val 220069"/>
                      <a:gd name="f72" fmla="val 144725"/>
                      <a:gd name="f73" fmla="val 232434"/>
                      <a:gd name="f74" fmla="val 164796"/>
                      <a:gd name="f75" fmla="val 227617"/>
                      <a:gd name="f76" fmla="val 178463"/>
                      <a:gd name="f77" fmla="val 224337"/>
                      <a:gd name="f78" fmla="val 189135"/>
                      <a:gd name="f79" fmla="val 213665"/>
                      <a:gd name="f80" fmla="val 196094"/>
                      <a:gd name="f81" fmla="val 191277"/>
                      <a:gd name="f82" fmla="val 49316"/>
                      <a:gd name="f83" fmla="val 335873"/>
                      <a:gd name="f84" fmla="val 367508"/>
                      <a:gd name="f85" fmla="val 120342"/>
                      <a:gd name="f86" fmla="val 343052"/>
                      <a:gd name="f87" fmla="val 338235"/>
                      <a:gd name="f88" fmla="val 318061"/>
                      <a:gd name="f89" fmla="val 297990"/>
                      <a:gd name="f90" fmla="val 277920"/>
                      <a:gd name="f91" fmla="val 265554"/>
                      <a:gd name="f92" fmla="val 270371"/>
                      <a:gd name="f93" fmla="val 275188"/>
                      <a:gd name="f94" fmla="val 295362"/>
                      <a:gd name="f95" fmla="val 315433"/>
                      <a:gd name="f96" fmla="val 329100"/>
                      <a:gd name="f97" fmla="val 339772"/>
                      <a:gd name="f98" fmla="val 376229"/>
                      <a:gd name="f99" fmla="val 381046"/>
                      <a:gd name="f100" fmla="val 384950"/>
                      <a:gd name="f101" fmla="val 118488"/>
                      <a:gd name="f102" fmla="val 117264"/>
                      <a:gd name="f103" fmla="val 384694"/>
                      <a:gd name="f104" fmla="val 116053"/>
                      <a:gd name="f105" fmla="val 72440"/>
                      <a:gd name="f106" fmla="val 171310"/>
                      <a:gd name="f107" fmla="val 83447"/>
                      <a:gd name="f108" fmla="val 92370"/>
                      <a:gd name="f109" fmla="val 180233"/>
                      <a:gd name="f110" fmla="val 202247"/>
                      <a:gd name="f111" fmla="val 211170"/>
                      <a:gd name="f112" fmla="val 61433"/>
                      <a:gd name="f113" fmla="val 52510"/>
                      <a:gd name="f114" fmla="val 52526"/>
                      <a:gd name="f115" fmla="val 180240"/>
                      <a:gd name="f116" fmla="val 61440"/>
                      <a:gd name="f117" fmla="val 171326"/>
                      <a:gd name="f118" fmla="val 156090"/>
                      <a:gd name="f119" fmla="val 145083"/>
                      <a:gd name="f120" fmla="val 211176"/>
                      <a:gd name="f121" fmla="val 136156"/>
                      <a:gd name="f122" fmla="val 202256"/>
                      <a:gd name="f123" fmla="val 136150"/>
                      <a:gd name="f124" fmla="val 191249"/>
                      <a:gd name="f125" fmla="val 136145"/>
                      <a:gd name="f126" fmla="val 180242"/>
                      <a:gd name="f127" fmla="val 145064"/>
                      <a:gd name="f128" fmla="val 171316"/>
                      <a:gd name="f129" fmla="val 156071"/>
                      <a:gd name="f130" fmla="val 167078"/>
                      <a:gd name="f131" fmla="val 171305"/>
                      <a:gd name="f132" fmla="val 176006"/>
                      <a:gd name="f133" fmla="val 180224"/>
                      <a:gd name="f134" fmla="val 176010"/>
                      <a:gd name="f135" fmla="val 191231"/>
                      <a:gd name="f136" fmla="val 191234"/>
                      <a:gd name="f137" fmla="val 191237"/>
                      <a:gd name="f138" fmla="val 175996"/>
                      <a:gd name="f139" fmla="val 202237"/>
                      <a:gd name="f140" fmla="val 167086"/>
                      <a:gd name="f141" fmla="val 211150"/>
                      <a:gd name="f142" fmla="val 306717"/>
                      <a:gd name="f143" fmla="val 295710"/>
                      <a:gd name="f144" fmla="val 286787"/>
                      <a:gd name="f145" fmla="val 317724"/>
                      <a:gd name="f146" fmla="val 326647"/>
                      <a:gd name="f147" fmla="val 326632"/>
                      <a:gd name="f148" fmla="val 202231"/>
                      <a:gd name="f149" fmla="val 317735"/>
                      <a:gd name="f150" fmla="val 211140"/>
                      <a:gd name="f151" fmla="val 306744"/>
                      <a:gd name="f152" fmla="+- 0 0 -90"/>
                      <a:gd name="f153" fmla="*/ f3 1 384949"/>
                      <a:gd name="f154" fmla="*/ f4 1 228657"/>
                      <a:gd name="f155" fmla="+- f7 0 f5"/>
                      <a:gd name="f156" fmla="+- f6 0 f5"/>
                      <a:gd name="f157" fmla="*/ f152 f0 1"/>
                      <a:gd name="f158" fmla="*/ f156 1 384949"/>
                      <a:gd name="f159" fmla="*/ f155 1 228657"/>
                      <a:gd name="f160" fmla="*/ 384197 f156 1"/>
                      <a:gd name="f161" fmla="*/ 114935 f155 1"/>
                      <a:gd name="f162" fmla="*/ 349496 f156 1"/>
                      <a:gd name="f163" fmla="*/ 37051 f155 1"/>
                      <a:gd name="f164" fmla="*/ 341537 f156 1"/>
                      <a:gd name="f165" fmla="*/ 31873 f155 1"/>
                      <a:gd name="f166" fmla="*/ 260431 f156 1"/>
                      <a:gd name="f167" fmla="*/ 8721 f155 1"/>
                      <a:gd name="f168" fmla="*/ 251710 f156 1"/>
                      <a:gd name="f169" fmla="*/ 0 f155 1"/>
                      <a:gd name="f170" fmla="*/ 20839 f156 1"/>
                      <a:gd name="f171" fmla="*/ 0 f156 1"/>
                      <a:gd name="f172" fmla="*/ 20839 f155 1"/>
                      <a:gd name="f173" fmla="*/ 191240 f155 1"/>
                      <a:gd name="f174" fmla="*/ 8721 f156 1"/>
                      <a:gd name="f175" fmla="*/ 199961 f155 1"/>
                      <a:gd name="f176" fmla="*/ 36105 f156 1"/>
                      <a:gd name="f177" fmla="*/ 81167 f156 1"/>
                      <a:gd name="f178" fmla="*/ 227581 f155 1"/>
                      <a:gd name="f179" fmla="*/ 108786 f156 1"/>
                      <a:gd name="f180" fmla="*/ 182519 f155 1"/>
                      <a:gd name="f181" fmla="*/ 63725 f156 1"/>
                      <a:gd name="f182" fmla="*/ 154900 f155 1"/>
                      <a:gd name="f183" fmla="*/ 17442 f156 1"/>
                      <a:gd name="f184" fmla="*/ 17442 f155 1"/>
                      <a:gd name="f185" fmla="*/ 242998 f156 1"/>
                      <a:gd name="f186" fmla="*/ 182556 f155 1"/>
                      <a:gd name="f187" fmla="*/ 192415 f156 1"/>
                      <a:gd name="f188" fmla="*/ 147354 f156 1"/>
                      <a:gd name="f189" fmla="*/ 154937 f155 1"/>
                      <a:gd name="f190" fmla="*/ 119734 f156 1"/>
                      <a:gd name="f191" fmla="*/ 199998 f155 1"/>
                      <a:gd name="f192" fmla="*/ 164796 f156 1"/>
                      <a:gd name="f193" fmla="*/ 227617 f155 1"/>
                      <a:gd name="f194" fmla="*/ 191277 f155 1"/>
                      <a:gd name="f195" fmla="*/ 49316 f155 1"/>
                      <a:gd name="f196" fmla="*/ 335873 f156 1"/>
                      <a:gd name="f197" fmla="*/ 367508 f156 1"/>
                      <a:gd name="f198" fmla="*/ 120342 f155 1"/>
                      <a:gd name="f199" fmla="*/ 343052 f156 1"/>
                      <a:gd name="f200" fmla="*/ 297990 f156 1"/>
                      <a:gd name="f201" fmla="*/ 270371 f156 1"/>
                      <a:gd name="f202" fmla="*/ 315433 f156 1"/>
                      <a:gd name="f203" fmla="*/ 376229 f156 1"/>
                      <a:gd name="f204" fmla="*/ 384950 f156 1"/>
                      <a:gd name="f205" fmla="*/ 118488 f155 1"/>
                      <a:gd name="f206" fmla="*/ 72440 f156 1"/>
                      <a:gd name="f207" fmla="*/ 171310 f155 1"/>
                      <a:gd name="f208" fmla="*/ 92370 f156 1"/>
                      <a:gd name="f209" fmla="*/ 211170 f155 1"/>
                      <a:gd name="f210" fmla="*/ 52510 f156 1"/>
                      <a:gd name="f211" fmla="*/ 156090 f156 1"/>
                      <a:gd name="f212" fmla="*/ 136150 f156 1"/>
                      <a:gd name="f213" fmla="*/ 191249 f155 1"/>
                      <a:gd name="f214" fmla="*/ 156071 f156 1"/>
                      <a:gd name="f215" fmla="*/ 176010 f156 1"/>
                      <a:gd name="f216" fmla="*/ 191231 f155 1"/>
                      <a:gd name="f217" fmla="*/ 306717 f156 1"/>
                      <a:gd name="f218" fmla="*/ 286787 f156 1"/>
                      <a:gd name="f219" fmla="*/ 326647 f156 1"/>
                      <a:gd name="f220" fmla="*/ 306744 f156 1"/>
                      <a:gd name="f221" fmla="*/ f157 1 f2"/>
                      <a:gd name="f222" fmla="*/ f160 1 384949"/>
                      <a:gd name="f223" fmla="*/ f161 1 228657"/>
                      <a:gd name="f224" fmla="*/ f162 1 384949"/>
                      <a:gd name="f225" fmla="*/ f163 1 228657"/>
                      <a:gd name="f226" fmla="*/ f164 1 384949"/>
                      <a:gd name="f227" fmla="*/ f165 1 228657"/>
                      <a:gd name="f228" fmla="*/ f166 1 384949"/>
                      <a:gd name="f229" fmla="*/ f167 1 228657"/>
                      <a:gd name="f230" fmla="*/ f168 1 384949"/>
                      <a:gd name="f231" fmla="*/ f169 1 228657"/>
                      <a:gd name="f232" fmla="*/ f170 1 384949"/>
                      <a:gd name="f233" fmla="*/ f171 1 384949"/>
                      <a:gd name="f234" fmla="*/ f172 1 228657"/>
                      <a:gd name="f235" fmla="*/ f173 1 228657"/>
                      <a:gd name="f236" fmla="*/ f174 1 384949"/>
                      <a:gd name="f237" fmla="*/ f175 1 228657"/>
                      <a:gd name="f238" fmla="*/ f176 1 384949"/>
                      <a:gd name="f239" fmla="*/ f177 1 384949"/>
                      <a:gd name="f240" fmla="*/ f178 1 228657"/>
                      <a:gd name="f241" fmla="*/ f179 1 384949"/>
                      <a:gd name="f242" fmla="*/ f180 1 228657"/>
                      <a:gd name="f243" fmla="*/ f181 1 384949"/>
                      <a:gd name="f244" fmla="*/ f182 1 228657"/>
                      <a:gd name="f245" fmla="*/ f183 1 384949"/>
                      <a:gd name="f246" fmla="*/ f184 1 228657"/>
                      <a:gd name="f247" fmla="*/ f185 1 384949"/>
                      <a:gd name="f248" fmla="*/ f186 1 228657"/>
                      <a:gd name="f249" fmla="*/ f187 1 384949"/>
                      <a:gd name="f250" fmla="*/ f188 1 384949"/>
                      <a:gd name="f251" fmla="*/ f189 1 228657"/>
                      <a:gd name="f252" fmla="*/ f190 1 384949"/>
                      <a:gd name="f253" fmla="*/ f191 1 228657"/>
                      <a:gd name="f254" fmla="*/ f192 1 384949"/>
                      <a:gd name="f255" fmla="*/ f193 1 228657"/>
                      <a:gd name="f256" fmla="*/ f194 1 228657"/>
                      <a:gd name="f257" fmla="*/ f195 1 228657"/>
                      <a:gd name="f258" fmla="*/ f196 1 384949"/>
                      <a:gd name="f259" fmla="*/ f197 1 384949"/>
                      <a:gd name="f260" fmla="*/ f198 1 228657"/>
                      <a:gd name="f261" fmla="*/ f199 1 384949"/>
                      <a:gd name="f262" fmla="*/ f200 1 384949"/>
                      <a:gd name="f263" fmla="*/ f201 1 384949"/>
                      <a:gd name="f264" fmla="*/ f202 1 384949"/>
                      <a:gd name="f265" fmla="*/ f203 1 384949"/>
                      <a:gd name="f266" fmla="*/ f204 1 384949"/>
                      <a:gd name="f267" fmla="*/ f205 1 228657"/>
                      <a:gd name="f268" fmla="*/ f206 1 384949"/>
                      <a:gd name="f269" fmla="*/ f207 1 228657"/>
                      <a:gd name="f270" fmla="*/ f208 1 384949"/>
                      <a:gd name="f271" fmla="*/ f209 1 228657"/>
                      <a:gd name="f272" fmla="*/ f210 1 384949"/>
                      <a:gd name="f273" fmla="*/ f211 1 384949"/>
                      <a:gd name="f274" fmla="*/ f212 1 384949"/>
                      <a:gd name="f275" fmla="*/ f213 1 228657"/>
                      <a:gd name="f276" fmla="*/ f214 1 384949"/>
                      <a:gd name="f277" fmla="*/ f215 1 384949"/>
                      <a:gd name="f278" fmla="*/ f216 1 228657"/>
                      <a:gd name="f279" fmla="*/ f217 1 384949"/>
                      <a:gd name="f280" fmla="*/ f218 1 384949"/>
                      <a:gd name="f281" fmla="*/ f219 1 384949"/>
                      <a:gd name="f282" fmla="*/ f220 1 384949"/>
                      <a:gd name="f283" fmla="*/ f5 1 f158"/>
                      <a:gd name="f284" fmla="*/ f6 1 f158"/>
                      <a:gd name="f285" fmla="*/ f5 1 f159"/>
                      <a:gd name="f286" fmla="*/ f7 1 f159"/>
                      <a:gd name="f287" fmla="+- f221 0 f1"/>
                      <a:gd name="f288" fmla="*/ f222 1 f158"/>
                      <a:gd name="f289" fmla="*/ f223 1 f159"/>
                      <a:gd name="f290" fmla="*/ f224 1 f158"/>
                      <a:gd name="f291" fmla="*/ f225 1 f159"/>
                      <a:gd name="f292" fmla="*/ f226 1 f158"/>
                      <a:gd name="f293" fmla="*/ f227 1 f159"/>
                      <a:gd name="f294" fmla="*/ f228 1 f158"/>
                      <a:gd name="f295" fmla="*/ f229 1 f159"/>
                      <a:gd name="f296" fmla="*/ f230 1 f158"/>
                      <a:gd name="f297" fmla="*/ f231 1 f159"/>
                      <a:gd name="f298" fmla="*/ f232 1 f158"/>
                      <a:gd name="f299" fmla="*/ f233 1 f158"/>
                      <a:gd name="f300" fmla="*/ f234 1 f159"/>
                      <a:gd name="f301" fmla="*/ f235 1 f159"/>
                      <a:gd name="f302" fmla="*/ f236 1 f158"/>
                      <a:gd name="f303" fmla="*/ f237 1 f159"/>
                      <a:gd name="f304" fmla="*/ f238 1 f158"/>
                      <a:gd name="f305" fmla="*/ f239 1 f158"/>
                      <a:gd name="f306" fmla="*/ f240 1 f159"/>
                      <a:gd name="f307" fmla="*/ f241 1 f158"/>
                      <a:gd name="f308" fmla="*/ f242 1 f159"/>
                      <a:gd name="f309" fmla="*/ f243 1 f158"/>
                      <a:gd name="f310" fmla="*/ f244 1 f159"/>
                      <a:gd name="f311" fmla="*/ f245 1 f158"/>
                      <a:gd name="f312" fmla="*/ f246 1 f159"/>
                      <a:gd name="f313" fmla="*/ f247 1 f158"/>
                      <a:gd name="f314" fmla="*/ f248 1 f159"/>
                      <a:gd name="f315" fmla="*/ f249 1 f158"/>
                      <a:gd name="f316" fmla="*/ f250 1 f158"/>
                      <a:gd name="f317" fmla="*/ f251 1 f159"/>
                      <a:gd name="f318" fmla="*/ f252 1 f158"/>
                      <a:gd name="f319" fmla="*/ f253 1 f159"/>
                      <a:gd name="f320" fmla="*/ f254 1 f158"/>
                      <a:gd name="f321" fmla="*/ f255 1 f159"/>
                      <a:gd name="f322" fmla="*/ f256 1 f159"/>
                      <a:gd name="f323" fmla="*/ f257 1 f159"/>
                      <a:gd name="f324" fmla="*/ f258 1 f158"/>
                      <a:gd name="f325" fmla="*/ f259 1 f158"/>
                      <a:gd name="f326" fmla="*/ f260 1 f159"/>
                      <a:gd name="f327" fmla="*/ f261 1 f158"/>
                      <a:gd name="f328" fmla="*/ f262 1 f158"/>
                      <a:gd name="f329" fmla="*/ f263 1 f158"/>
                      <a:gd name="f330" fmla="*/ f264 1 f158"/>
                      <a:gd name="f331" fmla="*/ f265 1 f158"/>
                      <a:gd name="f332" fmla="*/ f266 1 f158"/>
                      <a:gd name="f333" fmla="*/ f267 1 f159"/>
                      <a:gd name="f334" fmla="*/ f268 1 f158"/>
                      <a:gd name="f335" fmla="*/ f269 1 f159"/>
                      <a:gd name="f336" fmla="*/ f270 1 f158"/>
                      <a:gd name="f337" fmla="*/ f271 1 f159"/>
                      <a:gd name="f338" fmla="*/ f272 1 f158"/>
                      <a:gd name="f339" fmla="*/ f273 1 f158"/>
                      <a:gd name="f340" fmla="*/ f274 1 f158"/>
                      <a:gd name="f341" fmla="*/ f275 1 f159"/>
                      <a:gd name="f342" fmla="*/ f276 1 f158"/>
                      <a:gd name="f343" fmla="*/ f277 1 f158"/>
                      <a:gd name="f344" fmla="*/ f278 1 f159"/>
                      <a:gd name="f345" fmla="*/ f279 1 f158"/>
                      <a:gd name="f346" fmla="*/ f280 1 f158"/>
                      <a:gd name="f347" fmla="*/ f281 1 f158"/>
                      <a:gd name="f348" fmla="*/ f282 1 f158"/>
                      <a:gd name="f349" fmla="*/ f283 f153 1"/>
                      <a:gd name="f350" fmla="*/ f284 f153 1"/>
                      <a:gd name="f351" fmla="*/ f286 f154 1"/>
                      <a:gd name="f352" fmla="*/ f285 f154 1"/>
                      <a:gd name="f353" fmla="*/ f288 f153 1"/>
                      <a:gd name="f354" fmla="*/ f289 f154 1"/>
                      <a:gd name="f355" fmla="*/ f290 f153 1"/>
                      <a:gd name="f356" fmla="*/ f291 f154 1"/>
                      <a:gd name="f357" fmla="*/ f292 f153 1"/>
                      <a:gd name="f358" fmla="*/ f293 f154 1"/>
                      <a:gd name="f359" fmla="*/ f294 f153 1"/>
                      <a:gd name="f360" fmla="*/ f295 f154 1"/>
                      <a:gd name="f361" fmla="*/ f296 f153 1"/>
                      <a:gd name="f362" fmla="*/ f297 f154 1"/>
                      <a:gd name="f363" fmla="*/ f298 f153 1"/>
                      <a:gd name="f364" fmla="*/ f299 f153 1"/>
                      <a:gd name="f365" fmla="*/ f300 f154 1"/>
                      <a:gd name="f366" fmla="*/ f301 f154 1"/>
                      <a:gd name="f367" fmla="*/ f302 f153 1"/>
                      <a:gd name="f368" fmla="*/ f303 f154 1"/>
                      <a:gd name="f369" fmla="*/ f304 f153 1"/>
                      <a:gd name="f370" fmla="*/ f305 f153 1"/>
                      <a:gd name="f371" fmla="*/ f306 f154 1"/>
                      <a:gd name="f372" fmla="*/ f307 f153 1"/>
                      <a:gd name="f373" fmla="*/ f308 f154 1"/>
                      <a:gd name="f374" fmla="*/ f309 f153 1"/>
                      <a:gd name="f375" fmla="*/ f310 f154 1"/>
                      <a:gd name="f376" fmla="*/ f311 f153 1"/>
                      <a:gd name="f377" fmla="*/ f312 f154 1"/>
                      <a:gd name="f378" fmla="*/ f313 f153 1"/>
                      <a:gd name="f379" fmla="*/ f314 f154 1"/>
                      <a:gd name="f380" fmla="*/ f315 f153 1"/>
                      <a:gd name="f381" fmla="*/ f316 f153 1"/>
                      <a:gd name="f382" fmla="*/ f317 f154 1"/>
                      <a:gd name="f383" fmla="*/ f318 f153 1"/>
                      <a:gd name="f384" fmla="*/ f319 f154 1"/>
                      <a:gd name="f385" fmla="*/ f320 f153 1"/>
                      <a:gd name="f386" fmla="*/ f321 f154 1"/>
                      <a:gd name="f387" fmla="*/ f322 f154 1"/>
                      <a:gd name="f388" fmla="*/ f323 f154 1"/>
                      <a:gd name="f389" fmla="*/ f324 f153 1"/>
                      <a:gd name="f390" fmla="*/ f325 f153 1"/>
                      <a:gd name="f391" fmla="*/ f326 f154 1"/>
                      <a:gd name="f392" fmla="*/ f327 f153 1"/>
                      <a:gd name="f393" fmla="*/ f328 f153 1"/>
                      <a:gd name="f394" fmla="*/ f329 f153 1"/>
                      <a:gd name="f395" fmla="*/ f330 f153 1"/>
                      <a:gd name="f396" fmla="*/ f331 f153 1"/>
                      <a:gd name="f397" fmla="*/ f332 f153 1"/>
                      <a:gd name="f398" fmla="*/ f333 f154 1"/>
                      <a:gd name="f399" fmla="*/ f334 f153 1"/>
                      <a:gd name="f400" fmla="*/ f335 f154 1"/>
                      <a:gd name="f401" fmla="*/ f336 f153 1"/>
                      <a:gd name="f402" fmla="*/ f337 f154 1"/>
                      <a:gd name="f403" fmla="*/ f338 f153 1"/>
                      <a:gd name="f404" fmla="*/ f339 f153 1"/>
                      <a:gd name="f405" fmla="*/ f340 f153 1"/>
                      <a:gd name="f406" fmla="*/ f341 f154 1"/>
                      <a:gd name="f407" fmla="*/ f342 f153 1"/>
                      <a:gd name="f408" fmla="*/ f343 f153 1"/>
                      <a:gd name="f409" fmla="*/ f344 f154 1"/>
                      <a:gd name="f410" fmla="*/ f345 f153 1"/>
                      <a:gd name="f411" fmla="*/ f346 f153 1"/>
                      <a:gd name="f412" fmla="*/ f347 f153 1"/>
                      <a:gd name="f413" fmla="*/ f348 f153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287">
                        <a:pos x="f353" y="f354"/>
                      </a:cxn>
                      <a:cxn ang="f287">
                        <a:pos x="f355" y="f356"/>
                      </a:cxn>
                      <a:cxn ang="f287">
                        <a:pos x="f357" y="f358"/>
                      </a:cxn>
                      <a:cxn ang="f287">
                        <a:pos x="f359" y="f358"/>
                      </a:cxn>
                      <a:cxn ang="f287">
                        <a:pos x="f359" y="f360"/>
                      </a:cxn>
                      <a:cxn ang="f287">
                        <a:pos x="f361" y="f362"/>
                      </a:cxn>
                      <a:cxn ang="f287">
                        <a:pos x="f363" y="f362"/>
                      </a:cxn>
                      <a:cxn ang="f287">
                        <a:pos x="f364" y="f365"/>
                      </a:cxn>
                      <a:cxn ang="f287">
                        <a:pos x="f364" y="f366"/>
                      </a:cxn>
                      <a:cxn ang="f287">
                        <a:pos x="f367" y="f368"/>
                      </a:cxn>
                      <a:cxn ang="f287">
                        <a:pos x="f369" y="f368"/>
                      </a:cxn>
                      <a:cxn ang="f287">
                        <a:pos x="f370" y="f371"/>
                      </a:cxn>
                      <a:cxn ang="f287">
                        <a:pos x="f372" y="f373"/>
                      </a:cxn>
                      <a:cxn ang="f287">
                        <a:pos x="f374" y="f375"/>
                      </a:cxn>
                      <a:cxn ang="f287">
                        <a:pos x="f369" y="f373"/>
                      </a:cxn>
                      <a:cxn ang="f287">
                        <a:pos x="f376" y="f373"/>
                      </a:cxn>
                      <a:cxn ang="f287">
                        <a:pos x="f376" y="f365"/>
                      </a:cxn>
                      <a:cxn ang="f287">
                        <a:pos x="f363" y="f377"/>
                      </a:cxn>
                      <a:cxn ang="f287">
                        <a:pos x="f378" y="f377"/>
                      </a:cxn>
                      <a:cxn ang="f287">
                        <a:pos x="f378" y="f379"/>
                      </a:cxn>
                      <a:cxn ang="f287">
                        <a:pos x="f380" y="f379"/>
                      </a:cxn>
                      <a:cxn ang="f287">
                        <a:pos x="f381" y="f382"/>
                      </a:cxn>
                      <a:cxn ang="f287">
                        <a:pos x="f383" y="f384"/>
                      </a:cxn>
                      <a:cxn ang="f287">
                        <a:pos x="f385" y="f386"/>
                      </a:cxn>
                      <a:cxn ang="f287">
                        <a:pos x="f380" y="f384"/>
                      </a:cxn>
                      <a:cxn ang="f287">
                        <a:pos x="f361" y="f384"/>
                      </a:cxn>
                      <a:cxn ang="f287">
                        <a:pos x="f359" y="f387"/>
                      </a:cxn>
                      <a:cxn ang="f287">
                        <a:pos x="f359" y="f388"/>
                      </a:cxn>
                      <a:cxn ang="f287">
                        <a:pos x="f389" y="f388"/>
                      </a:cxn>
                      <a:cxn ang="f287">
                        <a:pos x="f390" y="f391"/>
                      </a:cxn>
                      <a:cxn ang="f287">
                        <a:pos x="f390" y="f379"/>
                      </a:cxn>
                      <a:cxn ang="f287">
                        <a:pos x="f392" y="f379"/>
                      </a:cxn>
                      <a:cxn ang="f287">
                        <a:pos x="f393" y="f382"/>
                      </a:cxn>
                      <a:cxn ang="f287">
                        <a:pos x="f394" y="f384"/>
                      </a:cxn>
                      <a:cxn ang="f287">
                        <a:pos x="f395" y="f386"/>
                      </a:cxn>
                      <a:cxn ang="f287">
                        <a:pos x="f392" y="f384"/>
                      </a:cxn>
                      <a:cxn ang="f287">
                        <a:pos x="f396" y="f384"/>
                      </a:cxn>
                      <a:cxn ang="f287">
                        <a:pos x="f397" y="f387"/>
                      </a:cxn>
                      <a:cxn ang="f287">
                        <a:pos x="f397" y="f398"/>
                      </a:cxn>
                      <a:cxn ang="f287">
                        <a:pos x="f353" y="f354"/>
                      </a:cxn>
                      <a:cxn ang="f287">
                        <a:pos x="f399" y="f400"/>
                      </a:cxn>
                      <a:cxn ang="f287">
                        <a:pos x="f401" y="f366"/>
                      </a:cxn>
                      <a:cxn ang="f287">
                        <a:pos x="f399" y="f402"/>
                      </a:cxn>
                      <a:cxn ang="f287">
                        <a:pos x="f403" y="f366"/>
                      </a:cxn>
                      <a:cxn ang="f287">
                        <a:pos x="f399" y="f400"/>
                      </a:cxn>
                      <a:cxn ang="f287">
                        <a:pos x="f404" y="f402"/>
                      </a:cxn>
                      <a:cxn ang="f287">
                        <a:pos x="f405" y="f406"/>
                      </a:cxn>
                      <a:cxn ang="f287">
                        <a:pos x="f407" y="f400"/>
                      </a:cxn>
                      <a:cxn ang="f287">
                        <a:pos x="f408" y="f409"/>
                      </a:cxn>
                      <a:cxn ang="f287">
                        <a:pos x="f408" y="f366"/>
                      </a:cxn>
                      <a:cxn ang="f287">
                        <a:pos x="f404" y="f402"/>
                      </a:cxn>
                      <a:cxn ang="f287">
                        <a:pos x="f410" y="f402"/>
                      </a:cxn>
                      <a:cxn ang="f287">
                        <a:pos x="f411" y="f366"/>
                      </a:cxn>
                      <a:cxn ang="f287">
                        <a:pos x="f410" y="f400"/>
                      </a:cxn>
                      <a:cxn ang="f287">
                        <a:pos x="f412" y="f366"/>
                      </a:cxn>
                      <a:cxn ang="f287">
                        <a:pos x="f413" y="f402"/>
                      </a:cxn>
                    </a:cxnLst>
                    <a:rect l="f349" t="f352" r="f350" b="f351"/>
                    <a:pathLst>
                      <a:path w="384949" h="228657">
                        <a:moveTo>
                          <a:pt x="f8" y="f9"/>
                        </a:moveTo>
                        <a:lnTo>
                          <a:pt x="f10" y="f11"/>
                        </a:lnTo>
                        <a:cubicBezTo>
                          <a:pt x="f12" y="f13"/>
                          <a:pt x="f14" y="f15"/>
                          <a:pt x="f16" y="f17"/>
                        </a:cubicBezTo>
                        <a:lnTo>
                          <a:pt x="f18" y="f17"/>
                        </a:lnTo>
                        <a:lnTo>
                          <a:pt x="f18" y="f19"/>
                        </a:lnTo>
                        <a:cubicBezTo>
                          <a:pt x="f18" y="f20"/>
                          <a:pt x="f21" y="f5"/>
                          <a:pt x="f22" y="f5"/>
                        </a:cubicBezTo>
                        <a:lnTo>
                          <a:pt x="f23" y="f5"/>
                        </a:lnTo>
                        <a:cubicBezTo>
                          <a:pt x="f24" y="f25"/>
                          <a:pt x="f25" y="f24"/>
                          <a:pt x="f5" y="f23"/>
                        </a:cubicBezTo>
                        <a:lnTo>
                          <a:pt x="f5" y="f26"/>
                        </a:lnTo>
                        <a:cubicBezTo>
                          <a:pt x="f5" y="f27"/>
                          <a:pt x="f28" y="f29"/>
                          <a:pt x="f19" y="f29"/>
                        </a:cubicBezTo>
                        <a:lnTo>
                          <a:pt x="f30" y="f29"/>
                        </a:lnTo>
                        <a:cubicBezTo>
                          <a:pt x="f31" y="f32"/>
                          <a:pt x="f33" y="f34"/>
                          <a:pt x="f35" y="f36"/>
                        </a:cubicBezTo>
                        <a:cubicBezTo>
                          <a:pt x="f37" y="f38"/>
                          <a:pt x="f39" y="f40"/>
                          <a:pt x="f41" y="f42"/>
                        </a:cubicBezTo>
                        <a:cubicBezTo>
                          <a:pt x="f43" y="f44"/>
                          <a:pt x="f45" y="f46"/>
                          <a:pt x="f47" y="f48"/>
                        </a:cubicBezTo>
                        <a:cubicBezTo>
                          <a:pt x="f49" y="f50"/>
                          <a:pt x="f51" y="f52"/>
                          <a:pt x="f30" y="f42"/>
                        </a:cubicBezTo>
                        <a:lnTo>
                          <a:pt x="f53" y="f42"/>
                        </a:lnTo>
                        <a:lnTo>
                          <a:pt x="f53" y="f23"/>
                        </a:lnTo>
                        <a:cubicBezTo>
                          <a:pt x="f53" y="f54"/>
                          <a:pt x="f54" y="f53"/>
                          <a:pt x="f23" y="f53"/>
                        </a:cubicBezTo>
                        <a:lnTo>
                          <a:pt x="f55" y="f53"/>
                        </a:lnTo>
                        <a:lnTo>
                          <a:pt x="f55" y="f56"/>
                        </a:lnTo>
                        <a:lnTo>
                          <a:pt x="f57" y="f56"/>
                        </a:lnTo>
                        <a:cubicBezTo>
                          <a:pt x="f58" y="f59"/>
                          <a:pt x="f60" y="f61"/>
                          <a:pt x="f62" y="f63"/>
                        </a:cubicBezTo>
                        <a:cubicBezTo>
                          <a:pt x="f64" y="f65"/>
                          <a:pt x="f66" y="f67"/>
                          <a:pt x="f68" y="f69"/>
                        </a:cubicBezTo>
                        <a:cubicBezTo>
                          <a:pt x="f70" y="f71"/>
                          <a:pt x="f72" y="f73"/>
                          <a:pt x="f74" y="f75"/>
                        </a:cubicBezTo>
                        <a:cubicBezTo>
                          <a:pt x="f76" y="f77"/>
                          <a:pt x="f78" y="f79"/>
                          <a:pt x="f57" y="f69"/>
                        </a:cubicBezTo>
                        <a:lnTo>
                          <a:pt x="f22" y="f69"/>
                        </a:lnTo>
                        <a:cubicBezTo>
                          <a:pt x="f21" y="f69"/>
                          <a:pt x="f18" y="f80"/>
                          <a:pt x="f18" y="f81"/>
                        </a:cubicBezTo>
                        <a:lnTo>
                          <a:pt x="f18" y="f82"/>
                        </a:lnTo>
                        <a:lnTo>
                          <a:pt x="f83" y="f82"/>
                        </a:lnTo>
                        <a:lnTo>
                          <a:pt x="f84" y="f85"/>
                        </a:lnTo>
                        <a:lnTo>
                          <a:pt x="f84" y="f56"/>
                        </a:lnTo>
                        <a:lnTo>
                          <a:pt x="f86" y="f56"/>
                        </a:lnTo>
                        <a:cubicBezTo>
                          <a:pt x="f87" y="f59"/>
                          <a:pt x="f88" y="f61"/>
                          <a:pt x="f89" y="f63"/>
                        </a:cubicBezTo>
                        <a:cubicBezTo>
                          <a:pt x="f90" y="f65"/>
                          <a:pt x="f91" y="f67"/>
                          <a:pt x="f92" y="f69"/>
                        </a:cubicBezTo>
                        <a:cubicBezTo>
                          <a:pt x="f93" y="f71"/>
                          <a:pt x="f94" y="f73"/>
                          <a:pt x="f95" y="f75"/>
                        </a:cubicBezTo>
                        <a:cubicBezTo>
                          <a:pt x="f96" y="f77"/>
                          <a:pt x="f97" y="f79"/>
                          <a:pt x="f86" y="f69"/>
                        </a:cubicBezTo>
                        <a:lnTo>
                          <a:pt x="f98" y="f69"/>
                        </a:lnTo>
                        <a:cubicBezTo>
                          <a:pt x="f99" y="f69"/>
                          <a:pt x="f100" y="f80"/>
                          <a:pt x="f100" y="f81"/>
                        </a:cubicBezTo>
                        <a:lnTo>
                          <a:pt x="f100" y="f101"/>
                        </a:lnTo>
                        <a:cubicBezTo>
                          <a:pt x="f100" y="f102"/>
                          <a:pt x="f103" y="f104"/>
                          <a:pt x="f8" y="f9"/>
                        </a:cubicBezTo>
                        <a:close/>
                        <a:moveTo>
                          <a:pt x="f105" y="f106"/>
                        </a:moveTo>
                        <a:cubicBezTo>
                          <a:pt x="f107" y="f106"/>
                          <a:pt x="f108" y="f109"/>
                          <a:pt x="f108" y="f26"/>
                        </a:cubicBezTo>
                        <a:cubicBezTo>
                          <a:pt x="f108" y="f110"/>
                          <a:pt x="f107" y="f111"/>
                          <a:pt x="f105" y="f111"/>
                        </a:cubicBezTo>
                        <a:cubicBezTo>
                          <a:pt x="f112" y="f111"/>
                          <a:pt x="f113" y="f110"/>
                          <a:pt x="f113" y="f26"/>
                        </a:cubicBezTo>
                        <a:cubicBezTo>
                          <a:pt x="f114" y="f115"/>
                          <a:pt x="f116" y="f117"/>
                          <a:pt x="f105" y="f106"/>
                        </a:cubicBezTo>
                        <a:close/>
                        <a:moveTo>
                          <a:pt x="f118" y="f111"/>
                        </a:moveTo>
                        <a:cubicBezTo>
                          <a:pt x="f119" y="f120"/>
                          <a:pt x="f121" y="f122"/>
                          <a:pt x="f123" y="f124"/>
                        </a:cubicBezTo>
                        <a:cubicBezTo>
                          <a:pt x="f125" y="f126"/>
                          <a:pt x="f127" y="f128"/>
                          <a:pt x="f129" y="f106"/>
                        </a:cubicBezTo>
                        <a:cubicBezTo>
                          <a:pt x="f130" y="f131"/>
                          <a:pt x="f132" y="f133"/>
                          <a:pt x="f134" y="f135"/>
                        </a:cubicBezTo>
                        <a:cubicBezTo>
                          <a:pt x="f134" y="f136"/>
                          <a:pt x="f134" y="f137"/>
                          <a:pt x="f134" y="f26"/>
                        </a:cubicBezTo>
                        <a:cubicBezTo>
                          <a:pt x="f138" y="f139"/>
                          <a:pt x="f140" y="f141"/>
                          <a:pt x="f118" y="f111"/>
                        </a:cubicBezTo>
                        <a:close/>
                        <a:moveTo>
                          <a:pt x="f142" y="f111"/>
                        </a:moveTo>
                        <a:cubicBezTo>
                          <a:pt x="f143" y="f111"/>
                          <a:pt x="f144" y="f110"/>
                          <a:pt x="f144" y="f26"/>
                        </a:cubicBezTo>
                        <a:cubicBezTo>
                          <a:pt x="f144" y="f109"/>
                          <a:pt x="f143" y="f106"/>
                          <a:pt x="f142" y="f106"/>
                        </a:cubicBezTo>
                        <a:cubicBezTo>
                          <a:pt x="f145" y="f106"/>
                          <a:pt x="f146" y="f109"/>
                          <a:pt x="f146" y="f26"/>
                        </a:cubicBezTo>
                        <a:cubicBezTo>
                          <a:pt x="f147" y="f148"/>
                          <a:pt x="f149" y="f150"/>
                          <a:pt x="f151" y="f11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</p:grpSp>
            <p:sp>
              <p:nvSpPr>
                <p:cNvPr id="105" name="Rectangle 82">
                  <a:extLst>
                    <a:ext uri="{FF2B5EF4-FFF2-40B4-BE49-F238E27FC236}">
                      <a16:creationId xmlns:a16="http://schemas.microsoft.com/office/drawing/2014/main" id="{96104E36-31B5-7A0A-FE9A-130484E2D327}"/>
                    </a:ext>
                  </a:extLst>
                </p:cNvPr>
                <p:cNvSpPr/>
                <p:nvPr/>
              </p:nvSpPr>
              <p:spPr>
                <a:xfrm flipH="1">
                  <a:off x="8240883" y="5953704"/>
                  <a:ext cx="180859" cy="121999"/>
                </a:xfrm>
                <a:prstGeom prst="rect">
                  <a:avLst/>
                </a:prstGeom>
                <a:solidFill>
                  <a:srgbClr val="A9CAE4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cxnSp>
              <p:nvCxnSpPr>
                <p:cNvPr id="106" name="Straight Connector 83">
                  <a:extLst>
                    <a:ext uri="{FF2B5EF4-FFF2-40B4-BE49-F238E27FC236}">
                      <a16:creationId xmlns:a16="http://schemas.microsoft.com/office/drawing/2014/main" id="{2105A734-2A6C-F6AF-FF7D-8F47927DB755}"/>
                    </a:ext>
                  </a:extLst>
                </p:cNvPr>
                <p:cNvCxnSpPr/>
                <p:nvPr/>
              </p:nvCxnSpPr>
              <p:spPr>
                <a:xfrm>
                  <a:off x="8239850" y="6077907"/>
                  <a:ext cx="174906" cy="0"/>
                </a:xfrm>
                <a:prstGeom prst="straightConnector1">
                  <a:avLst/>
                </a:prstGeom>
                <a:noFill/>
                <a:ln w="12701" cap="rnd">
                  <a:solidFill>
                    <a:srgbClr val="FFFFFF"/>
                  </a:solidFill>
                  <a:prstDash val="solid"/>
                  <a:round/>
                </a:ln>
              </p:spPr>
            </p:cxnSp>
            <p:sp>
              <p:nvSpPr>
                <p:cNvPr id="107" name="Graphic 51">
                  <a:extLst>
                    <a:ext uri="{FF2B5EF4-FFF2-40B4-BE49-F238E27FC236}">
                      <a16:creationId xmlns:a16="http://schemas.microsoft.com/office/drawing/2014/main" id="{5813B936-788D-AB08-35E9-7F26C6CEBA61}"/>
                    </a:ext>
                  </a:extLst>
                </p:cNvPr>
                <p:cNvSpPr/>
                <p:nvPr/>
              </p:nvSpPr>
              <p:spPr>
                <a:xfrm flipH="1">
                  <a:off x="8256757" y="6006419"/>
                  <a:ext cx="59893" cy="6022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2"/>
                    <a:gd name="f9" fmla="val 53340"/>
                    <a:gd name="f10" fmla="val 120967"/>
                    <a:gd name="f11" fmla="val 120015"/>
                    <a:gd name="f12" fmla="val 147638"/>
                    <a:gd name="f13" fmla="val 162877"/>
                    <a:gd name="f14" fmla="val 12382"/>
                    <a:gd name="f15" fmla="val 26670"/>
                    <a:gd name="f16" fmla="val 175260"/>
                    <a:gd name="f17" fmla="val 11430"/>
                    <a:gd name="f18" fmla="val 161925"/>
                    <a:gd name="f19" fmla="+- 0 0 -90"/>
                    <a:gd name="f20" fmla="*/ f3 1 174307"/>
                    <a:gd name="f21" fmla="*/ f4 1 175259"/>
                    <a:gd name="f22" fmla="+- f7 0 f5"/>
                    <a:gd name="f23" fmla="+- f6 0 f5"/>
                    <a:gd name="f24" fmla="*/ f19 f0 1"/>
                    <a:gd name="f25" fmla="*/ f23 1 174307"/>
                    <a:gd name="f26" fmla="*/ f22 1 175259"/>
                    <a:gd name="f27" fmla="*/ 54292 f23 1"/>
                    <a:gd name="f28" fmla="*/ 53340 f22 1"/>
                    <a:gd name="f29" fmla="*/ 120967 f23 1"/>
                    <a:gd name="f30" fmla="*/ 120015 f22 1"/>
                    <a:gd name="f31" fmla="*/ 0 f23 1"/>
                    <a:gd name="f32" fmla="*/ 147638 f22 1"/>
                    <a:gd name="f33" fmla="*/ 26670 f23 1"/>
                    <a:gd name="f34" fmla="*/ 175260 f22 1"/>
                    <a:gd name="f35" fmla="*/ 147638 f23 1"/>
                    <a:gd name="f36" fmla="*/ 174307 f23 1"/>
                    <a:gd name="f37" fmla="*/ 26670 f22 1"/>
                    <a:gd name="f38" fmla="*/ 0 f22 1"/>
                    <a:gd name="f39" fmla="*/ f24 1 f2"/>
                    <a:gd name="f40" fmla="*/ f27 1 174307"/>
                    <a:gd name="f41" fmla="*/ f28 1 175259"/>
                    <a:gd name="f42" fmla="*/ f29 1 174307"/>
                    <a:gd name="f43" fmla="*/ f30 1 175259"/>
                    <a:gd name="f44" fmla="*/ f31 1 174307"/>
                    <a:gd name="f45" fmla="*/ f32 1 175259"/>
                    <a:gd name="f46" fmla="*/ f33 1 174307"/>
                    <a:gd name="f47" fmla="*/ f34 1 175259"/>
                    <a:gd name="f48" fmla="*/ f35 1 174307"/>
                    <a:gd name="f49" fmla="*/ f36 1 174307"/>
                    <a:gd name="f50" fmla="*/ f37 1 175259"/>
                    <a:gd name="f51" fmla="*/ f38 1 175259"/>
                    <a:gd name="f52" fmla="*/ f5 1 f25"/>
                    <a:gd name="f53" fmla="*/ f6 1 f25"/>
                    <a:gd name="f54" fmla="*/ f5 1 f26"/>
                    <a:gd name="f55" fmla="*/ f7 1 f26"/>
                    <a:gd name="f56" fmla="+- f39 0 f1"/>
                    <a:gd name="f57" fmla="*/ f40 1 f25"/>
                    <a:gd name="f58" fmla="*/ f41 1 f26"/>
                    <a:gd name="f59" fmla="*/ f42 1 f25"/>
                    <a:gd name="f60" fmla="*/ f43 1 f26"/>
                    <a:gd name="f61" fmla="*/ f44 1 f25"/>
                    <a:gd name="f62" fmla="*/ f45 1 f26"/>
                    <a:gd name="f63" fmla="*/ f46 1 f25"/>
                    <a:gd name="f64" fmla="*/ f47 1 f26"/>
                    <a:gd name="f65" fmla="*/ f48 1 f25"/>
                    <a:gd name="f66" fmla="*/ f49 1 f25"/>
                    <a:gd name="f67" fmla="*/ f50 1 f26"/>
                    <a:gd name="f68" fmla="*/ f51 1 f26"/>
                    <a:gd name="f69" fmla="*/ f52 f20 1"/>
                    <a:gd name="f70" fmla="*/ f53 f20 1"/>
                    <a:gd name="f71" fmla="*/ f55 f21 1"/>
                    <a:gd name="f72" fmla="*/ f54 f21 1"/>
                    <a:gd name="f73" fmla="*/ f57 f20 1"/>
                    <a:gd name="f74" fmla="*/ f58 f21 1"/>
                    <a:gd name="f75" fmla="*/ f59 f20 1"/>
                    <a:gd name="f76" fmla="*/ f60 f21 1"/>
                    <a:gd name="f77" fmla="*/ f61 f20 1"/>
                    <a:gd name="f78" fmla="*/ f62 f21 1"/>
                    <a:gd name="f79" fmla="*/ f63 f20 1"/>
                    <a:gd name="f80" fmla="*/ f64 f21 1"/>
                    <a:gd name="f81" fmla="*/ f65 f20 1"/>
                    <a:gd name="f82" fmla="*/ f66 f20 1"/>
                    <a:gd name="f83" fmla="*/ f67 f21 1"/>
                    <a:gd name="f84" fmla="*/ f68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3" y="f74"/>
                    </a:cxn>
                    <a:cxn ang="f56">
                      <a:pos x="f75" y="f74"/>
                    </a:cxn>
                    <a:cxn ang="f56">
                      <a:pos x="f75" y="f76"/>
                    </a:cxn>
                    <a:cxn ang="f56">
                      <a:pos x="f73" y="f76"/>
                    </a:cxn>
                    <a:cxn ang="f56">
                      <a:pos x="f73" y="f74"/>
                    </a:cxn>
                    <a:cxn ang="f56">
                      <a:pos x="f77" y="f78"/>
                    </a:cxn>
                    <a:cxn ang="f56">
                      <a:pos x="f79" y="f80"/>
                    </a:cxn>
                    <a:cxn ang="f56">
                      <a:pos x="f79" y="f80"/>
                    </a:cxn>
                    <a:cxn ang="f56">
                      <a:pos x="f81" y="f80"/>
                    </a:cxn>
                    <a:cxn ang="f56">
                      <a:pos x="f82" y="f78"/>
                    </a:cxn>
                    <a:cxn ang="f56">
                      <a:pos x="f82" y="f83"/>
                    </a:cxn>
                    <a:cxn ang="f56">
                      <a:pos x="f81" y="f84"/>
                    </a:cxn>
                    <a:cxn ang="f56">
                      <a:pos x="f79" y="f84"/>
                    </a:cxn>
                    <a:cxn ang="f56">
                      <a:pos x="f77" y="f83"/>
                    </a:cxn>
                    <a:cxn ang="f56">
                      <a:pos x="f77" y="f78"/>
                    </a:cxn>
                  </a:cxnLst>
                  <a:rect l="f69" t="f72" r="f70" b="f71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5" y="f16"/>
                      </a:lnTo>
                      <a:lnTo>
                        <a:pt x="f12" y="f16"/>
                      </a:lnTo>
                      <a:cubicBezTo>
                        <a:pt x="f13" y="f16"/>
                        <a:pt x="f6" y="f13"/>
                        <a:pt x="f6" y="f12"/>
                      </a:cubicBezTo>
                      <a:lnTo>
                        <a:pt x="f6" y="f15"/>
                      </a:lnTo>
                      <a:cubicBezTo>
                        <a:pt x="f6" y="f17"/>
                        <a:pt x="f18" y="f5"/>
                        <a:pt x="f12" y="f5"/>
                      </a:cubicBezTo>
                      <a:lnTo>
                        <a:pt x="f15" y="f5"/>
                      </a:lnTo>
                      <a:cubicBezTo>
                        <a:pt x="f17" y="f5"/>
                        <a:pt x="f5" y="f14"/>
                        <a:pt x="f5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08" name="Graphic 51">
                  <a:extLst>
                    <a:ext uri="{FF2B5EF4-FFF2-40B4-BE49-F238E27FC236}">
                      <a16:creationId xmlns:a16="http://schemas.microsoft.com/office/drawing/2014/main" id="{D8484086-8C10-FE36-9B81-6AD6D04A9B92}"/>
                    </a:ext>
                  </a:extLst>
                </p:cNvPr>
                <p:cNvSpPr/>
                <p:nvPr/>
              </p:nvSpPr>
              <p:spPr>
                <a:xfrm flipH="1">
                  <a:off x="8323426" y="6006419"/>
                  <a:ext cx="59893" cy="6022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74307"/>
                    <a:gd name="f7" fmla="val 175259"/>
                    <a:gd name="f8" fmla="val 54292"/>
                    <a:gd name="f9" fmla="val 53340"/>
                    <a:gd name="f10" fmla="val 120967"/>
                    <a:gd name="f11" fmla="val 120015"/>
                    <a:gd name="f12" fmla="val 147638"/>
                    <a:gd name="f13" fmla="val 162877"/>
                    <a:gd name="f14" fmla="val 12382"/>
                    <a:gd name="f15" fmla="val 26670"/>
                    <a:gd name="f16" fmla="val 175260"/>
                    <a:gd name="f17" fmla="val 11430"/>
                    <a:gd name="f18" fmla="val 161925"/>
                    <a:gd name="f19" fmla="+- 0 0 -90"/>
                    <a:gd name="f20" fmla="*/ f3 1 174307"/>
                    <a:gd name="f21" fmla="*/ f4 1 175259"/>
                    <a:gd name="f22" fmla="+- f7 0 f5"/>
                    <a:gd name="f23" fmla="+- f6 0 f5"/>
                    <a:gd name="f24" fmla="*/ f19 f0 1"/>
                    <a:gd name="f25" fmla="*/ f23 1 174307"/>
                    <a:gd name="f26" fmla="*/ f22 1 175259"/>
                    <a:gd name="f27" fmla="*/ 54292 f23 1"/>
                    <a:gd name="f28" fmla="*/ 53340 f22 1"/>
                    <a:gd name="f29" fmla="*/ 120967 f23 1"/>
                    <a:gd name="f30" fmla="*/ 120015 f22 1"/>
                    <a:gd name="f31" fmla="*/ 0 f23 1"/>
                    <a:gd name="f32" fmla="*/ 147638 f22 1"/>
                    <a:gd name="f33" fmla="*/ 26670 f23 1"/>
                    <a:gd name="f34" fmla="*/ 175260 f22 1"/>
                    <a:gd name="f35" fmla="*/ 147638 f23 1"/>
                    <a:gd name="f36" fmla="*/ 174307 f23 1"/>
                    <a:gd name="f37" fmla="*/ 26670 f22 1"/>
                    <a:gd name="f38" fmla="*/ 0 f22 1"/>
                    <a:gd name="f39" fmla="*/ f24 1 f2"/>
                    <a:gd name="f40" fmla="*/ f27 1 174307"/>
                    <a:gd name="f41" fmla="*/ f28 1 175259"/>
                    <a:gd name="f42" fmla="*/ f29 1 174307"/>
                    <a:gd name="f43" fmla="*/ f30 1 175259"/>
                    <a:gd name="f44" fmla="*/ f31 1 174307"/>
                    <a:gd name="f45" fmla="*/ f32 1 175259"/>
                    <a:gd name="f46" fmla="*/ f33 1 174307"/>
                    <a:gd name="f47" fmla="*/ f34 1 175259"/>
                    <a:gd name="f48" fmla="*/ f35 1 174307"/>
                    <a:gd name="f49" fmla="*/ f36 1 174307"/>
                    <a:gd name="f50" fmla="*/ f37 1 175259"/>
                    <a:gd name="f51" fmla="*/ f38 1 175259"/>
                    <a:gd name="f52" fmla="*/ f5 1 f25"/>
                    <a:gd name="f53" fmla="*/ f6 1 f25"/>
                    <a:gd name="f54" fmla="*/ f5 1 f26"/>
                    <a:gd name="f55" fmla="*/ f7 1 f26"/>
                    <a:gd name="f56" fmla="+- f39 0 f1"/>
                    <a:gd name="f57" fmla="*/ f40 1 f25"/>
                    <a:gd name="f58" fmla="*/ f41 1 f26"/>
                    <a:gd name="f59" fmla="*/ f42 1 f25"/>
                    <a:gd name="f60" fmla="*/ f43 1 f26"/>
                    <a:gd name="f61" fmla="*/ f44 1 f25"/>
                    <a:gd name="f62" fmla="*/ f45 1 f26"/>
                    <a:gd name="f63" fmla="*/ f46 1 f25"/>
                    <a:gd name="f64" fmla="*/ f47 1 f26"/>
                    <a:gd name="f65" fmla="*/ f48 1 f25"/>
                    <a:gd name="f66" fmla="*/ f49 1 f25"/>
                    <a:gd name="f67" fmla="*/ f50 1 f26"/>
                    <a:gd name="f68" fmla="*/ f51 1 f26"/>
                    <a:gd name="f69" fmla="*/ f52 f20 1"/>
                    <a:gd name="f70" fmla="*/ f53 f20 1"/>
                    <a:gd name="f71" fmla="*/ f55 f21 1"/>
                    <a:gd name="f72" fmla="*/ f54 f21 1"/>
                    <a:gd name="f73" fmla="*/ f57 f20 1"/>
                    <a:gd name="f74" fmla="*/ f58 f21 1"/>
                    <a:gd name="f75" fmla="*/ f59 f20 1"/>
                    <a:gd name="f76" fmla="*/ f60 f21 1"/>
                    <a:gd name="f77" fmla="*/ f61 f20 1"/>
                    <a:gd name="f78" fmla="*/ f62 f21 1"/>
                    <a:gd name="f79" fmla="*/ f63 f20 1"/>
                    <a:gd name="f80" fmla="*/ f64 f21 1"/>
                    <a:gd name="f81" fmla="*/ f65 f20 1"/>
                    <a:gd name="f82" fmla="*/ f66 f20 1"/>
                    <a:gd name="f83" fmla="*/ f67 f21 1"/>
                    <a:gd name="f84" fmla="*/ f68 f2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56">
                      <a:pos x="f73" y="f74"/>
                    </a:cxn>
                    <a:cxn ang="f56">
                      <a:pos x="f75" y="f74"/>
                    </a:cxn>
                    <a:cxn ang="f56">
                      <a:pos x="f75" y="f76"/>
                    </a:cxn>
                    <a:cxn ang="f56">
                      <a:pos x="f73" y="f76"/>
                    </a:cxn>
                    <a:cxn ang="f56">
                      <a:pos x="f73" y="f74"/>
                    </a:cxn>
                    <a:cxn ang="f56">
                      <a:pos x="f77" y="f78"/>
                    </a:cxn>
                    <a:cxn ang="f56">
                      <a:pos x="f79" y="f80"/>
                    </a:cxn>
                    <a:cxn ang="f56">
                      <a:pos x="f79" y="f80"/>
                    </a:cxn>
                    <a:cxn ang="f56">
                      <a:pos x="f81" y="f80"/>
                    </a:cxn>
                    <a:cxn ang="f56">
                      <a:pos x="f82" y="f78"/>
                    </a:cxn>
                    <a:cxn ang="f56">
                      <a:pos x="f82" y="f83"/>
                    </a:cxn>
                    <a:cxn ang="f56">
                      <a:pos x="f81" y="f84"/>
                    </a:cxn>
                    <a:cxn ang="f56">
                      <a:pos x="f79" y="f84"/>
                    </a:cxn>
                    <a:cxn ang="f56">
                      <a:pos x="f77" y="f83"/>
                    </a:cxn>
                    <a:cxn ang="f56">
                      <a:pos x="f77" y="f78"/>
                    </a:cxn>
                  </a:cxnLst>
                  <a:rect l="f69" t="f72" r="f70" b="f71"/>
                  <a:pathLst>
                    <a:path w="174307" h="175259">
                      <a:moveTo>
                        <a:pt x="f8" y="f9"/>
                      </a:moveTo>
                      <a:lnTo>
                        <a:pt x="f10" y="f9"/>
                      </a:lnTo>
                      <a:lnTo>
                        <a:pt x="f10" y="f11"/>
                      </a:lnTo>
                      <a:lnTo>
                        <a:pt x="f8" y="f11"/>
                      </a:lnTo>
                      <a:lnTo>
                        <a:pt x="f8" y="f9"/>
                      </a:lnTo>
                      <a:close/>
                      <a:moveTo>
                        <a:pt x="f5" y="f12"/>
                      </a:moveTo>
                      <a:cubicBezTo>
                        <a:pt x="f5" y="f13"/>
                        <a:pt x="f14" y="f6"/>
                        <a:pt x="f15" y="f16"/>
                      </a:cubicBezTo>
                      <a:lnTo>
                        <a:pt x="f15" y="f16"/>
                      </a:lnTo>
                      <a:lnTo>
                        <a:pt x="f12" y="f16"/>
                      </a:lnTo>
                      <a:cubicBezTo>
                        <a:pt x="f13" y="f16"/>
                        <a:pt x="f6" y="f13"/>
                        <a:pt x="f6" y="f12"/>
                      </a:cubicBezTo>
                      <a:lnTo>
                        <a:pt x="f6" y="f15"/>
                      </a:lnTo>
                      <a:cubicBezTo>
                        <a:pt x="f6" y="f17"/>
                        <a:pt x="f18" y="f5"/>
                        <a:pt x="f12" y="f5"/>
                      </a:cubicBezTo>
                      <a:lnTo>
                        <a:pt x="f15" y="f5"/>
                      </a:lnTo>
                      <a:cubicBezTo>
                        <a:pt x="f17" y="f5"/>
                        <a:pt x="f5" y="f14"/>
                        <a:pt x="f5" y="f15"/>
                      </a:cubicBezTo>
                      <a:lnTo>
                        <a:pt x="f5" y="f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</p:grpSp>
        </p:grpSp>
        <p:grpSp>
          <p:nvGrpSpPr>
            <p:cNvPr id="109" name="Group 19">
              <a:extLst>
                <a:ext uri="{FF2B5EF4-FFF2-40B4-BE49-F238E27FC236}">
                  <a16:creationId xmlns:a16="http://schemas.microsoft.com/office/drawing/2014/main" id="{71E1925B-44B6-D2C5-355A-7C8CD59B8A4D}"/>
                </a:ext>
              </a:extLst>
            </p:cNvPr>
            <p:cNvGrpSpPr/>
            <p:nvPr/>
          </p:nvGrpSpPr>
          <p:grpSpPr>
            <a:xfrm>
              <a:off x="2041800" y="5326992"/>
              <a:ext cx="958629" cy="739329"/>
              <a:chOff x="2041800" y="5326992"/>
              <a:chExt cx="958629" cy="739329"/>
            </a:xfrm>
          </p:grpSpPr>
          <p:grpSp>
            <p:nvGrpSpPr>
              <p:cNvPr id="110" name="Group 67">
                <a:extLst>
                  <a:ext uri="{FF2B5EF4-FFF2-40B4-BE49-F238E27FC236}">
                    <a16:creationId xmlns:a16="http://schemas.microsoft.com/office/drawing/2014/main" id="{E40587DA-20B6-C117-A5AD-03C58607B8F2}"/>
                  </a:ext>
                </a:extLst>
              </p:cNvPr>
              <p:cNvGrpSpPr/>
              <p:nvPr/>
            </p:nvGrpSpPr>
            <p:grpSpPr>
              <a:xfrm>
                <a:off x="2041800" y="5326992"/>
                <a:ext cx="640574" cy="724424"/>
                <a:chOff x="2041800" y="5326992"/>
                <a:chExt cx="640574" cy="724424"/>
              </a:xfrm>
            </p:grpSpPr>
            <p:sp>
              <p:nvSpPr>
                <p:cNvPr id="111" name="Freeform: Shape 75">
                  <a:extLst>
                    <a:ext uri="{FF2B5EF4-FFF2-40B4-BE49-F238E27FC236}">
                      <a16:creationId xmlns:a16="http://schemas.microsoft.com/office/drawing/2014/main" id="{49DC9EDB-09BA-C431-6A30-F65BACEC43B5}"/>
                    </a:ext>
                  </a:extLst>
                </p:cNvPr>
                <p:cNvSpPr/>
                <p:nvPr/>
              </p:nvSpPr>
              <p:spPr>
                <a:xfrm>
                  <a:off x="2110032" y="5625919"/>
                  <a:ext cx="521107" cy="425497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314662"/>
                    <a:gd name="f7" fmla="val 256931"/>
                    <a:gd name="f8" fmla="val 256742"/>
                    <a:gd name="f9" fmla="val 579"/>
                    <a:gd name="f10" fmla="val 91380"/>
                    <a:gd name="f11" fmla="val 108348"/>
                    <a:gd name="f12" fmla="val 160164"/>
                    <a:gd name="f13" fmla="val 108011"/>
                    <a:gd name="f14" fmla="val 137236"/>
                    <a:gd name="f15" fmla="val 107673"/>
                    <a:gd name="f16" fmla="val 114308"/>
                    <a:gd name="f17" fmla="val 107336"/>
                    <a:gd name="f18" fmla="val 209004"/>
                    <a:gd name="f19" fmla="val 162905"/>
                    <a:gd name="f20" fmla="val 244685"/>
                    <a:gd name="f21" fmla="val 291454"/>
                    <a:gd name="f22" fmla="val 95"/>
                    <a:gd name="f23" fmla="+- 0 0 -90"/>
                    <a:gd name="f24" fmla="*/ f3 1 314662"/>
                    <a:gd name="f25" fmla="*/ f4 1 256931"/>
                    <a:gd name="f26" fmla="+- f7 0 f5"/>
                    <a:gd name="f27" fmla="+- f6 0 f5"/>
                    <a:gd name="f28" fmla="*/ f23 f0 1"/>
                    <a:gd name="f29" fmla="*/ f27 1 314662"/>
                    <a:gd name="f30" fmla="*/ f26 1 256931"/>
                    <a:gd name="f31" fmla="*/ 91380 f26 1"/>
                    <a:gd name="f32" fmla="*/ 0 f26 1"/>
                    <a:gd name="f33" fmla="*/ 95 f26 1"/>
                    <a:gd name="f34" fmla="*/ 256931 f26 1"/>
                    <a:gd name="f35" fmla="*/ 160164 f26 1"/>
                    <a:gd name="f36" fmla="*/ 162905 f26 1"/>
                    <a:gd name="f37" fmla="*/ 0 f27 1"/>
                    <a:gd name="f38" fmla="*/ 256742 f26 1"/>
                    <a:gd name="f39" fmla="*/ 579 f27 1"/>
                    <a:gd name="f40" fmla="*/ 108348 f27 1"/>
                    <a:gd name="f41" fmla="*/ 107336 f27 1"/>
                    <a:gd name="f42" fmla="*/ 209004 f27 1"/>
                    <a:gd name="f43" fmla="*/ 244685 f27 1"/>
                    <a:gd name="f44" fmla="*/ 291454 f27 1"/>
                    <a:gd name="f45" fmla="*/ 314662 f27 1"/>
                    <a:gd name="f46" fmla="*/ f28 1 f2"/>
                    <a:gd name="f47" fmla="*/ f31 1 256931"/>
                    <a:gd name="f48" fmla="*/ f32 1 256931"/>
                    <a:gd name="f49" fmla="*/ f33 1 256931"/>
                    <a:gd name="f50" fmla="*/ f34 1 256931"/>
                    <a:gd name="f51" fmla="*/ f35 1 256931"/>
                    <a:gd name="f52" fmla="*/ f36 1 256931"/>
                    <a:gd name="f53" fmla="*/ f37 1 314662"/>
                    <a:gd name="f54" fmla="*/ f38 1 256931"/>
                    <a:gd name="f55" fmla="*/ f39 1 314662"/>
                    <a:gd name="f56" fmla="*/ f40 1 314662"/>
                    <a:gd name="f57" fmla="*/ f41 1 314662"/>
                    <a:gd name="f58" fmla="*/ f42 1 314662"/>
                    <a:gd name="f59" fmla="*/ f43 1 314662"/>
                    <a:gd name="f60" fmla="*/ f44 1 314662"/>
                    <a:gd name="f61" fmla="*/ f45 1 314662"/>
                    <a:gd name="f62" fmla="*/ f5 1 f29"/>
                    <a:gd name="f63" fmla="*/ f6 1 f29"/>
                    <a:gd name="f64" fmla="*/ f5 1 f30"/>
                    <a:gd name="f65" fmla="*/ f7 1 f30"/>
                    <a:gd name="f66" fmla="+- f46 0 f1"/>
                    <a:gd name="f67" fmla="*/ f53 1 f29"/>
                    <a:gd name="f68" fmla="*/ f54 1 f30"/>
                    <a:gd name="f69" fmla="*/ f55 1 f29"/>
                    <a:gd name="f70" fmla="*/ f47 1 f30"/>
                    <a:gd name="f71" fmla="*/ f56 1 f29"/>
                    <a:gd name="f72" fmla="*/ f51 1 f30"/>
                    <a:gd name="f73" fmla="*/ f57 1 f29"/>
                    <a:gd name="f74" fmla="*/ f58 1 f29"/>
                    <a:gd name="f75" fmla="*/ f52 1 f30"/>
                    <a:gd name="f76" fmla="*/ f59 1 f29"/>
                    <a:gd name="f77" fmla="*/ f48 1 f30"/>
                    <a:gd name="f78" fmla="*/ f60 1 f29"/>
                    <a:gd name="f79" fmla="*/ f49 1 f30"/>
                    <a:gd name="f80" fmla="*/ f61 1 f29"/>
                    <a:gd name="f81" fmla="*/ f50 1 f30"/>
                    <a:gd name="f82" fmla="*/ f62 f24 1"/>
                    <a:gd name="f83" fmla="*/ f63 f24 1"/>
                    <a:gd name="f84" fmla="*/ f65 f25 1"/>
                    <a:gd name="f85" fmla="*/ f64 f25 1"/>
                    <a:gd name="f86" fmla="*/ f67 f24 1"/>
                    <a:gd name="f87" fmla="*/ f68 f25 1"/>
                    <a:gd name="f88" fmla="*/ f69 f24 1"/>
                    <a:gd name="f89" fmla="*/ f70 f25 1"/>
                    <a:gd name="f90" fmla="*/ f71 f24 1"/>
                    <a:gd name="f91" fmla="*/ f72 f25 1"/>
                    <a:gd name="f92" fmla="*/ f73 f24 1"/>
                    <a:gd name="f93" fmla="*/ f74 f24 1"/>
                    <a:gd name="f94" fmla="*/ f75 f25 1"/>
                    <a:gd name="f95" fmla="*/ f76 f24 1"/>
                    <a:gd name="f96" fmla="*/ f77 f25 1"/>
                    <a:gd name="f97" fmla="*/ f78 f24 1"/>
                    <a:gd name="f98" fmla="*/ f79 f25 1"/>
                    <a:gd name="f99" fmla="*/ f80 f24 1"/>
                    <a:gd name="f100" fmla="*/ f81 f25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6">
                      <a:pos x="f86" y="f87"/>
                    </a:cxn>
                    <a:cxn ang="f66">
                      <a:pos x="f88" y="f89"/>
                    </a:cxn>
                    <a:cxn ang="f66">
                      <a:pos x="f90" y="f91"/>
                    </a:cxn>
                    <a:cxn ang="f66">
                      <a:pos x="f92" y="f89"/>
                    </a:cxn>
                    <a:cxn ang="f66">
                      <a:pos x="f93" y="f94"/>
                    </a:cxn>
                    <a:cxn ang="f66">
                      <a:pos x="f95" y="f96"/>
                    </a:cxn>
                    <a:cxn ang="f66">
                      <a:pos x="f97" y="f98"/>
                    </a:cxn>
                    <a:cxn ang="f66">
                      <a:pos x="f99" y="f100"/>
                    </a:cxn>
                    <a:cxn ang="f66">
                      <a:pos x="f86" y="f87"/>
                    </a:cxn>
                  </a:cxnLst>
                  <a:rect l="f82" t="f85" r="f83" b="f84"/>
                  <a:pathLst>
                    <a:path w="314662" h="256931">
                      <a:moveTo>
                        <a:pt x="f5" y="f8"/>
                      </a:moveTo>
                      <a:lnTo>
                        <a:pt x="f9" y="f10"/>
                      </a:lnTo>
                      <a:lnTo>
                        <a:pt x="f11" y="f12"/>
                      </a:lnTo>
                      <a:cubicBezTo>
                        <a:pt x="f13" y="f14"/>
                        <a:pt x="f15" y="f16"/>
                        <a:pt x="f17" y="f10"/>
                      </a:cubicBezTo>
                      <a:lnTo>
                        <a:pt x="f18" y="f19"/>
                      </a:lnTo>
                      <a:lnTo>
                        <a:pt x="f20" y="f5"/>
                      </a:lnTo>
                      <a:lnTo>
                        <a:pt x="f21" y="f22"/>
                      </a:lnTo>
                      <a:lnTo>
                        <a:pt x="f6" y="f7"/>
                      </a:lnTo>
                      <a:lnTo>
                        <a:pt x="f5" y="f8"/>
                      </a:lnTo>
                      <a:close/>
                    </a:path>
                  </a:pathLst>
                </a:custGeom>
                <a:noFill/>
                <a:ln w="38103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cxnSp>
              <p:nvCxnSpPr>
                <p:cNvPr id="112" name="Straight Connector 76">
                  <a:extLst>
                    <a:ext uri="{FF2B5EF4-FFF2-40B4-BE49-F238E27FC236}">
                      <a16:creationId xmlns:a16="http://schemas.microsoft.com/office/drawing/2014/main" id="{265CA44A-F485-5441-9D37-F106A202C694}"/>
                    </a:ext>
                  </a:extLst>
                </p:cNvPr>
                <p:cNvCxnSpPr/>
                <p:nvPr/>
              </p:nvCxnSpPr>
              <p:spPr>
                <a:xfrm>
                  <a:off x="2041800" y="6051416"/>
                  <a:ext cx="640574" cy="0"/>
                </a:xfrm>
                <a:prstGeom prst="straightConnector1">
                  <a:avLst/>
                </a:prstGeom>
                <a:noFill/>
                <a:ln w="38103" cap="rnd">
                  <a:solidFill>
                    <a:srgbClr val="FFFFFF"/>
                  </a:solidFill>
                  <a:prstDash val="solid"/>
                  <a:round/>
                </a:ln>
              </p:spPr>
            </p:cxnSp>
            <p:sp>
              <p:nvSpPr>
                <p:cNvPr id="113" name="Freeform: Shape 77">
                  <a:extLst>
                    <a:ext uri="{FF2B5EF4-FFF2-40B4-BE49-F238E27FC236}">
                      <a16:creationId xmlns:a16="http://schemas.microsoft.com/office/drawing/2014/main" id="{BF6E5D0D-BE00-F646-9652-D49C1A2B529F}"/>
                    </a:ext>
                  </a:extLst>
                </p:cNvPr>
                <p:cNvSpPr/>
                <p:nvPr/>
              </p:nvSpPr>
              <p:spPr>
                <a:xfrm>
                  <a:off x="2309472" y="5384645"/>
                  <a:ext cx="210677" cy="186683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552322"/>
                    <a:gd name="f7" fmla="val 489419"/>
                    <a:gd name="f8" fmla="val 549382"/>
                    <a:gd name="f9" fmla="val 436616"/>
                    <a:gd name="f10" fmla="val 555135"/>
                    <a:gd name="f11" fmla="val 397876"/>
                    <a:gd name="f12" fmla="val 504761"/>
                    <a:gd name="f13" fmla="val 377420"/>
                    <a:gd name="f14" fmla="val 454387"/>
                    <a:gd name="f15" fmla="val 356964"/>
                    <a:gd name="f16" fmla="val 299686"/>
                    <a:gd name="f17" fmla="val 397365"/>
                    <a:gd name="f18" fmla="val 250079"/>
                    <a:gd name="f19" fmla="val 366681"/>
                    <a:gd name="f20" fmla="val 200472"/>
                    <a:gd name="f21" fmla="val 335996"/>
                    <a:gd name="f22" fmla="val 248801"/>
                    <a:gd name="f23" fmla="val 254426"/>
                    <a:gd name="f24" fmla="val 207121"/>
                    <a:gd name="f25" fmla="val 193313"/>
                    <a:gd name="f26" fmla="+- 0 0 255"/>
                    <a:gd name="f27" fmla="val 196637"/>
                    <a:gd name="f28" fmla="val 1405"/>
                    <a:gd name="f29" fmla="val 66099"/>
                    <a:gd name="f30" fmla="+- 0 0 -90"/>
                    <a:gd name="f31" fmla="*/ f3 1 552322"/>
                    <a:gd name="f32" fmla="*/ f4 1 489419"/>
                    <a:gd name="f33" fmla="+- f7 0 f5"/>
                    <a:gd name="f34" fmla="+- f6 0 f5"/>
                    <a:gd name="f35" fmla="*/ f30 f0 1"/>
                    <a:gd name="f36" fmla="*/ f34 1 552322"/>
                    <a:gd name="f37" fmla="*/ f33 1 489419"/>
                    <a:gd name="f38" fmla="*/ 489419 f33 1"/>
                    <a:gd name="f39" fmla="*/ 377420 f33 1"/>
                    <a:gd name="f40" fmla="*/ 366681 f33 1"/>
                    <a:gd name="f41" fmla="*/ 193313 f33 1"/>
                    <a:gd name="f42" fmla="*/ 0 f33 1"/>
                    <a:gd name="f43" fmla="*/ 552322 f34 1"/>
                    <a:gd name="f44" fmla="*/ 504761 f34 1"/>
                    <a:gd name="f45" fmla="*/ 250079 f34 1"/>
                    <a:gd name="f46" fmla="*/ 207121 f34 1"/>
                    <a:gd name="f47" fmla="*/ 0 f34 1"/>
                    <a:gd name="f48" fmla="*/ f35 1 f2"/>
                    <a:gd name="f49" fmla="*/ f38 1 489419"/>
                    <a:gd name="f50" fmla="*/ f39 1 489419"/>
                    <a:gd name="f51" fmla="*/ f40 1 489419"/>
                    <a:gd name="f52" fmla="*/ f41 1 489419"/>
                    <a:gd name="f53" fmla="*/ f42 1 489419"/>
                    <a:gd name="f54" fmla="*/ f43 1 552322"/>
                    <a:gd name="f55" fmla="*/ f44 1 552322"/>
                    <a:gd name="f56" fmla="*/ f45 1 552322"/>
                    <a:gd name="f57" fmla="*/ f46 1 552322"/>
                    <a:gd name="f58" fmla="*/ f47 1 552322"/>
                    <a:gd name="f59" fmla="*/ f5 1 f36"/>
                    <a:gd name="f60" fmla="*/ f6 1 f36"/>
                    <a:gd name="f61" fmla="*/ f5 1 f37"/>
                    <a:gd name="f62" fmla="*/ f7 1 f37"/>
                    <a:gd name="f63" fmla="+- f48 0 f1"/>
                    <a:gd name="f64" fmla="*/ f54 1 f36"/>
                    <a:gd name="f65" fmla="*/ f49 1 f37"/>
                    <a:gd name="f66" fmla="*/ f55 1 f36"/>
                    <a:gd name="f67" fmla="*/ f50 1 f37"/>
                    <a:gd name="f68" fmla="*/ f56 1 f36"/>
                    <a:gd name="f69" fmla="*/ f51 1 f37"/>
                    <a:gd name="f70" fmla="*/ f57 1 f36"/>
                    <a:gd name="f71" fmla="*/ f52 1 f37"/>
                    <a:gd name="f72" fmla="*/ f58 1 f36"/>
                    <a:gd name="f73" fmla="*/ f53 1 f37"/>
                    <a:gd name="f74" fmla="*/ f59 f31 1"/>
                    <a:gd name="f75" fmla="*/ f60 f31 1"/>
                    <a:gd name="f76" fmla="*/ f62 f32 1"/>
                    <a:gd name="f77" fmla="*/ f61 f32 1"/>
                    <a:gd name="f78" fmla="*/ f64 f31 1"/>
                    <a:gd name="f79" fmla="*/ f65 f32 1"/>
                    <a:gd name="f80" fmla="*/ f66 f31 1"/>
                    <a:gd name="f81" fmla="*/ f67 f32 1"/>
                    <a:gd name="f82" fmla="*/ f68 f31 1"/>
                    <a:gd name="f83" fmla="*/ f69 f32 1"/>
                    <a:gd name="f84" fmla="*/ f70 f31 1"/>
                    <a:gd name="f85" fmla="*/ f71 f32 1"/>
                    <a:gd name="f86" fmla="*/ f72 f31 1"/>
                    <a:gd name="f87" fmla="*/ f73 f32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3">
                      <a:pos x="f78" y="f79"/>
                    </a:cxn>
                    <a:cxn ang="f63">
                      <a:pos x="f80" y="f81"/>
                    </a:cxn>
                    <a:cxn ang="f63">
                      <a:pos x="f82" y="f83"/>
                    </a:cxn>
                    <a:cxn ang="f63">
                      <a:pos x="f84" y="f85"/>
                    </a:cxn>
                    <a:cxn ang="f63">
                      <a:pos x="f86" y="f87"/>
                    </a:cxn>
                  </a:cxnLst>
                  <a:rect l="f74" t="f77" r="f75" b="f76"/>
                  <a:pathLst>
                    <a:path w="552322" h="489419">
                      <a:moveTo>
                        <a:pt x="f6" y="f7"/>
                      </a:moveTo>
                      <a:cubicBezTo>
                        <a:pt x="f8" y="f9"/>
                        <a:pt x="f10" y="f11"/>
                        <a:pt x="f12" y="f13"/>
                      </a:cubicBezTo>
                      <a:cubicBezTo>
                        <a:pt x="f14" y="f15"/>
                        <a:pt x="f16" y="f17"/>
                        <a:pt x="f18" y="f19"/>
                      </a:cubicBezTo>
                      <a:cubicBezTo>
                        <a:pt x="f20" y="f21"/>
                        <a:pt x="f22" y="f23"/>
                        <a:pt x="f24" y="f25"/>
                      </a:cubicBezTo>
                      <a:cubicBezTo>
                        <a:pt x="f26" y="f27"/>
                        <a:pt x="f28" y="f29"/>
                        <a:pt x="f5" y="f5"/>
                      </a:cubicBezTo>
                    </a:path>
                  </a:pathLst>
                </a:custGeom>
                <a:noFill/>
                <a:ln w="38103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14" name="Freeform: Shape 78">
                  <a:extLst>
                    <a:ext uri="{FF2B5EF4-FFF2-40B4-BE49-F238E27FC236}">
                      <a16:creationId xmlns:a16="http://schemas.microsoft.com/office/drawing/2014/main" id="{5198D09D-B407-042E-810C-DB1B10D46201}"/>
                    </a:ext>
                  </a:extLst>
                </p:cNvPr>
                <p:cNvSpPr/>
                <p:nvPr/>
              </p:nvSpPr>
              <p:spPr>
                <a:xfrm>
                  <a:off x="2358630" y="5326992"/>
                  <a:ext cx="228508" cy="24492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599055"/>
                    <a:gd name="f7" fmla="val 642096"/>
                    <a:gd name="f8" fmla="val 595281"/>
                    <a:gd name="f9" fmla="val 631080"/>
                    <a:gd name="f10" fmla="val 230411"/>
                    <a:gd name="f11" fmla="val 402990"/>
                    <a:gd name="f12" fmla="val 338831"/>
                    <a:gd name="f13" fmla="val 302243"/>
                    <a:gd name="f14" fmla="val 322977"/>
                    <a:gd name="f15" fmla="val 319630"/>
                    <a:gd name="f16" fmla="val 82103"/>
                    <a:gd name="f17" fmla="val 179760"/>
                    <a:gd name="f18" fmla="+- 0 0 16856"/>
                    <a:gd name="f19" fmla="val 2323"/>
                    <a:gd name="f20" fmla="+- 0 0 -90"/>
                    <a:gd name="f21" fmla="*/ f3 1 599055"/>
                    <a:gd name="f22" fmla="*/ f4 1 642096"/>
                    <a:gd name="f23" fmla="+- f7 0 f5"/>
                    <a:gd name="f24" fmla="+- f6 0 f5"/>
                    <a:gd name="f25" fmla="*/ f20 f0 1"/>
                    <a:gd name="f26" fmla="*/ f24 1 599055"/>
                    <a:gd name="f27" fmla="*/ f23 1 642096"/>
                    <a:gd name="f28" fmla="*/ 595281 f24 1"/>
                    <a:gd name="f29" fmla="*/ 302243 f24 1"/>
                    <a:gd name="f30" fmla="*/ 0 f24 1"/>
                    <a:gd name="f31" fmla="*/ 642096 f23 1"/>
                    <a:gd name="f32" fmla="*/ 322977 f23 1"/>
                    <a:gd name="f33" fmla="*/ 2323 f23 1"/>
                    <a:gd name="f34" fmla="*/ f25 1 f2"/>
                    <a:gd name="f35" fmla="*/ f28 1 599055"/>
                    <a:gd name="f36" fmla="*/ f29 1 599055"/>
                    <a:gd name="f37" fmla="*/ f30 1 599055"/>
                    <a:gd name="f38" fmla="*/ f31 1 642096"/>
                    <a:gd name="f39" fmla="*/ f32 1 642096"/>
                    <a:gd name="f40" fmla="*/ f33 1 642096"/>
                    <a:gd name="f41" fmla="*/ f5 1 f26"/>
                    <a:gd name="f42" fmla="*/ f6 1 f26"/>
                    <a:gd name="f43" fmla="*/ f5 1 f27"/>
                    <a:gd name="f44" fmla="*/ f7 1 f27"/>
                    <a:gd name="f45" fmla="+- f34 0 f1"/>
                    <a:gd name="f46" fmla="*/ f35 1 f26"/>
                    <a:gd name="f47" fmla="*/ f38 1 f27"/>
                    <a:gd name="f48" fmla="*/ f36 1 f26"/>
                    <a:gd name="f49" fmla="*/ f39 1 f27"/>
                    <a:gd name="f50" fmla="*/ f37 1 f26"/>
                    <a:gd name="f51" fmla="*/ f40 1 f27"/>
                    <a:gd name="f52" fmla="*/ f41 f21 1"/>
                    <a:gd name="f53" fmla="*/ f42 f21 1"/>
                    <a:gd name="f54" fmla="*/ f44 f22 1"/>
                    <a:gd name="f55" fmla="*/ f43 f22 1"/>
                    <a:gd name="f56" fmla="*/ f46 f21 1"/>
                    <a:gd name="f57" fmla="*/ f47 f22 1"/>
                    <a:gd name="f58" fmla="*/ f48 f21 1"/>
                    <a:gd name="f59" fmla="*/ f49 f22 1"/>
                    <a:gd name="f60" fmla="*/ f50 f21 1"/>
                    <a:gd name="f61" fmla="*/ f51 f22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45">
                      <a:pos x="f56" y="f57"/>
                    </a:cxn>
                    <a:cxn ang="f45">
                      <a:pos x="f58" y="f59"/>
                    </a:cxn>
                    <a:cxn ang="f45">
                      <a:pos x="f60" y="f61"/>
                    </a:cxn>
                  </a:cxnLst>
                  <a:rect l="f52" t="f55" r="f53" b="f54"/>
                  <a:pathLst>
                    <a:path w="599055" h="642096">
                      <a:moveTo>
                        <a:pt x="f8" y="f7"/>
                      </a:moveTo>
                      <a:cubicBezTo>
                        <a:pt x="f9" y="f10"/>
                        <a:pt x="f11" y="f12"/>
                        <a:pt x="f13" y="f14"/>
                      </a:cubicBezTo>
                      <a:cubicBezTo>
                        <a:pt x="f15" y="f16"/>
                        <a:pt x="f17" y="f18"/>
                        <a:pt x="f5" y="f19"/>
                      </a:cubicBezTo>
                    </a:path>
                  </a:pathLst>
                </a:custGeom>
                <a:noFill/>
                <a:ln w="38103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</p:grpSp>
          <p:grpSp>
            <p:nvGrpSpPr>
              <p:cNvPr id="115" name="Group 68">
                <a:extLst>
                  <a:ext uri="{FF2B5EF4-FFF2-40B4-BE49-F238E27FC236}">
                    <a16:creationId xmlns:a16="http://schemas.microsoft.com/office/drawing/2014/main" id="{CF8BA612-33FD-8837-B433-25691A5E320C}"/>
                  </a:ext>
                </a:extLst>
              </p:cNvPr>
              <p:cNvGrpSpPr/>
              <p:nvPr/>
            </p:nvGrpSpPr>
            <p:grpSpPr>
              <a:xfrm>
                <a:off x="2714423" y="5900641"/>
                <a:ext cx="286006" cy="165680"/>
                <a:chOff x="2714423" y="5900641"/>
                <a:chExt cx="286006" cy="165680"/>
              </a:xfrm>
            </p:grpSpPr>
            <p:sp>
              <p:nvSpPr>
                <p:cNvPr id="116" name="Rectangle 60">
                  <a:extLst>
                    <a:ext uri="{FF2B5EF4-FFF2-40B4-BE49-F238E27FC236}">
                      <a16:creationId xmlns:a16="http://schemas.microsoft.com/office/drawing/2014/main" id="{110AC120-9327-47CC-6154-346BADE0BA94}"/>
                    </a:ext>
                  </a:extLst>
                </p:cNvPr>
                <p:cNvSpPr/>
                <p:nvPr/>
              </p:nvSpPr>
              <p:spPr>
                <a:xfrm>
                  <a:off x="2925193" y="5944514"/>
                  <a:ext cx="48956" cy="40114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409118"/>
                    <a:gd name="f7" fmla="val 335243"/>
                    <a:gd name="f8" fmla="val 287805"/>
                    <a:gd name="f9" fmla="+- 0 0 -90"/>
                    <a:gd name="f10" fmla="*/ f3 1 409118"/>
                    <a:gd name="f11" fmla="*/ f4 1 335243"/>
                    <a:gd name="f12" fmla="+- f7 0 f5"/>
                    <a:gd name="f13" fmla="+- f6 0 f5"/>
                    <a:gd name="f14" fmla="*/ f9 f0 1"/>
                    <a:gd name="f15" fmla="*/ f13 1 409118"/>
                    <a:gd name="f16" fmla="*/ f12 1 335243"/>
                    <a:gd name="f17" fmla="*/ 0 f13 1"/>
                    <a:gd name="f18" fmla="*/ 0 f12 1"/>
                    <a:gd name="f19" fmla="*/ 409118 f13 1"/>
                    <a:gd name="f20" fmla="*/ 335243 f12 1"/>
                    <a:gd name="f21" fmla="*/ 287805 f13 1"/>
                    <a:gd name="f22" fmla="*/ f14 1 f2"/>
                    <a:gd name="f23" fmla="*/ f17 1 409118"/>
                    <a:gd name="f24" fmla="*/ f18 1 335243"/>
                    <a:gd name="f25" fmla="*/ f19 1 409118"/>
                    <a:gd name="f26" fmla="*/ f20 1 335243"/>
                    <a:gd name="f27" fmla="*/ f21 1 409118"/>
                    <a:gd name="f28" fmla="*/ f5 1 f15"/>
                    <a:gd name="f29" fmla="*/ f6 1 f15"/>
                    <a:gd name="f30" fmla="*/ f5 1 f16"/>
                    <a:gd name="f31" fmla="*/ f7 1 f16"/>
                    <a:gd name="f32" fmla="+- f22 0 f1"/>
                    <a:gd name="f33" fmla="*/ f23 1 f15"/>
                    <a:gd name="f34" fmla="*/ f24 1 f16"/>
                    <a:gd name="f35" fmla="*/ f27 1 f15"/>
                    <a:gd name="f36" fmla="*/ f25 1 f15"/>
                    <a:gd name="f37" fmla="*/ f26 1 f16"/>
                    <a:gd name="f38" fmla="*/ f28 f10 1"/>
                    <a:gd name="f39" fmla="*/ f29 f10 1"/>
                    <a:gd name="f40" fmla="*/ f31 f11 1"/>
                    <a:gd name="f41" fmla="*/ f30 f11 1"/>
                    <a:gd name="f42" fmla="*/ f33 f10 1"/>
                    <a:gd name="f43" fmla="*/ f34 f11 1"/>
                    <a:gd name="f44" fmla="*/ f35 f10 1"/>
                    <a:gd name="f45" fmla="*/ f36 f10 1"/>
                    <a:gd name="f46" fmla="*/ f37 f1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32">
                      <a:pos x="f42" y="f43"/>
                    </a:cxn>
                    <a:cxn ang="f32">
                      <a:pos x="f44" y="f43"/>
                    </a:cxn>
                    <a:cxn ang="f32">
                      <a:pos x="f45" y="f46"/>
                    </a:cxn>
                    <a:cxn ang="f32">
                      <a:pos x="f42" y="f46"/>
                    </a:cxn>
                    <a:cxn ang="f32">
                      <a:pos x="f42" y="f43"/>
                    </a:cxn>
                  </a:cxnLst>
                  <a:rect l="f38" t="f41" r="f39" b="f40"/>
                  <a:pathLst>
                    <a:path w="409118" h="335243">
                      <a:moveTo>
                        <a:pt x="f5" y="f5"/>
                      </a:moveTo>
                      <a:lnTo>
                        <a:pt x="f8" y="f5"/>
                      </a:lnTo>
                      <a:lnTo>
                        <a:pt x="f6" y="f7"/>
                      </a:lnTo>
                      <a:lnTo>
                        <a:pt x="f5" y="f7"/>
                      </a:lnTo>
                      <a:lnTo>
                        <a:pt x="f5" y="f5"/>
                      </a:lnTo>
                      <a:close/>
                    </a:path>
                  </a:pathLst>
                </a:custGeom>
                <a:noFill/>
                <a:ln w="19046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17" name="Oval 70">
                  <a:extLst>
                    <a:ext uri="{FF2B5EF4-FFF2-40B4-BE49-F238E27FC236}">
                      <a16:creationId xmlns:a16="http://schemas.microsoft.com/office/drawing/2014/main" id="{6B6318C4-24F3-DA2C-E24E-4CE83A0D4CE1}"/>
                    </a:ext>
                  </a:extLst>
                </p:cNvPr>
                <p:cNvSpPr/>
                <p:nvPr/>
              </p:nvSpPr>
              <p:spPr>
                <a:xfrm>
                  <a:off x="2921014" y="6015755"/>
                  <a:ext cx="50566" cy="50566"/>
                </a:xfrm>
                <a:custGeom>
                  <a:avLst/>
                  <a:gdLst>
                    <a:gd name="f0" fmla="val 21600000"/>
                    <a:gd name="f1" fmla="val 10800000"/>
                    <a:gd name="f2" fmla="val 5400000"/>
                    <a:gd name="f3" fmla="val 180"/>
                    <a:gd name="f4" fmla="val w"/>
                    <a:gd name="f5" fmla="val h"/>
                    <a:gd name="f6" fmla="val ss"/>
                    <a:gd name="f7" fmla="val 0"/>
                    <a:gd name="f8" fmla="*/ 5419351 1 1725033"/>
                    <a:gd name="f9" fmla="+- 0 0 -360"/>
                    <a:gd name="f10" fmla="+- 0 0 -180"/>
                    <a:gd name="f11" fmla="abs f4"/>
                    <a:gd name="f12" fmla="abs f5"/>
                    <a:gd name="f13" fmla="abs f6"/>
                    <a:gd name="f14" fmla="+- 2700000 f2 0"/>
                    <a:gd name="f15" fmla="*/ f9 f1 1"/>
                    <a:gd name="f16" fmla="*/ f10 f1 1"/>
                    <a:gd name="f17" fmla="?: f11 f4 1"/>
                    <a:gd name="f18" fmla="?: f12 f5 1"/>
                    <a:gd name="f19" fmla="?: f13 f6 1"/>
                    <a:gd name="f20" fmla="+- f14 0 f2"/>
                    <a:gd name="f21" fmla="*/ f15 1 f3"/>
                    <a:gd name="f22" fmla="*/ f16 1 f3"/>
                    <a:gd name="f23" fmla="*/ f17 1 21600"/>
                    <a:gd name="f24" fmla="*/ f18 1 21600"/>
                    <a:gd name="f25" fmla="*/ 21600 f17 1"/>
                    <a:gd name="f26" fmla="*/ 21600 f18 1"/>
                    <a:gd name="f27" fmla="+- f20 f2 0"/>
                    <a:gd name="f28" fmla="+- f21 0 f2"/>
                    <a:gd name="f29" fmla="+- f22 0 f2"/>
                    <a:gd name="f30" fmla="min f24 f23"/>
                    <a:gd name="f31" fmla="*/ f25 1 f19"/>
                    <a:gd name="f32" fmla="*/ f26 1 f19"/>
                    <a:gd name="f33" fmla="*/ f27 f8 1"/>
                    <a:gd name="f34" fmla="val f31"/>
                    <a:gd name="f35" fmla="val f32"/>
                    <a:gd name="f36" fmla="*/ f33 1 f1"/>
                    <a:gd name="f37" fmla="*/ f7 f30 1"/>
                    <a:gd name="f38" fmla="+- f35 0 f7"/>
                    <a:gd name="f39" fmla="+- f34 0 f7"/>
                    <a:gd name="f40" fmla="+- 0 0 f36"/>
                    <a:gd name="f41" fmla="*/ f38 1 2"/>
                    <a:gd name="f42" fmla="*/ f39 1 2"/>
                    <a:gd name="f43" fmla="+- 0 0 f40"/>
                    <a:gd name="f44" fmla="+- f7 f41 0"/>
                    <a:gd name="f45" fmla="+- f7 f42 0"/>
                    <a:gd name="f46" fmla="*/ f43 f1 1"/>
                    <a:gd name="f47" fmla="*/ f42 f30 1"/>
                    <a:gd name="f48" fmla="*/ f41 f30 1"/>
                    <a:gd name="f49" fmla="*/ f46 1 f8"/>
                    <a:gd name="f50" fmla="*/ f44 f30 1"/>
                    <a:gd name="f51" fmla="+- f49 0 f2"/>
                    <a:gd name="f52" fmla="cos 1 f51"/>
                    <a:gd name="f53" fmla="sin 1 f51"/>
                    <a:gd name="f54" fmla="+- 0 0 f52"/>
                    <a:gd name="f55" fmla="+- 0 0 f53"/>
                    <a:gd name="f56" fmla="+- 0 0 f54"/>
                    <a:gd name="f57" fmla="+- 0 0 f55"/>
                    <a:gd name="f58" fmla="val f56"/>
                    <a:gd name="f59" fmla="val f57"/>
                    <a:gd name="f60" fmla="*/ f58 f42 1"/>
                    <a:gd name="f61" fmla="*/ f59 f41 1"/>
                    <a:gd name="f62" fmla="+- f45 0 f60"/>
                    <a:gd name="f63" fmla="+- f45 f60 0"/>
                    <a:gd name="f64" fmla="+- f44 0 f61"/>
                    <a:gd name="f65" fmla="+- f44 f61 0"/>
                    <a:gd name="f66" fmla="*/ f62 f30 1"/>
                    <a:gd name="f67" fmla="*/ f64 f30 1"/>
                    <a:gd name="f68" fmla="*/ f63 f30 1"/>
                    <a:gd name="f69" fmla="*/ f65 f30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8">
                      <a:pos x="f66" y="f67"/>
                    </a:cxn>
                    <a:cxn ang="f29">
                      <a:pos x="f66" y="f69"/>
                    </a:cxn>
                    <a:cxn ang="f29">
                      <a:pos x="f68" y="f69"/>
                    </a:cxn>
                    <a:cxn ang="f28">
                      <a:pos x="f68" y="f67"/>
                    </a:cxn>
                  </a:cxnLst>
                  <a:rect l="f66" t="f67" r="f68" b="f69"/>
                  <a:pathLst>
                    <a:path>
                      <a:moveTo>
                        <a:pt x="f37" y="f50"/>
                      </a:moveTo>
                      <a:arcTo wR="f47" hR="f48" stAng="f1" swAng="f0"/>
                      <a:close/>
                    </a:path>
                  </a:pathLst>
                </a:custGeom>
                <a:noFill/>
                <a:ln w="190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18" name="Oval 71">
                  <a:extLst>
                    <a:ext uri="{FF2B5EF4-FFF2-40B4-BE49-F238E27FC236}">
                      <a16:creationId xmlns:a16="http://schemas.microsoft.com/office/drawing/2014/main" id="{EAD45D23-6E42-624E-F545-B3E74567EF3B}"/>
                    </a:ext>
                  </a:extLst>
                </p:cNvPr>
                <p:cNvSpPr/>
                <p:nvPr/>
              </p:nvSpPr>
              <p:spPr>
                <a:xfrm>
                  <a:off x="2803952" y="6015755"/>
                  <a:ext cx="50566" cy="50566"/>
                </a:xfrm>
                <a:custGeom>
                  <a:avLst/>
                  <a:gdLst>
                    <a:gd name="f0" fmla="val 21600000"/>
                    <a:gd name="f1" fmla="val 10800000"/>
                    <a:gd name="f2" fmla="val 5400000"/>
                    <a:gd name="f3" fmla="val 180"/>
                    <a:gd name="f4" fmla="val w"/>
                    <a:gd name="f5" fmla="val h"/>
                    <a:gd name="f6" fmla="val ss"/>
                    <a:gd name="f7" fmla="val 0"/>
                    <a:gd name="f8" fmla="*/ 5419351 1 1725033"/>
                    <a:gd name="f9" fmla="+- 0 0 -360"/>
                    <a:gd name="f10" fmla="+- 0 0 -180"/>
                    <a:gd name="f11" fmla="abs f4"/>
                    <a:gd name="f12" fmla="abs f5"/>
                    <a:gd name="f13" fmla="abs f6"/>
                    <a:gd name="f14" fmla="+- 2700000 f2 0"/>
                    <a:gd name="f15" fmla="*/ f9 f1 1"/>
                    <a:gd name="f16" fmla="*/ f10 f1 1"/>
                    <a:gd name="f17" fmla="?: f11 f4 1"/>
                    <a:gd name="f18" fmla="?: f12 f5 1"/>
                    <a:gd name="f19" fmla="?: f13 f6 1"/>
                    <a:gd name="f20" fmla="+- f14 0 f2"/>
                    <a:gd name="f21" fmla="*/ f15 1 f3"/>
                    <a:gd name="f22" fmla="*/ f16 1 f3"/>
                    <a:gd name="f23" fmla="*/ f17 1 21600"/>
                    <a:gd name="f24" fmla="*/ f18 1 21600"/>
                    <a:gd name="f25" fmla="*/ 21600 f17 1"/>
                    <a:gd name="f26" fmla="*/ 21600 f18 1"/>
                    <a:gd name="f27" fmla="+- f20 f2 0"/>
                    <a:gd name="f28" fmla="+- f21 0 f2"/>
                    <a:gd name="f29" fmla="+- f22 0 f2"/>
                    <a:gd name="f30" fmla="min f24 f23"/>
                    <a:gd name="f31" fmla="*/ f25 1 f19"/>
                    <a:gd name="f32" fmla="*/ f26 1 f19"/>
                    <a:gd name="f33" fmla="*/ f27 f8 1"/>
                    <a:gd name="f34" fmla="val f31"/>
                    <a:gd name="f35" fmla="val f32"/>
                    <a:gd name="f36" fmla="*/ f33 1 f1"/>
                    <a:gd name="f37" fmla="*/ f7 f30 1"/>
                    <a:gd name="f38" fmla="+- f35 0 f7"/>
                    <a:gd name="f39" fmla="+- f34 0 f7"/>
                    <a:gd name="f40" fmla="+- 0 0 f36"/>
                    <a:gd name="f41" fmla="*/ f38 1 2"/>
                    <a:gd name="f42" fmla="*/ f39 1 2"/>
                    <a:gd name="f43" fmla="+- 0 0 f40"/>
                    <a:gd name="f44" fmla="+- f7 f41 0"/>
                    <a:gd name="f45" fmla="+- f7 f42 0"/>
                    <a:gd name="f46" fmla="*/ f43 f1 1"/>
                    <a:gd name="f47" fmla="*/ f42 f30 1"/>
                    <a:gd name="f48" fmla="*/ f41 f30 1"/>
                    <a:gd name="f49" fmla="*/ f46 1 f8"/>
                    <a:gd name="f50" fmla="*/ f44 f30 1"/>
                    <a:gd name="f51" fmla="+- f49 0 f2"/>
                    <a:gd name="f52" fmla="cos 1 f51"/>
                    <a:gd name="f53" fmla="sin 1 f51"/>
                    <a:gd name="f54" fmla="+- 0 0 f52"/>
                    <a:gd name="f55" fmla="+- 0 0 f53"/>
                    <a:gd name="f56" fmla="+- 0 0 f54"/>
                    <a:gd name="f57" fmla="+- 0 0 f55"/>
                    <a:gd name="f58" fmla="val f56"/>
                    <a:gd name="f59" fmla="val f57"/>
                    <a:gd name="f60" fmla="*/ f58 f42 1"/>
                    <a:gd name="f61" fmla="*/ f59 f41 1"/>
                    <a:gd name="f62" fmla="+- f45 0 f60"/>
                    <a:gd name="f63" fmla="+- f45 f60 0"/>
                    <a:gd name="f64" fmla="+- f44 0 f61"/>
                    <a:gd name="f65" fmla="+- f44 f61 0"/>
                    <a:gd name="f66" fmla="*/ f62 f30 1"/>
                    <a:gd name="f67" fmla="*/ f64 f30 1"/>
                    <a:gd name="f68" fmla="*/ f63 f30 1"/>
                    <a:gd name="f69" fmla="*/ f65 f30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8">
                      <a:pos x="f66" y="f67"/>
                    </a:cxn>
                    <a:cxn ang="f29">
                      <a:pos x="f66" y="f69"/>
                    </a:cxn>
                    <a:cxn ang="f29">
                      <a:pos x="f68" y="f69"/>
                    </a:cxn>
                    <a:cxn ang="f28">
                      <a:pos x="f68" y="f67"/>
                    </a:cxn>
                  </a:cxnLst>
                  <a:rect l="f66" t="f67" r="f68" b="f69"/>
                  <a:pathLst>
                    <a:path>
                      <a:moveTo>
                        <a:pt x="f37" y="f50"/>
                      </a:moveTo>
                      <a:arcTo wR="f47" hR="f48" stAng="f1" swAng="f0"/>
                      <a:close/>
                    </a:path>
                  </a:pathLst>
                </a:custGeom>
                <a:noFill/>
                <a:ln w="190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19" name="Oval 72">
                  <a:extLst>
                    <a:ext uri="{FF2B5EF4-FFF2-40B4-BE49-F238E27FC236}">
                      <a16:creationId xmlns:a16="http://schemas.microsoft.com/office/drawing/2014/main" id="{040DB4AD-8578-6456-B954-11EE117EDF41}"/>
                    </a:ext>
                  </a:extLst>
                </p:cNvPr>
                <p:cNvSpPr/>
                <p:nvPr/>
              </p:nvSpPr>
              <p:spPr>
                <a:xfrm>
                  <a:off x="2739002" y="6015755"/>
                  <a:ext cx="50566" cy="50566"/>
                </a:xfrm>
                <a:custGeom>
                  <a:avLst/>
                  <a:gdLst>
                    <a:gd name="f0" fmla="val 21600000"/>
                    <a:gd name="f1" fmla="val 10800000"/>
                    <a:gd name="f2" fmla="val 5400000"/>
                    <a:gd name="f3" fmla="val 180"/>
                    <a:gd name="f4" fmla="val w"/>
                    <a:gd name="f5" fmla="val h"/>
                    <a:gd name="f6" fmla="val ss"/>
                    <a:gd name="f7" fmla="val 0"/>
                    <a:gd name="f8" fmla="*/ 5419351 1 1725033"/>
                    <a:gd name="f9" fmla="+- 0 0 -360"/>
                    <a:gd name="f10" fmla="+- 0 0 -180"/>
                    <a:gd name="f11" fmla="abs f4"/>
                    <a:gd name="f12" fmla="abs f5"/>
                    <a:gd name="f13" fmla="abs f6"/>
                    <a:gd name="f14" fmla="+- 2700000 f2 0"/>
                    <a:gd name="f15" fmla="*/ f9 f1 1"/>
                    <a:gd name="f16" fmla="*/ f10 f1 1"/>
                    <a:gd name="f17" fmla="?: f11 f4 1"/>
                    <a:gd name="f18" fmla="?: f12 f5 1"/>
                    <a:gd name="f19" fmla="?: f13 f6 1"/>
                    <a:gd name="f20" fmla="+- f14 0 f2"/>
                    <a:gd name="f21" fmla="*/ f15 1 f3"/>
                    <a:gd name="f22" fmla="*/ f16 1 f3"/>
                    <a:gd name="f23" fmla="*/ f17 1 21600"/>
                    <a:gd name="f24" fmla="*/ f18 1 21600"/>
                    <a:gd name="f25" fmla="*/ 21600 f17 1"/>
                    <a:gd name="f26" fmla="*/ 21600 f18 1"/>
                    <a:gd name="f27" fmla="+- f20 f2 0"/>
                    <a:gd name="f28" fmla="+- f21 0 f2"/>
                    <a:gd name="f29" fmla="+- f22 0 f2"/>
                    <a:gd name="f30" fmla="min f24 f23"/>
                    <a:gd name="f31" fmla="*/ f25 1 f19"/>
                    <a:gd name="f32" fmla="*/ f26 1 f19"/>
                    <a:gd name="f33" fmla="*/ f27 f8 1"/>
                    <a:gd name="f34" fmla="val f31"/>
                    <a:gd name="f35" fmla="val f32"/>
                    <a:gd name="f36" fmla="*/ f33 1 f1"/>
                    <a:gd name="f37" fmla="*/ f7 f30 1"/>
                    <a:gd name="f38" fmla="+- f35 0 f7"/>
                    <a:gd name="f39" fmla="+- f34 0 f7"/>
                    <a:gd name="f40" fmla="+- 0 0 f36"/>
                    <a:gd name="f41" fmla="*/ f38 1 2"/>
                    <a:gd name="f42" fmla="*/ f39 1 2"/>
                    <a:gd name="f43" fmla="+- 0 0 f40"/>
                    <a:gd name="f44" fmla="+- f7 f41 0"/>
                    <a:gd name="f45" fmla="+- f7 f42 0"/>
                    <a:gd name="f46" fmla="*/ f43 f1 1"/>
                    <a:gd name="f47" fmla="*/ f42 f30 1"/>
                    <a:gd name="f48" fmla="*/ f41 f30 1"/>
                    <a:gd name="f49" fmla="*/ f46 1 f8"/>
                    <a:gd name="f50" fmla="*/ f44 f30 1"/>
                    <a:gd name="f51" fmla="+- f49 0 f2"/>
                    <a:gd name="f52" fmla="cos 1 f51"/>
                    <a:gd name="f53" fmla="sin 1 f51"/>
                    <a:gd name="f54" fmla="+- 0 0 f52"/>
                    <a:gd name="f55" fmla="+- 0 0 f53"/>
                    <a:gd name="f56" fmla="+- 0 0 f54"/>
                    <a:gd name="f57" fmla="+- 0 0 f55"/>
                    <a:gd name="f58" fmla="val f56"/>
                    <a:gd name="f59" fmla="val f57"/>
                    <a:gd name="f60" fmla="*/ f58 f42 1"/>
                    <a:gd name="f61" fmla="*/ f59 f41 1"/>
                    <a:gd name="f62" fmla="+- f45 0 f60"/>
                    <a:gd name="f63" fmla="+- f45 f60 0"/>
                    <a:gd name="f64" fmla="+- f44 0 f61"/>
                    <a:gd name="f65" fmla="+- f44 f61 0"/>
                    <a:gd name="f66" fmla="*/ f62 f30 1"/>
                    <a:gd name="f67" fmla="*/ f64 f30 1"/>
                    <a:gd name="f68" fmla="*/ f63 f30 1"/>
                    <a:gd name="f69" fmla="*/ f65 f30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8">
                      <a:pos x="f66" y="f67"/>
                    </a:cxn>
                    <a:cxn ang="f29">
                      <a:pos x="f66" y="f69"/>
                    </a:cxn>
                    <a:cxn ang="f29">
                      <a:pos x="f68" y="f69"/>
                    </a:cxn>
                    <a:cxn ang="f28">
                      <a:pos x="f68" y="f67"/>
                    </a:cxn>
                  </a:cxnLst>
                  <a:rect l="f66" t="f67" r="f68" b="f69"/>
                  <a:pathLst>
                    <a:path>
                      <a:moveTo>
                        <a:pt x="f37" y="f50"/>
                      </a:moveTo>
                      <a:arcTo wR="f47" hR="f48" stAng="f1" swAng="f0"/>
                      <a:close/>
                    </a:path>
                  </a:pathLst>
                </a:custGeom>
                <a:noFill/>
                <a:ln w="190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20" name="Freeform: Shape 73">
                  <a:extLst>
                    <a:ext uri="{FF2B5EF4-FFF2-40B4-BE49-F238E27FC236}">
                      <a16:creationId xmlns:a16="http://schemas.microsoft.com/office/drawing/2014/main" id="{B46F1AD6-D087-06D2-918D-0EDF714922DC}"/>
                    </a:ext>
                  </a:extLst>
                </p:cNvPr>
                <p:cNvSpPr/>
                <p:nvPr/>
              </p:nvSpPr>
              <p:spPr>
                <a:xfrm>
                  <a:off x="2714423" y="5900641"/>
                  <a:ext cx="188293" cy="140470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573578"/>
                    <a:gd name="f7" fmla="val 1173921"/>
                    <a:gd name="f8" fmla="val 1172537"/>
                    <a:gd name="f9" fmla="val 1172195"/>
                    <a:gd name="f10" fmla="val 1182773"/>
                    <a:gd name="f11" fmla="val 1168783"/>
                    <a:gd name="f12" fmla="val 1572112"/>
                    <a:gd name="f13" fmla="val 1168405"/>
                    <a:gd name="f14" fmla="val 1569838"/>
                    <a:gd name="f15" fmla="val 1173712"/>
                    <a:gd name="f16" fmla="val 1569080"/>
                    <a:gd name="f17" fmla="val 1168404"/>
                    <a:gd name="f18" fmla="val 1577418"/>
                    <a:gd name="f19" fmla="+- 0 0 2270"/>
                    <a:gd name="f20" fmla="val 1571353"/>
                    <a:gd name="f21" fmla="val 4"/>
                    <a:gd name="f22" fmla="val 55555"/>
                    <a:gd name="f23" fmla="val 5011"/>
                    <a:gd name="f24" fmla="val 10447"/>
                    <a:gd name="f25" fmla="val 3131"/>
                    <a:gd name="f26" fmla="val 6252"/>
                    <a:gd name="f27" fmla="val 20599"/>
                    <a:gd name="f28" fmla="val 3962"/>
                    <a:gd name="f29" fmla="val 35530"/>
                    <a:gd name="f30" fmla="val 3204"/>
                    <a:gd name="f31" fmla="val 230137"/>
                    <a:gd name="f32" fmla="val 3887"/>
                    <a:gd name="f33" fmla="val 970498"/>
                    <a:gd name="f34" fmla="val 1122047"/>
                    <a:gd name="f35" fmla="val 611"/>
                    <a:gd name="f36" fmla="val 1147796"/>
                    <a:gd name="f37" fmla="val 7672"/>
                    <a:gd name="f38" fmla="val 1172698"/>
                    <a:gd name="f39" fmla="val 39770"/>
                    <a:gd name="f40" fmla="val 1172193"/>
                    <a:gd name="f41" fmla="val 202030"/>
                    <a:gd name="f42" fmla="+- 0 0 -90"/>
                    <a:gd name="f43" fmla="*/ f3 1 1573578"/>
                    <a:gd name="f44" fmla="*/ f4 1 1173921"/>
                    <a:gd name="f45" fmla="+- f7 0 f5"/>
                    <a:gd name="f46" fmla="+- f6 0 f5"/>
                    <a:gd name="f47" fmla="*/ f42 f0 1"/>
                    <a:gd name="f48" fmla="*/ f46 1 1573578"/>
                    <a:gd name="f49" fmla="*/ f45 1 1173921"/>
                    <a:gd name="f50" fmla="*/ 1172537 f46 1"/>
                    <a:gd name="f51" fmla="*/ 1569838 f46 1"/>
                    <a:gd name="f52" fmla="*/ 1571353 f46 1"/>
                    <a:gd name="f53" fmla="*/ 55555 f46 1"/>
                    <a:gd name="f54" fmla="*/ 0 f46 1"/>
                    <a:gd name="f55" fmla="*/ 39770 f46 1"/>
                    <a:gd name="f56" fmla="*/ 202030 f46 1"/>
                    <a:gd name="f57" fmla="*/ 1172195 f45 1"/>
                    <a:gd name="f58" fmla="*/ 1173712 f45 1"/>
                    <a:gd name="f59" fmla="*/ 4 f45 1"/>
                    <a:gd name="f60" fmla="*/ 5011 f45 1"/>
                    <a:gd name="f61" fmla="*/ 1122047 f45 1"/>
                    <a:gd name="f62" fmla="*/ 1172193 f45 1"/>
                    <a:gd name="f63" fmla="*/ 1173921 f45 1"/>
                    <a:gd name="f64" fmla="*/ 3962 f46 1"/>
                    <a:gd name="f65" fmla="*/ 35530 f45 1"/>
                    <a:gd name="f66" fmla="*/ f47 1 f2"/>
                    <a:gd name="f67" fmla="*/ f50 1 1573578"/>
                    <a:gd name="f68" fmla="*/ f51 1 1573578"/>
                    <a:gd name="f69" fmla="*/ f52 1 1573578"/>
                    <a:gd name="f70" fmla="*/ f53 1 1573578"/>
                    <a:gd name="f71" fmla="*/ f54 1 1573578"/>
                    <a:gd name="f72" fmla="*/ f55 1 1573578"/>
                    <a:gd name="f73" fmla="*/ f56 1 1573578"/>
                    <a:gd name="f74" fmla="*/ f57 1 1173921"/>
                    <a:gd name="f75" fmla="*/ f58 1 1173921"/>
                    <a:gd name="f76" fmla="*/ f59 1 1173921"/>
                    <a:gd name="f77" fmla="*/ f60 1 1173921"/>
                    <a:gd name="f78" fmla="*/ f61 1 1173921"/>
                    <a:gd name="f79" fmla="*/ f62 1 1173921"/>
                    <a:gd name="f80" fmla="*/ f63 1 1173921"/>
                    <a:gd name="f81" fmla="*/ f64 1 1573578"/>
                    <a:gd name="f82" fmla="*/ f65 1 1173921"/>
                    <a:gd name="f83" fmla="*/ f5 1 f48"/>
                    <a:gd name="f84" fmla="*/ f6 1 f48"/>
                    <a:gd name="f85" fmla="*/ f5 1 f49"/>
                    <a:gd name="f86" fmla="*/ f7 1 f49"/>
                    <a:gd name="f87" fmla="+- f66 0 f1"/>
                    <a:gd name="f88" fmla="*/ f67 1 f48"/>
                    <a:gd name="f89" fmla="*/ f74 1 f49"/>
                    <a:gd name="f90" fmla="*/ f68 1 f48"/>
                    <a:gd name="f91" fmla="*/ f75 1 f49"/>
                    <a:gd name="f92" fmla="*/ f69 1 f48"/>
                    <a:gd name="f93" fmla="*/ f76 1 f49"/>
                    <a:gd name="f94" fmla="*/ f70 1 f48"/>
                    <a:gd name="f95" fmla="*/ f77 1 f49"/>
                    <a:gd name="f96" fmla="*/ f81 1 f48"/>
                    <a:gd name="f97" fmla="*/ f82 1 f49"/>
                    <a:gd name="f98" fmla="*/ f71 1 f48"/>
                    <a:gd name="f99" fmla="*/ f78 1 f49"/>
                    <a:gd name="f100" fmla="*/ f72 1 f48"/>
                    <a:gd name="f101" fmla="*/ f79 1 f49"/>
                    <a:gd name="f102" fmla="*/ f73 1 f48"/>
                    <a:gd name="f103" fmla="*/ f80 1 f49"/>
                    <a:gd name="f104" fmla="*/ f83 f43 1"/>
                    <a:gd name="f105" fmla="*/ f84 f43 1"/>
                    <a:gd name="f106" fmla="*/ f86 f44 1"/>
                    <a:gd name="f107" fmla="*/ f85 f44 1"/>
                    <a:gd name="f108" fmla="*/ f88 f43 1"/>
                    <a:gd name="f109" fmla="*/ f89 f44 1"/>
                    <a:gd name="f110" fmla="*/ f90 f43 1"/>
                    <a:gd name="f111" fmla="*/ f91 f44 1"/>
                    <a:gd name="f112" fmla="*/ f92 f43 1"/>
                    <a:gd name="f113" fmla="*/ f93 f44 1"/>
                    <a:gd name="f114" fmla="*/ f94 f43 1"/>
                    <a:gd name="f115" fmla="*/ f95 f44 1"/>
                    <a:gd name="f116" fmla="*/ f96 f43 1"/>
                    <a:gd name="f117" fmla="*/ f97 f44 1"/>
                    <a:gd name="f118" fmla="*/ f98 f43 1"/>
                    <a:gd name="f119" fmla="*/ f99 f44 1"/>
                    <a:gd name="f120" fmla="*/ f100 f43 1"/>
                    <a:gd name="f121" fmla="*/ f101 f44 1"/>
                    <a:gd name="f122" fmla="*/ f102 f43 1"/>
                    <a:gd name="f123" fmla="*/ f103 f44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87">
                      <a:pos x="f108" y="f109"/>
                    </a:cxn>
                    <a:cxn ang="f87">
                      <a:pos x="f110" y="f111"/>
                    </a:cxn>
                    <a:cxn ang="f87">
                      <a:pos x="f112" y="f113"/>
                    </a:cxn>
                    <a:cxn ang="f87">
                      <a:pos x="f114" y="f115"/>
                    </a:cxn>
                    <a:cxn ang="f87">
                      <a:pos x="f116" y="f117"/>
                    </a:cxn>
                    <a:cxn ang="f87">
                      <a:pos x="f118" y="f119"/>
                    </a:cxn>
                    <a:cxn ang="f87">
                      <a:pos x="f120" y="f121"/>
                    </a:cxn>
                    <a:cxn ang="f87">
                      <a:pos x="f122" y="f123"/>
                    </a:cxn>
                  </a:cxnLst>
                  <a:rect l="f104" t="f107" r="f105" b="f106"/>
                  <a:pathLst>
                    <a:path w="1573578" h="1173921">
                      <a:moveTo>
                        <a:pt x="f8" y="f9"/>
                      </a:moveTo>
                      <a:cubicBezTo>
                        <a:pt x="f10" y="f11"/>
                        <a:pt x="f12" y="f13"/>
                        <a:pt x="f14" y="f15"/>
                      </a:cubicBezTo>
                      <a:cubicBezTo>
                        <a:pt x="f16" y="f17"/>
                        <a:pt x="f18" y="f19"/>
                        <a:pt x="f20" y="f21"/>
                      </a:cubicBezTo>
                      <a:lnTo>
                        <a:pt x="f22" y="f23"/>
                      </a:lnTo>
                      <a:cubicBezTo>
                        <a:pt x="f24" y="f25"/>
                        <a:pt x="f26" y="f27"/>
                        <a:pt x="f28" y="f29"/>
                      </a:cubicBezTo>
                      <a:cubicBezTo>
                        <a:pt x="f30" y="f31"/>
                        <a:pt x="f32" y="f33"/>
                        <a:pt x="f5" y="f34"/>
                      </a:cubicBezTo>
                      <a:cubicBezTo>
                        <a:pt x="f35" y="f36"/>
                        <a:pt x="f37" y="f38"/>
                        <a:pt x="f39" y="f40"/>
                      </a:cubicBezTo>
                      <a:lnTo>
                        <a:pt x="f41" y="f7"/>
                      </a:lnTo>
                    </a:path>
                  </a:pathLst>
                </a:custGeom>
                <a:noFill/>
                <a:ln w="19046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21" name="Freeform: Shape 74">
                  <a:extLst>
                    <a:ext uri="{FF2B5EF4-FFF2-40B4-BE49-F238E27FC236}">
                      <a16:creationId xmlns:a16="http://schemas.microsoft.com/office/drawing/2014/main" id="{74E5487B-BF70-995E-366C-669AE869E177}"/>
                    </a:ext>
                  </a:extLst>
                </p:cNvPr>
                <p:cNvSpPr/>
                <p:nvPr/>
              </p:nvSpPr>
              <p:spPr>
                <a:xfrm>
                  <a:off x="2903000" y="5923684"/>
                  <a:ext cx="97429" cy="117399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814232"/>
                    <a:gd name="f7" fmla="val 981123"/>
                    <a:gd name="f8" fmla="val 142291"/>
                    <a:gd name="f9" fmla="val 4043"/>
                    <a:gd name="f10" fmla="val 434706"/>
                    <a:gd name="f11" fmla="val 505"/>
                    <a:gd name="f12" fmla="val 568657"/>
                    <a:gd name="f13" fmla="val 6066"/>
                    <a:gd name="f14" fmla="val 640434"/>
                    <a:gd name="f15" fmla="val 117776"/>
                    <a:gd name="f16" fmla="val 745066"/>
                    <a:gd name="f17" fmla="val 350545"/>
                    <a:gd name="f18" fmla="val 812800"/>
                    <a:gd name="f19" fmla="val 497385"/>
                    <a:gd name="f20" fmla="val 815327"/>
                    <a:gd name="f21" fmla="val 612380"/>
                    <a:gd name="f22" fmla="val 814317"/>
                    <a:gd name="f23" fmla="val 882302"/>
                    <a:gd name="f24" fmla="val 811284"/>
                    <a:gd name="f25" fmla="val 976573"/>
                    <a:gd name="f26" fmla="val 721816"/>
                    <a:gd name="f27" fmla="val 979859"/>
                    <a:gd name="f28" fmla="val 660400"/>
                    <a:gd name="f29" fmla="val 977458"/>
                    <a:gd name="f30" fmla="val 576239"/>
                    <a:gd name="f31" fmla="+- 0 0 -90"/>
                    <a:gd name="f32" fmla="*/ f3 1 814232"/>
                    <a:gd name="f33" fmla="*/ f4 1 981123"/>
                    <a:gd name="f34" fmla="+- f7 0 f5"/>
                    <a:gd name="f35" fmla="+- f6 0 f5"/>
                    <a:gd name="f36" fmla="*/ f31 f0 1"/>
                    <a:gd name="f37" fmla="*/ f35 1 814232"/>
                    <a:gd name="f38" fmla="*/ f34 1 981123"/>
                    <a:gd name="f39" fmla="*/ 0 f35 1"/>
                    <a:gd name="f40" fmla="*/ 568657 f35 1"/>
                    <a:gd name="f41" fmla="*/ 812800 f35 1"/>
                    <a:gd name="f42" fmla="*/ 811284 f35 1"/>
                    <a:gd name="f43" fmla="*/ 576239 f35 1"/>
                    <a:gd name="f44" fmla="*/ 0 f34 1"/>
                    <a:gd name="f45" fmla="*/ 6066 f34 1"/>
                    <a:gd name="f46" fmla="*/ 497385 f34 1"/>
                    <a:gd name="f47" fmla="*/ 981123 f34 1"/>
                    <a:gd name="f48" fmla="*/ 976573 f34 1"/>
                    <a:gd name="f49" fmla="*/ f36 1 f2"/>
                    <a:gd name="f50" fmla="*/ f39 1 814232"/>
                    <a:gd name="f51" fmla="*/ f40 1 814232"/>
                    <a:gd name="f52" fmla="*/ f41 1 814232"/>
                    <a:gd name="f53" fmla="*/ f42 1 814232"/>
                    <a:gd name="f54" fmla="*/ f43 1 814232"/>
                    <a:gd name="f55" fmla="*/ f44 1 981123"/>
                    <a:gd name="f56" fmla="*/ f45 1 981123"/>
                    <a:gd name="f57" fmla="*/ f46 1 981123"/>
                    <a:gd name="f58" fmla="*/ f47 1 981123"/>
                    <a:gd name="f59" fmla="*/ f48 1 981123"/>
                    <a:gd name="f60" fmla="*/ f5 1 f37"/>
                    <a:gd name="f61" fmla="*/ f6 1 f37"/>
                    <a:gd name="f62" fmla="*/ f5 1 f38"/>
                    <a:gd name="f63" fmla="*/ f7 1 f38"/>
                    <a:gd name="f64" fmla="+- f49 0 f1"/>
                    <a:gd name="f65" fmla="*/ f50 1 f37"/>
                    <a:gd name="f66" fmla="*/ f55 1 f38"/>
                    <a:gd name="f67" fmla="*/ f51 1 f37"/>
                    <a:gd name="f68" fmla="*/ f56 1 f38"/>
                    <a:gd name="f69" fmla="*/ f52 1 f37"/>
                    <a:gd name="f70" fmla="*/ f57 1 f38"/>
                    <a:gd name="f71" fmla="*/ f53 1 f37"/>
                    <a:gd name="f72" fmla="*/ f59 1 f38"/>
                    <a:gd name="f73" fmla="*/ f54 1 f37"/>
                    <a:gd name="f74" fmla="*/ f58 1 f38"/>
                    <a:gd name="f75" fmla="*/ f60 f32 1"/>
                    <a:gd name="f76" fmla="*/ f61 f32 1"/>
                    <a:gd name="f77" fmla="*/ f63 f33 1"/>
                    <a:gd name="f78" fmla="*/ f62 f33 1"/>
                    <a:gd name="f79" fmla="*/ f65 f32 1"/>
                    <a:gd name="f80" fmla="*/ f66 f33 1"/>
                    <a:gd name="f81" fmla="*/ f67 f32 1"/>
                    <a:gd name="f82" fmla="*/ f68 f33 1"/>
                    <a:gd name="f83" fmla="*/ f69 f32 1"/>
                    <a:gd name="f84" fmla="*/ f70 f33 1"/>
                    <a:gd name="f85" fmla="*/ f71 f32 1"/>
                    <a:gd name="f86" fmla="*/ f72 f33 1"/>
                    <a:gd name="f87" fmla="*/ f73 f32 1"/>
                    <a:gd name="f88" fmla="*/ f74 f33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64">
                      <a:pos x="f79" y="f80"/>
                    </a:cxn>
                    <a:cxn ang="f64">
                      <a:pos x="f81" y="f82"/>
                    </a:cxn>
                    <a:cxn ang="f64">
                      <a:pos x="f83" y="f84"/>
                    </a:cxn>
                    <a:cxn ang="f64">
                      <a:pos x="f85" y="f86"/>
                    </a:cxn>
                    <a:cxn ang="f64">
                      <a:pos x="f87" y="f88"/>
                    </a:cxn>
                  </a:cxnLst>
                  <a:rect l="f75" t="f78" r="f76" b="f77"/>
                  <a:pathLst>
                    <a:path w="814232" h="981123">
                      <a:moveTo>
                        <a:pt x="f5" y="f5"/>
                      </a:moveTo>
                      <a:cubicBezTo>
                        <a:pt x="f8" y="f9"/>
                        <a:pt x="f10" y="f11"/>
                        <a:pt x="f12" y="f13"/>
                      </a:cubicBezTo>
                      <a:cubicBezTo>
                        <a:pt x="f14" y="f15"/>
                        <a:pt x="f16" y="f17"/>
                        <a:pt x="f18" y="f19"/>
                      </a:cubicBezTo>
                      <a:cubicBezTo>
                        <a:pt x="f20" y="f21"/>
                        <a:pt x="f22" y="f23"/>
                        <a:pt x="f24" y="f25"/>
                      </a:cubicBezTo>
                      <a:cubicBezTo>
                        <a:pt x="f26" y="f27"/>
                        <a:pt x="f28" y="f29"/>
                        <a:pt x="f30" y="f7"/>
                      </a:cubicBezTo>
                    </a:path>
                  </a:pathLst>
                </a:custGeom>
                <a:noFill/>
                <a:ln w="190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</p:grpSp>
        </p:grpSp>
        <p:grpSp>
          <p:nvGrpSpPr>
            <p:cNvPr id="122" name="Group 20">
              <a:extLst>
                <a:ext uri="{FF2B5EF4-FFF2-40B4-BE49-F238E27FC236}">
                  <a16:creationId xmlns:a16="http://schemas.microsoft.com/office/drawing/2014/main" id="{CAB6E650-ED9E-4061-2BC3-F366894BF80D}"/>
                </a:ext>
              </a:extLst>
            </p:cNvPr>
            <p:cNvGrpSpPr/>
            <p:nvPr/>
          </p:nvGrpSpPr>
          <p:grpSpPr>
            <a:xfrm>
              <a:off x="5803577" y="5268964"/>
              <a:ext cx="676281" cy="866439"/>
              <a:chOff x="5803577" y="5268964"/>
              <a:chExt cx="676281" cy="866439"/>
            </a:xfrm>
          </p:grpSpPr>
          <p:grpSp>
            <p:nvGrpSpPr>
              <p:cNvPr id="123" name="Group 42">
                <a:extLst>
                  <a:ext uri="{FF2B5EF4-FFF2-40B4-BE49-F238E27FC236}">
                    <a16:creationId xmlns:a16="http://schemas.microsoft.com/office/drawing/2014/main" id="{95F4F5B0-33F2-09E8-5503-6CF15946E473}"/>
                  </a:ext>
                </a:extLst>
              </p:cNvPr>
              <p:cNvGrpSpPr/>
              <p:nvPr/>
            </p:nvGrpSpPr>
            <p:grpSpPr>
              <a:xfrm>
                <a:off x="5803577" y="5268964"/>
                <a:ext cx="601309" cy="866439"/>
                <a:chOff x="5803577" y="5268964"/>
                <a:chExt cx="601309" cy="866439"/>
              </a:xfrm>
            </p:grpSpPr>
            <p:grpSp>
              <p:nvGrpSpPr>
                <p:cNvPr id="124" name="Graphic 51">
                  <a:extLst>
                    <a:ext uri="{FF2B5EF4-FFF2-40B4-BE49-F238E27FC236}">
                      <a16:creationId xmlns:a16="http://schemas.microsoft.com/office/drawing/2014/main" id="{65ABB19B-E5E9-9A8A-8BEA-B54DB712D566}"/>
                    </a:ext>
                  </a:extLst>
                </p:cNvPr>
                <p:cNvGrpSpPr/>
                <p:nvPr/>
              </p:nvGrpSpPr>
              <p:grpSpPr>
                <a:xfrm>
                  <a:off x="5803577" y="5542324"/>
                  <a:ext cx="419389" cy="593079"/>
                  <a:chOff x="5803577" y="5542324"/>
                  <a:chExt cx="419389" cy="593079"/>
                </a:xfrm>
              </p:grpSpPr>
              <p:sp>
                <p:nvSpPr>
                  <p:cNvPr id="125" name="Graphic 51">
                    <a:extLst>
                      <a:ext uri="{FF2B5EF4-FFF2-40B4-BE49-F238E27FC236}">
                        <a16:creationId xmlns:a16="http://schemas.microsoft.com/office/drawing/2014/main" id="{74C04289-DEB6-1CE5-7317-44008FE7CC1F}"/>
                      </a:ext>
                    </a:extLst>
                  </p:cNvPr>
                  <p:cNvSpPr/>
                  <p:nvPr/>
                </p:nvSpPr>
                <p:spPr>
                  <a:xfrm>
                    <a:off x="5803577" y="5885178"/>
                    <a:ext cx="259479" cy="132030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572384"/>
                      <a:gd name="f7" fmla="val 291243"/>
                      <a:gd name="f8" fmla="val 565087"/>
                      <a:gd name="f9" fmla="val 282416"/>
                      <a:gd name="f10" fmla="val 575564"/>
                      <a:gd name="f11" fmla="val 270986"/>
                      <a:gd name="f12" fmla="val 574612"/>
                      <a:gd name="f13" fmla="val 253841"/>
                      <a:gd name="f14" fmla="val 563182"/>
                      <a:gd name="f15" fmla="val 244316"/>
                      <a:gd name="f16" fmla="val 303149"/>
                      <a:gd name="f17" fmla="val 7144"/>
                      <a:gd name="f18" fmla="val 292672"/>
                      <a:gd name="f19" fmla="+- 0 0 2381"/>
                      <a:gd name="f20" fmla="val 276479"/>
                      <a:gd name="f21" fmla="val 266954"/>
                      <a:gd name="f22" fmla="val 8827"/>
                      <a:gd name="f23" fmla="+- 0 0 2603"/>
                      <a:gd name="f24" fmla="val 254794"/>
                      <a:gd name="f25" fmla="val 271939"/>
                      <a:gd name="f26" fmla="val 6922"/>
                      <a:gd name="f27" fmla="val 17399"/>
                      <a:gd name="f28" fmla="val 293846"/>
                      <a:gd name="f29" fmla="val 34544"/>
                      <a:gd name="f30" fmla="val 45022"/>
                      <a:gd name="f31" fmla="val 284321"/>
                      <a:gd name="f32" fmla="val 284099"/>
                      <a:gd name="f33" fmla="val 64294"/>
                      <a:gd name="f34" fmla="val 526034"/>
                      <a:gd name="f35" fmla="val 537464"/>
                      <a:gd name="f36" fmla="val 554609"/>
                      <a:gd name="f37" fmla="val 292894"/>
                      <a:gd name="f38" fmla="+- 0 0 -90"/>
                      <a:gd name="f39" fmla="*/ f3 1 572384"/>
                      <a:gd name="f40" fmla="*/ f4 1 291243"/>
                      <a:gd name="f41" fmla="+- f7 0 f5"/>
                      <a:gd name="f42" fmla="+- f6 0 f5"/>
                      <a:gd name="f43" fmla="*/ f38 f0 1"/>
                      <a:gd name="f44" fmla="*/ f42 1 572384"/>
                      <a:gd name="f45" fmla="*/ f41 1 291243"/>
                      <a:gd name="f46" fmla="*/ 565087 f42 1"/>
                      <a:gd name="f47" fmla="*/ 282416 f41 1"/>
                      <a:gd name="f48" fmla="*/ 563182 f42 1"/>
                      <a:gd name="f49" fmla="*/ 244316 f41 1"/>
                      <a:gd name="f50" fmla="*/ 303149 f42 1"/>
                      <a:gd name="f51" fmla="*/ 7144 f41 1"/>
                      <a:gd name="f52" fmla="*/ 266954 f42 1"/>
                      <a:gd name="f53" fmla="*/ 8827 f42 1"/>
                      <a:gd name="f54" fmla="*/ 6922 f42 1"/>
                      <a:gd name="f55" fmla="*/ 45022 f42 1"/>
                      <a:gd name="f56" fmla="*/ 284321 f41 1"/>
                      <a:gd name="f57" fmla="*/ 284099 f42 1"/>
                      <a:gd name="f58" fmla="*/ 64294 f41 1"/>
                      <a:gd name="f59" fmla="*/ 526034 f42 1"/>
                      <a:gd name="f60" fmla="*/ f43 1 f2"/>
                      <a:gd name="f61" fmla="*/ f46 1 572384"/>
                      <a:gd name="f62" fmla="*/ f47 1 291243"/>
                      <a:gd name="f63" fmla="*/ f48 1 572384"/>
                      <a:gd name="f64" fmla="*/ f49 1 291243"/>
                      <a:gd name="f65" fmla="*/ f50 1 572384"/>
                      <a:gd name="f66" fmla="*/ f51 1 291243"/>
                      <a:gd name="f67" fmla="*/ f52 1 572384"/>
                      <a:gd name="f68" fmla="*/ f53 1 572384"/>
                      <a:gd name="f69" fmla="*/ f54 1 572384"/>
                      <a:gd name="f70" fmla="*/ f55 1 572384"/>
                      <a:gd name="f71" fmla="*/ f56 1 291243"/>
                      <a:gd name="f72" fmla="*/ f57 1 572384"/>
                      <a:gd name="f73" fmla="*/ f58 1 291243"/>
                      <a:gd name="f74" fmla="*/ f59 1 572384"/>
                      <a:gd name="f75" fmla="*/ f5 1 f44"/>
                      <a:gd name="f76" fmla="*/ f6 1 f44"/>
                      <a:gd name="f77" fmla="*/ f5 1 f45"/>
                      <a:gd name="f78" fmla="*/ f7 1 f45"/>
                      <a:gd name="f79" fmla="+- f60 0 f1"/>
                      <a:gd name="f80" fmla="*/ f61 1 f44"/>
                      <a:gd name="f81" fmla="*/ f62 1 f45"/>
                      <a:gd name="f82" fmla="*/ f63 1 f44"/>
                      <a:gd name="f83" fmla="*/ f64 1 f45"/>
                      <a:gd name="f84" fmla="*/ f65 1 f44"/>
                      <a:gd name="f85" fmla="*/ f66 1 f45"/>
                      <a:gd name="f86" fmla="*/ f67 1 f44"/>
                      <a:gd name="f87" fmla="*/ f68 1 f44"/>
                      <a:gd name="f88" fmla="*/ f69 1 f44"/>
                      <a:gd name="f89" fmla="*/ f70 1 f44"/>
                      <a:gd name="f90" fmla="*/ f71 1 f45"/>
                      <a:gd name="f91" fmla="*/ f72 1 f44"/>
                      <a:gd name="f92" fmla="*/ f73 1 f45"/>
                      <a:gd name="f93" fmla="*/ f74 1 f44"/>
                      <a:gd name="f94" fmla="*/ f75 f39 1"/>
                      <a:gd name="f95" fmla="*/ f76 f39 1"/>
                      <a:gd name="f96" fmla="*/ f78 f40 1"/>
                      <a:gd name="f97" fmla="*/ f77 f40 1"/>
                      <a:gd name="f98" fmla="*/ f80 f39 1"/>
                      <a:gd name="f99" fmla="*/ f81 f40 1"/>
                      <a:gd name="f100" fmla="*/ f82 f39 1"/>
                      <a:gd name="f101" fmla="*/ f83 f40 1"/>
                      <a:gd name="f102" fmla="*/ f84 f39 1"/>
                      <a:gd name="f103" fmla="*/ f85 f40 1"/>
                      <a:gd name="f104" fmla="*/ f86 f39 1"/>
                      <a:gd name="f105" fmla="*/ f87 f39 1"/>
                      <a:gd name="f106" fmla="*/ f88 f39 1"/>
                      <a:gd name="f107" fmla="*/ f89 f39 1"/>
                      <a:gd name="f108" fmla="*/ f90 f40 1"/>
                      <a:gd name="f109" fmla="*/ f91 f39 1"/>
                      <a:gd name="f110" fmla="*/ f92 f40 1"/>
                      <a:gd name="f111" fmla="*/ f93 f39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79">
                        <a:pos x="f98" y="f99"/>
                      </a:cxn>
                      <a:cxn ang="f79">
                        <a:pos x="f100" y="f101"/>
                      </a:cxn>
                      <a:cxn ang="f79">
                        <a:pos x="f102" y="f103"/>
                      </a:cxn>
                      <a:cxn ang="f79">
                        <a:pos x="f104" y="f103"/>
                      </a:cxn>
                      <a:cxn ang="f79">
                        <a:pos x="f105" y="f101"/>
                      </a:cxn>
                      <a:cxn ang="f79">
                        <a:pos x="f106" y="f99"/>
                      </a:cxn>
                      <a:cxn ang="f79">
                        <a:pos x="f107" y="f108"/>
                      </a:cxn>
                      <a:cxn ang="f79">
                        <a:pos x="f109" y="f110"/>
                      </a:cxn>
                      <a:cxn ang="f79">
                        <a:pos x="f111" y="f108"/>
                      </a:cxn>
                      <a:cxn ang="f79">
                        <a:pos x="f98" y="f99"/>
                      </a:cxn>
                      <a:cxn ang="f79">
                        <a:pos x="f98" y="f99"/>
                      </a:cxn>
                      <a:cxn ang="f79">
                        <a:pos x="f98" y="f99"/>
                      </a:cxn>
                    </a:cxnLst>
                    <a:rect l="f94" t="f97" r="f95" b="f96"/>
                    <a:pathLst>
                      <a:path w="572384" h="291243">
                        <a:moveTo>
                          <a:pt x="f8" y="f9"/>
                        </a:moveTo>
                        <a:cubicBezTo>
                          <a:pt x="f10" y="f11"/>
                          <a:pt x="f12" y="f13"/>
                          <a:pt x="f14" y="f15"/>
                        </a:cubicBezTo>
                        <a:lnTo>
                          <a:pt x="f16" y="f17"/>
                        </a:lnTo>
                        <a:cubicBezTo>
                          <a:pt x="f18" y="f19"/>
                          <a:pt x="f20" y="f19"/>
                          <a:pt x="f21" y="f17"/>
                        </a:cubicBezTo>
                        <a:lnTo>
                          <a:pt x="f22" y="f15"/>
                        </a:lnTo>
                        <a:cubicBezTo>
                          <a:pt x="f23" y="f24"/>
                          <a:pt x="f23" y="f25"/>
                          <a:pt x="f26" y="f9"/>
                        </a:cubicBezTo>
                        <a:cubicBezTo>
                          <a:pt x="f27" y="f28"/>
                          <a:pt x="f29" y="f28"/>
                          <a:pt x="f30" y="f31"/>
                        </a:cubicBezTo>
                        <a:lnTo>
                          <a:pt x="f32" y="f33"/>
                        </a:lnTo>
                        <a:lnTo>
                          <a:pt x="f34" y="f31"/>
                        </a:lnTo>
                        <a:cubicBezTo>
                          <a:pt x="f35" y="f28"/>
                          <a:pt x="f36" y="f37"/>
                          <a:pt x="f8" y="f9"/>
                        </a:cubicBezTo>
                        <a:lnTo>
                          <a:pt x="f8" y="f9"/>
                        </a:lnTo>
                        <a:lnTo>
                          <a:pt x="f8" y="f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26" name="Graphic 51">
                    <a:extLst>
                      <a:ext uri="{FF2B5EF4-FFF2-40B4-BE49-F238E27FC236}">
                        <a16:creationId xmlns:a16="http://schemas.microsoft.com/office/drawing/2014/main" id="{E37B1D8B-7B37-8594-437F-AD319A6DA816}"/>
                      </a:ext>
                    </a:extLst>
                  </p:cNvPr>
                  <p:cNvSpPr/>
                  <p:nvPr/>
                </p:nvSpPr>
                <p:spPr>
                  <a:xfrm>
                    <a:off x="5832189" y="6021845"/>
                    <a:ext cx="202082" cy="113129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445770"/>
                      <a:gd name="f7" fmla="val 249554"/>
                      <a:gd name="f8" fmla="val 419100"/>
                      <a:gd name="f9" fmla="val 952"/>
                      <a:gd name="f10" fmla="val 403860"/>
                      <a:gd name="f11" fmla="val 392430"/>
                      <a:gd name="f12" fmla="val 13335"/>
                      <a:gd name="f13" fmla="val 27622"/>
                      <a:gd name="f14" fmla="val 196215"/>
                      <a:gd name="f15" fmla="val 54293"/>
                      <a:gd name="f16" fmla="val 12382"/>
                      <a:gd name="f17" fmla="val 41910"/>
                      <a:gd name="f18" fmla="val 26670"/>
                      <a:gd name="f19" fmla="val 11430"/>
                      <a:gd name="f20" fmla="val 222885"/>
                      <a:gd name="f21" fmla="val 238125"/>
                      <a:gd name="f22" fmla="val 249555"/>
                      <a:gd name="f23" fmla="val 434340"/>
                      <a:gd name="f24" fmla="val 237172"/>
                      <a:gd name="f25" fmla="val 433388"/>
                      <a:gd name="f26" fmla="+- 0 0 -90"/>
                      <a:gd name="f27" fmla="*/ f3 1 445770"/>
                      <a:gd name="f28" fmla="*/ f4 1 249554"/>
                      <a:gd name="f29" fmla="+- f7 0 f5"/>
                      <a:gd name="f30" fmla="+- f6 0 f5"/>
                      <a:gd name="f31" fmla="*/ f26 f0 1"/>
                      <a:gd name="f32" fmla="*/ f30 1 445770"/>
                      <a:gd name="f33" fmla="*/ f29 1 249554"/>
                      <a:gd name="f34" fmla="*/ 419100 f30 1"/>
                      <a:gd name="f35" fmla="*/ 952 f29 1"/>
                      <a:gd name="f36" fmla="*/ 392430 f30 1"/>
                      <a:gd name="f37" fmla="*/ 27622 f29 1"/>
                      <a:gd name="f38" fmla="*/ 196215 f29 1"/>
                      <a:gd name="f39" fmla="*/ 54293 f30 1"/>
                      <a:gd name="f40" fmla="*/ 26670 f30 1"/>
                      <a:gd name="f41" fmla="*/ 0 f29 1"/>
                      <a:gd name="f42" fmla="*/ 0 f30 1"/>
                      <a:gd name="f43" fmla="*/ 222885 f29 1"/>
                      <a:gd name="f44" fmla="*/ 249555 f29 1"/>
                      <a:gd name="f45" fmla="*/ 445770 f30 1"/>
                      <a:gd name="f46" fmla="*/ f31 1 f2"/>
                      <a:gd name="f47" fmla="*/ f34 1 445770"/>
                      <a:gd name="f48" fmla="*/ f35 1 249554"/>
                      <a:gd name="f49" fmla="*/ f36 1 445770"/>
                      <a:gd name="f50" fmla="*/ f37 1 249554"/>
                      <a:gd name="f51" fmla="*/ f38 1 249554"/>
                      <a:gd name="f52" fmla="*/ f39 1 445770"/>
                      <a:gd name="f53" fmla="*/ f40 1 445770"/>
                      <a:gd name="f54" fmla="*/ f41 1 249554"/>
                      <a:gd name="f55" fmla="*/ f42 1 445770"/>
                      <a:gd name="f56" fmla="*/ f43 1 249554"/>
                      <a:gd name="f57" fmla="*/ f44 1 249554"/>
                      <a:gd name="f58" fmla="*/ f45 1 445770"/>
                      <a:gd name="f59" fmla="*/ f5 1 f32"/>
                      <a:gd name="f60" fmla="*/ f6 1 f32"/>
                      <a:gd name="f61" fmla="*/ f5 1 f33"/>
                      <a:gd name="f62" fmla="*/ f7 1 f33"/>
                      <a:gd name="f63" fmla="+- f46 0 f1"/>
                      <a:gd name="f64" fmla="*/ f47 1 f32"/>
                      <a:gd name="f65" fmla="*/ f48 1 f33"/>
                      <a:gd name="f66" fmla="*/ f49 1 f32"/>
                      <a:gd name="f67" fmla="*/ f50 1 f33"/>
                      <a:gd name="f68" fmla="*/ f51 1 f33"/>
                      <a:gd name="f69" fmla="*/ f52 1 f32"/>
                      <a:gd name="f70" fmla="*/ f53 1 f32"/>
                      <a:gd name="f71" fmla="*/ f54 1 f33"/>
                      <a:gd name="f72" fmla="*/ f55 1 f32"/>
                      <a:gd name="f73" fmla="*/ f56 1 f33"/>
                      <a:gd name="f74" fmla="*/ f57 1 f33"/>
                      <a:gd name="f75" fmla="*/ f58 1 f32"/>
                      <a:gd name="f76" fmla="*/ f59 f27 1"/>
                      <a:gd name="f77" fmla="*/ f60 f27 1"/>
                      <a:gd name="f78" fmla="*/ f62 f28 1"/>
                      <a:gd name="f79" fmla="*/ f61 f28 1"/>
                      <a:gd name="f80" fmla="*/ f64 f27 1"/>
                      <a:gd name="f81" fmla="*/ f65 f28 1"/>
                      <a:gd name="f82" fmla="*/ f66 f27 1"/>
                      <a:gd name="f83" fmla="*/ f67 f28 1"/>
                      <a:gd name="f84" fmla="*/ f68 f28 1"/>
                      <a:gd name="f85" fmla="*/ f69 f27 1"/>
                      <a:gd name="f86" fmla="*/ f70 f27 1"/>
                      <a:gd name="f87" fmla="*/ f71 f28 1"/>
                      <a:gd name="f88" fmla="*/ f72 f27 1"/>
                      <a:gd name="f89" fmla="*/ f73 f28 1"/>
                      <a:gd name="f90" fmla="*/ f74 f28 1"/>
                      <a:gd name="f91" fmla="*/ f75 f27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3">
                        <a:pos x="f80" y="f81"/>
                      </a:cxn>
                      <a:cxn ang="f63">
                        <a:pos x="f82" y="f83"/>
                      </a:cxn>
                      <a:cxn ang="f63">
                        <a:pos x="f82" y="f83"/>
                      </a:cxn>
                      <a:cxn ang="f63">
                        <a:pos x="f82" y="f84"/>
                      </a:cxn>
                      <a:cxn ang="f63">
                        <a:pos x="f85" y="f84"/>
                      </a:cxn>
                      <a:cxn ang="f63">
                        <a:pos x="f85" y="f83"/>
                      </a:cxn>
                      <a:cxn ang="f63">
                        <a:pos x="f86" y="f87"/>
                      </a:cxn>
                      <a:cxn ang="f63">
                        <a:pos x="f88" y="f83"/>
                      </a:cxn>
                      <a:cxn ang="f63">
                        <a:pos x="f88" y="f89"/>
                      </a:cxn>
                      <a:cxn ang="f63">
                        <a:pos x="f86" y="f90"/>
                      </a:cxn>
                      <a:cxn ang="f63">
                        <a:pos x="f86" y="f90"/>
                      </a:cxn>
                      <a:cxn ang="f63">
                        <a:pos x="f80" y="f90"/>
                      </a:cxn>
                      <a:cxn ang="f63">
                        <a:pos x="f91" y="f89"/>
                      </a:cxn>
                      <a:cxn ang="f63">
                        <a:pos x="f91" y="f89"/>
                      </a:cxn>
                      <a:cxn ang="f63">
                        <a:pos x="f91" y="f83"/>
                      </a:cxn>
                      <a:cxn ang="f63">
                        <a:pos x="f80" y="f81"/>
                      </a:cxn>
                    </a:cxnLst>
                    <a:rect l="f76" t="f79" r="f77" b="f78"/>
                    <a:pathLst>
                      <a:path w="445770" h="249554">
                        <a:moveTo>
                          <a:pt x="f8" y="f9"/>
                        </a:moveTo>
                        <a:cubicBezTo>
                          <a:pt x="f10" y="f9"/>
                          <a:pt x="f11" y="f12"/>
                          <a:pt x="f11" y="f13"/>
                        </a:cubicBezTo>
                        <a:lnTo>
                          <a:pt x="f11" y="f13"/>
                        </a:lnTo>
                        <a:lnTo>
                          <a:pt x="f11" y="f14"/>
                        </a:lnTo>
                        <a:lnTo>
                          <a:pt x="f15" y="f14"/>
                        </a:lnTo>
                        <a:lnTo>
                          <a:pt x="f15" y="f13"/>
                        </a:lnTo>
                        <a:cubicBezTo>
                          <a:pt x="f15" y="f16"/>
                          <a:pt x="f17" y="f5"/>
                          <a:pt x="f18" y="f5"/>
                        </a:cubicBezTo>
                        <a:cubicBezTo>
                          <a:pt x="f19" y="f5"/>
                          <a:pt x="f5" y="f16"/>
                          <a:pt x="f5" y="f13"/>
                        </a:cubicBezTo>
                        <a:lnTo>
                          <a:pt x="f5" y="f20"/>
                        </a:lnTo>
                        <a:cubicBezTo>
                          <a:pt x="f5" y="f21"/>
                          <a:pt x="f16" y="f22"/>
                          <a:pt x="f18" y="f22"/>
                        </a:cubicBezTo>
                        <a:lnTo>
                          <a:pt x="f18" y="f22"/>
                        </a:lnTo>
                        <a:lnTo>
                          <a:pt x="f8" y="f22"/>
                        </a:lnTo>
                        <a:cubicBezTo>
                          <a:pt x="f23" y="f22"/>
                          <a:pt x="f6" y="f24"/>
                          <a:pt x="f6" y="f20"/>
                        </a:cubicBezTo>
                        <a:lnTo>
                          <a:pt x="f6" y="f20"/>
                        </a:lnTo>
                        <a:lnTo>
                          <a:pt x="f6" y="f13"/>
                        </a:lnTo>
                        <a:cubicBezTo>
                          <a:pt x="f6" y="f16"/>
                          <a:pt x="f25" y="f9"/>
                          <a:pt x="f8" y="f9"/>
                        </a:cubicBezTo>
                      </a:path>
                    </a:pathLst>
                  </a:custGeom>
                  <a:noFill/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27" name="Graphic 51">
                    <a:extLst>
                      <a:ext uri="{FF2B5EF4-FFF2-40B4-BE49-F238E27FC236}">
                        <a16:creationId xmlns:a16="http://schemas.microsoft.com/office/drawing/2014/main" id="{C82E2284-7937-7B0D-EB8D-C0E703CEAD94}"/>
                      </a:ext>
                    </a:extLst>
                  </p:cNvPr>
                  <p:cNvSpPr/>
                  <p:nvPr/>
                </p:nvSpPr>
                <p:spPr>
                  <a:xfrm>
                    <a:off x="5921114" y="5542324"/>
                    <a:ext cx="301852" cy="593079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665849"/>
                      <a:gd name="f7" fmla="val 1308258"/>
                      <a:gd name="f8" fmla="val 351524"/>
                      <a:gd name="f9" fmla="val 7144"/>
                      <a:gd name="f10" fmla="val 341047"/>
                      <a:gd name="f11" fmla="+- 0 0 2381"/>
                      <a:gd name="f12" fmla="val 324854"/>
                      <a:gd name="f13" fmla="val 314377"/>
                      <a:gd name="f14" fmla="val 8624"/>
                      <a:gd name="f15" fmla="val 290989"/>
                      <a:gd name="f16" fmla="val 2909"/>
                      <a:gd name="f17" fmla="val 295751"/>
                      <a:gd name="f18" fmla="val 52"/>
                      <a:gd name="f19" fmla="val 303371"/>
                      <a:gd name="f20" fmla="val 310991"/>
                      <a:gd name="f21" fmla="val 690086"/>
                      <a:gd name="f22" fmla="+- 0 0 901"/>
                      <a:gd name="f23" fmla="val 705326"/>
                      <a:gd name="f24" fmla="val 11482"/>
                      <a:gd name="f25" fmla="val 717709"/>
                      <a:gd name="f26" fmla="val 25769"/>
                      <a:gd name="f27" fmla="val 718661"/>
                      <a:gd name="f28" fmla="val 41009"/>
                      <a:gd name="f29" fmla="val 719614"/>
                      <a:gd name="f30" fmla="val 53392"/>
                      <a:gd name="f31" fmla="val 707231"/>
                      <a:gd name="f32" fmla="val 54344"/>
                      <a:gd name="f33" fmla="val 692944"/>
                      <a:gd name="f34" fmla="val 691039"/>
                      <a:gd name="f35" fmla="val 323374"/>
                      <a:gd name="f36" fmla="val 333427"/>
                      <a:gd name="f37" fmla="val 64294"/>
                      <a:gd name="f38" fmla="val 612509"/>
                      <a:gd name="f39" fmla="val 1253966"/>
                      <a:gd name="f40" fmla="val 299137"/>
                      <a:gd name="f41" fmla="val 286754"/>
                      <a:gd name="f42" fmla="val 1266349"/>
                      <a:gd name="f43" fmla="val 1281589"/>
                      <a:gd name="f44" fmla="val 1296829"/>
                      <a:gd name="f45" fmla="val 1308259"/>
                      <a:gd name="f46" fmla="val 639179"/>
                      <a:gd name="f47" fmla="val 654419"/>
                      <a:gd name="f48" fmla="val 1295876"/>
                      <a:gd name="f49" fmla="val 662992"/>
                      <a:gd name="f50" fmla="val 657277"/>
                      <a:gd name="f51" fmla="+- 0 0 -90"/>
                      <a:gd name="f52" fmla="*/ f3 1 665849"/>
                      <a:gd name="f53" fmla="*/ f4 1 1308258"/>
                      <a:gd name="f54" fmla="+- f7 0 f5"/>
                      <a:gd name="f55" fmla="+- f6 0 f5"/>
                      <a:gd name="f56" fmla="*/ f51 f0 1"/>
                      <a:gd name="f57" fmla="*/ f55 1 665849"/>
                      <a:gd name="f58" fmla="*/ f54 1 1308258"/>
                      <a:gd name="f59" fmla="*/ 351524 f55 1"/>
                      <a:gd name="f60" fmla="*/ 7144 f54 1"/>
                      <a:gd name="f61" fmla="*/ 314377 f55 1"/>
                      <a:gd name="f62" fmla="*/ 8624 f55 1"/>
                      <a:gd name="f63" fmla="*/ 290989 f54 1"/>
                      <a:gd name="f64" fmla="*/ 52 f55 1"/>
                      <a:gd name="f65" fmla="*/ 310991 f54 1"/>
                      <a:gd name="f66" fmla="*/ 690086 f54 1"/>
                      <a:gd name="f67" fmla="*/ 25769 f55 1"/>
                      <a:gd name="f68" fmla="*/ 718661 f54 1"/>
                      <a:gd name="f69" fmla="*/ 54344 f55 1"/>
                      <a:gd name="f70" fmla="*/ 692944 f54 1"/>
                      <a:gd name="f71" fmla="*/ 691039 f54 1"/>
                      <a:gd name="f72" fmla="*/ 323374 f54 1"/>
                      <a:gd name="f73" fmla="*/ 333427 f55 1"/>
                      <a:gd name="f74" fmla="*/ 64294 f54 1"/>
                      <a:gd name="f75" fmla="*/ 612509 f55 1"/>
                      <a:gd name="f76" fmla="*/ 1253966 f54 1"/>
                      <a:gd name="f77" fmla="*/ 286754 f55 1"/>
                      <a:gd name="f78" fmla="*/ 1281589 f54 1"/>
                      <a:gd name="f79" fmla="*/ 1308259 f54 1"/>
                      <a:gd name="f80" fmla="*/ 639179 f55 1"/>
                      <a:gd name="f81" fmla="*/ 665849 f55 1"/>
                      <a:gd name="f82" fmla="*/ 657277 f55 1"/>
                      <a:gd name="f83" fmla="*/ f56 1 f2"/>
                      <a:gd name="f84" fmla="*/ f59 1 665849"/>
                      <a:gd name="f85" fmla="*/ f60 1 1308258"/>
                      <a:gd name="f86" fmla="*/ f61 1 665849"/>
                      <a:gd name="f87" fmla="*/ f62 1 665849"/>
                      <a:gd name="f88" fmla="*/ f63 1 1308258"/>
                      <a:gd name="f89" fmla="*/ f64 1 665849"/>
                      <a:gd name="f90" fmla="*/ f65 1 1308258"/>
                      <a:gd name="f91" fmla="*/ f66 1 1308258"/>
                      <a:gd name="f92" fmla="*/ f67 1 665849"/>
                      <a:gd name="f93" fmla="*/ f68 1 1308258"/>
                      <a:gd name="f94" fmla="*/ f69 1 665849"/>
                      <a:gd name="f95" fmla="*/ f70 1 1308258"/>
                      <a:gd name="f96" fmla="*/ f71 1 1308258"/>
                      <a:gd name="f97" fmla="*/ f72 1 1308258"/>
                      <a:gd name="f98" fmla="*/ f73 1 665849"/>
                      <a:gd name="f99" fmla="*/ f74 1 1308258"/>
                      <a:gd name="f100" fmla="*/ f75 1 665849"/>
                      <a:gd name="f101" fmla="*/ f76 1 1308258"/>
                      <a:gd name="f102" fmla="*/ f77 1 665849"/>
                      <a:gd name="f103" fmla="*/ f78 1 1308258"/>
                      <a:gd name="f104" fmla="*/ f79 1 1308258"/>
                      <a:gd name="f105" fmla="*/ f80 1 665849"/>
                      <a:gd name="f106" fmla="*/ f81 1 665849"/>
                      <a:gd name="f107" fmla="*/ f82 1 665849"/>
                      <a:gd name="f108" fmla="*/ f5 1 f57"/>
                      <a:gd name="f109" fmla="*/ f6 1 f57"/>
                      <a:gd name="f110" fmla="*/ f5 1 f58"/>
                      <a:gd name="f111" fmla="*/ f7 1 f58"/>
                      <a:gd name="f112" fmla="+- f83 0 f1"/>
                      <a:gd name="f113" fmla="*/ f84 1 f57"/>
                      <a:gd name="f114" fmla="*/ f85 1 f58"/>
                      <a:gd name="f115" fmla="*/ f86 1 f57"/>
                      <a:gd name="f116" fmla="*/ f87 1 f57"/>
                      <a:gd name="f117" fmla="*/ f88 1 f58"/>
                      <a:gd name="f118" fmla="*/ f89 1 f57"/>
                      <a:gd name="f119" fmla="*/ f90 1 f58"/>
                      <a:gd name="f120" fmla="*/ f91 1 f58"/>
                      <a:gd name="f121" fmla="*/ f92 1 f57"/>
                      <a:gd name="f122" fmla="*/ f93 1 f58"/>
                      <a:gd name="f123" fmla="*/ f94 1 f57"/>
                      <a:gd name="f124" fmla="*/ f95 1 f58"/>
                      <a:gd name="f125" fmla="*/ f96 1 f58"/>
                      <a:gd name="f126" fmla="*/ f97 1 f58"/>
                      <a:gd name="f127" fmla="*/ f98 1 f57"/>
                      <a:gd name="f128" fmla="*/ f99 1 f58"/>
                      <a:gd name="f129" fmla="*/ f100 1 f57"/>
                      <a:gd name="f130" fmla="*/ f101 1 f58"/>
                      <a:gd name="f131" fmla="*/ f102 1 f57"/>
                      <a:gd name="f132" fmla="*/ f103 1 f58"/>
                      <a:gd name="f133" fmla="*/ f104 1 f58"/>
                      <a:gd name="f134" fmla="*/ f105 1 f57"/>
                      <a:gd name="f135" fmla="*/ f106 1 f57"/>
                      <a:gd name="f136" fmla="*/ f107 1 f57"/>
                      <a:gd name="f137" fmla="*/ f108 f52 1"/>
                      <a:gd name="f138" fmla="*/ f109 f52 1"/>
                      <a:gd name="f139" fmla="*/ f111 f53 1"/>
                      <a:gd name="f140" fmla="*/ f110 f53 1"/>
                      <a:gd name="f141" fmla="*/ f113 f52 1"/>
                      <a:gd name="f142" fmla="*/ f114 f53 1"/>
                      <a:gd name="f143" fmla="*/ f115 f52 1"/>
                      <a:gd name="f144" fmla="*/ f116 f52 1"/>
                      <a:gd name="f145" fmla="*/ f117 f53 1"/>
                      <a:gd name="f146" fmla="*/ f118 f52 1"/>
                      <a:gd name="f147" fmla="*/ f119 f53 1"/>
                      <a:gd name="f148" fmla="*/ f120 f53 1"/>
                      <a:gd name="f149" fmla="*/ f121 f52 1"/>
                      <a:gd name="f150" fmla="*/ f122 f53 1"/>
                      <a:gd name="f151" fmla="*/ f123 f52 1"/>
                      <a:gd name="f152" fmla="*/ f124 f53 1"/>
                      <a:gd name="f153" fmla="*/ f125 f53 1"/>
                      <a:gd name="f154" fmla="*/ f126 f53 1"/>
                      <a:gd name="f155" fmla="*/ f127 f52 1"/>
                      <a:gd name="f156" fmla="*/ f128 f53 1"/>
                      <a:gd name="f157" fmla="*/ f129 f52 1"/>
                      <a:gd name="f158" fmla="*/ f130 f53 1"/>
                      <a:gd name="f159" fmla="*/ f131 f52 1"/>
                      <a:gd name="f160" fmla="*/ f132 f53 1"/>
                      <a:gd name="f161" fmla="*/ f133 f53 1"/>
                      <a:gd name="f162" fmla="*/ f134 f52 1"/>
                      <a:gd name="f163" fmla="*/ f135 f52 1"/>
                      <a:gd name="f164" fmla="*/ f136 f52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112">
                        <a:pos x="f141" y="f142"/>
                      </a:cxn>
                      <a:cxn ang="f112">
                        <a:pos x="f143" y="f142"/>
                      </a:cxn>
                      <a:cxn ang="f112">
                        <a:pos x="f144" y="f145"/>
                      </a:cxn>
                      <a:cxn ang="f112">
                        <a:pos x="f146" y="f147"/>
                      </a:cxn>
                      <a:cxn ang="f112">
                        <a:pos x="f146" y="f148"/>
                      </a:cxn>
                      <a:cxn ang="f112">
                        <a:pos x="f149" y="f150"/>
                      </a:cxn>
                      <a:cxn ang="f112">
                        <a:pos x="f151" y="f152"/>
                      </a:cxn>
                      <a:cxn ang="f112">
                        <a:pos x="f151" y="f153"/>
                      </a:cxn>
                      <a:cxn ang="f112">
                        <a:pos x="f151" y="f154"/>
                      </a:cxn>
                      <a:cxn ang="f112">
                        <a:pos x="f155" y="f156"/>
                      </a:cxn>
                      <a:cxn ang="f112">
                        <a:pos x="f157" y="f154"/>
                      </a:cxn>
                      <a:cxn ang="f112">
                        <a:pos x="f157" y="f158"/>
                      </a:cxn>
                      <a:cxn ang="f112">
                        <a:pos x="f143" y="f158"/>
                      </a:cxn>
                      <a:cxn ang="f112">
                        <a:pos x="f159" y="f160"/>
                      </a:cxn>
                      <a:cxn ang="f112">
                        <a:pos x="f143" y="f161"/>
                      </a:cxn>
                      <a:cxn ang="f112">
                        <a:pos x="f162" y="f161"/>
                      </a:cxn>
                      <a:cxn ang="f112">
                        <a:pos x="f163" y="f160"/>
                      </a:cxn>
                      <a:cxn ang="f112">
                        <a:pos x="f163" y="f160"/>
                      </a:cxn>
                      <a:cxn ang="f112">
                        <a:pos x="f163" y="f147"/>
                      </a:cxn>
                      <a:cxn ang="f112">
                        <a:pos x="f164" y="f145"/>
                      </a:cxn>
                      <a:cxn ang="f112">
                        <a:pos x="f141" y="f142"/>
                      </a:cxn>
                    </a:cxnLst>
                    <a:rect l="f137" t="f140" r="f138" b="f139"/>
                    <a:pathLst>
                      <a:path w="665849" h="1308258">
                        <a:moveTo>
                          <a:pt x="f8" y="f9"/>
                        </a:moveTo>
                        <a:cubicBezTo>
                          <a:pt x="f10" y="f11"/>
                          <a:pt x="f12" y="f11"/>
                          <a:pt x="f13" y="f9"/>
                        </a:cubicBezTo>
                        <a:lnTo>
                          <a:pt x="f14" y="f15"/>
                        </a:lnTo>
                        <a:cubicBezTo>
                          <a:pt x="f16" y="f17"/>
                          <a:pt x="f18" y="f19"/>
                          <a:pt x="f18" y="f20"/>
                        </a:cubicBezTo>
                        <a:lnTo>
                          <a:pt x="f18" y="f21"/>
                        </a:lnTo>
                        <a:cubicBezTo>
                          <a:pt x="f22" y="f23"/>
                          <a:pt x="f24" y="f25"/>
                          <a:pt x="f26" y="f27"/>
                        </a:cubicBezTo>
                        <a:cubicBezTo>
                          <a:pt x="f28" y="f29"/>
                          <a:pt x="f30" y="f31"/>
                          <a:pt x="f32" y="f33"/>
                        </a:cubicBezTo>
                        <a:lnTo>
                          <a:pt x="f32" y="f34"/>
                        </a:lnTo>
                        <a:lnTo>
                          <a:pt x="f32" y="f35"/>
                        </a:lnTo>
                        <a:lnTo>
                          <a:pt x="f36" y="f37"/>
                        </a:lnTo>
                        <a:lnTo>
                          <a:pt x="f38" y="f35"/>
                        </a:lnTo>
                        <a:lnTo>
                          <a:pt x="f38" y="f39"/>
                        </a:lnTo>
                        <a:lnTo>
                          <a:pt x="f13" y="f39"/>
                        </a:lnTo>
                        <a:cubicBezTo>
                          <a:pt x="f40" y="f39"/>
                          <a:pt x="f41" y="f42"/>
                          <a:pt x="f41" y="f43"/>
                        </a:cubicBezTo>
                        <a:cubicBezTo>
                          <a:pt x="f41" y="f44"/>
                          <a:pt x="f40" y="f45"/>
                          <a:pt x="f13" y="f45"/>
                        </a:cubicBezTo>
                        <a:lnTo>
                          <a:pt x="f46" y="f45"/>
                        </a:lnTo>
                        <a:cubicBezTo>
                          <a:pt x="f47" y="f45"/>
                          <a:pt x="f6" y="f48"/>
                          <a:pt x="f6" y="f43"/>
                        </a:cubicBezTo>
                        <a:lnTo>
                          <a:pt x="f6" y="f43"/>
                        </a:lnTo>
                        <a:lnTo>
                          <a:pt x="f6" y="f20"/>
                        </a:lnTo>
                        <a:cubicBezTo>
                          <a:pt x="f6" y="f19"/>
                          <a:pt x="f49" y="f17"/>
                          <a:pt x="f50" y="f15"/>
                        </a:cubicBezTo>
                        <a:lnTo>
                          <a:pt x="f8" y="f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28" name="Graphic 51">
                    <a:extLst>
                      <a:ext uri="{FF2B5EF4-FFF2-40B4-BE49-F238E27FC236}">
                        <a16:creationId xmlns:a16="http://schemas.microsoft.com/office/drawing/2014/main" id="{48359D69-ACEB-4EAD-25F4-0D7C3EFA8380}"/>
                      </a:ext>
                    </a:extLst>
                  </p:cNvPr>
                  <p:cNvSpPr/>
                  <p:nvPr/>
                </p:nvSpPr>
                <p:spPr>
                  <a:xfrm>
                    <a:off x="5980733" y="5683306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2"/>
                      <a:gd name="f9" fmla="val 120967"/>
                      <a:gd name="f10" fmla="val 26670"/>
                      <a:gd name="f11" fmla="val 147638"/>
                      <a:gd name="f12" fmla="val 162877"/>
                      <a:gd name="f13" fmla="val 148590"/>
                      <a:gd name="f14" fmla="val 11430"/>
                      <a:gd name="f15" fmla="val 161925"/>
                      <a:gd name="f16" fmla="val 12382"/>
                      <a:gd name="f17" fmla="+- 0 0 -90"/>
                      <a:gd name="f18" fmla="*/ f3 1 174307"/>
                      <a:gd name="f19" fmla="*/ f4 1 175260"/>
                      <a:gd name="f20" fmla="+- f7 0 f5"/>
                      <a:gd name="f21" fmla="+- f6 0 f5"/>
                      <a:gd name="f22" fmla="*/ f17 f0 1"/>
                      <a:gd name="f23" fmla="*/ f21 1 174307"/>
                      <a:gd name="f24" fmla="*/ f20 1 175260"/>
                      <a:gd name="f25" fmla="*/ 54292 f21 1"/>
                      <a:gd name="f26" fmla="*/ 54292 f20 1"/>
                      <a:gd name="f27" fmla="*/ 120967 f21 1"/>
                      <a:gd name="f28" fmla="*/ 120967 f20 1"/>
                      <a:gd name="f29" fmla="*/ 26670 f21 1"/>
                      <a:gd name="f30" fmla="*/ 175260 f20 1"/>
                      <a:gd name="f31" fmla="*/ 147638 f21 1"/>
                      <a:gd name="f32" fmla="*/ 174307 f21 1"/>
                      <a:gd name="f33" fmla="*/ 148590 f20 1"/>
                      <a:gd name="f34" fmla="*/ 26670 f20 1"/>
                      <a:gd name="f35" fmla="*/ 0 f20 1"/>
                      <a:gd name="f36" fmla="*/ 0 f21 1"/>
                      <a:gd name="f37" fmla="*/ 147638 f20 1"/>
                      <a:gd name="f38" fmla="*/ f22 1 f2"/>
                      <a:gd name="f39" fmla="*/ f25 1 174307"/>
                      <a:gd name="f40" fmla="*/ f26 1 175260"/>
                      <a:gd name="f41" fmla="*/ f27 1 174307"/>
                      <a:gd name="f42" fmla="*/ f28 1 175260"/>
                      <a:gd name="f43" fmla="*/ f29 1 174307"/>
                      <a:gd name="f44" fmla="*/ f30 1 175260"/>
                      <a:gd name="f45" fmla="*/ f31 1 174307"/>
                      <a:gd name="f46" fmla="*/ f32 1 174307"/>
                      <a:gd name="f47" fmla="*/ f33 1 175260"/>
                      <a:gd name="f48" fmla="*/ f34 1 175260"/>
                      <a:gd name="f49" fmla="*/ f35 1 175260"/>
                      <a:gd name="f50" fmla="*/ f36 1 174307"/>
                      <a:gd name="f51" fmla="*/ f37 1 175260"/>
                      <a:gd name="f52" fmla="*/ f5 1 f23"/>
                      <a:gd name="f53" fmla="*/ f6 1 f23"/>
                      <a:gd name="f54" fmla="*/ f5 1 f24"/>
                      <a:gd name="f55" fmla="*/ f7 1 f24"/>
                      <a:gd name="f56" fmla="+- f38 0 f1"/>
                      <a:gd name="f57" fmla="*/ f39 1 f23"/>
                      <a:gd name="f58" fmla="*/ f40 1 f24"/>
                      <a:gd name="f59" fmla="*/ f41 1 f23"/>
                      <a:gd name="f60" fmla="*/ f42 1 f24"/>
                      <a:gd name="f61" fmla="*/ f43 1 f23"/>
                      <a:gd name="f62" fmla="*/ f44 1 f24"/>
                      <a:gd name="f63" fmla="*/ f45 1 f23"/>
                      <a:gd name="f64" fmla="*/ f46 1 f23"/>
                      <a:gd name="f65" fmla="*/ f47 1 f24"/>
                      <a:gd name="f66" fmla="*/ f48 1 f24"/>
                      <a:gd name="f67" fmla="*/ f49 1 f24"/>
                      <a:gd name="f68" fmla="*/ f50 1 f23"/>
                      <a:gd name="f69" fmla="*/ f51 1 f24"/>
                      <a:gd name="f70" fmla="*/ f52 f18 1"/>
                      <a:gd name="f71" fmla="*/ f53 f18 1"/>
                      <a:gd name="f72" fmla="*/ f55 f19 1"/>
                      <a:gd name="f73" fmla="*/ f54 f19 1"/>
                      <a:gd name="f74" fmla="*/ f57 f18 1"/>
                      <a:gd name="f75" fmla="*/ f58 f19 1"/>
                      <a:gd name="f76" fmla="*/ f59 f18 1"/>
                      <a:gd name="f77" fmla="*/ f60 f19 1"/>
                      <a:gd name="f78" fmla="*/ f61 f18 1"/>
                      <a:gd name="f79" fmla="*/ f62 f19 1"/>
                      <a:gd name="f80" fmla="*/ f63 f18 1"/>
                      <a:gd name="f81" fmla="*/ f64 f18 1"/>
                      <a:gd name="f82" fmla="*/ f65 f19 1"/>
                      <a:gd name="f83" fmla="*/ f66 f19 1"/>
                      <a:gd name="f84" fmla="*/ f67 f19 1"/>
                      <a:gd name="f85" fmla="*/ f68 f18 1"/>
                      <a:gd name="f86" fmla="*/ f69 f19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6">
                        <a:pos x="f74" y="f75"/>
                      </a:cxn>
                      <a:cxn ang="f56">
                        <a:pos x="f76" y="f75"/>
                      </a:cxn>
                      <a:cxn ang="f56">
                        <a:pos x="f76" y="f77"/>
                      </a:cxn>
                      <a:cxn ang="f56">
                        <a:pos x="f74" y="f77"/>
                      </a:cxn>
                      <a:cxn ang="f56">
                        <a:pos x="f74" y="f75"/>
                      </a:cxn>
                      <a:cxn ang="f56">
                        <a:pos x="f78" y="f79"/>
                      </a:cxn>
                      <a:cxn ang="f56">
                        <a:pos x="f80" y="f79"/>
                      </a:cxn>
                      <a:cxn ang="f56">
                        <a:pos x="f81" y="f82"/>
                      </a:cxn>
                      <a:cxn ang="f56">
                        <a:pos x="f81" y="f83"/>
                      </a:cxn>
                      <a:cxn ang="f56">
                        <a:pos x="f80" y="f84"/>
                      </a:cxn>
                      <a:cxn ang="f56">
                        <a:pos x="f80" y="f84"/>
                      </a:cxn>
                      <a:cxn ang="f56">
                        <a:pos x="f78" y="f84"/>
                      </a:cxn>
                      <a:cxn ang="f56">
                        <a:pos x="f85" y="f83"/>
                      </a:cxn>
                      <a:cxn ang="f56">
                        <a:pos x="f85" y="f83"/>
                      </a:cxn>
                      <a:cxn ang="f56">
                        <a:pos x="f85" y="f86"/>
                      </a:cxn>
                      <a:cxn ang="f56">
                        <a:pos x="f78" y="f79"/>
                      </a:cxn>
                      <a:cxn ang="f56">
                        <a:pos x="f78" y="f79"/>
                      </a:cxn>
                    </a:cxnLst>
                    <a:rect l="f70" t="f73" r="f71" b="f72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10" y="f7"/>
                        </a:moveTo>
                        <a:lnTo>
                          <a:pt x="f11" y="f7"/>
                        </a:lnTo>
                        <a:cubicBezTo>
                          <a:pt x="f12" y="f7"/>
                          <a:pt x="f6" y="f12"/>
                          <a:pt x="f6" y="f13"/>
                        </a:cubicBezTo>
                        <a:lnTo>
                          <a:pt x="f6" y="f10"/>
                        </a:lnTo>
                        <a:cubicBezTo>
                          <a:pt x="f6" y="f14"/>
                          <a:pt x="f15" y="f5"/>
                          <a:pt x="f11" y="f5"/>
                        </a:cubicBezTo>
                        <a:lnTo>
                          <a:pt x="f11" y="f5"/>
                        </a:lnTo>
                        <a:lnTo>
                          <a:pt x="f10" y="f5"/>
                        </a:lnTo>
                        <a:cubicBezTo>
                          <a:pt x="f14" y="f5"/>
                          <a:pt x="f5" y="f16"/>
                          <a:pt x="f5" y="f10"/>
                        </a:cubicBezTo>
                        <a:lnTo>
                          <a:pt x="f5" y="f10"/>
                        </a:lnTo>
                        <a:lnTo>
                          <a:pt x="f5" y="f11"/>
                        </a:lnTo>
                        <a:cubicBezTo>
                          <a:pt x="f5" y="f12"/>
                          <a:pt x="f14" y="f7"/>
                          <a:pt x="f10" y="f7"/>
                        </a:cubicBezTo>
                        <a:lnTo>
                          <a:pt x="f10" y="f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29" name="Graphic 51">
                    <a:extLst>
                      <a:ext uri="{FF2B5EF4-FFF2-40B4-BE49-F238E27FC236}">
                        <a16:creationId xmlns:a16="http://schemas.microsoft.com/office/drawing/2014/main" id="{2C142516-A081-5B25-FC68-B7BCE49FCDB3}"/>
                      </a:ext>
                    </a:extLst>
                  </p:cNvPr>
                  <p:cNvSpPr/>
                  <p:nvPr/>
                </p:nvSpPr>
                <p:spPr>
                  <a:xfrm>
                    <a:off x="6083932" y="5683306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3340"/>
                      <a:gd name="f9" fmla="val 54292"/>
                      <a:gd name="f10" fmla="val 120015"/>
                      <a:gd name="f11" fmla="val 120967"/>
                      <a:gd name="f12" fmla="val 26670"/>
                      <a:gd name="f13" fmla="val 147638"/>
                      <a:gd name="f14" fmla="val 162877"/>
                      <a:gd name="f15" fmla="val 148590"/>
                      <a:gd name="f16" fmla="val 11430"/>
                      <a:gd name="f17" fmla="val 161925"/>
                      <a:gd name="f18" fmla="val 12382"/>
                      <a:gd name="f19" fmla="+- 0 0 -90"/>
                      <a:gd name="f20" fmla="*/ f3 1 174307"/>
                      <a:gd name="f21" fmla="*/ f4 1 175260"/>
                      <a:gd name="f22" fmla="+- f7 0 f5"/>
                      <a:gd name="f23" fmla="+- f6 0 f5"/>
                      <a:gd name="f24" fmla="*/ f19 f0 1"/>
                      <a:gd name="f25" fmla="*/ f23 1 174307"/>
                      <a:gd name="f26" fmla="*/ f22 1 175260"/>
                      <a:gd name="f27" fmla="*/ 53340 f23 1"/>
                      <a:gd name="f28" fmla="*/ 54292 f22 1"/>
                      <a:gd name="f29" fmla="*/ 120015 f23 1"/>
                      <a:gd name="f30" fmla="*/ 120967 f22 1"/>
                      <a:gd name="f31" fmla="*/ 26670 f23 1"/>
                      <a:gd name="f32" fmla="*/ 175260 f22 1"/>
                      <a:gd name="f33" fmla="*/ 147638 f23 1"/>
                      <a:gd name="f34" fmla="*/ 174307 f23 1"/>
                      <a:gd name="f35" fmla="*/ 148590 f22 1"/>
                      <a:gd name="f36" fmla="*/ 26670 f22 1"/>
                      <a:gd name="f37" fmla="*/ 0 f22 1"/>
                      <a:gd name="f38" fmla="*/ 0 f23 1"/>
                      <a:gd name="f39" fmla="*/ 147638 f22 1"/>
                      <a:gd name="f40" fmla="*/ f24 1 f2"/>
                      <a:gd name="f41" fmla="*/ f27 1 174307"/>
                      <a:gd name="f42" fmla="*/ f28 1 175260"/>
                      <a:gd name="f43" fmla="*/ f29 1 174307"/>
                      <a:gd name="f44" fmla="*/ f30 1 175260"/>
                      <a:gd name="f45" fmla="*/ f31 1 174307"/>
                      <a:gd name="f46" fmla="*/ f32 1 175260"/>
                      <a:gd name="f47" fmla="*/ f33 1 174307"/>
                      <a:gd name="f48" fmla="*/ f34 1 174307"/>
                      <a:gd name="f49" fmla="*/ f35 1 175260"/>
                      <a:gd name="f50" fmla="*/ f36 1 175260"/>
                      <a:gd name="f51" fmla="*/ f37 1 175260"/>
                      <a:gd name="f52" fmla="*/ f38 1 174307"/>
                      <a:gd name="f53" fmla="*/ f39 1 175260"/>
                      <a:gd name="f54" fmla="*/ f5 1 f25"/>
                      <a:gd name="f55" fmla="*/ f6 1 f25"/>
                      <a:gd name="f56" fmla="*/ f5 1 f26"/>
                      <a:gd name="f57" fmla="*/ f7 1 f26"/>
                      <a:gd name="f58" fmla="+- f40 0 f1"/>
                      <a:gd name="f59" fmla="*/ f41 1 f25"/>
                      <a:gd name="f60" fmla="*/ f42 1 f26"/>
                      <a:gd name="f61" fmla="*/ f43 1 f25"/>
                      <a:gd name="f62" fmla="*/ f44 1 f26"/>
                      <a:gd name="f63" fmla="*/ f45 1 f25"/>
                      <a:gd name="f64" fmla="*/ f46 1 f26"/>
                      <a:gd name="f65" fmla="*/ f47 1 f25"/>
                      <a:gd name="f66" fmla="*/ f48 1 f25"/>
                      <a:gd name="f67" fmla="*/ f49 1 f26"/>
                      <a:gd name="f68" fmla="*/ f50 1 f26"/>
                      <a:gd name="f69" fmla="*/ f51 1 f26"/>
                      <a:gd name="f70" fmla="*/ f52 1 f25"/>
                      <a:gd name="f71" fmla="*/ f53 1 f26"/>
                      <a:gd name="f72" fmla="*/ f54 f20 1"/>
                      <a:gd name="f73" fmla="*/ f55 f20 1"/>
                      <a:gd name="f74" fmla="*/ f57 f21 1"/>
                      <a:gd name="f75" fmla="*/ f56 f21 1"/>
                      <a:gd name="f76" fmla="*/ f59 f20 1"/>
                      <a:gd name="f77" fmla="*/ f60 f21 1"/>
                      <a:gd name="f78" fmla="*/ f61 f20 1"/>
                      <a:gd name="f79" fmla="*/ f62 f21 1"/>
                      <a:gd name="f80" fmla="*/ f63 f20 1"/>
                      <a:gd name="f81" fmla="*/ f64 f21 1"/>
                      <a:gd name="f82" fmla="*/ f65 f20 1"/>
                      <a:gd name="f83" fmla="*/ f66 f20 1"/>
                      <a:gd name="f84" fmla="*/ f67 f21 1"/>
                      <a:gd name="f85" fmla="*/ f68 f21 1"/>
                      <a:gd name="f86" fmla="*/ f69 f21 1"/>
                      <a:gd name="f87" fmla="*/ f70 f20 1"/>
                      <a:gd name="f88" fmla="*/ f71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8">
                        <a:pos x="f76" y="f77"/>
                      </a:cxn>
                      <a:cxn ang="f58">
                        <a:pos x="f78" y="f77"/>
                      </a:cxn>
                      <a:cxn ang="f58">
                        <a:pos x="f78" y="f79"/>
                      </a:cxn>
                      <a:cxn ang="f58">
                        <a:pos x="f76" y="f79"/>
                      </a:cxn>
                      <a:cxn ang="f58">
                        <a:pos x="f76" y="f77"/>
                      </a:cxn>
                      <a:cxn ang="f58">
                        <a:pos x="f80" y="f81"/>
                      </a:cxn>
                      <a:cxn ang="f58">
                        <a:pos x="f82" y="f81"/>
                      </a:cxn>
                      <a:cxn ang="f58">
                        <a:pos x="f83" y="f84"/>
                      </a:cxn>
                      <a:cxn ang="f58">
                        <a:pos x="f83" y="f85"/>
                      </a:cxn>
                      <a:cxn ang="f58">
                        <a:pos x="f82" y="f86"/>
                      </a:cxn>
                      <a:cxn ang="f58">
                        <a:pos x="f80" y="f86"/>
                      </a:cxn>
                      <a:cxn ang="f58">
                        <a:pos x="f87" y="f85"/>
                      </a:cxn>
                      <a:cxn ang="f58">
                        <a:pos x="f87" y="f85"/>
                      </a:cxn>
                      <a:cxn ang="f58">
                        <a:pos x="f87" y="f88"/>
                      </a:cxn>
                      <a:cxn ang="f58">
                        <a:pos x="f80" y="f81"/>
                      </a:cxn>
                      <a:cxn ang="f58">
                        <a:pos x="f80" y="f81"/>
                      </a:cxn>
                    </a:cxnLst>
                    <a:rect l="f72" t="f75" r="f73" b="f74"/>
                    <a:pathLst>
                      <a:path w="174307" h="175260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12" y="f7"/>
                        </a:moveTo>
                        <a:lnTo>
                          <a:pt x="f13" y="f7"/>
                        </a:lnTo>
                        <a:cubicBezTo>
                          <a:pt x="f14" y="f7"/>
                          <a:pt x="f6" y="f14"/>
                          <a:pt x="f6" y="f15"/>
                        </a:cubicBezTo>
                        <a:lnTo>
                          <a:pt x="f6" y="f12"/>
                        </a:lnTo>
                        <a:cubicBezTo>
                          <a:pt x="f6" y="f16"/>
                          <a:pt x="f17" y="f5"/>
                          <a:pt x="f13" y="f5"/>
                        </a:cubicBezTo>
                        <a:lnTo>
                          <a:pt x="f12" y="f5"/>
                        </a:lnTo>
                        <a:cubicBezTo>
                          <a:pt x="f16" y="f5"/>
                          <a:pt x="f5" y="f18"/>
                          <a:pt x="f5" y="f12"/>
                        </a:cubicBezTo>
                        <a:lnTo>
                          <a:pt x="f5" y="f12"/>
                        </a:lnTo>
                        <a:lnTo>
                          <a:pt x="f5" y="f13"/>
                        </a:lnTo>
                        <a:cubicBezTo>
                          <a:pt x="f5" y="f14"/>
                          <a:pt x="f16" y="f7"/>
                          <a:pt x="f12" y="f7"/>
                        </a:cubicBezTo>
                        <a:lnTo>
                          <a:pt x="f12" y="f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30" name="Graphic 51">
                    <a:extLst>
                      <a:ext uri="{FF2B5EF4-FFF2-40B4-BE49-F238E27FC236}">
                        <a16:creationId xmlns:a16="http://schemas.microsoft.com/office/drawing/2014/main" id="{D04A419E-FE2F-7C7D-F3CE-D4D516053192}"/>
                      </a:ext>
                    </a:extLst>
                  </p:cNvPr>
                  <p:cNvSpPr/>
                  <p:nvPr/>
                </p:nvSpPr>
                <p:spPr>
                  <a:xfrm>
                    <a:off x="5980733" y="5788673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2"/>
                      <a:gd name="f9" fmla="val 53340"/>
                      <a:gd name="f10" fmla="val 120967"/>
                      <a:gd name="f11" fmla="val 120015"/>
                      <a:gd name="f12" fmla="val 147638"/>
                      <a:gd name="f13" fmla="val 162877"/>
                      <a:gd name="f14" fmla="val 12382"/>
                      <a:gd name="f15" fmla="val 26670"/>
                      <a:gd name="f16" fmla="val 175260"/>
                      <a:gd name="f17" fmla="val 11430"/>
                      <a:gd name="f18" fmla="val 161925"/>
                      <a:gd name="f19" fmla="+- 0 0 -90"/>
                      <a:gd name="f20" fmla="*/ f3 1 174307"/>
                      <a:gd name="f21" fmla="*/ f4 1 175259"/>
                      <a:gd name="f22" fmla="+- f7 0 f5"/>
                      <a:gd name="f23" fmla="+- f6 0 f5"/>
                      <a:gd name="f24" fmla="*/ f19 f0 1"/>
                      <a:gd name="f25" fmla="*/ f23 1 174307"/>
                      <a:gd name="f26" fmla="*/ f22 1 175259"/>
                      <a:gd name="f27" fmla="*/ 54292 f23 1"/>
                      <a:gd name="f28" fmla="*/ 53340 f22 1"/>
                      <a:gd name="f29" fmla="*/ 120967 f23 1"/>
                      <a:gd name="f30" fmla="*/ 120015 f22 1"/>
                      <a:gd name="f31" fmla="*/ 0 f23 1"/>
                      <a:gd name="f32" fmla="*/ 147638 f22 1"/>
                      <a:gd name="f33" fmla="*/ 26670 f23 1"/>
                      <a:gd name="f34" fmla="*/ 175260 f22 1"/>
                      <a:gd name="f35" fmla="*/ 147638 f23 1"/>
                      <a:gd name="f36" fmla="*/ 174307 f23 1"/>
                      <a:gd name="f37" fmla="*/ 26670 f22 1"/>
                      <a:gd name="f38" fmla="*/ 0 f22 1"/>
                      <a:gd name="f39" fmla="*/ f24 1 f2"/>
                      <a:gd name="f40" fmla="*/ f27 1 174307"/>
                      <a:gd name="f41" fmla="*/ f28 1 175259"/>
                      <a:gd name="f42" fmla="*/ f29 1 174307"/>
                      <a:gd name="f43" fmla="*/ f30 1 175259"/>
                      <a:gd name="f44" fmla="*/ f31 1 174307"/>
                      <a:gd name="f45" fmla="*/ f32 1 175259"/>
                      <a:gd name="f46" fmla="*/ f33 1 174307"/>
                      <a:gd name="f47" fmla="*/ f34 1 175259"/>
                      <a:gd name="f48" fmla="*/ f35 1 174307"/>
                      <a:gd name="f49" fmla="*/ f36 1 174307"/>
                      <a:gd name="f50" fmla="*/ f37 1 175259"/>
                      <a:gd name="f51" fmla="*/ f38 1 175259"/>
                      <a:gd name="f52" fmla="*/ f5 1 f25"/>
                      <a:gd name="f53" fmla="*/ f6 1 f25"/>
                      <a:gd name="f54" fmla="*/ f5 1 f26"/>
                      <a:gd name="f55" fmla="*/ f7 1 f26"/>
                      <a:gd name="f56" fmla="+- f39 0 f1"/>
                      <a:gd name="f57" fmla="*/ f40 1 f25"/>
                      <a:gd name="f58" fmla="*/ f41 1 f26"/>
                      <a:gd name="f59" fmla="*/ f42 1 f25"/>
                      <a:gd name="f60" fmla="*/ f43 1 f26"/>
                      <a:gd name="f61" fmla="*/ f44 1 f25"/>
                      <a:gd name="f62" fmla="*/ f45 1 f26"/>
                      <a:gd name="f63" fmla="*/ f46 1 f25"/>
                      <a:gd name="f64" fmla="*/ f47 1 f26"/>
                      <a:gd name="f65" fmla="*/ f48 1 f25"/>
                      <a:gd name="f66" fmla="*/ f49 1 f25"/>
                      <a:gd name="f67" fmla="*/ f50 1 f26"/>
                      <a:gd name="f68" fmla="*/ f51 1 f26"/>
                      <a:gd name="f69" fmla="*/ f52 f20 1"/>
                      <a:gd name="f70" fmla="*/ f53 f20 1"/>
                      <a:gd name="f71" fmla="*/ f55 f21 1"/>
                      <a:gd name="f72" fmla="*/ f54 f21 1"/>
                      <a:gd name="f73" fmla="*/ f57 f20 1"/>
                      <a:gd name="f74" fmla="*/ f58 f21 1"/>
                      <a:gd name="f75" fmla="*/ f59 f20 1"/>
                      <a:gd name="f76" fmla="*/ f60 f21 1"/>
                      <a:gd name="f77" fmla="*/ f61 f20 1"/>
                      <a:gd name="f78" fmla="*/ f62 f21 1"/>
                      <a:gd name="f79" fmla="*/ f63 f20 1"/>
                      <a:gd name="f80" fmla="*/ f64 f21 1"/>
                      <a:gd name="f81" fmla="*/ f65 f20 1"/>
                      <a:gd name="f82" fmla="*/ f66 f20 1"/>
                      <a:gd name="f83" fmla="*/ f67 f21 1"/>
                      <a:gd name="f84" fmla="*/ f68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6">
                        <a:pos x="f73" y="f74"/>
                      </a:cxn>
                      <a:cxn ang="f56">
                        <a:pos x="f75" y="f74"/>
                      </a:cxn>
                      <a:cxn ang="f56">
                        <a:pos x="f75" y="f76"/>
                      </a:cxn>
                      <a:cxn ang="f56">
                        <a:pos x="f73" y="f76"/>
                      </a:cxn>
                      <a:cxn ang="f56">
                        <a:pos x="f73" y="f74"/>
                      </a:cxn>
                      <a:cxn ang="f56">
                        <a:pos x="f77" y="f78"/>
                      </a:cxn>
                      <a:cxn ang="f56">
                        <a:pos x="f79" y="f80"/>
                      </a:cxn>
                      <a:cxn ang="f56">
                        <a:pos x="f79" y="f80"/>
                      </a:cxn>
                      <a:cxn ang="f56">
                        <a:pos x="f81" y="f80"/>
                      </a:cxn>
                      <a:cxn ang="f56">
                        <a:pos x="f82" y="f78"/>
                      </a:cxn>
                      <a:cxn ang="f56">
                        <a:pos x="f82" y="f83"/>
                      </a:cxn>
                      <a:cxn ang="f56">
                        <a:pos x="f81" y="f84"/>
                      </a:cxn>
                      <a:cxn ang="f56">
                        <a:pos x="f79" y="f84"/>
                      </a:cxn>
                      <a:cxn ang="f56">
                        <a:pos x="f77" y="f83"/>
                      </a:cxn>
                      <a:cxn ang="f56">
                        <a:pos x="f77" y="f78"/>
                      </a:cxn>
                    </a:cxnLst>
                    <a:rect l="f69" t="f72" r="f70" b="f71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5" y="f16"/>
                        </a:lnTo>
                        <a:lnTo>
                          <a:pt x="f12" y="f16"/>
                        </a:lnTo>
                        <a:cubicBezTo>
                          <a:pt x="f13" y="f16"/>
                          <a:pt x="f6" y="f13"/>
                          <a:pt x="f6" y="f12"/>
                        </a:cubicBezTo>
                        <a:lnTo>
                          <a:pt x="f6" y="f15"/>
                        </a:lnTo>
                        <a:cubicBezTo>
                          <a:pt x="f6" y="f17"/>
                          <a:pt x="f18" y="f5"/>
                          <a:pt x="f12" y="f5"/>
                        </a:cubicBezTo>
                        <a:lnTo>
                          <a:pt x="f15" y="f5"/>
                        </a:lnTo>
                        <a:cubicBezTo>
                          <a:pt x="f17" y="f5"/>
                          <a:pt x="f5" y="f14"/>
                          <a:pt x="f5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31" name="Graphic 51">
                    <a:extLst>
                      <a:ext uri="{FF2B5EF4-FFF2-40B4-BE49-F238E27FC236}">
                        <a16:creationId xmlns:a16="http://schemas.microsoft.com/office/drawing/2014/main" id="{E06C2F6A-9C05-A1BF-D63B-283238426A54}"/>
                      </a:ext>
                    </a:extLst>
                  </p:cNvPr>
                  <p:cNvSpPr/>
                  <p:nvPr/>
                </p:nvSpPr>
                <p:spPr>
                  <a:xfrm>
                    <a:off x="6083503" y="5788673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3"/>
                      <a:gd name="f9" fmla="val 53340"/>
                      <a:gd name="f10" fmla="val 120968"/>
                      <a:gd name="f11" fmla="val 120015"/>
                      <a:gd name="f12" fmla="val 147638"/>
                      <a:gd name="f13" fmla="val 162877"/>
                      <a:gd name="f14" fmla="val 12383"/>
                      <a:gd name="f15" fmla="val 26670"/>
                      <a:gd name="f16" fmla="val 175260"/>
                      <a:gd name="f17" fmla="val 162878"/>
                      <a:gd name="f18" fmla="val 174308"/>
                      <a:gd name="f19" fmla="val 11430"/>
                      <a:gd name="f20" fmla="val 161925"/>
                      <a:gd name="f21" fmla="val 27623"/>
                      <a:gd name="f22" fmla="val 953"/>
                      <a:gd name="f23" fmla="val 12382"/>
                      <a:gd name="f24" fmla="+- 0 0 -90"/>
                      <a:gd name="f25" fmla="*/ f3 1 174307"/>
                      <a:gd name="f26" fmla="*/ f4 1 175259"/>
                      <a:gd name="f27" fmla="+- f7 0 f5"/>
                      <a:gd name="f28" fmla="+- f6 0 f5"/>
                      <a:gd name="f29" fmla="*/ f24 f0 1"/>
                      <a:gd name="f30" fmla="*/ f28 1 174307"/>
                      <a:gd name="f31" fmla="*/ f27 1 175259"/>
                      <a:gd name="f32" fmla="*/ 54293 f28 1"/>
                      <a:gd name="f33" fmla="*/ 53340 f27 1"/>
                      <a:gd name="f34" fmla="*/ 120968 f28 1"/>
                      <a:gd name="f35" fmla="*/ 120015 f27 1"/>
                      <a:gd name="f36" fmla="*/ 0 f28 1"/>
                      <a:gd name="f37" fmla="*/ 147638 f27 1"/>
                      <a:gd name="f38" fmla="*/ 26670 f28 1"/>
                      <a:gd name="f39" fmla="*/ 175260 f27 1"/>
                      <a:gd name="f40" fmla="*/ 147638 f28 1"/>
                      <a:gd name="f41" fmla="*/ 174308 f28 1"/>
                      <a:gd name="f42" fmla="*/ 26670 f27 1"/>
                      <a:gd name="f43" fmla="*/ 0 f27 1"/>
                      <a:gd name="f44" fmla="*/ 27623 f28 1"/>
                      <a:gd name="f45" fmla="*/ 953 f28 1"/>
                      <a:gd name="f46" fmla="*/ f29 1 f2"/>
                      <a:gd name="f47" fmla="*/ f32 1 174307"/>
                      <a:gd name="f48" fmla="*/ f33 1 175259"/>
                      <a:gd name="f49" fmla="*/ f34 1 174307"/>
                      <a:gd name="f50" fmla="*/ f35 1 175259"/>
                      <a:gd name="f51" fmla="*/ f36 1 174307"/>
                      <a:gd name="f52" fmla="*/ f37 1 175259"/>
                      <a:gd name="f53" fmla="*/ f38 1 174307"/>
                      <a:gd name="f54" fmla="*/ f39 1 175259"/>
                      <a:gd name="f55" fmla="*/ f40 1 174307"/>
                      <a:gd name="f56" fmla="*/ f41 1 174307"/>
                      <a:gd name="f57" fmla="*/ f42 1 175259"/>
                      <a:gd name="f58" fmla="*/ f43 1 175259"/>
                      <a:gd name="f59" fmla="*/ f44 1 174307"/>
                      <a:gd name="f60" fmla="*/ f45 1 174307"/>
                      <a:gd name="f61" fmla="*/ f5 1 f30"/>
                      <a:gd name="f62" fmla="*/ f6 1 f30"/>
                      <a:gd name="f63" fmla="*/ f5 1 f31"/>
                      <a:gd name="f64" fmla="*/ f7 1 f31"/>
                      <a:gd name="f65" fmla="+- f46 0 f1"/>
                      <a:gd name="f66" fmla="*/ f47 1 f30"/>
                      <a:gd name="f67" fmla="*/ f48 1 f31"/>
                      <a:gd name="f68" fmla="*/ f49 1 f30"/>
                      <a:gd name="f69" fmla="*/ f50 1 f31"/>
                      <a:gd name="f70" fmla="*/ f51 1 f30"/>
                      <a:gd name="f71" fmla="*/ f52 1 f31"/>
                      <a:gd name="f72" fmla="*/ f53 1 f30"/>
                      <a:gd name="f73" fmla="*/ f54 1 f31"/>
                      <a:gd name="f74" fmla="*/ f55 1 f30"/>
                      <a:gd name="f75" fmla="*/ f56 1 f30"/>
                      <a:gd name="f76" fmla="*/ f57 1 f31"/>
                      <a:gd name="f77" fmla="*/ f58 1 f31"/>
                      <a:gd name="f78" fmla="*/ f59 1 f30"/>
                      <a:gd name="f79" fmla="*/ f60 1 f30"/>
                      <a:gd name="f80" fmla="*/ f61 f25 1"/>
                      <a:gd name="f81" fmla="*/ f62 f25 1"/>
                      <a:gd name="f82" fmla="*/ f64 f26 1"/>
                      <a:gd name="f83" fmla="*/ f63 f26 1"/>
                      <a:gd name="f84" fmla="*/ f66 f25 1"/>
                      <a:gd name="f85" fmla="*/ f67 f26 1"/>
                      <a:gd name="f86" fmla="*/ f68 f25 1"/>
                      <a:gd name="f87" fmla="*/ f69 f26 1"/>
                      <a:gd name="f88" fmla="*/ f70 f25 1"/>
                      <a:gd name="f89" fmla="*/ f71 f26 1"/>
                      <a:gd name="f90" fmla="*/ f72 f25 1"/>
                      <a:gd name="f91" fmla="*/ f73 f26 1"/>
                      <a:gd name="f92" fmla="*/ f74 f25 1"/>
                      <a:gd name="f93" fmla="*/ f75 f25 1"/>
                      <a:gd name="f94" fmla="*/ f76 f26 1"/>
                      <a:gd name="f95" fmla="*/ f77 f26 1"/>
                      <a:gd name="f96" fmla="*/ f78 f25 1"/>
                      <a:gd name="f97" fmla="*/ f79 f25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5">
                        <a:pos x="f84" y="f85"/>
                      </a:cxn>
                      <a:cxn ang="f65">
                        <a:pos x="f86" y="f85"/>
                      </a:cxn>
                      <a:cxn ang="f65">
                        <a:pos x="f86" y="f87"/>
                      </a:cxn>
                      <a:cxn ang="f65">
                        <a:pos x="f84" y="f87"/>
                      </a:cxn>
                      <a:cxn ang="f65">
                        <a:pos x="f84" y="f85"/>
                      </a:cxn>
                      <a:cxn ang="f65">
                        <a:pos x="f88" y="f89"/>
                      </a:cxn>
                      <a:cxn ang="f65">
                        <a:pos x="f90" y="f91"/>
                      </a:cxn>
                      <a:cxn ang="f65">
                        <a:pos x="f92" y="f91"/>
                      </a:cxn>
                      <a:cxn ang="f65">
                        <a:pos x="f93" y="f89"/>
                      </a:cxn>
                      <a:cxn ang="f65">
                        <a:pos x="f93" y="f94"/>
                      </a:cxn>
                      <a:cxn ang="f65">
                        <a:pos x="f92" y="f95"/>
                      </a:cxn>
                      <a:cxn ang="f65">
                        <a:pos x="f96" y="f95"/>
                      </a:cxn>
                      <a:cxn ang="f65">
                        <a:pos x="f97" y="f94"/>
                      </a:cxn>
                      <a:cxn ang="f65">
                        <a:pos x="f88" y="f89"/>
                      </a:cxn>
                    </a:cxnLst>
                    <a:rect l="f80" t="f83" r="f81" b="f82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2" y="f16"/>
                        </a:lnTo>
                        <a:cubicBezTo>
                          <a:pt x="f17" y="f16"/>
                          <a:pt x="f18" y="f13"/>
                          <a:pt x="f18" y="f12"/>
                        </a:cubicBezTo>
                        <a:lnTo>
                          <a:pt x="f18" y="f15"/>
                        </a:lnTo>
                        <a:cubicBezTo>
                          <a:pt x="f18" y="f19"/>
                          <a:pt x="f20" y="f5"/>
                          <a:pt x="f12" y="f5"/>
                        </a:cubicBezTo>
                        <a:lnTo>
                          <a:pt x="f21" y="f5"/>
                        </a:lnTo>
                        <a:cubicBezTo>
                          <a:pt x="f14" y="f5"/>
                          <a:pt x="f22" y="f23"/>
                          <a:pt x="f22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32" name="Graphic 51">
                    <a:extLst>
                      <a:ext uri="{FF2B5EF4-FFF2-40B4-BE49-F238E27FC236}">
                        <a16:creationId xmlns:a16="http://schemas.microsoft.com/office/drawing/2014/main" id="{5FEB6320-15B6-58E4-212A-1ED87EA8156A}"/>
                      </a:ext>
                    </a:extLst>
                  </p:cNvPr>
                  <p:cNvSpPr/>
                  <p:nvPr/>
                </p:nvSpPr>
                <p:spPr>
                  <a:xfrm>
                    <a:off x="6083503" y="5893600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3"/>
                      <a:gd name="f9" fmla="val 120968"/>
                      <a:gd name="f10" fmla="val 147638"/>
                      <a:gd name="f11" fmla="val 162877"/>
                      <a:gd name="f12" fmla="val 12383"/>
                      <a:gd name="f13" fmla="val 174308"/>
                      <a:gd name="f14" fmla="val 26670"/>
                      <a:gd name="f15" fmla="val 162878"/>
                      <a:gd name="f16" fmla="val 11430"/>
                      <a:gd name="f17" fmla="val 161925"/>
                      <a:gd name="f18" fmla="val 27623"/>
                      <a:gd name="f19" fmla="val 953"/>
                      <a:gd name="f20" fmla="+- 0 0 -90"/>
                      <a:gd name="f21" fmla="*/ f3 1 174307"/>
                      <a:gd name="f22" fmla="*/ f4 1 175260"/>
                      <a:gd name="f23" fmla="+- f7 0 f5"/>
                      <a:gd name="f24" fmla="+- f6 0 f5"/>
                      <a:gd name="f25" fmla="*/ f20 f0 1"/>
                      <a:gd name="f26" fmla="*/ f24 1 174307"/>
                      <a:gd name="f27" fmla="*/ f23 1 175260"/>
                      <a:gd name="f28" fmla="*/ 54293 f24 1"/>
                      <a:gd name="f29" fmla="*/ 54293 f23 1"/>
                      <a:gd name="f30" fmla="*/ 120968 f24 1"/>
                      <a:gd name="f31" fmla="*/ 120968 f23 1"/>
                      <a:gd name="f32" fmla="*/ 0 f24 1"/>
                      <a:gd name="f33" fmla="*/ 147638 f23 1"/>
                      <a:gd name="f34" fmla="*/ 26670 f24 1"/>
                      <a:gd name="f35" fmla="*/ 175260 f23 1"/>
                      <a:gd name="f36" fmla="*/ 147638 f24 1"/>
                      <a:gd name="f37" fmla="*/ 174308 f24 1"/>
                      <a:gd name="f38" fmla="*/ 26670 f23 1"/>
                      <a:gd name="f39" fmla="*/ 0 f23 1"/>
                      <a:gd name="f40" fmla="*/ 27623 f24 1"/>
                      <a:gd name="f41" fmla="*/ 953 f24 1"/>
                      <a:gd name="f42" fmla="*/ f25 1 f2"/>
                      <a:gd name="f43" fmla="*/ f28 1 174307"/>
                      <a:gd name="f44" fmla="*/ f29 1 175260"/>
                      <a:gd name="f45" fmla="*/ f30 1 174307"/>
                      <a:gd name="f46" fmla="*/ f31 1 175260"/>
                      <a:gd name="f47" fmla="*/ f32 1 174307"/>
                      <a:gd name="f48" fmla="*/ f33 1 175260"/>
                      <a:gd name="f49" fmla="*/ f34 1 174307"/>
                      <a:gd name="f50" fmla="*/ f35 1 175260"/>
                      <a:gd name="f51" fmla="*/ f36 1 174307"/>
                      <a:gd name="f52" fmla="*/ f37 1 174307"/>
                      <a:gd name="f53" fmla="*/ f38 1 175260"/>
                      <a:gd name="f54" fmla="*/ f39 1 175260"/>
                      <a:gd name="f55" fmla="*/ f40 1 174307"/>
                      <a:gd name="f56" fmla="*/ f41 1 174307"/>
                      <a:gd name="f57" fmla="*/ f5 1 f26"/>
                      <a:gd name="f58" fmla="*/ f6 1 f26"/>
                      <a:gd name="f59" fmla="*/ f5 1 f27"/>
                      <a:gd name="f60" fmla="*/ f7 1 f27"/>
                      <a:gd name="f61" fmla="+- f42 0 f1"/>
                      <a:gd name="f62" fmla="*/ f43 1 f26"/>
                      <a:gd name="f63" fmla="*/ f44 1 f27"/>
                      <a:gd name="f64" fmla="*/ f45 1 f26"/>
                      <a:gd name="f65" fmla="*/ f46 1 f27"/>
                      <a:gd name="f66" fmla="*/ f47 1 f26"/>
                      <a:gd name="f67" fmla="*/ f48 1 f27"/>
                      <a:gd name="f68" fmla="*/ f49 1 f26"/>
                      <a:gd name="f69" fmla="*/ f50 1 f27"/>
                      <a:gd name="f70" fmla="*/ f51 1 f26"/>
                      <a:gd name="f71" fmla="*/ f52 1 f26"/>
                      <a:gd name="f72" fmla="*/ f53 1 f27"/>
                      <a:gd name="f73" fmla="*/ f54 1 f27"/>
                      <a:gd name="f74" fmla="*/ f55 1 f26"/>
                      <a:gd name="f75" fmla="*/ f56 1 f26"/>
                      <a:gd name="f76" fmla="*/ f57 f21 1"/>
                      <a:gd name="f77" fmla="*/ f58 f21 1"/>
                      <a:gd name="f78" fmla="*/ f60 f22 1"/>
                      <a:gd name="f79" fmla="*/ f59 f22 1"/>
                      <a:gd name="f80" fmla="*/ f62 f21 1"/>
                      <a:gd name="f81" fmla="*/ f63 f22 1"/>
                      <a:gd name="f82" fmla="*/ f64 f21 1"/>
                      <a:gd name="f83" fmla="*/ f65 f22 1"/>
                      <a:gd name="f84" fmla="*/ f66 f21 1"/>
                      <a:gd name="f85" fmla="*/ f67 f22 1"/>
                      <a:gd name="f86" fmla="*/ f68 f21 1"/>
                      <a:gd name="f87" fmla="*/ f69 f22 1"/>
                      <a:gd name="f88" fmla="*/ f70 f21 1"/>
                      <a:gd name="f89" fmla="*/ f71 f21 1"/>
                      <a:gd name="f90" fmla="*/ f72 f22 1"/>
                      <a:gd name="f91" fmla="*/ f73 f22 1"/>
                      <a:gd name="f92" fmla="*/ f74 f21 1"/>
                      <a:gd name="f93" fmla="*/ f75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1">
                        <a:pos x="f80" y="f81"/>
                      </a:cxn>
                      <a:cxn ang="f61">
                        <a:pos x="f82" y="f81"/>
                      </a:cxn>
                      <a:cxn ang="f61">
                        <a:pos x="f82" y="f83"/>
                      </a:cxn>
                      <a:cxn ang="f61">
                        <a:pos x="f80" y="f83"/>
                      </a:cxn>
                      <a:cxn ang="f61">
                        <a:pos x="f80" y="f81"/>
                      </a:cxn>
                      <a:cxn ang="f61">
                        <a:pos x="f84" y="f85"/>
                      </a:cxn>
                      <a:cxn ang="f61">
                        <a:pos x="f86" y="f87"/>
                      </a:cxn>
                      <a:cxn ang="f61">
                        <a:pos x="f88" y="f87"/>
                      </a:cxn>
                      <a:cxn ang="f61">
                        <a:pos x="f89" y="f85"/>
                      </a:cxn>
                      <a:cxn ang="f61">
                        <a:pos x="f89" y="f90"/>
                      </a:cxn>
                      <a:cxn ang="f61">
                        <a:pos x="f88" y="f91"/>
                      </a:cxn>
                      <a:cxn ang="f61">
                        <a:pos x="f92" y="f91"/>
                      </a:cxn>
                      <a:cxn ang="f61">
                        <a:pos x="f93" y="f90"/>
                      </a:cxn>
                      <a:cxn ang="f61">
                        <a:pos x="f84" y="f85"/>
                      </a:cxn>
                    </a:cxnLst>
                    <a:rect l="f76" t="f79" r="f77" b="f78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5" y="f10"/>
                        </a:moveTo>
                        <a:cubicBezTo>
                          <a:pt x="f5" y="f11"/>
                          <a:pt x="f12" y="f13"/>
                          <a:pt x="f14" y="f7"/>
                        </a:cubicBezTo>
                        <a:lnTo>
                          <a:pt x="f10" y="f7"/>
                        </a:lnTo>
                        <a:cubicBezTo>
                          <a:pt x="f15" y="f7"/>
                          <a:pt x="f13" y="f11"/>
                          <a:pt x="f13" y="f10"/>
                        </a:cubicBezTo>
                        <a:lnTo>
                          <a:pt x="f13" y="f14"/>
                        </a:lnTo>
                        <a:cubicBezTo>
                          <a:pt x="f13" y="f16"/>
                          <a:pt x="f17" y="f5"/>
                          <a:pt x="f10" y="f5"/>
                        </a:cubicBezTo>
                        <a:lnTo>
                          <a:pt x="f18" y="f5"/>
                        </a:lnTo>
                        <a:cubicBezTo>
                          <a:pt x="f12" y="f5"/>
                          <a:pt x="f19" y="f12"/>
                          <a:pt x="f19" y="f14"/>
                        </a:cubicBezTo>
                        <a:lnTo>
                          <a:pt x="f5" y="f1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</p:grpSp>
            <p:grpSp>
              <p:nvGrpSpPr>
                <p:cNvPr id="133" name="Group 45">
                  <a:extLst>
                    <a:ext uri="{FF2B5EF4-FFF2-40B4-BE49-F238E27FC236}">
                      <a16:creationId xmlns:a16="http://schemas.microsoft.com/office/drawing/2014/main" id="{8AC68279-AFEB-D035-D72B-7BF72C181B0A}"/>
                    </a:ext>
                  </a:extLst>
                </p:cNvPr>
                <p:cNvGrpSpPr/>
                <p:nvPr/>
              </p:nvGrpSpPr>
              <p:grpSpPr>
                <a:xfrm>
                  <a:off x="6103034" y="5268964"/>
                  <a:ext cx="301852" cy="755934"/>
                  <a:chOff x="6103034" y="5268964"/>
                  <a:chExt cx="301852" cy="755934"/>
                </a:xfrm>
              </p:grpSpPr>
              <p:sp>
                <p:nvSpPr>
                  <p:cNvPr id="134" name="Graphic 51">
                    <a:extLst>
                      <a:ext uri="{FF2B5EF4-FFF2-40B4-BE49-F238E27FC236}">
                        <a16:creationId xmlns:a16="http://schemas.microsoft.com/office/drawing/2014/main" id="{46A5151E-8569-6F00-DA4B-F8F5354C41CB}"/>
                      </a:ext>
                    </a:extLst>
                  </p:cNvPr>
                  <p:cNvSpPr/>
                  <p:nvPr/>
                </p:nvSpPr>
                <p:spPr>
                  <a:xfrm>
                    <a:off x="6162653" y="5409956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2"/>
                      <a:gd name="f9" fmla="val 120967"/>
                      <a:gd name="f10" fmla="val 26670"/>
                      <a:gd name="f11" fmla="val 147638"/>
                      <a:gd name="f12" fmla="val 162877"/>
                      <a:gd name="f13" fmla="val 148590"/>
                      <a:gd name="f14" fmla="val 11430"/>
                      <a:gd name="f15" fmla="val 161925"/>
                      <a:gd name="f16" fmla="val 12382"/>
                      <a:gd name="f17" fmla="+- 0 0 -90"/>
                      <a:gd name="f18" fmla="*/ f3 1 174307"/>
                      <a:gd name="f19" fmla="*/ f4 1 175260"/>
                      <a:gd name="f20" fmla="+- f7 0 f5"/>
                      <a:gd name="f21" fmla="+- f6 0 f5"/>
                      <a:gd name="f22" fmla="*/ f17 f0 1"/>
                      <a:gd name="f23" fmla="*/ f21 1 174307"/>
                      <a:gd name="f24" fmla="*/ f20 1 175260"/>
                      <a:gd name="f25" fmla="*/ 54292 f21 1"/>
                      <a:gd name="f26" fmla="*/ 54292 f20 1"/>
                      <a:gd name="f27" fmla="*/ 120967 f21 1"/>
                      <a:gd name="f28" fmla="*/ 120967 f20 1"/>
                      <a:gd name="f29" fmla="*/ 26670 f21 1"/>
                      <a:gd name="f30" fmla="*/ 175260 f20 1"/>
                      <a:gd name="f31" fmla="*/ 147638 f21 1"/>
                      <a:gd name="f32" fmla="*/ 174307 f21 1"/>
                      <a:gd name="f33" fmla="*/ 148590 f20 1"/>
                      <a:gd name="f34" fmla="*/ 26670 f20 1"/>
                      <a:gd name="f35" fmla="*/ 0 f20 1"/>
                      <a:gd name="f36" fmla="*/ 0 f21 1"/>
                      <a:gd name="f37" fmla="*/ 147638 f20 1"/>
                      <a:gd name="f38" fmla="*/ f22 1 f2"/>
                      <a:gd name="f39" fmla="*/ f25 1 174307"/>
                      <a:gd name="f40" fmla="*/ f26 1 175260"/>
                      <a:gd name="f41" fmla="*/ f27 1 174307"/>
                      <a:gd name="f42" fmla="*/ f28 1 175260"/>
                      <a:gd name="f43" fmla="*/ f29 1 174307"/>
                      <a:gd name="f44" fmla="*/ f30 1 175260"/>
                      <a:gd name="f45" fmla="*/ f31 1 174307"/>
                      <a:gd name="f46" fmla="*/ f32 1 174307"/>
                      <a:gd name="f47" fmla="*/ f33 1 175260"/>
                      <a:gd name="f48" fmla="*/ f34 1 175260"/>
                      <a:gd name="f49" fmla="*/ f35 1 175260"/>
                      <a:gd name="f50" fmla="*/ f36 1 174307"/>
                      <a:gd name="f51" fmla="*/ f37 1 175260"/>
                      <a:gd name="f52" fmla="*/ f5 1 f23"/>
                      <a:gd name="f53" fmla="*/ f6 1 f23"/>
                      <a:gd name="f54" fmla="*/ f5 1 f24"/>
                      <a:gd name="f55" fmla="*/ f7 1 f24"/>
                      <a:gd name="f56" fmla="+- f38 0 f1"/>
                      <a:gd name="f57" fmla="*/ f39 1 f23"/>
                      <a:gd name="f58" fmla="*/ f40 1 f24"/>
                      <a:gd name="f59" fmla="*/ f41 1 f23"/>
                      <a:gd name="f60" fmla="*/ f42 1 f24"/>
                      <a:gd name="f61" fmla="*/ f43 1 f23"/>
                      <a:gd name="f62" fmla="*/ f44 1 f24"/>
                      <a:gd name="f63" fmla="*/ f45 1 f23"/>
                      <a:gd name="f64" fmla="*/ f46 1 f23"/>
                      <a:gd name="f65" fmla="*/ f47 1 f24"/>
                      <a:gd name="f66" fmla="*/ f48 1 f24"/>
                      <a:gd name="f67" fmla="*/ f49 1 f24"/>
                      <a:gd name="f68" fmla="*/ f50 1 f23"/>
                      <a:gd name="f69" fmla="*/ f51 1 f24"/>
                      <a:gd name="f70" fmla="*/ f52 f18 1"/>
                      <a:gd name="f71" fmla="*/ f53 f18 1"/>
                      <a:gd name="f72" fmla="*/ f55 f19 1"/>
                      <a:gd name="f73" fmla="*/ f54 f19 1"/>
                      <a:gd name="f74" fmla="*/ f57 f18 1"/>
                      <a:gd name="f75" fmla="*/ f58 f19 1"/>
                      <a:gd name="f76" fmla="*/ f59 f18 1"/>
                      <a:gd name="f77" fmla="*/ f60 f19 1"/>
                      <a:gd name="f78" fmla="*/ f61 f18 1"/>
                      <a:gd name="f79" fmla="*/ f62 f19 1"/>
                      <a:gd name="f80" fmla="*/ f63 f18 1"/>
                      <a:gd name="f81" fmla="*/ f64 f18 1"/>
                      <a:gd name="f82" fmla="*/ f65 f19 1"/>
                      <a:gd name="f83" fmla="*/ f66 f19 1"/>
                      <a:gd name="f84" fmla="*/ f67 f19 1"/>
                      <a:gd name="f85" fmla="*/ f68 f18 1"/>
                      <a:gd name="f86" fmla="*/ f69 f19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6">
                        <a:pos x="f74" y="f75"/>
                      </a:cxn>
                      <a:cxn ang="f56">
                        <a:pos x="f76" y="f75"/>
                      </a:cxn>
                      <a:cxn ang="f56">
                        <a:pos x="f76" y="f77"/>
                      </a:cxn>
                      <a:cxn ang="f56">
                        <a:pos x="f74" y="f77"/>
                      </a:cxn>
                      <a:cxn ang="f56">
                        <a:pos x="f74" y="f75"/>
                      </a:cxn>
                      <a:cxn ang="f56">
                        <a:pos x="f78" y="f79"/>
                      </a:cxn>
                      <a:cxn ang="f56">
                        <a:pos x="f80" y="f79"/>
                      </a:cxn>
                      <a:cxn ang="f56">
                        <a:pos x="f81" y="f82"/>
                      </a:cxn>
                      <a:cxn ang="f56">
                        <a:pos x="f81" y="f83"/>
                      </a:cxn>
                      <a:cxn ang="f56">
                        <a:pos x="f80" y="f84"/>
                      </a:cxn>
                      <a:cxn ang="f56">
                        <a:pos x="f80" y="f84"/>
                      </a:cxn>
                      <a:cxn ang="f56">
                        <a:pos x="f78" y="f84"/>
                      </a:cxn>
                      <a:cxn ang="f56">
                        <a:pos x="f85" y="f83"/>
                      </a:cxn>
                      <a:cxn ang="f56">
                        <a:pos x="f85" y="f83"/>
                      </a:cxn>
                      <a:cxn ang="f56">
                        <a:pos x="f85" y="f86"/>
                      </a:cxn>
                      <a:cxn ang="f56">
                        <a:pos x="f78" y="f79"/>
                      </a:cxn>
                      <a:cxn ang="f56">
                        <a:pos x="f78" y="f79"/>
                      </a:cxn>
                    </a:cxnLst>
                    <a:rect l="f70" t="f73" r="f71" b="f72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10" y="f7"/>
                        </a:moveTo>
                        <a:lnTo>
                          <a:pt x="f11" y="f7"/>
                        </a:lnTo>
                        <a:cubicBezTo>
                          <a:pt x="f12" y="f7"/>
                          <a:pt x="f6" y="f12"/>
                          <a:pt x="f6" y="f13"/>
                        </a:cubicBezTo>
                        <a:lnTo>
                          <a:pt x="f6" y="f10"/>
                        </a:lnTo>
                        <a:cubicBezTo>
                          <a:pt x="f6" y="f14"/>
                          <a:pt x="f15" y="f5"/>
                          <a:pt x="f11" y="f5"/>
                        </a:cubicBezTo>
                        <a:lnTo>
                          <a:pt x="f11" y="f5"/>
                        </a:lnTo>
                        <a:lnTo>
                          <a:pt x="f10" y="f5"/>
                        </a:lnTo>
                        <a:cubicBezTo>
                          <a:pt x="f14" y="f5"/>
                          <a:pt x="f5" y="f16"/>
                          <a:pt x="f5" y="f10"/>
                        </a:cubicBezTo>
                        <a:lnTo>
                          <a:pt x="f5" y="f10"/>
                        </a:lnTo>
                        <a:lnTo>
                          <a:pt x="f5" y="f11"/>
                        </a:lnTo>
                        <a:cubicBezTo>
                          <a:pt x="f5" y="f12"/>
                          <a:pt x="f14" y="f7"/>
                          <a:pt x="f10" y="f7"/>
                        </a:cubicBezTo>
                        <a:lnTo>
                          <a:pt x="f10" y="f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35" name="Graphic 51">
                    <a:extLst>
                      <a:ext uri="{FF2B5EF4-FFF2-40B4-BE49-F238E27FC236}">
                        <a16:creationId xmlns:a16="http://schemas.microsoft.com/office/drawing/2014/main" id="{B7925220-2B3F-7283-8C5E-94FE9A217A42}"/>
                      </a:ext>
                    </a:extLst>
                  </p:cNvPr>
                  <p:cNvSpPr/>
                  <p:nvPr/>
                </p:nvSpPr>
                <p:spPr>
                  <a:xfrm>
                    <a:off x="6265852" y="5409956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3340"/>
                      <a:gd name="f9" fmla="val 54292"/>
                      <a:gd name="f10" fmla="val 120015"/>
                      <a:gd name="f11" fmla="val 120967"/>
                      <a:gd name="f12" fmla="val 26670"/>
                      <a:gd name="f13" fmla="val 147638"/>
                      <a:gd name="f14" fmla="val 162877"/>
                      <a:gd name="f15" fmla="val 148590"/>
                      <a:gd name="f16" fmla="val 11430"/>
                      <a:gd name="f17" fmla="val 161925"/>
                      <a:gd name="f18" fmla="val 12382"/>
                      <a:gd name="f19" fmla="+- 0 0 -90"/>
                      <a:gd name="f20" fmla="*/ f3 1 174307"/>
                      <a:gd name="f21" fmla="*/ f4 1 175260"/>
                      <a:gd name="f22" fmla="+- f7 0 f5"/>
                      <a:gd name="f23" fmla="+- f6 0 f5"/>
                      <a:gd name="f24" fmla="*/ f19 f0 1"/>
                      <a:gd name="f25" fmla="*/ f23 1 174307"/>
                      <a:gd name="f26" fmla="*/ f22 1 175260"/>
                      <a:gd name="f27" fmla="*/ 53340 f23 1"/>
                      <a:gd name="f28" fmla="*/ 54292 f22 1"/>
                      <a:gd name="f29" fmla="*/ 120015 f23 1"/>
                      <a:gd name="f30" fmla="*/ 120967 f22 1"/>
                      <a:gd name="f31" fmla="*/ 26670 f23 1"/>
                      <a:gd name="f32" fmla="*/ 175260 f22 1"/>
                      <a:gd name="f33" fmla="*/ 147638 f23 1"/>
                      <a:gd name="f34" fmla="*/ 174307 f23 1"/>
                      <a:gd name="f35" fmla="*/ 148590 f22 1"/>
                      <a:gd name="f36" fmla="*/ 26670 f22 1"/>
                      <a:gd name="f37" fmla="*/ 0 f22 1"/>
                      <a:gd name="f38" fmla="*/ 0 f23 1"/>
                      <a:gd name="f39" fmla="*/ 147638 f22 1"/>
                      <a:gd name="f40" fmla="*/ f24 1 f2"/>
                      <a:gd name="f41" fmla="*/ f27 1 174307"/>
                      <a:gd name="f42" fmla="*/ f28 1 175260"/>
                      <a:gd name="f43" fmla="*/ f29 1 174307"/>
                      <a:gd name="f44" fmla="*/ f30 1 175260"/>
                      <a:gd name="f45" fmla="*/ f31 1 174307"/>
                      <a:gd name="f46" fmla="*/ f32 1 175260"/>
                      <a:gd name="f47" fmla="*/ f33 1 174307"/>
                      <a:gd name="f48" fmla="*/ f34 1 174307"/>
                      <a:gd name="f49" fmla="*/ f35 1 175260"/>
                      <a:gd name="f50" fmla="*/ f36 1 175260"/>
                      <a:gd name="f51" fmla="*/ f37 1 175260"/>
                      <a:gd name="f52" fmla="*/ f38 1 174307"/>
                      <a:gd name="f53" fmla="*/ f39 1 175260"/>
                      <a:gd name="f54" fmla="*/ f5 1 f25"/>
                      <a:gd name="f55" fmla="*/ f6 1 f25"/>
                      <a:gd name="f56" fmla="*/ f5 1 f26"/>
                      <a:gd name="f57" fmla="*/ f7 1 f26"/>
                      <a:gd name="f58" fmla="+- f40 0 f1"/>
                      <a:gd name="f59" fmla="*/ f41 1 f25"/>
                      <a:gd name="f60" fmla="*/ f42 1 f26"/>
                      <a:gd name="f61" fmla="*/ f43 1 f25"/>
                      <a:gd name="f62" fmla="*/ f44 1 f26"/>
                      <a:gd name="f63" fmla="*/ f45 1 f25"/>
                      <a:gd name="f64" fmla="*/ f46 1 f26"/>
                      <a:gd name="f65" fmla="*/ f47 1 f25"/>
                      <a:gd name="f66" fmla="*/ f48 1 f25"/>
                      <a:gd name="f67" fmla="*/ f49 1 f26"/>
                      <a:gd name="f68" fmla="*/ f50 1 f26"/>
                      <a:gd name="f69" fmla="*/ f51 1 f26"/>
                      <a:gd name="f70" fmla="*/ f52 1 f25"/>
                      <a:gd name="f71" fmla="*/ f53 1 f26"/>
                      <a:gd name="f72" fmla="*/ f54 f20 1"/>
                      <a:gd name="f73" fmla="*/ f55 f20 1"/>
                      <a:gd name="f74" fmla="*/ f57 f21 1"/>
                      <a:gd name="f75" fmla="*/ f56 f21 1"/>
                      <a:gd name="f76" fmla="*/ f59 f20 1"/>
                      <a:gd name="f77" fmla="*/ f60 f21 1"/>
                      <a:gd name="f78" fmla="*/ f61 f20 1"/>
                      <a:gd name="f79" fmla="*/ f62 f21 1"/>
                      <a:gd name="f80" fmla="*/ f63 f20 1"/>
                      <a:gd name="f81" fmla="*/ f64 f21 1"/>
                      <a:gd name="f82" fmla="*/ f65 f20 1"/>
                      <a:gd name="f83" fmla="*/ f66 f20 1"/>
                      <a:gd name="f84" fmla="*/ f67 f21 1"/>
                      <a:gd name="f85" fmla="*/ f68 f21 1"/>
                      <a:gd name="f86" fmla="*/ f69 f21 1"/>
                      <a:gd name="f87" fmla="*/ f70 f20 1"/>
                      <a:gd name="f88" fmla="*/ f71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8">
                        <a:pos x="f76" y="f77"/>
                      </a:cxn>
                      <a:cxn ang="f58">
                        <a:pos x="f78" y="f77"/>
                      </a:cxn>
                      <a:cxn ang="f58">
                        <a:pos x="f78" y="f79"/>
                      </a:cxn>
                      <a:cxn ang="f58">
                        <a:pos x="f76" y="f79"/>
                      </a:cxn>
                      <a:cxn ang="f58">
                        <a:pos x="f76" y="f77"/>
                      </a:cxn>
                      <a:cxn ang="f58">
                        <a:pos x="f80" y="f81"/>
                      </a:cxn>
                      <a:cxn ang="f58">
                        <a:pos x="f82" y="f81"/>
                      </a:cxn>
                      <a:cxn ang="f58">
                        <a:pos x="f83" y="f84"/>
                      </a:cxn>
                      <a:cxn ang="f58">
                        <a:pos x="f83" y="f85"/>
                      </a:cxn>
                      <a:cxn ang="f58">
                        <a:pos x="f82" y="f86"/>
                      </a:cxn>
                      <a:cxn ang="f58">
                        <a:pos x="f80" y="f86"/>
                      </a:cxn>
                      <a:cxn ang="f58">
                        <a:pos x="f87" y="f85"/>
                      </a:cxn>
                      <a:cxn ang="f58">
                        <a:pos x="f87" y="f85"/>
                      </a:cxn>
                      <a:cxn ang="f58">
                        <a:pos x="f87" y="f88"/>
                      </a:cxn>
                      <a:cxn ang="f58">
                        <a:pos x="f80" y="f81"/>
                      </a:cxn>
                      <a:cxn ang="f58">
                        <a:pos x="f80" y="f81"/>
                      </a:cxn>
                    </a:cxnLst>
                    <a:rect l="f72" t="f75" r="f73" b="f74"/>
                    <a:pathLst>
                      <a:path w="174307" h="175260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12" y="f7"/>
                        </a:moveTo>
                        <a:lnTo>
                          <a:pt x="f13" y="f7"/>
                        </a:lnTo>
                        <a:cubicBezTo>
                          <a:pt x="f14" y="f7"/>
                          <a:pt x="f6" y="f14"/>
                          <a:pt x="f6" y="f15"/>
                        </a:cubicBezTo>
                        <a:lnTo>
                          <a:pt x="f6" y="f12"/>
                        </a:lnTo>
                        <a:cubicBezTo>
                          <a:pt x="f6" y="f16"/>
                          <a:pt x="f17" y="f5"/>
                          <a:pt x="f13" y="f5"/>
                        </a:cubicBezTo>
                        <a:lnTo>
                          <a:pt x="f12" y="f5"/>
                        </a:lnTo>
                        <a:cubicBezTo>
                          <a:pt x="f16" y="f5"/>
                          <a:pt x="f5" y="f18"/>
                          <a:pt x="f5" y="f12"/>
                        </a:cubicBezTo>
                        <a:lnTo>
                          <a:pt x="f5" y="f12"/>
                        </a:lnTo>
                        <a:lnTo>
                          <a:pt x="f5" y="f13"/>
                        </a:lnTo>
                        <a:cubicBezTo>
                          <a:pt x="f5" y="f14"/>
                          <a:pt x="f16" y="f7"/>
                          <a:pt x="f12" y="f7"/>
                        </a:cubicBezTo>
                        <a:lnTo>
                          <a:pt x="f12" y="f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36" name="Graphic 51">
                    <a:extLst>
                      <a:ext uri="{FF2B5EF4-FFF2-40B4-BE49-F238E27FC236}">
                        <a16:creationId xmlns:a16="http://schemas.microsoft.com/office/drawing/2014/main" id="{636E9A36-4277-D924-3791-88280703576C}"/>
                      </a:ext>
                    </a:extLst>
                  </p:cNvPr>
                  <p:cNvSpPr/>
                  <p:nvPr/>
                </p:nvSpPr>
                <p:spPr>
                  <a:xfrm>
                    <a:off x="6162653" y="5515313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2"/>
                      <a:gd name="f9" fmla="val 53340"/>
                      <a:gd name="f10" fmla="val 120967"/>
                      <a:gd name="f11" fmla="val 120015"/>
                      <a:gd name="f12" fmla="val 147638"/>
                      <a:gd name="f13" fmla="val 162877"/>
                      <a:gd name="f14" fmla="val 12382"/>
                      <a:gd name="f15" fmla="val 26670"/>
                      <a:gd name="f16" fmla="val 175260"/>
                      <a:gd name="f17" fmla="val 11430"/>
                      <a:gd name="f18" fmla="val 161925"/>
                      <a:gd name="f19" fmla="+- 0 0 -90"/>
                      <a:gd name="f20" fmla="*/ f3 1 174307"/>
                      <a:gd name="f21" fmla="*/ f4 1 175259"/>
                      <a:gd name="f22" fmla="+- f7 0 f5"/>
                      <a:gd name="f23" fmla="+- f6 0 f5"/>
                      <a:gd name="f24" fmla="*/ f19 f0 1"/>
                      <a:gd name="f25" fmla="*/ f23 1 174307"/>
                      <a:gd name="f26" fmla="*/ f22 1 175259"/>
                      <a:gd name="f27" fmla="*/ 54292 f23 1"/>
                      <a:gd name="f28" fmla="*/ 53340 f22 1"/>
                      <a:gd name="f29" fmla="*/ 120967 f23 1"/>
                      <a:gd name="f30" fmla="*/ 120015 f22 1"/>
                      <a:gd name="f31" fmla="*/ 0 f23 1"/>
                      <a:gd name="f32" fmla="*/ 147638 f22 1"/>
                      <a:gd name="f33" fmla="*/ 26670 f23 1"/>
                      <a:gd name="f34" fmla="*/ 175260 f22 1"/>
                      <a:gd name="f35" fmla="*/ 147638 f23 1"/>
                      <a:gd name="f36" fmla="*/ 174307 f23 1"/>
                      <a:gd name="f37" fmla="*/ 26670 f22 1"/>
                      <a:gd name="f38" fmla="*/ 0 f22 1"/>
                      <a:gd name="f39" fmla="*/ f24 1 f2"/>
                      <a:gd name="f40" fmla="*/ f27 1 174307"/>
                      <a:gd name="f41" fmla="*/ f28 1 175259"/>
                      <a:gd name="f42" fmla="*/ f29 1 174307"/>
                      <a:gd name="f43" fmla="*/ f30 1 175259"/>
                      <a:gd name="f44" fmla="*/ f31 1 174307"/>
                      <a:gd name="f45" fmla="*/ f32 1 175259"/>
                      <a:gd name="f46" fmla="*/ f33 1 174307"/>
                      <a:gd name="f47" fmla="*/ f34 1 175259"/>
                      <a:gd name="f48" fmla="*/ f35 1 174307"/>
                      <a:gd name="f49" fmla="*/ f36 1 174307"/>
                      <a:gd name="f50" fmla="*/ f37 1 175259"/>
                      <a:gd name="f51" fmla="*/ f38 1 175259"/>
                      <a:gd name="f52" fmla="*/ f5 1 f25"/>
                      <a:gd name="f53" fmla="*/ f6 1 f25"/>
                      <a:gd name="f54" fmla="*/ f5 1 f26"/>
                      <a:gd name="f55" fmla="*/ f7 1 f26"/>
                      <a:gd name="f56" fmla="+- f39 0 f1"/>
                      <a:gd name="f57" fmla="*/ f40 1 f25"/>
                      <a:gd name="f58" fmla="*/ f41 1 f26"/>
                      <a:gd name="f59" fmla="*/ f42 1 f25"/>
                      <a:gd name="f60" fmla="*/ f43 1 f26"/>
                      <a:gd name="f61" fmla="*/ f44 1 f25"/>
                      <a:gd name="f62" fmla="*/ f45 1 f26"/>
                      <a:gd name="f63" fmla="*/ f46 1 f25"/>
                      <a:gd name="f64" fmla="*/ f47 1 f26"/>
                      <a:gd name="f65" fmla="*/ f48 1 f25"/>
                      <a:gd name="f66" fmla="*/ f49 1 f25"/>
                      <a:gd name="f67" fmla="*/ f50 1 f26"/>
                      <a:gd name="f68" fmla="*/ f51 1 f26"/>
                      <a:gd name="f69" fmla="*/ f52 f20 1"/>
                      <a:gd name="f70" fmla="*/ f53 f20 1"/>
                      <a:gd name="f71" fmla="*/ f55 f21 1"/>
                      <a:gd name="f72" fmla="*/ f54 f21 1"/>
                      <a:gd name="f73" fmla="*/ f57 f20 1"/>
                      <a:gd name="f74" fmla="*/ f58 f21 1"/>
                      <a:gd name="f75" fmla="*/ f59 f20 1"/>
                      <a:gd name="f76" fmla="*/ f60 f21 1"/>
                      <a:gd name="f77" fmla="*/ f61 f20 1"/>
                      <a:gd name="f78" fmla="*/ f62 f21 1"/>
                      <a:gd name="f79" fmla="*/ f63 f20 1"/>
                      <a:gd name="f80" fmla="*/ f64 f21 1"/>
                      <a:gd name="f81" fmla="*/ f65 f20 1"/>
                      <a:gd name="f82" fmla="*/ f66 f20 1"/>
                      <a:gd name="f83" fmla="*/ f67 f21 1"/>
                      <a:gd name="f84" fmla="*/ f68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56">
                        <a:pos x="f73" y="f74"/>
                      </a:cxn>
                      <a:cxn ang="f56">
                        <a:pos x="f75" y="f74"/>
                      </a:cxn>
                      <a:cxn ang="f56">
                        <a:pos x="f75" y="f76"/>
                      </a:cxn>
                      <a:cxn ang="f56">
                        <a:pos x="f73" y="f76"/>
                      </a:cxn>
                      <a:cxn ang="f56">
                        <a:pos x="f73" y="f74"/>
                      </a:cxn>
                      <a:cxn ang="f56">
                        <a:pos x="f77" y="f78"/>
                      </a:cxn>
                      <a:cxn ang="f56">
                        <a:pos x="f79" y="f80"/>
                      </a:cxn>
                      <a:cxn ang="f56">
                        <a:pos x="f79" y="f80"/>
                      </a:cxn>
                      <a:cxn ang="f56">
                        <a:pos x="f81" y="f80"/>
                      </a:cxn>
                      <a:cxn ang="f56">
                        <a:pos x="f82" y="f78"/>
                      </a:cxn>
                      <a:cxn ang="f56">
                        <a:pos x="f82" y="f83"/>
                      </a:cxn>
                      <a:cxn ang="f56">
                        <a:pos x="f81" y="f84"/>
                      </a:cxn>
                      <a:cxn ang="f56">
                        <a:pos x="f79" y="f84"/>
                      </a:cxn>
                      <a:cxn ang="f56">
                        <a:pos x="f77" y="f83"/>
                      </a:cxn>
                      <a:cxn ang="f56">
                        <a:pos x="f77" y="f78"/>
                      </a:cxn>
                    </a:cxnLst>
                    <a:rect l="f69" t="f72" r="f70" b="f71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5" y="f16"/>
                        </a:lnTo>
                        <a:lnTo>
                          <a:pt x="f12" y="f16"/>
                        </a:lnTo>
                        <a:cubicBezTo>
                          <a:pt x="f13" y="f16"/>
                          <a:pt x="f6" y="f13"/>
                          <a:pt x="f6" y="f12"/>
                        </a:cubicBezTo>
                        <a:lnTo>
                          <a:pt x="f6" y="f15"/>
                        </a:lnTo>
                        <a:cubicBezTo>
                          <a:pt x="f6" y="f17"/>
                          <a:pt x="f18" y="f5"/>
                          <a:pt x="f12" y="f5"/>
                        </a:cubicBezTo>
                        <a:lnTo>
                          <a:pt x="f15" y="f5"/>
                        </a:lnTo>
                        <a:cubicBezTo>
                          <a:pt x="f17" y="f5"/>
                          <a:pt x="f5" y="f14"/>
                          <a:pt x="f5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37" name="Graphic 51">
                    <a:extLst>
                      <a:ext uri="{FF2B5EF4-FFF2-40B4-BE49-F238E27FC236}">
                        <a16:creationId xmlns:a16="http://schemas.microsoft.com/office/drawing/2014/main" id="{75B1C559-BA6A-4ACB-0224-7384CA2EF934}"/>
                      </a:ext>
                    </a:extLst>
                  </p:cNvPr>
                  <p:cNvSpPr/>
                  <p:nvPr/>
                </p:nvSpPr>
                <p:spPr>
                  <a:xfrm>
                    <a:off x="6265423" y="5515313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3"/>
                      <a:gd name="f9" fmla="val 53340"/>
                      <a:gd name="f10" fmla="val 120968"/>
                      <a:gd name="f11" fmla="val 120015"/>
                      <a:gd name="f12" fmla="val 147638"/>
                      <a:gd name="f13" fmla="val 162877"/>
                      <a:gd name="f14" fmla="val 12383"/>
                      <a:gd name="f15" fmla="val 26670"/>
                      <a:gd name="f16" fmla="val 175260"/>
                      <a:gd name="f17" fmla="val 162878"/>
                      <a:gd name="f18" fmla="val 174308"/>
                      <a:gd name="f19" fmla="val 11430"/>
                      <a:gd name="f20" fmla="val 161925"/>
                      <a:gd name="f21" fmla="val 27623"/>
                      <a:gd name="f22" fmla="val 953"/>
                      <a:gd name="f23" fmla="val 12382"/>
                      <a:gd name="f24" fmla="+- 0 0 -90"/>
                      <a:gd name="f25" fmla="*/ f3 1 174307"/>
                      <a:gd name="f26" fmla="*/ f4 1 175259"/>
                      <a:gd name="f27" fmla="+- f7 0 f5"/>
                      <a:gd name="f28" fmla="+- f6 0 f5"/>
                      <a:gd name="f29" fmla="*/ f24 f0 1"/>
                      <a:gd name="f30" fmla="*/ f28 1 174307"/>
                      <a:gd name="f31" fmla="*/ f27 1 175259"/>
                      <a:gd name="f32" fmla="*/ 54293 f28 1"/>
                      <a:gd name="f33" fmla="*/ 53340 f27 1"/>
                      <a:gd name="f34" fmla="*/ 120968 f28 1"/>
                      <a:gd name="f35" fmla="*/ 120015 f27 1"/>
                      <a:gd name="f36" fmla="*/ 0 f28 1"/>
                      <a:gd name="f37" fmla="*/ 147638 f27 1"/>
                      <a:gd name="f38" fmla="*/ 26670 f28 1"/>
                      <a:gd name="f39" fmla="*/ 175260 f27 1"/>
                      <a:gd name="f40" fmla="*/ 147638 f28 1"/>
                      <a:gd name="f41" fmla="*/ 174308 f28 1"/>
                      <a:gd name="f42" fmla="*/ 26670 f27 1"/>
                      <a:gd name="f43" fmla="*/ 0 f27 1"/>
                      <a:gd name="f44" fmla="*/ 27623 f28 1"/>
                      <a:gd name="f45" fmla="*/ 953 f28 1"/>
                      <a:gd name="f46" fmla="*/ f29 1 f2"/>
                      <a:gd name="f47" fmla="*/ f32 1 174307"/>
                      <a:gd name="f48" fmla="*/ f33 1 175259"/>
                      <a:gd name="f49" fmla="*/ f34 1 174307"/>
                      <a:gd name="f50" fmla="*/ f35 1 175259"/>
                      <a:gd name="f51" fmla="*/ f36 1 174307"/>
                      <a:gd name="f52" fmla="*/ f37 1 175259"/>
                      <a:gd name="f53" fmla="*/ f38 1 174307"/>
                      <a:gd name="f54" fmla="*/ f39 1 175259"/>
                      <a:gd name="f55" fmla="*/ f40 1 174307"/>
                      <a:gd name="f56" fmla="*/ f41 1 174307"/>
                      <a:gd name="f57" fmla="*/ f42 1 175259"/>
                      <a:gd name="f58" fmla="*/ f43 1 175259"/>
                      <a:gd name="f59" fmla="*/ f44 1 174307"/>
                      <a:gd name="f60" fmla="*/ f45 1 174307"/>
                      <a:gd name="f61" fmla="*/ f5 1 f30"/>
                      <a:gd name="f62" fmla="*/ f6 1 f30"/>
                      <a:gd name="f63" fmla="*/ f5 1 f31"/>
                      <a:gd name="f64" fmla="*/ f7 1 f31"/>
                      <a:gd name="f65" fmla="+- f46 0 f1"/>
                      <a:gd name="f66" fmla="*/ f47 1 f30"/>
                      <a:gd name="f67" fmla="*/ f48 1 f31"/>
                      <a:gd name="f68" fmla="*/ f49 1 f30"/>
                      <a:gd name="f69" fmla="*/ f50 1 f31"/>
                      <a:gd name="f70" fmla="*/ f51 1 f30"/>
                      <a:gd name="f71" fmla="*/ f52 1 f31"/>
                      <a:gd name="f72" fmla="*/ f53 1 f30"/>
                      <a:gd name="f73" fmla="*/ f54 1 f31"/>
                      <a:gd name="f74" fmla="*/ f55 1 f30"/>
                      <a:gd name="f75" fmla="*/ f56 1 f30"/>
                      <a:gd name="f76" fmla="*/ f57 1 f31"/>
                      <a:gd name="f77" fmla="*/ f58 1 f31"/>
                      <a:gd name="f78" fmla="*/ f59 1 f30"/>
                      <a:gd name="f79" fmla="*/ f60 1 f30"/>
                      <a:gd name="f80" fmla="*/ f61 f25 1"/>
                      <a:gd name="f81" fmla="*/ f62 f25 1"/>
                      <a:gd name="f82" fmla="*/ f64 f26 1"/>
                      <a:gd name="f83" fmla="*/ f63 f26 1"/>
                      <a:gd name="f84" fmla="*/ f66 f25 1"/>
                      <a:gd name="f85" fmla="*/ f67 f26 1"/>
                      <a:gd name="f86" fmla="*/ f68 f25 1"/>
                      <a:gd name="f87" fmla="*/ f69 f26 1"/>
                      <a:gd name="f88" fmla="*/ f70 f25 1"/>
                      <a:gd name="f89" fmla="*/ f71 f26 1"/>
                      <a:gd name="f90" fmla="*/ f72 f25 1"/>
                      <a:gd name="f91" fmla="*/ f73 f26 1"/>
                      <a:gd name="f92" fmla="*/ f74 f25 1"/>
                      <a:gd name="f93" fmla="*/ f75 f25 1"/>
                      <a:gd name="f94" fmla="*/ f76 f26 1"/>
                      <a:gd name="f95" fmla="*/ f77 f26 1"/>
                      <a:gd name="f96" fmla="*/ f78 f25 1"/>
                      <a:gd name="f97" fmla="*/ f79 f25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5">
                        <a:pos x="f84" y="f85"/>
                      </a:cxn>
                      <a:cxn ang="f65">
                        <a:pos x="f86" y="f85"/>
                      </a:cxn>
                      <a:cxn ang="f65">
                        <a:pos x="f86" y="f87"/>
                      </a:cxn>
                      <a:cxn ang="f65">
                        <a:pos x="f84" y="f87"/>
                      </a:cxn>
                      <a:cxn ang="f65">
                        <a:pos x="f84" y="f85"/>
                      </a:cxn>
                      <a:cxn ang="f65">
                        <a:pos x="f88" y="f89"/>
                      </a:cxn>
                      <a:cxn ang="f65">
                        <a:pos x="f90" y="f91"/>
                      </a:cxn>
                      <a:cxn ang="f65">
                        <a:pos x="f92" y="f91"/>
                      </a:cxn>
                      <a:cxn ang="f65">
                        <a:pos x="f93" y="f89"/>
                      </a:cxn>
                      <a:cxn ang="f65">
                        <a:pos x="f93" y="f94"/>
                      </a:cxn>
                      <a:cxn ang="f65">
                        <a:pos x="f92" y="f95"/>
                      </a:cxn>
                      <a:cxn ang="f65">
                        <a:pos x="f96" y="f95"/>
                      </a:cxn>
                      <a:cxn ang="f65">
                        <a:pos x="f97" y="f94"/>
                      </a:cxn>
                      <a:cxn ang="f65">
                        <a:pos x="f88" y="f89"/>
                      </a:cxn>
                    </a:cxnLst>
                    <a:rect l="f80" t="f83" r="f81" b="f82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2" y="f16"/>
                        </a:lnTo>
                        <a:cubicBezTo>
                          <a:pt x="f17" y="f16"/>
                          <a:pt x="f18" y="f13"/>
                          <a:pt x="f18" y="f12"/>
                        </a:cubicBezTo>
                        <a:lnTo>
                          <a:pt x="f18" y="f15"/>
                        </a:lnTo>
                        <a:cubicBezTo>
                          <a:pt x="f18" y="f19"/>
                          <a:pt x="f20" y="f5"/>
                          <a:pt x="f12" y="f5"/>
                        </a:cubicBezTo>
                        <a:lnTo>
                          <a:pt x="f21" y="f5"/>
                        </a:lnTo>
                        <a:cubicBezTo>
                          <a:pt x="f14" y="f5"/>
                          <a:pt x="f22" y="f23"/>
                          <a:pt x="f22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38" name="Graphic 51">
                    <a:extLst>
                      <a:ext uri="{FF2B5EF4-FFF2-40B4-BE49-F238E27FC236}">
                        <a16:creationId xmlns:a16="http://schemas.microsoft.com/office/drawing/2014/main" id="{79BEDF2C-4530-C695-129C-5573AD821148}"/>
                      </a:ext>
                    </a:extLst>
                  </p:cNvPr>
                  <p:cNvSpPr/>
                  <p:nvPr/>
                </p:nvSpPr>
                <p:spPr>
                  <a:xfrm>
                    <a:off x="6265423" y="5620240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3"/>
                      <a:gd name="f9" fmla="val 120968"/>
                      <a:gd name="f10" fmla="val 147638"/>
                      <a:gd name="f11" fmla="val 162877"/>
                      <a:gd name="f12" fmla="val 12383"/>
                      <a:gd name="f13" fmla="val 174308"/>
                      <a:gd name="f14" fmla="val 26670"/>
                      <a:gd name="f15" fmla="val 162878"/>
                      <a:gd name="f16" fmla="val 11430"/>
                      <a:gd name="f17" fmla="val 161925"/>
                      <a:gd name="f18" fmla="val 27623"/>
                      <a:gd name="f19" fmla="val 953"/>
                      <a:gd name="f20" fmla="+- 0 0 -90"/>
                      <a:gd name="f21" fmla="*/ f3 1 174307"/>
                      <a:gd name="f22" fmla="*/ f4 1 175260"/>
                      <a:gd name="f23" fmla="+- f7 0 f5"/>
                      <a:gd name="f24" fmla="+- f6 0 f5"/>
                      <a:gd name="f25" fmla="*/ f20 f0 1"/>
                      <a:gd name="f26" fmla="*/ f24 1 174307"/>
                      <a:gd name="f27" fmla="*/ f23 1 175260"/>
                      <a:gd name="f28" fmla="*/ 54293 f24 1"/>
                      <a:gd name="f29" fmla="*/ 54293 f23 1"/>
                      <a:gd name="f30" fmla="*/ 120968 f24 1"/>
                      <a:gd name="f31" fmla="*/ 120968 f23 1"/>
                      <a:gd name="f32" fmla="*/ 0 f24 1"/>
                      <a:gd name="f33" fmla="*/ 147638 f23 1"/>
                      <a:gd name="f34" fmla="*/ 26670 f24 1"/>
                      <a:gd name="f35" fmla="*/ 175260 f23 1"/>
                      <a:gd name="f36" fmla="*/ 147638 f24 1"/>
                      <a:gd name="f37" fmla="*/ 174308 f24 1"/>
                      <a:gd name="f38" fmla="*/ 26670 f23 1"/>
                      <a:gd name="f39" fmla="*/ 0 f23 1"/>
                      <a:gd name="f40" fmla="*/ 27623 f24 1"/>
                      <a:gd name="f41" fmla="*/ 953 f24 1"/>
                      <a:gd name="f42" fmla="*/ f25 1 f2"/>
                      <a:gd name="f43" fmla="*/ f28 1 174307"/>
                      <a:gd name="f44" fmla="*/ f29 1 175260"/>
                      <a:gd name="f45" fmla="*/ f30 1 174307"/>
                      <a:gd name="f46" fmla="*/ f31 1 175260"/>
                      <a:gd name="f47" fmla="*/ f32 1 174307"/>
                      <a:gd name="f48" fmla="*/ f33 1 175260"/>
                      <a:gd name="f49" fmla="*/ f34 1 174307"/>
                      <a:gd name="f50" fmla="*/ f35 1 175260"/>
                      <a:gd name="f51" fmla="*/ f36 1 174307"/>
                      <a:gd name="f52" fmla="*/ f37 1 174307"/>
                      <a:gd name="f53" fmla="*/ f38 1 175260"/>
                      <a:gd name="f54" fmla="*/ f39 1 175260"/>
                      <a:gd name="f55" fmla="*/ f40 1 174307"/>
                      <a:gd name="f56" fmla="*/ f41 1 174307"/>
                      <a:gd name="f57" fmla="*/ f5 1 f26"/>
                      <a:gd name="f58" fmla="*/ f6 1 f26"/>
                      <a:gd name="f59" fmla="*/ f5 1 f27"/>
                      <a:gd name="f60" fmla="*/ f7 1 f27"/>
                      <a:gd name="f61" fmla="+- f42 0 f1"/>
                      <a:gd name="f62" fmla="*/ f43 1 f26"/>
                      <a:gd name="f63" fmla="*/ f44 1 f27"/>
                      <a:gd name="f64" fmla="*/ f45 1 f26"/>
                      <a:gd name="f65" fmla="*/ f46 1 f27"/>
                      <a:gd name="f66" fmla="*/ f47 1 f26"/>
                      <a:gd name="f67" fmla="*/ f48 1 f27"/>
                      <a:gd name="f68" fmla="*/ f49 1 f26"/>
                      <a:gd name="f69" fmla="*/ f50 1 f27"/>
                      <a:gd name="f70" fmla="*/ f51 1 f26"/>
                      <a:gd name="f71" fmla="*/ f52 1 f26"/>
                      <a:gd name="f72" fmla="*/ f53 1 f27"/>
                      <a:gd name="f73" fmla="*/ f54 1 f27"/>
                      <a:gd name="f74" fmla="*/ f55 1 f26"/>
                      <a:gd name="f75" fmla="*/ f56 1 f26"/>
                      <a:gd name="f76" fmla="*/ f57 f21 1"/>
                      <a:gd name="f77" fmla="*/ f58 f21 1"/>
                      <a:gd name="f78" fmla="*/ f60 f22 1"/>
                      <a:gd name="f79" fmla="*/ f59 f22 1"/>
                      <a:gd name="f80" fmla="*/ f62 f21 1"/>
                      <a:gd name="f81" fmla="*/ f63 f22 1"/>
                      <a:gd name="f82" fmla="*/ f64 f21 1"/>
                      <a:gd name="f83" fmla="*/ f65 f22 1"/>
                      <a:gd name="f84" fmla="*/ f66 f21 1"/>
                      <a:gd name="f85" fmla="*/ f67 f22 1"/>
                      <a:gd name="f86" fmla="*/ f68 f21 1"/>
                      <a:gd name="f87" fmla="*/ f69 f22 1"/>
                      <a:gd name="f88" fmla="*/ f70 f21 1"/>
                      <a:gd name="f89" fmla="*/ f71 f21 1"/>
                      <a:gd name="f90" fmla="*/ f72 f22 1"/>
                      <a:gd name="f91" fmla="*/ f73 f22 1"/>
                      <a:gd name="f92" fmla="*/ f74 f21 1"/>
                      <a:gd name="f93" fmla="*/ f75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1">
                        <a:pos x="f80" y="f81"/>
                      </a:cxn>
                      <a:cxn ang="f61">
                        <a:pos x="f82" y="f81"/>
                      </a:cxn>
                      <a:cxn ang="f61">
                        <a:pos x="f82" y="f83"/>
                      </a:cxn>
                      <a:cxn ang="f61">
                        <a:pos x="f80" y="f83"/>
                      </a:cxn>
                      <a:cxn ang="f61">
                        <a:pos x="f80" y="f81"/>
                      </a:cxn>
                      <a:cxn ang="f61">
                        <a:pos x="f84" y="f85"/>
                      </a:cxn>
                      <a:cxn ang="f61">
                        <a:pos x="f86" y="f87"/>
                      </a:cxn>
                      <a:cxn ang="f61">
                        <a:pos x="f88" y="f87"/>
                      </a:cxn>
                      <a:cxn ang="f61">
                        <a:pos x="f89" y="f85"/>
                      </a:cxn>
                      <a:cxn ang="f61">
                        <a:pos x="f89" y="f90"/>
                      </a:cxn>
                      <a:cxn ang="f61">
                        <a:pos x="f88" y="f91"/>
                      </a:cxn>
                      <a:cxn ang="f61">
                        <a:pos x="f92" y="f91"/>
                      </a:cxn>
                      <a:cxn ang="f61">
                        <a:pos x="f93" y="f90"/>
                      </a:cxn>
                      <a:cxn ang="f61">
                        <a:pos x="f84" y="f85"/>
                      </a:cxn>
                    </a:cxnLst>
                    <a:rect l="f76" t="f79" r="f77" b="f78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5" y="f10"/>
                        </a:moveTo>
                        <a:cubicBezTo>
                          <a:pt x="f5" y="f11"/>
                          <a:pt x="f12" y="f13"/>
                          <a:pt x="f14" y="f7"/>
                        </a:cubicBezTo>
                        <a:lnTo>
                          <a:pt x="f10" y="f7"/>
                        </a:lnTo>
                        <a:cubicBezTo>
                          <a:pt x="f15" y="f7"/>
                          <a:pt x="f13" y="f11"/>
                          <a:pt x="f13" y="f10"/>
                        </a:cubicBezTo>
                        <a:lnTo>
                          <a:pt x="f13" y="f14"/>
                        </a:lnTo>
                        <a:cubicBezTo>
                          <a:pt x="f13" y="f16"/>
                          <a:pt x="f17" y="f5"/>
                          <a:pt x="f10" y="f5"/>
                        </a:cubicBezTo>
                        <a:lnTo>
                          <a:pt x="f18" y="f5"/>
                        </a:lnTo>
                        <a:cubicBezTo>
                          <a:pt x="f12" y="f5"/>
                          <a:pt x="f19" y="f12"/>
                          <a:pt x="f19" y="f14"/>
                        </a:cubicBezTo>
                        <a:lnTo>
                          <a:pt x="f5" y="f1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39" name="Graphic 51">
                    <a:extLst>
                      <a:ext uri="{FF2B5EF4-FFF2-40B4-BE49-F238E27FC236}">
                        <a16:creationId xmlns:a16="http://schemas.microsoft.com/office/drawing/2014/main" id="{F9EEA3F1-7762-381E-A9F7-9DE4BA8CA142}"/>
                      </a:ext>
                    </a:extLst>
                  </p:cNvPr>
                  <p:cNvSpPr/>
                  <p:nvPr/>
                </p:nvSpPr>
                <p:spPr>
                  <a:xfrm>
                    <a:off x="6265423" y="5728368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59"/>
                      <a:gd name="f8" fmla="val 54293"/>
                      <a:gd name="f9" fmla="val 53340"/>
                      <a:gd name="f10" fmla="val 120968"/>
                      <a:gd name="f11" fmla="val 120015"/>
                      <a:gd name="f12" fmla="val 147638"/>
                      <a:gd name="f13" fmla="val 162877"/>
                      <a:gd name="f14" fmla="val 12383"/>
                      <a:gd name="f15" fmla="val 26670"/>
                      <a:gd name="f16" fmla="val 175260"/>
                      <a:gd name="f17" fmla="val 162878"/>
                      <a:gd name="f18" fmla="val 174308"/>
                      <a:gd name="f19" fmla="val 11430"/>
                      <a:gd name="f20" fmla="val 161925"/>
                      <a:gd name="f21" fmla="val 27623"/>
                      <a:gd name="f22" fmla="val 953"/>
                      <a:gd name="f23" fmla="val 12382"/>
                      <a:gd name="f24" fmla="+- 0 0 -90"/>
                      <a:gd name="f25" fmla="*/ f3 1 174307"/>
                      <a:gd name="f26" fmla="*/ f4 1 175259"/>
                      <a:gd name="f27" fmla="+- f7 0 f5"/>
                      <a:gd name="f28" fmla="+- f6 0 f5"/>
                      <a:gd name="f29" fmla="*/ f24 f0 1"/>
                      <a:gd name="f30" fmla="*/ f28 1 174307"/>
                      <a:gd name="f31" fmla="*/ f27 1 175259"/>
                      <a:gd name="f32" fmla="*/ 54293 f28 1"/>
                      <a:gd name="f33" fmla="*/ 53340 f27 1"/>
                      <a:gd name="f34" fmla="*/ 120968 f28 1"/>
                      <a:gd name="f35" fmla="*/ 120015 f27 1"/>
                      <a:gd name="f36" fmla="*/ 0 f28 1"/>
                      <a:gd name="f37" fmla="*/ 147638 f27 1"/>
                      <a:gd name="f38" fmla="*/ 26670 f28 1"/>
                      <a:gd name="f39" fmla="*/ 175260 f27 1"/>
                      <a:gd name="f40" fmla="*/ 147638 f28 1"/>
                      <a:gd name="f41" fmla="*/ 174308 f28 1"/>
                      <a:gd name="f42" fmla="*/ 26670 f27 1"/>
                      <a:gd name="f43" fmla="*/ 0 f27 1"/>
                      <a:gd name="f44" fmla="*/ 27623 f28 1"/>
                      <a:gd name="f45" fmla="*/ 953 f28 1"/>
                      <a:gd name="f46" fmla="*/ f29 1 f2"/>
                      <a:gd name="f47" fmla="*/ f32 1 174307"/>
                      <a:gd name="f48" fmla="*/ f33 1 175259"/>
                      <a:gd name="f49" fmla="*/ f34 1 174307"/>
                      <a:gd name="f50" fmla="*/ f35 1 175259"/>
                      <a:gd name="f51" fmla="*/ f36 1 174307"/>
                      <a:gd name="f52" fmla="*/ f37 1 175259"/>
                      <a:gd name="f53" fmla="*/ f38 1 174307"/>
                      <a:gd name="f54" fmla="*/ f39 1 175259"/>
                      <a:gd name="f55" fmla="*/ f40 1 174307"/>
                      <a:gd name="f56" fmla="*/ f41 1 174307"/>
                      <a:gd name="f57" fmla="*/ f42 1 175259"/>
                      <a:gd name="f58" fmla="*/ f43 1 175259"/>
                      <a:gd name="f59" fmla="*/ f44 1 174307"/>
                      <a:gd name="f60" fmla="*/ f45 1 174307"/>
                      <a:gd name="f61" fmla="*/ f5 1 f30"/>
                      <a:gd name="f62" fmla="*/ f6 1 f30"/>
                      <a:gd name="f63" fmla="*/ f5 1 f31"/>
                      <a:gd name="f64" fmla="*/ f7 1 f31"/>
                      <a:gd name="f65" fmla="+- f46 0 f1"/>
                      <a:gd name="f66" fmla="*/ f47 1 f30"/>
                      <a:gd name="f67" fmla="*/ f48 1 f31"/>
                      <a:gd name="f68" fmla="*/ f49 1 f30"/>
                      <a:gd name="f69" fmla="*/ f50 1 f31"/>
                      <a:gd name="f70" fmla="*/ f51 1 f30"/>
                      <a:gd name="f71" fmla="*/ f52 1 f31"/>
                      <a:gd name="f72" fmla="*/ f53 1 f30"/>
                      <a:gd name="f73" fmla="*/ f54 1 f31"/>
                      <a:gd name="f74" fmla="*/ f55 1 f30"/>
                      <a:gd name="f75" fmla="*/ f56 1 f30"/>
                      <a:gd name="f76" fmla="*/ f57 1 f31"/>
                      <a:gd name="f77" fmla="*/ f58 1 f31"/>
                      <a:gd name="f78" fmla="*/ f59 1 f30"/>
                      <a:gd name="f79" fmla="*/ f60 1 f30"/>
                      <a:gd name="f80" fmla="*/ f61 f25 1"/>
                      <a:gd name="f81" fmla="*/ f62 f25 1"/>
                      <a:gd name="f82" fmla="*/ f64 f26 1"/>
                      <a:gd name="f83" fmla="*/ f63 f26 1"/>
                      <a:gd name="f84" fmla="*/ f66 f25 1"/>
                      <a:gd name="f85" fmla="*/ f67 f26 1"/>
                      <a:gd name="f86" fmla="*/ f68 f25 1"/>
                      <a:gd name="f87" fmla="*/ f69 f26 1"/>
                      <a:gd name="f88" fmla="*/ f70 f25 1"/>
                      <a:gd name="f89" fmla="*/ f71 f26 1"/>
                      <a:gd name="f90" fmla="*/ f72 f25 1"/>
                      <a:gd name="f91" fmla="*/ f73 f26 1"/>
                      <a:gd name="f92" fmla="*/ f74 f25 1"/>
                      <a:gd name="f93" fmla="*/ f75 f25 1"/>
                      <a:gd name="f94" fmla="*/ f76 f26 1"/>
                      <a:gd name="f95" fmla="*/ f77 f26 1"/>
                      <a:gd name="f96" fmla="*/ f78 f25 1"/>
                      <a:gd name="f97" fmla="*/ f79 f25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5">
                        <a:pos x="f84" y="f85"/>
                      </a:cxn>
                      <a:cxn ang="f65">
                        <a:pos x="f86" y="f85"/>
                      </a:cxn>
                      <a:cxn ang="f65">
                        <a:pos x="f86" y="f87"/>
                      </a:cxn>
                      <a:cxn ang="f65">
                        <a:pos x="f84" y="f87"/>
                      </a:cxn>
                      <a:cxn ang="f65">
                        <a:pos x="f84" y="f85"/>
                      </a:cxn>
                      <a:cxn ang="f65">
                        <a:pos x="f88" y="f89"/>
                      </a:cxn>
                      <a:cxn ang="f65">
                        <a:pos x="f90" y="f91"/>
                      </a:cxn>
                      <a:cxn ang="f65">
                        <a:pos x="f92" y="f91"/>
                      </a:cxn>
                      <a:cxn ang="f65">
                        <a:pos x="f93" y="f89"/>
                      </a:cxn>
                      <a:cxn ang="f65">
                        <a:pos x="f93" y="f94"/>
                      </a:cxn>
                      <a:cxn ang="f65">
                        <a:pos x="f92" y="f95"/>
                      </a:cxn>
                      <a:cxn ang="f65">
                        <a:pos x="f96" y="f95"/>
                      </a:cxn>
                      <a:cxn ang="f65">
                        <a:pos x="f97" y="f94"/>
                      </a:cxn>
                      <a:cxn ang="f65">
                        <a:pos x="f88" y="f89"/>
                      </a:cxn>
                    </a:cxnLst>
                    <a:rect l="f80" t="f83" r="f81" b="f82"/>
                    <a:pathLst>
                      <a:path w="174307" h="175259">
                        <a:moveTo>
                          <a:pt x="f8" y="f9"/>
                        </a:moveTo>
                        <a:lnTo>
                          <a:pt x="f10" y="f9"/>
                        </a:lnTo>
                        <a:lnTo>
                          <a:pt x="f10" y="f11"/>
                        </a:lnTo>
                        <a:lnTo>
                          <a:pt x="f8" y="f11"/>
                        </a:lnTo>
                        <a:lnTo>
                          <a:pt x="f8" y="f9"/>
                        </a:lnTo>
                        <a:close/>
                        <a:moveTo>
                          <a:pt x="f5" y="f12"/>
                        </a:moveTo>
                        <a:cubicBezTo>
                          <a:pt x="f5" y="f13"/>
                          <a:pt x="f14" y="f6"/>
                          <a:pt x="f15" y="f16"/>
                        </a:cubicBezTo>
                        <a:lnTo>
                          <a:pt x="f12" y="f16"/>
                        </a:lnTo>
                        <a:cubicBezTo>
                          <a:pt x="f17" y="f16"/>
                          <a:pt x="f18" y="f13"/>
                          <a:pt x="f18" y="f12"/>
                        </a:cubicBezTo>
                        <a:lnTo>
                          <a:pt x="f18" y="f15"/>
                        </a:lnTo>
                        <a:cubicBezTo>
                          <a:pt x="f18" y="f19"/>
                          <a:pt x="f20" y="f5"/>
                          <a:pt x="f12" y="f5"/>
                        </a:cubicBezTo>
                        <a:lnTo>
                          <a:pt x="f21" y="f5"/>
                        </a:lnTo>
                        <a:cubicBezTo>
                          <a:pt x="f14" y="f5"/>
                          <a:pt x="f22" y="f23"/>
                          <a:pt x="f22" y="f15"/>
                        </a:cubicBezTo>
                        <a:lnTo>
                          <a:pt x="f5" y="f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40" name="Graphic 51">
                    <a:extLst>
                      <a:ext uri="{FF2B5EF4-FFF2-40B4-BE49-F238E27FC236}">
                        <a16:creationId xmlns:a16="http://schemas.microsoft.com/office/drawing/2014/main" id="{76C630D8-33DE-2164-A5C2-65D233DE72CD}"/>
                      </a:ext>
                    </a:extLst>
                  </p:cNvPr>
                  <p:cNvSpPr/>
                  <p:nvPr/>
                </p:nvSpPr>
                <p:spPr>
                  <a:xfrm>
                    <a:off x="6265423" y="5833295"/>
                    <a:ext cx="79022" cy="79452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174307"/>
                      <a:gd name="f7" fmla="val 175260"/>
                      <a:gd name="f8" fmla="val 54293"/>
                      <a:gd name="f9" fmla="val 120968"/>
                      <a:gd name="f10" fmla="val 147638"/>
                      <a:gd name="f11" fmla="val 162877"/>
                      <a:gd name="f12" fmla="val 12383"/>
                      <a:gd name="f13" fmla="val 174308"/>
                      <a:gd name="f14" fmla="val 26670"/>
                      <a:gd name="f15" fmla="val 162878"/>
                      <a:gd name="f16" fmla="val 11430"/>
                      <a:gd name="f17" fmla="val 161925"/>
                      <a:gd name="f18" fmla="val 27623"/>
                      <a:gd name="f19" fmla="val 953"/>
                      <a:gd name="f20" fmla="+- 0 0 -90"/>
                      <a:gd name="f21" fmla="*/ f3 1 174307"/>
                      <a:gd name="f22" fmla="*/ f4 1 175260"/>
                      <a:gd name="f23" fmla="+- f7 0 f5"/>
                      <a:gd name="f24" fmla="+- f6 0 f5"/>
                      <a:gd name="f25" fmla="*/ f20 f0 1"/>
                      <a:gd name="f26" fmla="*/ f24 1 174307"/>
                      <a:gd name="f27" fmla="*/ f23 1 175260"/>
                      <a:gd name="f28" fmla="*/ 54293 f24 1"/>
                      <a:gd name="f29" fmla="*/ 54293 f23 1"/>
                      <a:gd name="f30" fmla="*/ 120968 f24 1"/>
                      <a:gd name="f31" fmla="*/ 120968 f23 1"/>
                      <a:gd name="f32" fmla="*/ 0 f24 1"/>
                      <a:gd name="f33" fmla="*/ 147638 f23 1"/>
                      <a:gd name="f34" fmla="*/ 26670 f24 1"/>
                      <a:gd name="f35" fmla="*/ 175260 f23 1"/>
                      <a:gd name="f36" fmla="*/ 147638 f24 1"/>
                      <a:gd name="f37" fmla="*/ 174308 f24 1"/>
                      <a:gd name="f38" fmla="*/ 26670 f23 1"/>
                      <a:gd name="f39" fmla="*/ 0 f23 1"/>
                      <a:gd name="f40" fmla="*/ 27623 f24 1"/>
                      <a:gd name="f41" fmla="*/ 953 f24 1"/>
                      <a:gd name="f42" fmla="*/ f25 1 f2"/>
                      <a:gd name="f43" fmla="*/ f28 1 174307"/>
                      <a:gd name="f44" fmla="*/ f29 1 175260"/>
                      <a:gd name="f45" fmla="*/ f30 1 174307"/>
                      <a:gd name="f46" fmla="*/ f31 1 175260"/>
                      <a:gd name="f47" fmla="*/ f32 1 174307"/>
                      <a:gd name="f48" fmla="*/ f33 1 175260"/>
                      <a:gd name="f49" fmla="*/ f34 1 174307"/>
                      <a:gd name="f50" fmla="*/ f35 1 175260"/>
                      <a:gd name="f51" fmla="*/ f36 1 174307"/>
                      <a:gd name="f52" fmla="*/ f37 1 174307"/>
                      <a:gd name="f53" fmla="*/ f38 1 175260"/>
                      <a:gd name="f54" fmla="*/ f39 1 175260"/>
                      <a:gd name="f55" fmla="*/ f40 1 174307"/>
                      <a:gd name="f56" fmla="*/ f41 1 174307"/>
                      <a:gd name="f57" fmla="*/ f5 1 f26"/>
                      <a:gd name="f58" fmla="*/ f6 1 f26"/>
                      <a:gd name="f59" fmla="*/ f5 1 f27"/>
                      <a:gd name="f60" fmla="*/ f7 1 f27"/>
                      <a:gd name="f61" fmla="+- f42 0 f1"/>
                      <a:gd name="f62" fmla="*/ f43 1 f26"/>
                      <a:gd name="f63" fmla="*/ f44 1 f27"/>
                      <a:gd name="f64" fmla="*/ f45 1 f26"/>
                      <a:gd name="f65" fmla="*/ f46 1 f27"/>
                      <a:gd name="f66" fmla="*/ f47 1 f26"/>
                      <a:gd name="f67" fmla="*/ f48 1 f27"/>
                      <a:gd name="f68" fmla="*/ f49 1 f26"/>
                      <a:gd name="f69" fmla="*/ f50 1 f27"/>
                      <a:gd name="f70" fmla="*/ f51 1 f26"/>
                      <a:gd name="f71" fmla="*/ f52 1 f26"/>
                      <a:gd name="f72" fmla="*/ f53 1 f27"/>
                      <a:gd name="f73" fmla="*/ f54 1 f27"/>
                      <a:gd name="f74" fmla="*/ f55 1 f26"/>
                      <a:gd name="f75" fmla="*/ f56 1 f26"/>
                      <a:gd name="f76" fmla="*/ f57 f21 1"/>
                      <a:gd name="f77" fmla="*/ f58 f21 1"/>
                      <a:gd name="f78" fmla="*/ f60 f22 1"/>
                      <a:gd name="f79" fmla="*/ f59 f22 1"/>
                      <a:gd name="f80" fmla="*/ f62 f21 1"/>
                      <a:gd name="f81" fmla="*/ f63 f22 1"/>
                      <a:gd name="f82" fmla="*/ f64 f21 1"/>
                      <a:gd name="f83" fmla="*/ f65 f22 1"/>
                      <a:gd name="f84" fmla="*/ f66 f21 1"/>
                      <a:gd name="f85" fmla="*/ f67 f22 1"/>
                      <a:gd name="f86" fmla="*/ f68 f21 1"/>
                      <a:gd name="f87" fmla="*/ f69 f22 1"/>
                      <a:gd name="f88" fmla="*/ f70 f21 1"/>
                      <a:gd name="f89" fmla="*/ f71 f21 1"/>
                      <a:gd name="f90" fmla="*/ f72 f22 1"/>
                      <a:gd name="f91" fmla="*/ f73 f22 1"/>
                      <a:gd name="f92" fmla="*/ f74 f21 1"/>
                      <a:gd name="f93" fmla="*/ f75 f21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61">
                        <a:pos x="f80" y="f81"/>
                      </a:cxn>
                      <a:cxn ang="f61">
                        <a:pos x="f82" y="f81"/>
                      </a:cxn>
                      <a:cxn ang="f61">
                        <a:pos x="f82" y="f83"/>
                      </a:cxn>
                      <a:cxn ang="f61">
                        <a:pos x="f80" y="f83"/>
                      </a:cxn>
                      <a:cxn ang="f61">
                        <a:pos x="f80" y="f81"/>
                      </a:cxn>
                      <a:cxn ang="f61">
                        <a:pos x="f84" y="f85"/>
                      </a:cxn>
                      <a:cxn ang="f61">
                        <a:pos x="f86" y="f87"/>
                      </a:cxn>
                      <a:cxn ang="f61">
                        <a:pos x="f88" y="f87"/>
                      </a:cxn>
                      <a:cxn ang="f61">
                        <a:pos x="f89" y="f85"/>
                      </a:cxn>
                      <a:cxn ang="f61">
                        <a:pos x="f89" y="f90"/>
                      </a:cxn>
                      <a:cxn ang="f61">
                        <a:pos x="f88" y="f91"/>
                      </a:cxn>
                      <a:cxn ang="f61">
                        <a:pos x="f92" y="f91"/>
                      </a:cxn>
                      <a:cxn ang="f61">
                        <a:pos x="f93" y="f90"/>
                      </a:cxn>
                      <a:cxn ang="f61">
                        <a:pos x="f84" y="f85"/>
                      </a:cxn>
                    </a:cxnLst>
                    <a:rect l="f76" t="f79" r="f77" b="f78"/>
                    <a:pathLst>
                      <a:path w="174307" h="175260">
                        <a:moveTo>
                          <a:pt x="f8" y="f8"/>
                        </a:moveTo>
                        <a:lnTo>
                          <a:pt x="f9" y="f8"/>
                        </a:lnTo>
                        <a:lnTo>
                          <a:pt x="f9" y="f9"/>
                        </a:lnTo>
                        <a:lnTo>
                          <a:pt x="f8" y="f9"/>
                        </a:lnTo>
                        <a:lnTo>
                          <a:pt x="f8" y="f8"/>
                        </a:lnTo>
                        <a:close/>
                        <a:moveTo>
                          <a:pt x="f5" y="f10"/>
                        </a:moveTo>
                        <a:cubicBezTo>
                          <a:pt x="f5" y="f11"/>
                          <a:pt x="f12" y="f13"/>
                          <a:pt x="f14" y="f7"/>
                        </a:cubicBezTo>
                        <a:lnTo>
                          <a:pt x="f10" y="f7"/>
                        </a:lnTo>
                        <a:cubicBezTo>
                          <a:pt x="f15" y="f7"/>
                          <a:pt x="f13" y="f11"/>
                          <a:pt x="f13" y="f10"/>
                        </a:cubicBezTo>
                        <a:lnTo>
                          <a:pt x="f13" y="f14"/>
                        </a:lnTo>
                        <a:cubicBezTo>
                          <a:pt x="f13" y="f16"/>
                          <a:pt x="f17" y="f5"/>
                          <a:pt x="f10" y="f5"/>
                        </a:cubicBezTo>
                        <a:lnTo>
                          <a:pt x="f18" y="f5"/>
                        </a:lnTo>
                        <a:cubicBezTo>
                          <a:pt x="f12" y="f5"/>
                          <a:pt x="f19" y="f12"/>
                          <a:pt x="f19" y="f14"/>
                        </a:cubicBezTo>
                        <a:lnTo>
                          <a:pt x="f5" y="f1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  <p:sp>
                <p:nvSpPr>
                  <p:cNvPr id="141" name="Freeform: Shape 53">
                    <a:extLst>
                      <a:ext uri="{FF2B5EF4-FFF2-40B4-BE49-F238E27FC236}">
                        <a16:creationId xmlns:a16="http://schemas.microsoft.com/office/drawing/2014/main" id="{FFE6BE13-C7C7-A46C-7410-904E16C8BA8F}"/>
                      </a:ext>
                    </a:extLst>
                  </p:cNvPr>
                  <p:cNvSpPr/>
                  <p:nvPr/>
                </p:nvSpPr>
                <p:spPr>
                  <a:xfrm>
                    <a:off x="6103034" y="5268964"/>
                    <a:ext cx="301852" cy="755934"/>
                  </a:xfrm>
                  <a:custGeom>
                    <a:avLst/>
                    <a:gdLst>
                      <a:gd name="f0" fmla="val 10800000"/>
                      <a:gd name="f1" fmla="val 5400000"/>
                      <a:gd name="f2" fmla="val 180"/>
                      <a:gd name="f3" fmla="val w"/>
                      <a:gd name="f4" fmla="val h"/>
                      <a:gd name="f5" fmla="val 0"/>
                      <a:gd name="f6" fmla="val 650984"/>
                      <a:gd name="f7" fmla="val 1630272"/>
                      <a:gd name="f8" fmla="val 325517"/>
                      <a:gd name="f9" fmla="val 332036"/>
                      <a:gd name="f10" fmla="val 338555"/>
                      <a:gd name="f11" fmla="val 2329"/>
                      <a:gd name="f12" fmla="val 343676"/>
                      <a:gd name="f13" fmla="val 6985"/>
                      <a:gd name="f14" fmla="val 642604"/>
                      <a:gd name="f15" fmla="val 284493"/>
                      <a:gd name="f16" fmla="val 648191"/>
                      <a:gd name="f17" fmla="val 289149"/>
                      <a:gd name="f18" fmla="val 296599"/>
                      <a:gd name="f19" fmla="val 304049"/>
                      <a:gd name="f20" fmla="val 698741"/>
                      <a:gd name="f21" fmla="val 1065604"/>
                      <a:gd name="f22" fmla="val 1604198"/>
                      <a:gd name="f23" fmla="val 1618166"/>
                      <a:gd name="f24" fmla="val 639809"/>
                      <a:gd name="f25" fmla="val 624910"/>
                      <a:gd name="f26" fmla="val 307358"/>
                      <a:gd name="f27" fmla="val 292458"/>
                      <a:gd name="f28" fmla="val 280352"/>
                      <a:gd name="f29" fmla="val 1619097"/>
                      <a:gd name="f30" fmla="val 1589298"/>
                      <a:gd name="f31" fmla="val 1577191"/>
                      <a:gd name="f32" fmla="val 598835"/>
                      <a:gd name="f33" fmla="val 316155"/>
                      <a:gd name="f34" fmla="val 325983"/>
                      <a:gd name="f35" fmla="val 62859"/>
                      <a:gd name="f36" fmla="val 53130"/>
                      <a:gd name="f37" fmla="val 675613"/>
                      <a:gd name="f38" fmla="val 677475"/>
                      <a:gd name="f39" fmla="val 52199"/>
                      <a:gd name="f40" fmla="val 691443"/>
                      <a:gd name="f41" fmla="val 40093"/>
                      <a:gd name="f42" fmla="val 703550"/>
                      <a:gd name="f43" fmla="val 25193"/>
                      <a:gd name="f44" fmla="val 702618"/>
                      <a:gd name="f45" fmla="val 11225"/>
                      <a:gd name="f46" fmla="val 701687"/>
                      <a:gd name="f47" fmla="+- 0 0 882"/>
                      <a:gd name="f48" fmla="val 689581"/>
                      <a:gd name="f49" fmla="val 50"/>
                      <a:gd name="f50" fmla="val 674681"/>
                      <a:gd name="f51" fmla="val 2843"/>
                      <a:gd name="f52" fmla="val 8431"/>
                      <a:gd name="f53" fmla="val 312480"/>
                      <a:gd name="f54" fmla="val 318998"/>
                      <a:gd name="f55" fmla="+- 0 0 -90"/>
                      <a:gd name="f56" fmla="*/ f3 1 650984"/>
                      <a:gd name="f57" fmla="*/ f4 1 1630272"/>
                      <a:gd name="f58" fmla="+- f7 0 f5"/>
                      <a:gd name="f59" fmla="+- f6 0 f5"/>
                      <a:gd name="f60" fmla="*/ f55 f0 1"/>
                      <a:gd name="f61" fmla="*/ f59 1 650984"/>
                      <a:gd name="f62" fmla="*/ f58 1 1630272"/>
                      <a:gd name="f63" fmla="*/ 325517 f59 1"/>
                      <a:gd name="f64" fmla="*/ 0 f58 1"/>
                      <a:gd name="f65" fmla="*/ 343676 f59 1"/>
                      <a:gd name="f66" fmla="*/ 6985 f58 1"/>
                      <a:gd name="f67" fmla="*/ 642604 f59 1"/>
                      <a:gd name="f68" fmla="*/ 284493 f58 1"/>
                      <a:gd name="f69" fmla="*/ 650984 f59 1"/>
                      <a:gd name="f70" fmla="*/ 304049 f58 1"/>
                      <a:gd name="f71" fmla="*/ 698741 f58 1"/>
                      <a:gd name="f72" fmla="*/ 1065604 f58 1"/>
                      <a:gd name="f73" fmla="*/ 1604198 f58 1"/>
                      <a:gd name="f74" fmla="*/ 624910 f59 1"/>
                      <a:gd name="f75" fmla="*/ 1630272 f58 1"/>
                      <a:gd name="f76" fmla="*/ 307358 f59 1"/>
                      <a:gd name="f77" fmla="*/ 280352 f59 1"/>
                      <a:gd name="f78" fmla="*/ 1577191 f58 1"/>
                      <a:gd name="f79" fmla="*/ 598835 f59 1"/>
                      <a:gd name="f80" fmla="*/ 316155 f58 1"/>
                      <a:gd name="f81" fmla="*/ 325983 f59 1"/>
                      <a:gd name="f82" fmla="*/ 62859 f58 1"/>
                      <a:gd name="f83" fmla="*/ 53130 f59 1"/>
                      <a:gd name="f84" fmla="*/ 675613 f58 1"/>
                      <a:gd name="f85" fmla="*/ 677475 f58 1"/>
                      <a:gd name="f86" fmla="*/ 25193 f59 1"/>
                      <a:gd name="f87" fmla="*/ 702618 f58 1"/>
                      <a:gd name="f88" fmla="*/ 50 f59 1"/>
                      <a:gd name="f89" fmla="*/ 674681 f58 1"/>
                      <a:gd name="f90" fmla="*/ 8431 f59 1"/>
                      <a:gd name="f91" fmla="*/ f60 1 f2"/>
                      <a:gd name="f92" fmla="*/ f63 1 650984"/>
                      <a:gd name="f93" fmla="*/ f64 1 1630272"/>
                      <a:gd name="f94" fmla="*/ f65 1 650984"/>
                      <a:gd name="f95" fmla="*/ f66 1 1630272"/>
                      <a:gd name="f96" fmla="*/ f67 1 650984"/>
                      <a:gd name="f97" fmla="*/ f68 1 1630272"/>
                      <a:gd name="f98" fmla="*/ f69 1 650984"/>
                      <a:gd name="f99" fmla="*/ f70 1 1630272"/>
                      <a:gd name="f100" fmla="*/ f71 1 1630272"/>
                      <a:gd name="f101" fmla="*/ f72 1 1630272"/>
                      <a:gd name="f102" fmla="*/ f73 1 1630272"/>
                      <a:gd name="f103" fmla="*/ f74 1 650984"/>
                      <a:gd name="f104" fmla="*/ f75 1 1630272"/>
                      <a:gd name="f105" fmla="*/ f76 1 650984"/>
                      <a:gd name="f106" fmla="*/ f77 1 650984"/>
                      <a:gd name="f107" fmla="*/ f78 1 1630272"/>
                      <a:gd name="f108" fmla="*/ f79 1 650984"/>
                      <a:gd name="f109" fmla="*/ f80 1 1630272"/>
                      <a:gd name="f110" fmla="*/ f81 1 650984"/>
                      <a:gd name="f111" fmla="*/ f82 1 1630272"/>
                      <a:gd name="f112" fmla="*/ f83 1 650984"/>
                      <a:gd name="f113" fmla="*/ f84 1 1630272"/>
                      <a:gd name="f114" fmla="*/ f85 1 1630272"/>
                      <a:gd name="f115" fmla="*/ f86 1 650984"/>
                      <a:gd name="f116" fmla="*/ f87 1 1630272"/>
                      <a:gd name="f117" fmla="*/ f88 1 650984"/>
                      <a:gd name="f118" fmla="*/ f89 1 1630272"/>
                      <a:gd name="f119" fmla="*/ f90 1 650984"/>
                      <a:gd name="f120" fmla="*/ f5 1 f61"/>
                      <a:gd name="f121" fmla="*/ f6 1 f61"/>
                      <a:gd name="f122" fmla="*/ f5 1 f62"/>
                      <a:gd name="f123" fmla="*/ f7 1 f62"/>
                      <a:gd name="f124" fmla="+- f91 0 f1"/>
                      <a:gd name="f125" fmla="*/ f92 1 f61"/>
                      <a:gd name="f126" fmla="*/ f93 1 f62"/>
                      <a:gd name="f127" fmla="*/ f94 1 f61"/>
                      <a:gd name="f128" fmla="*/ f95 1 f62"/>
                      <a:gd name="f129" fmla="*/ f96 1 f61"/>
                      <a:gd name="f130" fmla="*/ f97 1 f62"/>
                      <a:gd name="f131" fmla="*/ f98 1 f61"/>
                      <a:gd name="f132" fmla="*/ f99 1 f62"/>
                      <a:gd name="f133" fmla="*/ f100 1 f62"/>
                      <a:gd name="f134" fmla="*/ f101 1 f62"/>
                      <a:gd name="f135" fmla="*/ f102 1 f62"/>
                      <a:gd name="f136" fmla="*/ f103 1 f61"/>
                      <a:gd name="f137" fmla="*/ f104 1 f62"/>
                      <a:gd name="f138" fmla="*/ f105 1 f61"/>
                      <a:gd name="f139" fmla="*/ f106 1 f61"/>
                      <a:gd name="f140" fmla="*/ f107 1 f62"/>
                      <a:gd name="f141" fmla="*/ f108 1 f61"/>
                      <a:gd name="f142" fmla="*/ f109 1 f62"/>
                      <a:gd name="f143" fmla="*/ f110 1 f61"/>
                      <a:gd name="f144" fmla="*/ f111 1 f62"/>
                      <a:gd name="f145" fmla="*/ f112 1 f61"/>
                      <a:gd name="f146" fmla="*/ f113 1 f62"/>
                      <a:gd name="f147" fmla="*/ f114 1 f62"/>
                      <a:gd name="f148" fmla="*/ f115 1 f61"/>
                      <a:gd name="f149" fmla="*/ f116 1 f62"/>
                      <a:gd name="f150" fmla="*/ f117 1 f61"/>
                      <a:gd name="f151" fmla="*/ f118 1 f62"/>
                      <a:gd name="f152" fmla="*/ f119 1 f61"/>
                      <a:gd name="f153" fmla="*/ f120 f56 1"/>
                      <a:gd name="f154" fmla="*/ f121 f56 1"/>
                      <a:gd name="f155" fmla="*/ f123 f57 1"/>
                      <a:gd name="f156" fmla="*/ f122 f57 1"/>
                      <a:gd name="f157" fmla="*/ f125 f56 1"/>
                      <a:gd name="f158" fmla="*/ f126 f57 1"/>
                      <a:gd name="f159" fmla="*/ f127 f56 1"/>
                      <a:gd name="f160" fmla="*/ f128 f57 1"/>
                      <a:gd name="f161" fmla="*/ f129 f56 1"/>
                      <a:gd name="f162" fmla="*/ f130 f57 1"/>
                      <a:gd name="f163" fmla="*/ f131 f56 1"/>
                      <a:gd name="f164" fmla="*/ f132 f57 1"/>
                      <a:gd name="f165" fmla="*/ f133 f57 1"/>
                      <a:gd name="f166" fmla="*/ f134 f57 1"/>
                      <a:gd name="f167" fmla="*/ f135 f57 1"/>
                      <a:gd name="f168" fmla="*/ f136 f56 1"/>
                      <a:gd name="f169" fmla="*/ f137 f57 1"/>
                      <a:gd name="f170" fmla="*/ f138 f56 1"/>
                      <a:gd name="f171" fmla="*/ f139 f56 1"/>
                      <a:gd name="f172" fmla="*/ f140 f57 1"/>
                      <a:gd name="f173" fmla="*/ f141 f56 1"/>
                      <a:gd name="f174" fmla="*/ f142 f57 1"/>
                      <a:gd name="f175" fmla="*/ f143 f56 1"/>
                      <a:gd name="f176" fmla="*/ f144 f57 1"/>
                      <a:gd name="f177" fmla="*/ f145 f56 1"/>
                      <a:gd name="f178" fmla="*/ f146 f57 1"/>
                      <a:gd name="f179" fmla="*/ f147 f57 1"/>
                      <a:gd name="f180" fmla="*/ f148 f56 1"/>
                      <a:gd name="f181" fmla="*/ f149 f57 1"/>
                      <a:gd name="f182" fmla="*/ f150 f56 1"/>
                      <a:gd name="f183" fmla="*/ f151 f57 1"/>
                      <a:gd name="f184" fmla="*/ f152 f56 1"/>
                    </a:gdLst>
                    <a:ahLst/>
                    <a:cxnLst>
                      <a:cxn ang="3cd4">
                        <a:pos x="hc" y="t"/>
                      </a:cxn>
                      <a:cxn ang="0">
                        <a:pos x="r" y="vc"/>
                      </a:cxn>
                      <a:cxn ang="cd4">
                        <a:pos x="hc" y="b"/>
                      </a:cxn>
                      <a:cxn ang="cd2">
                        <a:pos x="l" y="vc"/>
                      </a:cxn>
                      <a:cxn ang="f124">
                        <a:pos x="f157" y="f158"/>
                      </a:cxn>
                      <a:cxn ang="f124">
                        <a:pos x="f159" y="f160"/>
                      </a:cxn>
                      <a:cxn ang="f124">
                        <a:pos x="f161" y="f162"/>
                      </a:cxn>
                      <a:cxn ang="f124">
                        <a:pos x="f163" y="f164"/>
                      </a:cxn>
                      <a:cxn ang="f124">
                        <a:pos x="f163" y="f165"/>
                      </a:cxn>
                      <a:cxn ang="f124">
                        <a:pos x="f163" y="f166"/>
                      </a:cxn>
                      <a:cxn ang="f124">
                        <a:pos x="f163" y="f167"/>
                      </a:cxn>
                      <a:cxn ang="f124">
                        <a:pos x="f168" y="f169"/>
                      </a:cxn>
                      <a:cxn ang="f124">
                        <a:pos x="f170" y="f169"/>
                      </a:cxn>
                      <a:cxn ang="f124">
                        <a:pos x="f171" y="f167"/>
                      </a:cxn>
                      <a:cxn ang="f124">
                        <a:pos x="f170" y="f172"/>
                      </a:cxn>
                      <a:cxn ang="f124">
                        <a:pos x="f173" y="f172"/>
                      </a:cxn>
                      <a:cxn ang="f124">
                        <a:pos x="f173" y="f166"/>
                      </a:cxn>
                      <a:cxn ang="f124">
                        <a:pos x="f173" y="f165"/>
                      </a:cxn>
                      <a:cxn ang="f124">
                        <a:pos x="f173" y="f174"/>
                      </a:cxn>
                      <a:cxn ang="f124">
                        <a:pos x="f175" y="f176"/>
                      </a:cxn>
                      <a:cxn ang="f124">
                        <a:pos x="f177" y="f174"/>
                      </a:cxn>
                      <a:cxn ang="f124">
                        <a:pos x="f177" y="f178"/>
                      </a:cxn>
                      <a:cxn ang="f124">
                        <a:pos x="f177" y="f179"/>
                      </a:cxn>
                      <a:cxn ang="f124">
                        <a:pos x="f180" y="f181"/>
                      </a:cxn>
                      <a:cxn ang="f124">
                        <a:pos x="f182" y="f183"/>
                      </a:cxn>
                      <a:cxn ang="f124">
                        <a:pos x="f182" y="f164"/>
                      </a:cxn>
                      <a:cxn ang="f124">
                        <a:pos x="f184" y="f162"/>
                      </a:cxn>
                      <a:cxn ang="f124">
                        <a:pos x="f170" y="f160"/>
                      </a:cxn>
                      <a:cxn ang="f124">
                        <a:pos x="f157" y="f158"/>
                      </a:cxn>
                    </a:cxnLst>
                    <a:rect l="f153" t="f156" r="f154" b="f155"/>
                    <a:pathLst>
                      <a:path w="650984" h="1630272">
                        <a:moveTo>
                          <a:pt x="f8" y="f5"/>
                        </a:moveTo>
                        <a:cubicBezTo>
                          <a:pt x="f9" y="f5"/>
                          <a:pt x="f10" y="f11"/>
                          <a:pt x="f12" y="f13"/>
                        </a:cubicBezTo>
                        <a:lnTo>
                          <a:pt x="f14" y="f15"/>
                        </a:lnTo>
                        <a:cubicBezTo>
                          <a:pt x="f16" y="f17"/>
                          <a:pt x="f6" y="f18"/>
                          <a:pt x="f6" y="f19"/>
                        </a:cubicBezTo>
                        <a:lnTo>
                          <a:pt x="f6" y="f20"/>
                        </a:lnTo>
                        <a:lnTo>
                          <a:pt x="f6" y="f21"/>
                        </a:lnTo>
                        <a:lnTo>
                          <a:pt x="f6" y="f22"/>
                        </a:lnTo>
                        <a:cubicBezTo>
                          <a:pt x="f6" y="f23"/>
                          <a:pt x="f24" y="f7"/>
                          <a:pt x="f25" y="f7"/>
                        </a:cubicBezTo>
                        <a:lnTo>
                          <a:pt x="f26" y="f7"/>
                        </a:lnTo>
                        <a:cubicBezTo>
                          <a:pt x="f27" y="f7"/>
                          <a:pt x="f28" y="f29"/>
                          <a:pt x="f28" y="f22"/>
                        </a:cubicBezTo>
                        <a:cubicBezTo>
                          <a:pt x="f28" y="f30"/>
                          <a:pt x="f27" y="f31"/>
                          <a:pt x="f26" y="f31"/>
                        </a:cubicBezTo>
                        <a:lnTo>
                          <a:pt x="f32" y="f31"/>
                        </a:lnTo>
                        <a:lnTo>
                          <a:pt x="f32" y="f21"/>
                        </a:lnTo>
                        <a:lnTo>
                          <a:pt x="f32" y="f20"/>
                        </a:lnTo>
                        <a:lnTo>
                          <a:pt x="f32" y="f33"/>
                        </a:lnTo>
                        <a:lnTo>
                          <a:pt x="f34" y="f35"/>
                        </a:lnTo>
                        <a:lnTo>
                          <a:pt x="f36" y="f33"/>
                        </a:lnTo>
                        <a:lnTo>
                          <a:pt x="f36" y="f37"/>
                        </a:lnTo>
                        <a:lnTo>
                          <a:pt x="f36" y="f38"/>
                        </a:lnTo>
                        <a:cubicBezTo>
                          <a:pt x="f39" y="f40"/>
                          <a:pt x="f41" y="f42"/>
                          <a:pt x="f43" y="f44"/>
                        </a:cubicBezTo>
                        <a:cubicBezTo>
                          <a:pt x="f45" y="f46"/>
                          <a:pt x="f47" y="f48"/>
                          <a:pt x="f49" y="f50"/>
                        </a:cubicBezTo>
                        <a:lnTo>
                          <a:pt x="f49" y="f19"/>
                        </a:lnTo>
                        <a:cubicBezTo>
                          <a:pt x="f49" y="f18"/>
                          <a:pt x="f51" y="f17"/>
                          <a:pt x="f52" y="f15"/>
                        </a:cubicBezTo>
                        <a:lnTo>
                          <a:pt x="f26" y="f13"/>
                        </a:lnTo>
                        <a:cubicBezTo>
                          <a:pt x="f53" y="f11"/>
                          <a:pt x="f54" y="f5"/>
                          <a:pt x="f8" y="f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cap="flat">
                    <a:noFill/>
                    <a:prstDash val="solid"/>
                  </a:ln>
                </p:spPr>
                <p:txBody>
                  <a:bodyPr vert="horz" wrap="square" lIns="91440" tIns="45720" rIns="91440" bIns="45720" anchor="ctr" anchorCtr="0" compatLnSpc="1">
                    <a:noAutofit/>
                  </a:bodyPr>
                  <a:lstStyle/>
                  <a:p>
                    <a:pPr marL="0" marR="0" lvl="0" indent="0" algn="l" defTabSz="914400" rtl="0" fontAlgn="auto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None/>
                      <a:tabLst/>
                      <a:defRPr sz="1800" b="0" i="0" u="none" strike="noStrike" kern="0" cap="none" spc="0" baseline="0">
                        <a:solidFill>
                          <a:srgbClr val="000000"/>
                        </a:solidFill>
                        <a:uFillTx/>
                      </a:defRPr>
                    </a:pPr>
                    <a:endParaRPr lang="en-GB" sz="1800" b="0" i="0" u="none" strike="noStrike" kern="1200" cap="none" spc="0" baseline="0">
                      <a:solidFill>
                        <a:srgbClr val="000000"/>
                      </a:solidFill>
                      <a:uFillTx/>
                      <a:latin typeface="VeluxForOffice"/>
                    </a:endParaRPr>
                  </a:p>
                </p:txBody>
              </p:sp>
            </p:grpSp>
          </p:grpSp>
          <p:sp>
            <p:nvSpPr>
              <p:cNvPr id="142" name="Graphic 19">
                <a:extLst>
                  <a:ext uri="{FF2B5EF4-FFF2-40B4-BE49-F238E27FC236}">
                    <a16:creationId xmlns:a16="http://schemas.microsoft.com/office/drawing/2014/main" id="{75D8032D-8752-E95B-9C95-0934A558FDD5}"/>
                  </a:ext>
                </a:extLst>
              </p:cNvPr>
              <p:cNvSpPr/>
              <p:nvPr/>
            </p:nvSpPr>
            <p:spPr>
              <a:xfrm>
                <a:off x="6414808" y="5849974"/>
                <a:ext cx="65050" cy="166695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76199"/>
                  <a:gd name="f7" fmla="val 195262"/>
                  <a:gd name="f8" fmla="val 55245"/>
                  <a:gd name="f9" fmla="val 25718"/>
                  <a:gd name="f10" fmla="val 54292"/>
                  <a:gd name="f11" fmla="val 11430"/>
                  <a:gd name="f12" fmla="val 41910"/>
                  <a:gd name="f13" fmla="val 27622"/>
                  <a:gd name="f14" fmla="val 12382"/>
                  <a:gd name="f15" fmla="val 12383"/>
                  <a:gd name="f16" fmla="val 31433"/>
                  <a:gd name="f17" fmla="val 3810"/>
                  <a:gd name="f18" fmla="val 35243"/>
                  <a:gd name="f19" fmla="val 7620"/>
                  <a:gd name="f20" fmla="val 15240"/>
                  <a:gd name="f21" fmla="val 20955"/>
                  <a:gd name="f22" fmla="val 34290"/>
                  <a:gd name="f23" fmla="val 40005"/>
                  <a:gd name="f24" fmla="val 28575"/>
                  <a:gd name="f25" fmla="val 29528"/>
                  <a:gd name="f26" fmla="val 39053"/>
                  <a:gd name="f27" fmla="val 33338"/>
                  <a:gd name="f28" fmla="val 37147"/>
                  <a:gd name="f29" fmla="val 45720"/>
                  <a:gd name="f30" fmla="val 38100"/>
                  <a:gd name="f31" fmla="val 60960"/>
                  <a:gd name="f32" fmla="val 47625"/>
                  <a:gd name="f33" fmla="val 57150"/>
                  <a:gd name="f34" fmla="val 66675"/>
                  <a:gd name="f35" fmla="val 74295"/>
                  <a:gd name="f36" fmla="val 76200"/>
                  <a:gd name="f37" fmla="val 43815"/>
                  <a:gd name="f38" fmla="val 78105"/>
                  <a:gd name="f39" fmla="val 40958"/>
                  <a:gd name="f40" fmla="val 79058"/>
                  <a:gd name="f41" fmla="val 80963"/>
                  <a:gd name="f42" fmla="val 82867"/>
                  <a:gd name="f43" fmla="val 84773"/>
                  <a:gd name="f44" fmla="val 85725"/>
                  <a:gd name="f45" fmla="val 86678"/>
                  <a:gd name="f46" fmla="val 87630"/>
                  <a:gd name="f47" fmla="val 94298"/>
                  <a:gd name="f48" fmla="val 100013"/>
                  <a:gd name="f49" fmla="val 23813"/>
                  <a:gd name="f50" fmla="val 98108"/>
                  <a:gd name="f51" fmla="val 18097"/>
                  <a:gd name="f52" fmla="val 96203"/>
                  <a:gd name="f53" fmla="val 93345"/>
                  <a:gd name="f54" fmla="val 10478"/>
                  <a:gd name="f55" fmla="val 92392"/>
                  <a:gd name="f56" fmla="val 95250"/>
                  <a:gd name="f57" fmla="val 4763"/>
                  <a:gd name="f58" fmla="val 102870"/>
                  <a:gd name="f59" fmla="val 6667"/>
                  <a:gd name="f60" fmla="val 105728"/>
                  <a:gd name="f61" fmla="val 109538"/>
                  <a:gd name="f62" fmla="val 112395"/>
                  <a:gd name="f63" fmla="val 20003"/>
                  <a:gd name="f64" fmla="val 114300"/>
                  <a:gd name="f65" fmla="val 187642"/>
                  <a:gd name="f66" fmla="val 191453"/>
                  <a:gd name="f67" fmla="val 195263"/>
                  <a:gd name="f68" fmla="val 35242"/>
                  <a:gd name="f69" fmla="val 46672"/>
                  <a:gd name="f70" fmla="val 111442"/>
                  <a:gd name="f71" fmla="val 100965"/>
                  <a:gd name="f72" fmla="val 88583"/>
                  <a:gd name="f73" fmla="val 67628"/>
                  <a:gd name="f74" fmla="val 70485"/>
                  <a:gd name="f75" fmla="+- 0 0 -90"/>
                  <a:gd name="f76" fmla="*/ f3 1 76199"/>
                  <a:gd name="f77" fmla="*/ f4 1 195262"/>
                  <a:gd name="f78" fmla="+- f7 0 f5"/>
                  <a:gd name="f79" fmla="+- f6 0 f5"/>
                  <a:gd name="f80" fmla="*/ f75 f0 1"/>
                  <a:gd name="f81" fmla="*/ f79 1 76199"/>
                  <a:gd name="f82" fmla="*/ f78 1 195262"/>
                  <a:gd name="f83" fmla="*/ 55245 f79 1"/>
                  <a:gd name="f84" fmla="*/ 25718 f78 1"/>
                  <a:gd name="f85" fmla="*/ 27622 f79 1"/>
                  <a:gd name="f86" fmla="*/ 0 f78 1"/>
                  <a:gd name="f87" fmla="*/ 0 f79 1"/>
                  <a:gd name="f88" fmla="*/ 27622 f78 1"/>
                  <a:gd name="f89" fmla="*/ 7620 f79 1"/>
                  <a:gd name="f90" fmla="*/ 35243 f78 1"/>
                  <a:gd name="f91" fmla="*/ 15240 f79 1"/>
                  <a:gd name="f92" fmla="*/ 15240 f78 1"/>
                  <a:gd name="f93" fmla="*/ 40005 f79 1"/>
                  <a:gd name="f94" fmla="*/ 29528 f78 1"/>
                  <a:gd name="f95" fmla="*/ 45720 f79 1"/>
                  <a:gd name="f96" fmla="*/ 38100 f78 1"/>
                  <a:gd name="f97" fmla="*/ 60960 f79 1"/>
                  <a:gd name="f98" fmla="*/ 57150 f78 1"/>
                  <a:gd name="f99" fmla="*/ 76200 f78 1"/>
                  <a:gd name="f100" fmla="*/ 40958 f79 1"/>
                  <a:gd name="f101" fmla="*/ 79058 f78 1"/>
                  <a:gd name="f102" fmla="*/ 84773 f78 1"/>
                  <a:gd name="f103" fmla="*/ 87630 f78 1"/>
                  <a:gd name="f104" fmla="*/ 100013 f78 1"/>
                  <a:gd name="f105" fmla="*/ 18097 f79 1"/>
                  <a:gd name="f106" fmla="*/ 96203 f78 1"/>
                  <a:gd name="f107" fmla="*/ 95250 f78 1"/>
                  <a:gd name="f108" fmla="*/ 6667 f79 1"/>
                  <a:gd name="f109" fmla="*/ 105728 f78 1"/>
                  <a:gd name="f110" fmla="*/ 20003 f79 1"/>
                  <a:gd name="f111" fmla="*/ 114300 f78 1"/>
                  <a:gd name="f112" fmla="*/ 187642 f78 1"/>
                  <a:gd name="f113" fmla="*/ 195263 f78 1"/>
                  <a:gd name="f114" fmla="*/ 35242 f79 1"/>
                  <a:gd name="f115" fmla="*/ 88583 f78 1"/>
                  <a:gd name="f116" fmla="*/ 76200 f79 1"/>
                  <a:gd name="f117" fmla="*/ f80 1 f2"/>
                  <a:gd name="f118" fmla="*/ f83 1 76199"/>
                  <a:gd name="f119" fmla="*/ f84 1 195262"/>
                  <a:gd name="f120" fmla="*/ f85 1 76199"/>
                  <a:gd name="f121" fmla="*/ f86 1 195262"/>
                  <a:gd name="f122" fmla="*/ f87 1 76199"/>
                  <a:gd name="f123" fmla="*/ f88 1 195262"/>
                  <a:gd name="f124" fmla="*/ f89 1 76199"/>
                  <a:gd name="f125" fmla="*/ f90 1 195262"/>
                  <a:gd name="f126" fmla="*/ f91 1 76199"/>
                  <a:gd name="f127" fmla="*/ f92 1 195262"/>
                  <a:gd name="f128" fmla="*/ f93 1 76199"/>
                  <a:gd name="f129" fmla="*/ f94 1 195262"/>
                  <a:gd name="f130" fmla="*/ f95 1 76199"/>
                  <a:gd name="f131" fmla="*/ f96 1 195262"/>
                  <a:gd name="f132" fmla="*/ f97 1 76199"/>
                  <a:gd name="f133" fmla="*/ f98 1 195262"/>
                  <a:gd name="f134" fmla="*/ f99 1 195262"/>
                  <a:gd name="f135" fmla="*/ f100 1 76199"/>
                  <a:gd name="f136" fmla="*/ f101 1 195262"/>
                  <a:gd name="f137" fmla="*/ f102 1 195262"/>
                  <a:gd name="f138" fmla="*/ f103 1 195262"/>
                  <a:gd name="f139" fmla="*/ f104 1 195262"/>
                  <a:gd name="f140" fmla="*/ f105 1 76199"/>
                  <a:gd name="f141" fmla="*/ f106 1 195262"/>
                  <a:gd name="f142" fmla="*/ f107 1 195262"/>
                  <a:gd name="f143" fmla="*/ f108 1 76199"/>
                  <a:gd name="f144" fmla="*/ f109 1 195262"/>
                  <a:gd name="f145" fmla="*/ f110 1 76199"/>
                  <a:gd name="f146" fmla="*/ f111 1 195262"/>
                  <a:gd name="f147" fmla="*/ f112 1 195262"/>
                  <a:gd name="f148" fmla="*/ f113 1 195262"/>
                  <a:gd name="f149" fmla="*/ f114 1 76199"/>
                  <a:gd name="f150" fmla="*/ f115 1 195262"/>
                  <a:gd name="f151" fmla="*/ f116 1 76199"/>
                  <a:gd name="f152" fmla="*/ f5 1 f81"/>
                  <a:gd name="f153" fmla="*/ f6 1 f81"/>
                  <a:gd name="f154" fmla="*/ f5 1 f82"/>
                  <a:gd name="f155" fmla="*/ f7 1 f82"/>
                  <a:gd name="f156" fmla="+- f117 0 f1"/>
                  <a:gd name="f157" fmla="*/ f118 1 f81"/>
                  <a:gd name="f158" fmla="*/ f119 1 f82"/>
                  <a:gd name="f159" fmla="*/ f120 1 f81"/>
                  <a:gd name="f160" fmla="*/ f121 1 f82"/>
                  <a:gd name="f161" fmla="*/ f122 1 f81"/>
                  <a:gd name="f162" fmla="*/ f123 1 f82"/>
                  <a:gd name="f163" fmla="*/ f124 1 f81"/>
                  <a:gd name="f164" fmla="*/ f125 1 f82"/>
                  <a:gd name="f165" fmla="*/ f126 1 f81"/>
                  <a:gd name="f166" fmla="*/ f127 1 f82"/>
                  <a:gd name="f167" fmla="*/ f128 1 f81"/>
                  <a:gd name="f168" fmla="*/ f129 1 f82"/>
                  <a:gd name="f169" fmla="*/ f130 1 f81"/>
                  <a:gd name="f170" fmla="*/ f131 1 f82"/>
                  <a:gd name="f171" fmla="*/ f132 1 f81"/>
                  <a:gd name="f172" fmla="*/ f133 1 f82"/>
                  <a:gd name="f173" fmla="*/ f134 1 f82"/>
                  <a:gd name="f174" fmla="*/ f135 1 f81"/>
                  <a:gd name="f175" fmla="*/ f136 1 f82"/>
                  <a:gd name="f176" fmla="*/ f137 1 f82"/>
                  <a:gd name="f177" fmla="*/ f138 1 f82"/>
                  <a:gd name="f178" fmla="*/ f139 1 f82"/>
                  <a:gd name="f179" fmla="*/ f140 1 f81"/>
                  <a:gd name="f180" fmla="*/ f141 1 f82"/>
                  <a:gd name="f181" fmla="*/ f142 1 f82"/>
                  <a:gd name="f182" fmla="*/ f143 1 f81"/>
                  <a:gd name="f183" fmla="*/ f144 1 f82"/>
                  <a:gd name="f184" fmla="*/ f145 1 f81"/>
                  <a:gd name="f185" fmla="*/ f146 1 f82"/>
                  <a:gd name="f186" fmla="*/ f147 1 f82"/>
                  <a:gd name="f187" fmla="*/ f148 1 f82"/>
                  <a:gd name="f188" fmla="*/ f149 1 f81"/>
                  <a:gd name="f189" fmla="*/ f150 1 f82"/>
                  <a:gd name="f190" fmla="*/ f151 1 f81"/>
                  <a:gd name="f191" fmla="*/ f152 f76 1"/>
                  <a:gd name="f192" fmla="*/ f153 f76 1"/>
                  <a:gd name="f193" fmla="*/ f155 f77 1"/>
                  <a:gd name="f194" fmla="*/ f154 f77 1"/>
                  <a:gd name="f195" fmla="*/ f157 f76 1"/>
                  <a:gd name="f196" fmla="*/ f158 f77 1"/>
                  <a:gd name="f197" fmla="*/ f159 f76 1"/>
                  <a:gd name="f198" fmla="*/ f160 f77 1"/>
                  <a:gd name="f199" fmla="*/ f161 f76 1"/>
                  <a:gd name="f200" fmla="*/ f162 f77 1"/>
                  <a:gd name="f201" fmla="*/ f163 f76 1"/>
                  <a:gd name="f202" fmla="*/ f164 f77 1"/>
                  <a:gd name="f203" fmla="*/ f165 f76 1"/>
                  <a:gd name="f204" fmla="*/ f166 f77 1"/>
                  <a:gd name="f205" fmla="*/ f167 f76 1"/>
                  <a:gd name="f206" fmla="*/ f168 f77 1"/>
                  <a:gd name="f207" fmla="*/ f169 f76 1"/>
                  <a:gd name="f208" fmla="*/ f170 f77 1"/>
                  <a:gd name="f209" fmla="*/ f171 f76 1"/>
                  <a:gd name="f210" fmla="*/ f172 f77 1"/>
                  <a:gd name="f211" fmla="*/ f173 f77 1"/>
                  <a:gd name="f212" fmla="*/ f174 f76 1"/>
                  <a:gd name="f213" fmla="*/ f175 f77 1"/>
                  <a:gd name="f214" fmla="*/ f176 f77 1"/>
                  <a:gd name="f215" fmla="*/ f177 f77 1"/>
                  <a:gd name="f216" fmla="*/ f178 f77 1"/>
                  <a:gd name="f217" fmla="*/ f179 f76 1"/>
                  <a:gd name="f218" fmla="*/ f180 f77 1"/>
                  <a:gd name="f219" fmla="*/ f181 f77 1"/>
                  <a:gd name="f220" fmla="*/ f182 f76 1"/>
                  <a:gd name="f221" fmla="*/ f183 f77 1"/>
                  <a:gd name="f222" fmla="*/ f184 f76 1"/>
                  <a:gd name="f223" fmla="*/ f185 f77 1"/>
                  <a:gd name="f224" fmla="*/ f186 f77 1"/>
                  <a:gd name="f225" fmla="*/ f187 f77 1"/>
                  <a:gd name="f226" fmla="*/ f188 f76 1"/>
                  <a:gd name="f227" fmla="*/ f189 f77 1"/>
                  <a:gd name="f228" fmla="*/ f190 f7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56">
                    <a:pos x="f195" y="f196"/>
                  </a:cxn>
                  <a:cxn ang="f156">
                    <a:pos x="f197" y="f198"/>
                  </a:cxn>
                  <a:cxn ang="f156">
                    <a:pos x="f199" y="f200"/>
                  </a:cxn>
                  <a:cxn ang="f156">
                    <a:pos x="f201" y="f202"/>
                  </a:cxn>
                  <a:cxn ang="f156">
                    <a:pos x="f203" y="f200"/>
                  </a:cxn>
                  <a:cxn ang="f156">
                    <a:pos x="f197" y="f204"/>
                  </a:cxn>
                  <a:cxn ang="f156">
                    <a:pos x="f205" y="f200"/>
                  </a:cxn>
                  <a:cxn ang="f156">
                    <a:pos x="f205" y="f206"/>
                  </a:cxn>
                  <a:cxn ang="f156">
                    <a:pos x="f207" y="f208"/>
                  </a:cxn>
                  <a:cxn ang="f156">
                    <a:pos x="f209" y="f210"/>
                  </a:cxn>
                  <a:cxn ang="f156">
                    <a:pos x="f207" y="f211"/>
                  </a:cxn>
                  <a:cxn ang="f156">
                    <a:pos x="f212" y="f213"/>
                  </a:cxn>
                  <a:cxn ang="f156">
                    <a:pos x="f205" y="f214"/>
                  </a:cxn>
                  <a:cxn ang="f156">
                    <a:pos x="f205" y="f215"/>
                  </a:cxn>
                  <a:cxn ang="f156">
                    <a:pos x="f197" y="f216"/>
                  </a:cxn>
                  <a:cxn ang="f156">
                    <a:pos x="f197" y="f216"/>
                  </a:cxn>
                  <a:cxn ang="f156">
                    <a:pos x="f217" y="f218"/>
                  </a:cxn>
                  <a:cxn ang="f156">
                    <a:pos x="f201" y="f219"/>
                  </a:cxn>
                  <a:cxn ang="f156">
                    <a:pos x="f220" y="f221"/>
                  </a:cxn>
                  <a:cxn ang="f156">
                    <a:pos x="f222" y="f223"/>
                  </a:cxn>
                  <a:cxn ang="f156">
                    <a:pos x="f222" y="f224"/>
                  </a:cxn>
                  <a:cxn ang="f156">
                    <a:pos x="f197" y="f225"/>
                  </a:cxn>
                  <a:cxn ang="f156">
                    <a:pos x="f226" y="f224"/>
                  </a:cxn>
                  <a:cxn ang="f156">
                    <a:pos x="f226" y="f223"/>
                  </a:cxn>
                  <a:cxn ang="f156">
                    <a:pos x="f195" y="f227"/>
                  </a:cxn>
                  <a:cxn ang="f156">
                    <a:pos x="f228" y="f210"/>
                  </a:cxn>
                  <a:cxn ang="f156">
                    <a:pos x="f195" y="f196"/>
                  </a:cxn>
                </a:cxnLst>
                <a:rect l="f191" t="f194" r="f192" b="f193"/>
                <a:pathLst>
                  <a:path w="76199" h="195262">
                    <a:moveTo>
                      <a:pt x="f8" y="f9"/>
                    </a:moveTo>
                    <a:cubicBezTo>
                      <a:pt x="f10" y="f11"/>
                      <a:pt x="f12" y="f5"/>
                      <a:pt x="f13" y="f5"/>
                    </a:cubicBezTo>
                    <a:cubicBezTo>
                      <a:pt x="f14" y="f5"/>
                      <a:pt x="f5" y="f15"/>
                      <a:pt x="f5" y="f13"/>
                    </a:cubicBezTo>
                    <a:cubicBezTo>
                      <a:pt x="f5" y="f16"/>
                      <a:pt x="f17" y="f18"/>
                      <a:pt x="f19" y="f18"/>
                    </a:cubicBezTo>
                    <a:cubicBezTo>
                      <a:pt x="f11" y="f18"/>
                      <a:pt x="f20" y="f16"/>
                      <a:pt x="f20" y="f13"/>
                    </a:cubicBezTo>
                    <a:cubicBezTo>
                      <a:pt x="f20" y="f21"/>
                      <a:pt x="f21" y="f20"/>
                      <a:pt x="f13" y="f20"/>
                    </a:cubicBezTo>
                    <a:cubicBezTo>
                      <a:pt x="f22" y="f20"/>
                      <a:pt x="f23" y="f21"/>
                      <a:pt x="f23" y="f13"/>
                    </a:cubicBezTo>
                    <a:cubicBezTo>
                      <a:pt x="f23" y="f24"/>
                      <a:pt x="f23" y="f25"/>
                      <a:pt x="f23" y="f25"/>
                    </a:cubicBezTo>
                    <a:cubicBezTo>
                      <a:pt x="f26" y="f27"/>
                      <a:pt x="f12" y="f28"/>
                      <a:pt x="f29" y="f30"/>
                    </a:cubicBezTo>
                    <a:cubicBezTo>
                      <a:pt x="f10" y="f23"/>
                      <a:pt x="f31" y="f32"/>
                      <a:pt x="f31" y="f33"/>
                    </a:cubicBezTo>
                    <a:cubicBezTo>
                      <a:pt x="f31" y="f34"/>
                      <a:pt x="f10" y="f35"/>
                      <a:pt x="f29" y="f36"/>
                    </a:cubicBezTo>
                    <a:cubicBezTo>
                      <a:pt x="f37" y="f36"/>
                      <a:pt x="f12" y="f38"/>
                      <a:pt x="f39" y="f40"/>
                    </a:cubicBezTo>
                    <a:cubicBezTo>
                      <a:pt x="f23" y="f41"/>
                      <a:pt x="f26" y="f42"/>
                      <a:pt x="f23" y="f43"/>
                    </a:cubicBezTo>
                    <a:cubicBezTo>
                      <a:pt x="f23" y="f44"/>
                      <a:pt x="f23" y="f45"/>
                      <a:pt x="f23" y="f46"/>
                    </a:cubicBezTo>
                    <a:cubicBezTo>
                      <a:pt x="f23" y="f47"/>
                      <a:pt x="f22" y="f48"/>
                      <a:pt x="f13" y="f48"/>
                    </a:cubicBezTo>
                    <a:cubicBezTo>
                      <a:pt x="f13" y="f48"/>
                      <a:pt x="f13" y="f48"/>
                      <a:pt x="f13" y="f48"/>
                    </a:cubicBezTo>
                    <a:cubicBezTo>
                      <a:pt x="f49" y="f48"/>
                      <a:pt x="f21" y="f50"/>
                      <a:pt x="f51" y="f52"/>
                    </a:cubicBezTo>
                    <a:cubicBezTo>
                      <a:pt x="f20" y="f53"/>
                      <a:pt x="f54" y="f55"/>
                      <a:pt x="f19" y="f56"/>
                    </a:cubicBezTo>
                    <a:cubicBezTo>
                      <a:pt x="f57" y="f50"/>
                      <a:pt x="f17" y="f58"/>
                      <a:pt x="f59" y="f60"/>
                    </a:cubicBezTo>
                    <a:cubicBezTo>
                      <a:pt x="f54" y="f61"/>
                      <a:pt x="f20" y="f62"/>
                      <a:pt x="f63" y="f64"/>
                    </a:cubicBezTo>
                    <a:lnTo>
                      <a:pt x="f63" y="f65"/>
                    </a:lnTo>
                    <a:cubicBezTo>
                      <a:pt x="f63" y="f66"/>
                      <a:pt x="f49" y="f67"/>
                      <a:pt x="f13" y="f67"/>
                    </a:cubicBezTo>
                    <a:cubicBezTo>
                      <a:pt x="f16" y="f67"/>
                      <a:pt x="f68" y="f66"/>
                      <a:pt x="f68" y="f65"/>
                    </a:cubicBezTo>
                    <a:lnTo>
                      <a:pt x="f68" y="f64"/>
                    </a:lnTo>
                    <a:cubicBezTo>
                      <a:pt x="f69" y="f70"/>
                      <a:pt x="f10" y="f71"/>
                      <a:pt x="f8" y="f72"/>
                    </a:cubicBezTo>
                    <a:cubicBezTo>
                      <a:pt x="f73" y="f42"/>
                      <a:pt x="f36" y="f74"/>
                      <a:pt x="f36" y="f33"/>
                    </a:cubicBezTo>
                    <a:cubicBezTo>
                      <a:pt x="f36" y="f37"/>
                      <a:pt x="f73" y="f16"/>
                      <a:pt x="f8" y="f9"/>
                    </a:cubicBezTo>
                  </a:path>
                </a:pathLst>
              </a:custGeom>
              <a:noFill/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ctr" anchorCtr="0" compatLnSpc="1">
                <a:noAutofit/>
              </a:bodyPr>
              <a:lstStyle/>
              <a:p>
                <a:pPr marL="0" marR="0" lvl="0" indent="0" algn="l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000000"/>
                  </a:solidFill>
                  <a:uFillTx/>
                  <a:latin typeface="VeluxForOffice"/>
                </a:endParaRPr>
              </a:p>
            </p:txBody>
          </p:sp>
        </p:grpSp>
        <p:grpSp>
          <p:nvGrpSpPr>
            <p:cNvPr id="143" name="Group 21">
              <a:extLst>
                <a:ext uri="{FF2B5EF4-FFF2-40B4-BE49-F238E27FC236}">
                  <a16:creationId xmlns:a16="http://schemas.microsoft.com/office/drawing/2014/main" id="{C4A67C3D-66FB-2992-5596-2403DF0F22AB}"/>
                </a:ext>
              </a:extLst>
            </p:cNvPr>
            <p:cNvGrpSpPr/>
            <p:nvPr/>
          </p:nvGrpSpPr>
          <p:grpSpPr>
            <a:xfrm>
              <a:off x="382219" y="5460933"/>
              <a:ext cx="1009716" cy="611899"/>
              <a:chOff x="382219" y="5460933"/>
              <a:chExt cx="1009716" cy="611899"/>
            </a:xfrm>
          </p:grpSpPr>
          <p:grpSp>
            <p:nvGrpSpPr>
              <p:cNvPr id="144" name="Group 24">
                <a:extLst>
                  <a:ext uri="{FF2B5EF4-FFF2-40B4-BE49-F238E27FC236}">
                    <a16:creationId xmlns:a16="http://schemas.microsoft.com/office/drawing/2014/main" id="{FD8295D0-FD08-32D3-A681-D3D15FC3248E}"/>
                  </a:ext>
                </a:extLst>
              </p:cNvPr>
              <p:cNvGrpSpPr/>
              <p:nvPr/>
            </p:nvGrpSpPr>
            <p:grpSpPr>
              <a:xfrm>
                <a:off x="549517" y="5796399"/>
                <a:ext cx="281342" cy="256956"/>
                <a:chOff x="549517" y="5796399"/>
                <a:chExt cx="281342" cy="256956"/>
              </a:xfrm>
            </p:grpSpPr>
            <p:sp>
              <p:nvSpPr>
                <p:cNvPr id="145" name="Graphic 19">
                  <a:extLst>
                    <a:ext uri="{FF2B5EF4-FFF2-40B4-BE49-F238E27FC236}">
                      <a16:creationId xmlns:a16="http://schemas.microsoft.com/office/drawing/2014/main" id="{3A0236EC-CBDF-4964-24AA-3B56C54C1C8B}"/>
                    </a:ext>
                  </a:extLst>
                </p:cNvPr>
                <p:cNvSpPr/>
                <p:nvPr/>
              </p:nvSpPr>
              <p:spPr>
                <a:xfrm>
                  <a:off x="549517" y="5845192"/>
                  <a:ext cx="144740" cy="202466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169545"/>
                    <a:gd name="f7" fmla="val 237172"/>
                    <a:gd name="f8" fmla="val 84773"/>
                    <a:gd name="f9" fmla="val 125730"/>
                    <a:gd name="f10" fmla="val 105728"/>
                    <a:gd name="f11" fmla="val 104775"/>
                    <a:gd name="f12" fmla="val 98108"/>
                    <a:gd name="f13" fmla="val 63818"/>
                    <a:gd name="f14" fmla="val 77153"/>
                    <a:gd name="f15" fmla="val 237173"/>
                    <a:gd name="f16" fmla="val 54293"/>
                    <a:gd name="f17" fmla="val 31433"/>
                    <a:gd name="f18" fmla="val 78105"/>
                    <a:gd name="f19" fmla="val 28575"/>
                    <a:gd name="f20" fmla="val 73343"/>
                    <a:gd name="f21" fmla="val 26670"/>
                    <a:gd name="f22" fmla="val 68580"/>
                    <a:gd name="f23" fmla="val 62865"/>
                    <a:gd name="f24" fmla="val 53340"/>
                    <a:gd name="f25" fmla="val 44768"/>
                    <a:gd name="f26" fmla="val 38100"/>
                    <a:gd name="f27" fmla="val 40005"/>
                    <a:gd name="f28" fmla="val 36195"/>
                    <a:gd name="f29" fmla="val 34290"/>
                    <a:gd name="f30" fmla="val 12383"/>
                    <a:gd name="f31" fmla="val 45720"/>
                    <a:gd name="f32" fmla="val 60960"/>
                    <a:gd name="f33" fmla="val 82868"/>
                    <a:gd name="f34" fmla="val 7620"/>
                    <a:gd name="f35" fmla="val 86678"/>
                    <a:gd name="f36" fmla="val 19050"/>
                    <a:gd name="f37" fmla="val 90488"/>
                    <a:gd name="f38" fmla="val 18098"/>
                    <a:gd name="f39" fmla="val 93345"/>
                    <a:gd name="f40" fmla="val 17145"/>
                    <a:gd name="f41" fmla="val 97155"/>
                    <a:gd name="f42" fmla="val 120015"/>
                    <a:gd name="f43" fmla="val 138113"/>
                    <a:gd name="f44" fmla="val 35243"/>
                    <a:gd name="f45" fmla="val 58103"/>
                    <a:gd name="f46" fmla="val 64770"/>
                    <a:gd name="f47" fmla="val 136208"/>
                    <a:gd name="f48" fmla="val 70485"/>
                    <a:gd name="f49" fmla="val 133350"/>
                    <a:gd name="f50" fmla="val 76200"/>
                    <a:gd name="f51" fmla="val 154305"/>
                    <a:gd name="f52" fmla="val 80010"/>
                    <a:gd name="f53" fmla="val 144780"/>
                    <a:gd name="f54" fmla="val 149543"/>
                    <a:gd name="f55" fmla="val 164783"/>
                    <a:gd name="f56" fmla="val 124778"/>
                    <a:gd name="f57" fmla="val 107633"/>
                    <a:gd name="f58" fmla="val 92393"/>
                    <a:gd name="f59" fmla="val 140018"/>
                    <a:gd name="f60" fmla="val 155258"/>
                    <a:gd name="f61" fmla="val 61913"/>
                    <a:gd name="f62" fmla="val 20003"/>
                    <a:gd name="f63" fmla="val 100013"/>
                    <a:gd name="f64" fmla="val 13335"/>
                    <a:gd name="f65" fmla="val 83820"/>
                    <a:gd name="f66" fmla="+- 0 0 -90"/>
                    <a:gd name="f67" fmla="*/ f3 1 169545"/>
                    <a:gd name="f68" fmla="*/ f4 1 237172"/>
                    <a:gd name="f69" fmla="+- f7 0 f5"/>
                    <a:gd name="f70" fmla="+- f6 0 f5"/>
                    <a:gd name="f71" fmla="*/ f66 f0 1"/>
                    <a:gd name="f72" fmla="*/ f70 1 169545"/>
                    <a:gd name="f73" fmla="*/ f69 1 237172"/>
                    <a:gd name="f74" fmla="*/ 84773 f70 1"/>
                    <a:gd name="f75" fmla="*/ 125730 f69 1"/>
                    <a:gd name="f76" fmla="*/ 105728 f70 1"/>
                    <a:gd name="f77" fmla="*/ 104775 f69 1"/>
                    <a:gd name="f78" fmla="*/ 98108 f69 1"/>
                    <a:gd name="f79" fmla="*/ 63818 f70 1"/>
                    <a:gd name="f80" fmla="*/ 77153 f69 1"/>
                    <a:gd name="f81" fmla="*/ 237173 f69 1"/>
                    <a:gd name="f82" fmla="*/ 54293 f69 1"/>
                    <a:gd name="f83" fmla="*/ 31433 f70 1"/>
                    <a:gd name="f84" fmla="*/ 78105 f69 1"/>
                    <a:gd name="f85" fmla="*/ 26670 f70 1"/>
                    <a:gd name="f86" fmla="*/ 62865 f69 1"/>
                    <a:gd name="f87" fmla="*/ 38100 f70 1"/>
                    <a:gd name="f88" fmla="*/ 40005 f69 1"/>
                    <a:gd name="f89" fmla="*/ 34290 f70 1"/>
                    <a:gd name="f90" fmla="*/ 26670 f69 1"/>
                    <a:gd name="f91" fmla="*/ 60960 f70 1"/>
                    <a:gd name="f92" fmla="*/ 0 f69 1"/>
                    <a:gd name="f93" fmla="*/ 86678 f70 1"/>
                    <a:gd name="f94" fmla="*/ 19050 f69 1"/>
                    <a:gd name="f95" fmla="*/ 97155 f70 1"/>
                    <a:gd name="f96" fmla="*/ 17145 f69 1"/>
                    <a:gd name="f97" fmla="*/ 138113 f70 1"/>
                    <a:gd name="f98" fmla="*/ 58103 f69 1"/>
                    <a:gd name="f99" fmla="*/ 133350 f70 1"/>
                    <a:gd name="f100" fmla="*/ 76200 f69 1"/>
                    <a:gd name="f101" fmla="*/ 169545 f70 1"/>
                    <a:gd name="f102" fmla="*/ 120015 f69 1"/>
                    <a:gd name="f103" fmla="*/ 124778 f70 1"/>
                    <a:gd name="f104" fmla="*/ 164783 f69 1"/>
                    <a:gd name="f105" fmla="*/ 140018 f69 1"/>
                    <a:gd name="f106" fmla="*/ 44768 f70 1"/>
                    <a:gd name="f107" fmla="*/ 0 f70 1"/>
                    <a:gd name="f108" fmla="*/ f71 1 f2"/>
                    <a:gd name="f109" fmla="*/ f74 1 169545"/>
                    <a:gd name="f110" fmla="*/ f75 1 237172"/>
                    <a:gd name="f111" fmla="*/ f76 1 169545"/>
                    <a:gd name="f112" fmla="*/ f77 1 237172"/>
                    <a:gd name="f113" fmla="*/ f78 1 237172"/>
                    <a:gd name="f114" fmla="*/ f79 1 169545"/>
                    <a:gd name="f115" fmla="*/ f80 1 237172"/>
                    <a:gd name="f116" fmla="*/ f81 1 237172"/>
                    <a:gd name="f117" fmla="*/ f82 1 237172"/>
                    <a:gd name="f118" fmla="*/ f83 1 169545"/>
                    <a:gd name="f119" fmla="*/ f84 1 237172"/>
                    <a:gd name="f120" fmla="*/ f85 1 169545"/>
                    <a:gd name="f121" fmla="*/ f86 1 237172"/>
                    <a:gd name="f122" fmla="*/ f87 1 169545"/>
                    <a:gd name="f123" fmla="*/ f88 1 237172"/>
                    <a:gd name="f124" fmla="*/ f89 1 169545"/>
                    <a:gd name="f125" fmla="*/ f90 1 237172"/>
                    <a:gd name="f126" fmla="*/ f91 1 169545"/>
                    <a:gd name="f127" fmla="*/ f92 1 237172"/>
                    <a:gd name="f128" fmla="*/ f93 1 169545"/>
                    <a:gd name="f129" fmla="*/ f94 1 237172"/>
                    <a:gd name="f130" fmla="*/ f95 1 169545"/>
                    <a:gd name="f131" fmla="*/ f96 1 237172"/>
                    <a:gd name="f132" fmla="*/ f97 1 169545"/>
                    <a:gd name="f133" fmla="*/ f98 1 237172"/>
                    <a:gd name="f134" fmla="*/ f99 1 169545"/>
                    <a:gd name="f135" fmla="*/ f100 1 237172"/>
                    <a:gd name="f136" fmla="*/ f101 1 169545"/>
                    <a:gd name="f137" fmla="*/ f102 1 237172"/>
                    <a:gd name="f138" fmla="*/ f103 1 169545"/>
                    <a:gd name="f139" fmla="*/ f104 1 237172"/>
                    <a:gd name="f140" fmla="*/ f105 1 237172"/>
                    <a:gd name="f141" fmla="*/ f106 1 169545"/>
                    <a:gd name="f142" fmla="*/ f107 1 169545"/>
                    <a:gd name="f143" fmla="*/ f5 1 f72"/>
                    <a:gd name="f144" fmla="*/ f6 1 f72"/>
                    <a:gd name="f145" fmla="*/ f5 1 f73"/>
                    <a:gd name="f146" fmla="*/ f7 1 f73"/>
                    <a:gd name="f147" fmla="+- f108 0 f1"/>
                    <a:gd name="f148" fmla="*/ f109 1 f72"/>
                    <a:gd name="f149" fmla="*/ f110 1 f73"/>
                    <a:gd name="f150" fmla="*/ f111 1 f72"/>
                    <a:gd name="f151" fmla="*/ f112 1 f73"/>
                    <a:gd name="f152" fmla="*/ f113 1 f73"/>
                    <a:gd name="f153" fmla="*/ f114 1 f72"/>
                    <a:gd name="f154" fmla="*/ f115 1 f73"/>
                    <a:gd name="f155" fmla="*/ f116 1 f73"/>
                    <a:gd name="f156" fmla="*/ f117 1 f73"/>
                    <a:gd name="f157" fmla="*/ f118 1 f72"/>
                    <a:gd name="f158" fmla="*/ f119 1 f73"/>
                    <a:gd name="f159" fmla="*/ f120 1 f72"/>
                    <a:gd name="f160" fmla="*/ f121 1 f73"/>
                    <a:gd name="f161" fmla="*/ f122 1 f72"/>
                    <a:gd name="f162" fmla="*/ f123 1 f73"/>
                    <a:gd name="f163" fmla="*/ f124 1 f72"/>
                    <a:gd name="f164" fmla="*/ f125 1 f73"/>
                    <a:gd name="f165" fmla="*/ f126 1 f72"/>
                    <a:gd name="f166" fmla="*/ f127 1 f73"/>
                    <a:gd name="f167" fmla="*/ f128 1 f72"/>
                    <a:gd name="f168" fmla="*/ f129 1 f73"/>
                    <a:gd name="f169" fmla="*/ f130 1 f72"/>
                    <a:gd name="f170" fmla="*/ f131 1 f73"/>
                    <a:gd name="f171" fmla="*/ f132 1 f72"/>
                    <a:gd name="f172" fmla="*/ f133 1 f73"/>
                    <a:gd name="f173" fmla="*/ f134 1 f72"/>
                    <a:gd name="f174" fmla="*/ f135 1 f73"/>
                    <a:gd name="f175" fmla="*/ f136 1 f72"/>
                    <a:gd name="f176" fmla="*/ f137 1 f73"/>
                    <a:gd name="f177" fmla="*/ f138 1 f72"/>
                    <a:gd name="f178" fmla="*/ f139 1 f73"/>
                    <a:gd name="f179" fmla="*/ f140 1 f73"/>
                    <a:gd name="f180" fmla="*/ f141 1 f72"/>
                    <a:gd name="f181" fmla="*/ f142 1 f72"/>
                    <a:gd name="f182" fmla="*/ f143 f67 1"/>
                    <a:gd name="f183" fmla="*/ f144 f67 1"/>
                    <a:gd name="f184" fmla="*/ f146 f68 1"/>
                    <a:gd name="f185" fmla="*/ f145 f68 1"/>
                    <a:gd name="f186" fmla="*/ f148 f67 1"/>
                    <a:gd name="f187" fmla="*/ f149 f68 1"/>
                    <a:gd name="f188" fmla="*/ f150 f67 1"/>
                    <a:gd name="f189" fmla="*/ f151 f68 1"/>
                    <a:gd name="f190" fmla="*/ f152 f68 1"/>
                    <a:gd name="f191" fmla="*/ f153 f67 1"/>
                    <a:gd name="f192" fmla="*/ f154 f68 1"/>
                    <a:gd name="f193" fmla="*/ f155 f68 1"/>
                    <a:gd name="f194" fmla="*/ f156 f68 1"/>
                    <a:gd name="f195" fmla="*/ f157 f67 1"/>
                    <a:gd name="f196" fmla="*/ f158 f68 1"/>
                    <a:gd name="f197" fmla="*/ f159 f67 1"/>
                    <a:gd name="f198" fmla="*/ f160 f68 1"/>
                    <a:gd name="f199" fmla="*/ f161 f67 1"/>
                    <a:gd name="f200" fmla="*/ f162 f68 1"/>
                    <a:gd name="f201" fmla="*/ f163 f67 1"/>
                    <a:gd name="f202" fmla="*/ f164 f68 1"/>
                    <a:gd name="f203" fmla="*/ f165 f67 1"/>
                    <a:gd name="f204" fmla="*/ f166 f68 1"/>
                    <a:gd name="f205" fmla="*/ f167 f67 1"/>
                    <a:gd name="f206" fmla="*/ f168 f68 1"/>
                    <a:gd name="f207" fmla="*/ f169 f67 1"/>
                    <a:gd name="f208" fmla="*/ f170 f68 1"/>
                    <a:gd name="f209" fmla="*/ f171 f67 1"/>
                    <a:gd name="f210" fmla="*/ f172 f68 1"/>
                    <a:gd name="f211" fmla="*/ f173 f67 1"/>
                    <a:gd name="f212" fmla="*/ f174 f68 1"/>
                    <a:gd name="f213" fmla="*/ f175 f67 1"/>
                    <a:gd name="f214" fmla="*/ f176 f68 1"/>
                    <a:gd name="f215" fmla="*/ f177 f67 1"/>
                    <a:gd name="f216" fmla="*/ f178 f68 1"/>
                    <a:gd name="f217" fmla="*/ f179 f68 1"/>
                    <a:gd name="f218" fmla="*/ f180 f67 1"/>
                    <a:gd name="f219" fmla="*/ f181 f67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147">
                      <a:pos x="f186" y="f187"/>
                    </a:cxn>
                    <a:cxn ang="f147">
                      <a:pos x="f188" y="f189"/>
                    </a:cxn>
                    <a:cxn ang="f147">
                      <a:pos x="f186" y="f190"/>
                    </a:cxn>
                    <a:cxn ang="f147">
                      <a:pos x="f191" y="f192"/>
                    </a:cxn>
                    <a:cxn ang="f147">
                      <a:pos x="f186" y="f193"/>
                    </a:cxn>
                    <a:cxn ang="f147">
                      <a:pos x="f186" y="f194"/>
                    </a:cxn>
                    <a:cxn ang="f147">
                      <a:pos x="f195" y="f196"/>
                    </a:cxn>
                    <a:cxn ang="f147">
                      <a:pos x="f197" y="f198"/>
                    </a:cxn>
                    <a:cxn ang="f147">
                      <a:pos x="f199" y="f200"/>
                    </a:cxn>
                    <a:cxn ang="f147">
                      <a:pos x="f201" y="f202"/>
                    </a:cxn>
                    <a:cxn ang="f147">
                      <a:pos x="f203" y="f204"/>
                    </a:cxn>
                    <a:cxn ang="f147">
                      <a:pos x="f205" y="f206"/>
                    </a:cxn>
                    <a:cxn ang="f147">
                      <a:pos x="f207" y="f208"/>
                    </a:cxn>
                    <a:cxn ang="f147">
                      <a:pos x="f209" y="f210"/>
                    </a:cxn>
                    <a:cxn ang="f147">
                      <a:pos x="f211" y="f212"/>
                    </a:cxn>
                    <a:cxn ang="f147">
                      <a:pos x="f213" y="f214"/>
                    </a:cxn>
                    <a:cxn ang="f147">
                      <a:pos x="f215" y="f216"/>
                    </a:cxn>
                    <a:cxn ang="f147">
                      <a:pos x="f186" y="f217"/>
                    </a:cxn>
                    <a:cxn ang="f147">
                      <a:pos x="f218" y="f216"/>
                    </a:cxn>
                    <a:cxn ang="f147">
                      <a:pos x="f219" y="f214"/>
                    </a:cxn>
                    <a:cxn ang="f147">
                      <a:pos x="f195" y="f196"/>
                    </a:cxn>
                  </a:cxnLst>
                  <a:rect l="f182" t="f185" r="f183" b="f184"/>
                  <a:pathLst>
                    <a:path w="169545" h="237172">
                      <a:moveTo>
                        <a:pt x="f8" y="f9"/>
                      </a:moveTo>
                      <a:lnTo>
                        <a:pt x="f10" y="f11"/>
                      </a:lnTo>
                      <a:moveTo>
                        <a:pt x="f8" y="f12"/>
                      </a:moveTo>
                      <a:lnTo>
                        <a:pt x="f13" y="f14"/>
                      </a:lnTo>
                      <a:moveTo>
                        <a:pt x="f8" y="f15"/>
                      </a:moveTo>
                      <a:lnTo>
                        <a:pt x="f8" y="f16"/>
                      </a:lnTo>
                      <a:moveTo>
                        <a:pt x="f17" y="f18"/>
                      </a:moveTo>
                      <a:cubicBezTo>
                        <a:pt x="f19" y="f20"/>
                        <a:pt x="f21" y="f22"/>
                        <a:pt x="f21" y="f23"/>
                      </a:cubicBezTo>
                      <a:cubicBezTo>
                        <a:pt x="f21" y="f24"/>
                        <a:pt x="f17" y="f25"/>
                        <a:pt x="f26" y="f27"/>
                      </a:cubicBezTo>
                      <a:cubicBezTo>
                        <a:pt x="f28" y="f28"/>
                        <a:pt x="f29" y="f17"/>
                        <a:pt x="f29" y="f21"/>
                      </a:cubicBezTo>
                      <a:cubicBezTo>
                        <a:pt x="f29" y="f30"/>
                        <a:pt x="f31" y="f5"/>
                        <a:pt x="f32" y="f5"/>
                      </a:cubicBezTo>
                      <a:cubicBezTo>
                        <a:pt x="f20" y="f5"/>
                        <a:pt x="f33" y="f34"/>
                        <a:pt x="f35" y="f36"/>
                      </a:cubicBezTo>
                      <a:cubicBezTo>
                        <a:pt x="f37" y="f38"/>
                        <a:pt x="f39" y="f40"/>
                        <a:pt x="f41" y="f40"/>
                      </a:cubicBezTo>
                      <a:cubicBezTo>
                        <a:pt x="f42" y="f40"/>
                        <a:pt x="f43" y="f44"/>
                        <a:pt x="f43" y="f45"/>
                      </a:cubicBezTo>
                      <a:cubicBezTo>
                        <a:pt x="f43" y="f46"/>
                        <a:pt x="f47" y="f48"/>
                        <a:pt x="f49" y="f50"/>
                      </a:cubicBezTo>
                      <a:cubicBezTo>
                        <a:pt x="f51" y="f52"/>
                        <a:pt x="f6" y="f12"/>
                        <a:pt x="f6" y="f42"/>
                      </a:cubicBezTo>
                      <a:cubicBezTo>
                        <a:pt x="f6" y="f53"/>
                        <a:pt x="f54" y="f55"/>
                        <a:pt x="f56" y="f55"/>
                      </a:cubicBezTo>
                      <a:cubicBezTo>
                        <a:pt x="f57" y="f55"/>
                        <a:pt x="f58" y="f51"/>
                        <a:pt x="f8" y="f59"/>
                      </a:cubicBezTo>
                      <a:cubicBezTo>
                        <a:pt x="f14" y="f60"/>
                        <a:pt x="f61" y="f55"/>
                        <a:pt x="f25" y="f55"/>
                      </a:cubicBezTo>
                      <a:cubicBezTo>
                        <a:pt x="f62" y="f55"/>
                        <a:pt x="f5" y="f53"/>
                        <a:pt x="f5" y="f42"/>
                      </a:cubicBezTo>
                      <a:cubicBezTo>
                        <a:pt x="f5" y="f63"/>
                        <a:pt x="f64" y="f65"/>
                        <a:pt x="f17" y="f18"/>
                      </a:cubicBezTo>
                      <a:close/>
                    </a:path>
                  </a:pathLst>
                </a:custGeom>
                <a:noFill/>
                <a:ln w="19046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46" name="Graphic 19">
                  <a:extLst>
                    <a:ext uri="{FF2B5EF4-FFF2-40B4-BE49-F238E27FC236}">
                      <a16:creationId xmlns:a16="http://schemas.microsoft.com/office/drawing/2014/main" id="{4B2D4838-B4F3-009F-680D-80D5B1D5B8E0}"/>
                    </a:ext>
                  </a:extLst>
                </p:cNvPr>
                <p:cNvSpPr/>
                <p:nvPr/>
              </p:nvSpPr>
              <p:spPr>
                <a:xfrm>
                  <a:off x="724341" y="5852507"/>
                  <a:ext cx="42281" cy="195151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49530"/>
                    <a:gd name="f7" fmla="val 228600"/>
                    <a:gd name="f8" fmla="val 24765"/>
                    <a:gd name="f9" fmla="val 84773"/>
                    <a:gd name="f10" fmla="val 60007"/>
                    <a:gd name="f11" fmla="val 51435"/>
                    <a:gd name="f12" fmla="val 26670"/>
                    <a:gd name="f13" fmla="+- 0 0 -90"/>
                    <a:gd name="f14" fmla="*/ f3 1 49530"/>
                    <a:gd name="f15" fmla="*/ f4 1 228600"/>
                    <a:gd name="f16" fmla="+- f7 0 f5"/>
                    <a:gd name="f17" fmla="+- f6 0 f5"/>
                    <a:gd name="f18" fmla="*/ f13 f0 1"/>
                    <a:gd name="f19" fmla="*/ f17 1 49530"/>
                    <a:gd name="f20" fmla="*/ f16 1 228600"/>
                    <a:gd name="f21" fmla="*/ 24765 f17 1"/>
                    <a:gd name="f22" fmla="*/ 84773 f16 1"/>
                    <a:gd name="f23" fmla="*/ 49530 f17 1"/>
                    <a:gd name="f24" fmla="*/ 60007 f16 1"/>
                    <a:gd name="f25" fmla="*/ 51435 f16 1"/>
                    <a:gd name="f26" fmla="*/ 0 f17 1"/>
                    <a:gd name="f27" fmla="*/ 26670 f16 1"/>
                    <a:gd name="f28" fmla="*/ 228600 f16 1"/>
                    <a:gd name="f29" fmla="*/ 0 f16 1"/>
                    <a:gd name="f30" fmla="*/ f18 1 f2"/>
                    <a:gd name="f31" fmla="*/ f21 1 49530"/>
                    <a:gd name="f32" fmla="*/ f22 1 228600"/>
                    <a:gd name="f33" fmla="*/ f23 1 49530"/>
                    <a:gd name="f34" fmla="*/ f24 1 228600"/>
                    <a:gd name="f35" fmla="*/ f25 1 228600"/>
                    <a:gd name="f36" fmla="*/ f26 1 49530"/>
                    <a:gd name="f37" fmla="*/ f27 1 228600"/>
                    <a:gd name="f38" fmla="*/ f28 1 228600"/>
                    <a:gd name="f39" fmla="*/ f29 1 228600"/>
                    <a:gd name="f40" fmla="*/ f5 1 f19"/>
                    <a:gd name="f41" fmla="*/ f6 1 f19"/>
                    <a:gd name="f42" fmla="*/ f5 1 f20"/>
                    <a:gd name="f43" fmla="*/ f7 1 f20"/>
                    <a:gd name="f44" fmla="+- f30 0 f1"/>
                    <a:gd name="f45" fmla="*/ f31 1 f19"/>
                    <a:gd name="f46" fmla="*/ f32 1 f20"/>
                    <a:gd name="f47" fmla="*/ f33 1 f19"/>
                    <a:gd name="f48" fmla="*/ f34 1 f20"/>
                    <a:gd name="f49" fmla="*/ f35 1 f20"/>
                    <a:gd name="f50" fmla="*/ f36 1 f19"/>
                    <a:gd name="f51" fmla="*/ f37 1 f20"/>
                    <a:gd name="f52" fmla="*/ f38 1 f20"/>
                    <a:gd name="f53" fmla="*/ f39 1 f20"/>
                    <a:gd name="f54" fmla="*/ f40 f14 1"/>
                    <a:gd name="f55" fmla="*/ f41 f14 1"/>
                    <a:gd name="f56" fmla="*/ f43 f15 1"/>
                    <a:gd name="f57" fmla="*/ f42 f15 1"/>
                    <a:gd name="f58" fmla="*/ f45 f14 1"/>
                    <a:gd name="f59" fmla="*/ f46 f15 1"/>
                    <a:gd name="f60" fmla="*/ f47 f14 1"/>
                    <a:gd name="f61" fmla="*/ f48 f15 1"/>
                    <a:gd name="f62" fmla="*/ f49 f15 1"/>
                    <a:gd name="f63" fmla="*/ f50 f14 1"/>
                    <a:gd name="f64" fmla="*/ f51 f15 1"/>
                    <a:gd name="f65" fmla="*/ f52 f15 1"/>
                    <a:gd name="f66" fmla="*/ f53 f15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44">
                      <a:pos x="f58" y="f59"/>
                    </a:cxn>
                    <a:cxn ang="f44">
                      <a:pos x="f60" y="f61"/>
                    </a:cxn>
                    <a:cxn ang="f44">
                      <a:pos x="f58" y="f62"/>
                    </a:cxn>
                    <a:cxn ang="f44">
                      <a:pos x="f63" y="f64"/>
                    </a:cxn>
                    <a:cxn ang="f44">
                      <a:pos x="f58" y="f65"/>
                    </a:cxn>
                    <a:cxn ang="f44">
                      <a:pos x="f58" y="f66"/>
                    </a:cxn>
                  </a:cxnLst>
                  <a:rect l="f54" t="f57" r="f55" b="f56"/>
                  <a:pathLst>
                    <a:path w="49530" h="228600">
                      <a:moveTo>
                        <a:pt x="f8" y="f9"/>
                      </a:moveTo>
                      <a:lnTo>
                        <a:pt x="f6" y="f10"/>
                      </a:lnTo>
                      <a:moveTo>
                        <a:pt x="f8" y="f11"/>
                      </a:moveTo>
                      <a:lnTo>
                        <a:pt x="f5" y="f12"/>
                      </a:lnTo>
                      <a:moveTo>
                        <a:pt x="f8" y="f7"/>
                      </a:moveTo>
                      <a:lnTo>
                        <a:pt x="f8" y="f5"/>
                      </a:lnTo>
                    </a:path>
                  </a:pathLst>
                </a:custGeom>
                <a:noFill/>
                <a:ln cap="flat">
                  <a:noFill/>
                  <a:prstDash val="solid"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47" name="Graphic 19">
                  <a:extLst>
                    <a:ext uri="{FF2B5EF4-FFF2-40B4-BE49-F238E27FC236}">
                      <a16:creationId xmlns:a16="http://schemas.microsoft.com/office/drawing/2014/main" id="{15B27ACB-8ED6-E71D-87AA-BCF4B2D80FA3}"/>
                    </a:ext>
                  </a:extLst>
                </p:cNvPr>
                <p:cNvSpPr/>
                <p:nvPr/>
              </p:nvSpPr>
              <p:spPr>
                <a:xfrm>
                  <a:off x="658477" y="5796399"/>
                  <a:ext cx="172382" cy="16832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201930"/>
                    <a:gd name="f7" fmla="val 197167"/>
                    <a:gd name="f8" fmla="val 37148"/>
                    <a:gd name="f9" fmla="val 93345"/>
                    <a:gd name="f10" fmla="val 34290"/>
                    <a:gd name="f11" fmla="val 87630"/>
                    <a:gd name="f12" fmla="val 32385"/>
                    <a:gd name="f13" fmla="val 81915"/>
                    <a:gd name="f14" fmla="val 75248"/>
                    <a:gd name="f15" fmla="val 63818"/>
                    <a:gd name="f16" fmla="val 54293"/>
                    <a:gd name="f17" fmla="val 45720"/>
                    <a:gd name="f18" fmla="val 47625"/>
                    <a:gd name="f19" fmla="val 42863"/>
                    <a:gd name="f20" fmla="val 42862"/>
                    <a:gd name="f21" fmla="val 40958"/>
                    <a:gd name="f22" fmla="val 31433"/>
                    <a:gd name="f23" fmla="val 14288"/>
                    <a:gd name="f24" fmla="val 55245"/>
                    <a:gd name="f25" fmla="val 72390"/>
                    <a:gd name="f26" fmla="val 86677"/>
                    <a:gd name="f27" fmla="val 99060"/>
                    <a:gd name="f28" fmla="val 9525"/>
                    <a:gd name="f29" fmla="val 102870"/>
                    <a:gd name="f30" fmla="val 22860"/>
                    <a:gd name="f31" fmla="val 106680"/>
                    <a:gd name="f32" fmla="val 21908"/>
                    <a:gd name="f33" fmla="val 111443"/>
                    <a:gd name="f34" fmla="val 20955"/>
                    <a:gd name="f35" fmla="val 115252"/>
                    <a:gd name="f36" fmla="val 141923"/>
                    <a:gd name="f37" fmla="val 163830"/>
                    <a:gd name="f38" fmla="val 69533"/>
                    <a:gd name="f39" fmla="val 77152"/>
                    <a:gd name="f40" fmla="val 161925"/>
                    <a:gd name="f41" fmla="val 84773"/>
                    <a:gd name="f42" fmla="val 159068"/>
                    <a:gd name="f43" fmla="val 91440"/>
                    <a:gd name="f44" fmla="val 183833"/>
                    <a:gd name="f45" fmla="val 96202"/>
                    <a:gd name="f46" fmla="val 118110"/>
                    <a:gd name="f47" fmla="val 143828"/>
                    <a:gd name="f48" fmla="val 173355"/>
                    <a:gd name="f49" fmla="val 178118"/>
                    <a:gd name="f50" fmla="val 197168"/>
                    <a:gd name="f51" fmla="val 148590"/>
                    <a:gd name="f52" fmla="val 127635"/>
                    <a:gd name="f53" fmla="val 109538"/>
                    <a:gd name="f54" fmla="val 184785"/>
                    <a:gd name="f55" fmla="val 100965"/>
                    <a:gd name="f56" fmla="val 167640"/>
                    <a:gd name="f57" fmla="val 92393"/>
                    <a:gd name="f58" fmla="val 74295"/>
                    <a:gd name="f59" fmla="val 53340"/>
                    <a:gd name="f60" fmla="val 23813"/>
                    <a:gd name="f61" fmla="val 952"/>
                    <a:gd name="f62" fmla="val 120015"/>
                    <a:gd name="f63" fmla="val 16193"/>
                    <a:gd name="f64" fmla="val 100012"/>
                    <a:gd name="f65" fmla="+- 0 0 -90"/>
                    <a:gd name="f66" fmla="*/ f3 1 201930"/>
                    <a:gd name="f67" fmla="*/ f4 1 197167"/>
                    <a:gd name="f68" fmla="+- f7 0 f5"/>
                    <a:gd name="f69" fmla="+- f6 0 f5"/>
                    <a:gd name="f70" fmla="*/ f65 f0 1"/>
                    <a:gd name="f71" fmla="*/ f69 1 201930"/>
                    <a:gd name="f72" fmla="*/ f68 1 197167"/>
                    <a:gd name="f73" fmla="*/ 37148 f69 1"/>
                    <a:gd name="f74" fmla="*/ 93345 f68 1"/>
                    <a:gd name="f75" fmla="*/ 32385 f69 1"/>
                    <a:gd name="f76" fmla="*/ 75248 f68 1"/>
                    <a:gd name="f77" fmla="*/ 45720 f69 1"/>
                    <a:gd name="f78" fmla="*/ 47625 f68 1"/>
                    <a:gd name="f79" fmla="*/ 40958 f69 1"/>
                    <a:gd name="f80" fmla="*/ 31433 f68 1"/>
                    <a:gd name="f81" fmla="*/ 72390 f69 1"/>
                    <a:gd name="f82" fmla="*/ 0 f68 1"/>
                    <a:gd name="f83" fmla="*/ 102870 f69 1"/>
                    <a:gd name="f84" fmla="*/ 22860 f68 1"/>
                    <a:gd name="f85" fmla="*/ 115252 f69 1"/>
                    <a:gd name="f86" fmla="*/ 20955 f68 1"/>
                    <a:gd name="f87" fmla="*/ 163830 f69 1"/>
                    <a:gd name="f88" fmla="*/ 69533 f68 1"/>
                    <a:gd name="f89" fmla="*/ 159068 f69 1"/>
                    <a:gd name="f90" fmla="*/ 91440 f68 1"/>
                    <a:gd name="f91" fmla="*/ 201930 f69 1"/>
                    <a:gd name="f92" fmla="*/ 143828 f68 1"/>
                    <a:gd name="f93" fmla="*/ 148590 f69 1"/>
                    <a:gd name="f94" fmla="*/ 197168 f68 1"/>
                    <a:gd name="f95" fmla="*/ 100965 f69 1"/>
                    <a:gd name="f96" fmla="*/ 167640 f68 1"/>
                    <a:gd name="f97" fmla="*/ 53340 f69 1"/>
                    <a:gd name="f98" fmla="*/ 0 f69 1"/>
                    <a:gd name="f99" fmla="*/ f70 1 f2"/>
                    <a:gd name="f100" fmla="*/ f73 1 201930"/>
                    <a:gd name="f101" fmla="*/ f74 1 197167"/>
                    <a:gd name="f102" fmla="*/ f75 1 201930"/>
                    <a:gd name="f103" fmla="*/ f76 1 197167"/>
                    <a:gd name="f104" fmla="*/ f77 1 201930"/>
                    <a:gd name="f105" fmla="*/ f78 1 197167"/>
                    <a:gd name="f106" fmla="*/ f79 1 201930"/>
                    <a:gd name="f107" fmla="*/ f80 1 197167"/>
                    <a:gd name="f108" fmla="*/ f81 1 201930"/>
                    <a:gd name="f109" fmla="*/ f82 1 197167"/>
                    <a:gd name="f110" fmla="*/ f83 1 201930"/>
                    <a:gd name="f111" fmla="*/ f84 1 197167"/>
                    <a:gd name="f112" fmla="*/ f85 1 201930"/>
                    <a:gd name="f113" fmla="*/ f86 1 197167"/>
                    <a:gd name="f114" fmla="*/ f87 1 201930"/>
                    <a:gd name="f115" fmla="*/ f88 1 197167"/>
                    <a:gd name="f116" fmla="*/ f89 1 201930"/>
                    <a:gd name="f117" fmla="*/ f90 1 197167"/>
                    <a:gd name="f118" fmla="*/ f91 1 201930"/>
                    <a:gd name="f119" fmla="*/ f92 1 197167"/>
                    <a:gd name="f120" fmla="*/ f93 1 201930"/>
                    <a:gd name="f121" fmla="*/ f94 1 197167"/>
                    <a:gd name="f122" fmla="*/ f95 1 201930"/>
                    <a:gd name="f123" fmla="*/ f96 1 197167"/>
                    <a:gd name="f124" fmla="*/ f97 1 201930"/>
                    <a:gd name="f125" fmla="*/ f98 1 201930"/>
                    <a:gd name="f126" fmla="*/ f5 1 f71"/>
                    <a:gd name="f127" fmla="*/ f6 1 f71"/>
                    <a:gd name="f128" fmla="*/ f5 1 f72"/>
                    <a:gd name="f129" fmla="*/ f7 1 f72"/>
                    <a:gd name="f130" fmla="+- f99 0 f1"/>
                    <a:gd name="f131" fmla="*/ f100 1 f71"/>
                    <a:gd name="f132" fmla="*/ f101 1 f72"/>
                    <a:gd name="f133" fmla="*/ f102 1 f71"/>
                    <a:gd name="f134" fmla="*/ f103 1 f72"/>
                    <a:gd name="f135" fmla="*/ f104 1 f71"/>
                    <a:gd name="f136" fmla="*/ f105 1 f72"/>
                    <a:gd name="f137" fmla="*/ f106 1 f71"/>
                    <a:gd name="f138" fmla="*/ f107 1 f72"/>
                    <a:gd name="f139" fmla="*/ f108 1 f71"/>
                    <a:gd name="f140" fmla="*/ f109 1 f72"/>
                    <a:gd name="f141" fmla="*/ f110 1 f71"/>
                    <a:gd name="f142" fmla="*/ f111 1 f72"/>
                    <a:gd name="f143" fmla="*/ f112 1 f71"/>
                    <a:gd name="f144" fmla="*/ f113 1 f72"/>
                    <a:gd name="f145" fmla="*/ f114 1 f71"/>
                    <a:gd name="f146" fmla="*/ f115 1 f72"/>
                    <a:gd name="f147" fmla="*/ f116 1 f71"/>
                    <a:gd name="f148" fmla="*/ f117 1 f72"/>
                    <a:gd name="f149" fmla="*/ f118 1 f71"/>
                    <a:gd name="f150" fmla="*/ f119 1 f72"/>
                    <a:gd name="f151" fmla="*/ f120 1 f71"/>
                    <a:gd name="f152" fmla="*/ f121 1 f72"/>
                    <a:gd name="f153" fmla="*/ f122 1 f71"/>
                    <a:gd name="f154" fmla="*/ f123 1 f72"/>
                    <a:gd name="f155" fmla="*/ f124 1 f71"/>
                    <a:gd name="f156" fmla="*/ f125 1 f71"/>
                    <a:gd name="f157" fmla="*/ f126 f66 1"/>
                    <a:gd name="f158" fmla="*/ f127 f66 1"/>
                    <a:gd name="f159" fmla="*/ f129 f67 1"/>
                    <a:gd name="f160" fmla="*/ f128 f67 1"/>
                    <a:gd name="f161" fmla="*/ f131 f66 1"/>
                    <a:gd name="f162" fmla="*/ f132 f67 1"/>
                    <a:gd name="f163" fmla="*/ f133 f66 1"/>
                    <a:gd name="f164" fmla="*/ f134 f67 1"/>
                    <a:gd name="f165" fmla="*/ f135 f66 1"/>
                    <a:gd name="f166" fmla="*/ f136 f67 1"/>
                    <a:gd name="f167" fmla="*/ f137 f66 1"/>
                    <a:gd name="f168" fmla="*/ f138 f67 1"/>
                    <a:gd name="f169" fmla="*/ f139 f66 1"/>
                    <a:gd name="f170" fmla="*/ f140 f67 1"/>
                    <a:gd name="f171" fmla="*/ f141 f66 1"/>
                    <a:gd name="f172" fmla="*/ f142 f67 1"/>
                    <a:gd name="f173" fmla="*/ f143 f66 1"/>
                    <a:gd name="f174" fmla="*/ f144 f67 1"/>
                    <a:gd name="f175" fmla="*/ f145 f66 1"/>
                    <a:gd name="f176" fmla="*/ f146 f67 1"/>
                    <a:gd name="f177" fmla="*/ f147 f66 1"/>
                    <a:gd name="f178" fmla="*/ f148 f67 1"/>
                    <a:gd name="f179" fmla="*/ f149 f66 1"/>
                    <a:gd name="f180" fmla="*/ f150 f67 1"/>
                    <a:gd name="f181" fmla="*/ f151 f66 1"/>
                    <a:gd name="f182" fmla="*/ f152 f67 1"/>
                    <a:gd name="f183" fmla="*/ f153 f66 1"/>
                    <a:gd name="f184" fmla="*/ f154 f67 1"/>
                    <a:gd name="f185" fmla="*/ f155 f66 1"/>
                    <a:gd name="f186" fmla="*/ f156 f66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130">
                      <a:pos x="f161" y="f162"/>
                    </a:cxn>
                    <a:cxn ang="f130">
                      <a:pos x="f163" y="f164"/>
                    </a:cxn>
                    <a:cxn ang="f130">
                      <a:pos x="f165" y="f166"/>
                    </a:cxn>
                    <a:cxn ang="f130">
                      <a:pos x="f167" y="f168"/>
                    </a:cxn>
                    <a:cxn ang="f130">
                      <a:pos x="f169" y="f170"/>
                    </a:cxn>
                    <a:cxn ang="f130">
                      <a:pos x="f171" y="f172"/>
                    </a:cxn>
                    <a:cxn ang="f130">
                      <a:pos x="f173" y="f174"/>
                    </a:cxn>
                    <a:cxn ang="f130">
                      <a:pos x="f175" y="f176"/>
                    </a:cxn>
                    <a:cxn ang="f130">
                      <a:pos x="f177" y="f178"/>
                    </a:cxn>
                    <a:cxn ang="f130">
                      <a:pos x="f179" y="f180"/>
                    </a:cxn>
                    <a:cxn ang="f130">
                      <a:pos x="f181" y="f182"/>
                    </a:cxn>
                    <a:cxn ang="f130">
                      <a:pos x="f183" y="f184"/>
                    </a:cxn>
                    <a:cxn ang="f130">
                      <a:pos x="f185" y="f182"/>
                    </a:cxn>
                    <a:cxn ang="f130">
                      <a:pos x="f186" y="f180"/>
                    </a:cxn>
                    <a:cxn ang="f130">
                      <a:pos x="f161" y="f162"/>
                    </a:cxn>
                  </a:cxnLst>
                  <a:rect l="f157" t="f160" r="f158" b="f159"/>
                  <a:pathLst>
                    <a:path w="201930" h="197167">
                      <a:moveTo>
                        <a:pt x="f8" y="f9"/>
                      </a:moveTo>
                      <a:cubicBezTo>
                        <a:pt x="f10" y="f11"/>
                        <a:pt x="f12" y="f13"/>
                        <a:pt x="f12" y="f14"/>
                      </a:cubicBezTo>
                      <a:cubicBezTo>
                        <a:pt x="f12" y="f15"/>
                        <a:pt x="f8" y="f16"/>
                        <a:pt x="f17" y="f18"/>
                      </a:cubicBezTo>
                      <a:cubicBezTo>
                        <a:pt x="f19" y="f20"/>
                        <a:pt x="f21" y="f8"/>
                        <a:pt x="f21" y="f22"/>
                      </a:cubicBezTo>
                      <a:cubicBezTo>
                        <a:pt x="f21" y="f23"/>
                        <a:pt x="f24" y="f5"/>
                        <a:pt x="f25" y="f5"/>
                      </a:cubicBezTo>
                      <a:cubicBezTo>
                        <a:pt x="f26" y="f5"/>
                        <a:pt x="f27" y="f28"/>
                        <a:pt x="f29" y="f30"/>
                      </a:cubicBezTo>
                      <a:cubicBezTo>
                        <a:pt x="f31" y="f32"/>
                        <a:pt x="f33" y="f34"/>
                        <a:pt x="f35" y="f34"/>
                      </a:cubicBezTo>
                      <a:cubicBezTo>
                        <a:pt x="f36" y="f34"/>
                        <a:pt x="f37" y="f20"/>
                        <a:pt x="f37" y="f38"/>
                      </a:cubicBezTo>
                      <a:cubicBezTo>
                        <a:pt x="f37" y="f39"/>
                        <a:pt x="f40" y="f41"/>
                        <a:pt x="f42" y="f43"/>
                      </a:cubicBezTo>
                      <a:cubicBezTo>
                        <a:pt x="f44" y="f45"/>
                        <a:pt x="f6" y="f46"/>
                        <a:pt x="f6" y="f47"/>
                      </a:cubicBezTo>
                      <a:cubicBezTo>
                        <a:pt x="f6" y="f48"/>
                        <a:pt x="f49" y="f50"/>
                        <a:pt x="f51" y="f50"/>
                      </a:cubicBezTo>
                      <a:cubicBezTo>
                        <a:pt x="f52" y="f50"/>
                        <a:pt x="f53" y="f54"/>
                        <a:pt x="f55" y="f56"/>
                      </a:cubicBezTo>
                      <a:cubicBezTo>
                        <a:pt x="f57" y="f54"/>
                        <a:pt x="f58" y="f50"/>
                        <a:pt x="f59" y="f50"/>
                      </a:cubicBezTo>
                      <a:cubicBezTo>
                        <a:pt x="f60" y="f50"/>
                        <a:pt x="f5" y="f48"/>
                        <a:pt x="f5" y="f47"/>
                      </a:cubicBezTo>
                      <a:cubicBezTo>
                        <a:pt x="f61" y="f62"/>
                        <a:pt x="f63" y="f64"/>
                        <a:pt x="f8" y="f9"/>
                      </a:cubicBezTo>
                    </a:path>
                  </a:pathLst>
                </a:custGeom>
                <a:noFill/>
                <a:ln w="190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48" name="Graphic 19">
                  <a:extLst>
                    <a:ext uri="{FF2B5EF4-FFF2-40B4-BE49-F238E27FC236}">
                      <a16:creationId xmlns:a16="http://schemas.microsoft.com/office/drawing/2014/main" id="{7AC91B6D-808F-9850-C25A-B048EF1B460D}"/>
                    </a:ext>
                  </a:extLst>
                </p:cNvPr>
                <p:cNvSpPr/>
                <p:nvPr/>
              </p:nvSpPr>
              <p:spPr>
                <a:xfrm>
                  <a:off x="723528" y="5858204"/>
                  <a:ext cx="42281" cy="195151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49530"/>
                    <a:gd name="f7" fmla="val 228600"/>
                    <a:gd name="f8" fmla="val 24765"/>
                    <a:gd name="f9" fmla="val 83820"/>
                    <a:gd name="f10" fmla="val 59055"/>
                    <a:gd name="f11" fmla="val 51435"/>
                    <a:gd name="f12" fmla="val 26670"/>
                    <a:gd name="f13" fmla="+- 0 0 -90"/>
                    <a:gd name="f14" fmla="*/ f3 1 49530"/>
                    <a:gd name="f15" fmla="*/ f4 1 228600"/>
                    <a:gd name="f16" fmla="+- f7 0 f5"/>
                    <a:gd name="f17" fmla="+- f6 0 f5"/>
                    <a:gd name="f18" fmla="*/ f13 f0 1"/>
                    <a:gd name="f19" fmla="*/ f17 1 49530"/>
                    <a:gd name="f20" fmla="*/ f16 1 228600"/>
                    <a:gd name="f21" fmla="*/ 24765 f17 1"/>
                    <a:gd name="f22" fmla="*/ 83820 f16 1"/>
                    <a:gd name="f23" fmla="*/ 49530 f17 1"/>
                    <a:gd name="f24" fmla="*/ 59055 f16 1"/>
                    <a:gd name="f25" fmla="*/ 51435 f16 1"/>
                    <a:gd name="f26" fmla="*/ 0 f17 1"/>
                    <a:gd name="f27" fmla="*/ 26670 f16 1"/>
                    <a:gd name="f28" fmla="*/ 228600 f16 1"/>
                    <a:gd name="f29" fmla="*/ 0 f16 1"/>
                    <a:gd name="f30" fmla="*/ f18 1 f2"/>
                    <a:gd name="f31" fmla="*/ f21 1 49530"/>
                    <a:gd name="f32" fmla="*/ f22 1 228600"/>
                    <a:gd name="f33" fmla="*/ f23 1 49530"/>
                    <a:gd name="f34" fmla="*/ f24 1 228600"/>
                    <a:gd name="f35" fmla="*/ f25 1 228600"/>
                    <a:gd name="f36" fmla="*/ f26 1 49530"/>
                    <a:gd name="f37" fmla="*/ f27 1 228600"/>
                    <a:gd name="f38" fmla="*/ f28 1 228600"/>
                    <a:gd name="f39" fmla="*/ f29 1 228600"/>
                    <a:gd name="f40" fmla="*/ f5 1 f19"/>
                    <a:gd name="f41" fmla="*/ f6 1 f19"/>
                    <a:gd name="f42" fmla="*/ f5 1 f20"/>
                    <a:gd name="f43" fmla="*/ f7 1 f20"/>
                    <a:gd name="f44" fmla="+- f30 0 f1"/>
                    <a:gd name="f45" fmla="*/ f31 1 f19"/>
                    <a:gd name="f46" fmla="*/ f32 1 f20"/>
                    <a:gd name="f47" fmla="*/ f33 1 f19"/>
                    <a:gd name="f48" fmla="*/ f34 1 f20"/>
                    <a:gd name="f49" fmla="*/ f35 1 f20"/>
                    <a:gd name="f50" fmla="*/ f36 1 f19"/>
                    <a:gd name="f51" fmla="*/ f37 1 f20"/>
                    <a:gd name="f52" fmla="*/ f38 1 f20"/>
                    <a:gd name="f53" fmla="*/ f39 1 f20"/>
                    <a:gd name="f54" fmla="*/ f40 f14 1"/>
                    <a:gd name="f55" fmla="*/ f41 f14 1"/>
                    <a:gd name="f56" fmla="*/ f43 f15 1"/>
                    <a:gd name="f57" fmla="*/ f42 f15 1"/>
                    <a:gd name="f58" fmla="*/ f45 f14 1"/>
                    <a:gd name="f59" fmla="*/ f46 f15 1"/>
                    <a:gd name="f60" fmla="*/ f47 f14 1"/>
                    <a:gd name="f61" fmla="*/ f48 f15 1"/>
                    <a:gd name="f62" fmla="*/ f49 f15 1"/>
                    <a:gd name="f63" fmla="*/ f50 f14 1"/>
                    <a:gd name="f64" fmla="*/ f51 f15 1"/>
                    <a:gd name="f65" fmla="*/ f52 f15 1"/>
                    <a:gd name="f66" fmla="*/ f53 f15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44">
                      <a:pos x="f58" y="f59"/>
                    </a:cxn>
                    <a:cxn ang="f44">
                      <a:pos x="f60" y="f61"/>
                    </a:cxn>
                    <a:cxn ang="f44">
                      <a:pos x="f58" y="f62"/>
                    </a:cxn>
                    <a:cxn ang="f44">
                      <a:pos x="f63" y="f64"/>
                    </a:cxn>
                    <a:cxn ang="f44">
                      <a:pos x="f58" y="f65"/>
                    </a:cxn>
                    <a:cxn ang="f44">
                      <a:pos x="f58" y="f66"/>
                    </a:cxn>
                  </a:cxnLst>
                  <a:rect l="f54" t="f57" r="f55" b="f56"/>
                  <a:pathLst>
                    <a:path w="49530" h="228600">
                      <a:moveTo>
                        <a:pt x="f8" y="f9"/>
                      </a:moveTo>
                      <a:lnTo>
                        <a:pt x="f6" y="f10"/>
                      </a:lnTo>
                      <a:moveTo>
                        <a:pt x="f8" y="f11"/>
                      </a:moveTo>
                      <a:lnTo>
                        <a:pt x="f5" y="f12"/>
                      </a:lnTo>
                      <a:moveTo>
                        <a:pt x="f8" y="f7"/>
                      </a:moveTo>
                      <a:lnTo>
                        <a:pt x="f8" y="f5"/>
                      </a:lnTo>
                    </a:path>
                  </a:pathLst>
                </a:custGeom>
                <a:noFill/>
                <a:ln w="19046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0" compatLnSpc="1">
                  <a:noAutofit/>
                </a:bodyPr>
                <a:lstStyle/>
                <a:p>
                  <a:pPr marL="0" marR="0" lvl="0" indent="0" algn="l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000000"/>
                    </a:solidFill>
                    <a:uFillTx/>
                    <a:latin typeface="VeluxForOffice"/>
                  </a:endParaRPr>
                </a:p>
              </p:txBody>
            </p:sp>
          </p:grpSp>
          <p:sp>
            <p:nvSpPr>
              <p:cNvPr id="149" name="Freeform: Shape 25">
                <a:extLst>
                  <a:ext uri="{FF2B5EF4-FFF2-40B4-BE49-F238E27FC236}">
                    <a16:creationId xmlns:a16="http://schemas.microsoft.com/office/drawing/2014/main" id="{4CFDD8A9-4E6E-9AB8-C6C8-2109ED78CEB6}"/>
                  </a:ext>
                </a:extLst>
              </p:cNvPr>
              <p:cNvSpPr/>
              <p:nvPr/>
            </p:nvSpPr>
            <p:spPr>
              <a:xfrm>
                <a:off x="382219" y="6013505"/>
                <a:ext cx="708312" cy="46259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997085"/>
                  <a:gd name="f7" fmla="val 82688"/>
                  <a:gd name="f8" fmla="val 80256"/>
                  <a:gd name="f9" fmla="val 84711"/>
                  <a:gd name="f10" fmla="val 39927"/>
                  <a:gd name="f11" fmla="val 169423"/>
                  <a:gd name="f12" fmla="+- 0 0 402"/>
                  <a:gd name="f13" fmla="val 335604"/>
                  <a:gd name="f14" fmla="val 3"/>
                  <a:gd name="f15" fmla="val 501785"/>
                  <a:gd name="f16" fmla="val 408"/>
                  <a:gd name="f17" fmla="val 749435"/>
                  <a:gd name="f18" fmla="val 41548"/>
                  <a:gd name="f19" fmla="+- 0 0 -90"/>
                  <a:gd name="f20" fmla="*/ f3 1 997085"/>
                  <a:gd name="f21" fmla="*/ f4 1 82688"/>
                  <a:gd name="f22" fmla="+- f7 0 f5"/>
                  <a:gd name="f23" fmla="+- f6 0 f5"/>
                  <a:gd name="f24" fmla="*/ f19 f0 1"/>
                  <a:gd name="f25" fmla="*/ f23 1 997085"/>
                  <a:gd name="f26" fmla="*/ f22 1 82688"/>
                  <a:gd name="f27" fmla="*/ 0 f23 1"/>
                  <a:gd name="f28" fmla="*/ 80256 f22 1"/>
                  <a:gd name="f29" fmla="*/ 335604 f23 1"/>
                  <a:gd name="f30" fmla="*/ 3 f22 1"/>
                  <a:gd name="f31" fmla="*/ 997085 f23 1"/>
                  <a:gd name="f32" fmla="*/ 82688 f22 1"/>
                  <a:gd name="f33" fmla="*/ f24 1 f2"/>
                  <a:gd name="f34" fmla="*/ f27 1 997085"/>
                  <a:gd name="f35" fmla="*/ f28 1 82688"/>
                  <a:gd name="f36" fmla="*/ f29 1 997085"/>
                  <a:gd name="f37" fmla="*/ f30 1 82688"/>
                  <a:gd name="f38" fmla="*/ f31 1 997085"/>
                  <a:gd name="f39" fmla="*/ f32 1 82688"/>
                  <a:gd name="f40" fmla="*/ f5 1 f25"/>
                  <a:gd name="f41" fmla="*/ f6 1 f25"/>
                  <a:gd name="f42" fmla="*/ f5 1 f26"/>
                  <a:gd name="f43" fmla="*/ f7 1 f26"/>
                  <a:gd name="f44" fmla="+- f33 0 f1"/>
                  <a:gd name="f45" fmla="*/ f34 1 f25"/>
                  <a:gd name="f46" fmla="*/ f35 1 f26"/>
                  <a:gd name="f47" fmla="*/ f36 1 f25"/>
                  <a:gd name="f48" fmla="*/ f37 1 f26"/>
                  <a:gd name="f49" fmla="*/ f38 1 f25"/>
                  <a:gd name="f50" fmla="*/ f39 1 f26"/>
                  <a:gd name="f51" fmla="*/ f40 f20 1"/>
                  <a:gd name="f52" fmla="*/ f41 f20 1"/>
                  <a:gd name="f53" fmla="*/ f43 f21 1"/>
                  <a:gd name="f54" fmla="*/ f42 f21 1"/>
                  <a:gd name="f55" fmla="*/ f45 f20 1"/>
                  <a:gd name="f56" fmla="*/ f46 f21 1"/>
                  <a:gd name="f57" fmla="*/ f47 f20 1"/>
                  <a:gd name="f58" fmla="*/ f48 f21 1"/>
                  <a:gd name="f59" fmla="*/ f49 f20 1"/>
                  <a:gd name="f60" fmla="*/ f50 f2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44">
                    <a:pos x="f55" y="f56"/>
                  </a:cxn>
                  <a:cxn ang="f44">
                    <a:pos x="f57" y="f58"/>
                  </a:cxn>
                  <a:cxn ang="f44">
                    <a:pos x="f59" y="f60"/>
                  </a:cxn>
                </a:cxnLst>
                <a:rect l="f51" t="f54" r="f52" b="f53"/>
                <a:pathLst>
                  <a:path w="997085" h="82688">
                    <a:moveTo>
                      <a:pt x="f5" y="f8"/>
                    </a:moveTo>
                    <a:cubicBezTo>
                      <a:pt x="f9" y="f10"/>
                      <a:pt x="f11" y="f12"/>
                      <a:pt x="f13" y="f14"/>
                    </a:cubicBezTo>
                    <a:cubicBezTo>
                      <a:pt x="f15" y="f16"/>
                      <a:pt x="f17" y="f18"/>
                      <a:pt x="f6" y="f7"/>
                    </a:cubicBezTo>
                  </a:path>
                </a:pathLst>
              </a:custGeom>
              <a:noFill/>
              <a:ln w="38103" cap="rnd">
                <a:solidFill>
                  <a:srgbClr val="FFFFFF"/>
                </a:solidFill>
                <a:prstDash val="solid"/>
                <a:round/>
              </a:ln>
            </p:spPr>
            <p:txBody>
              <a:bodyPr vert="horz" wrap="square" lIns="91440" tIns="45720" rIns="91440" bIns="45720" anchor="ctr" anchorCtr="1" compatLnSpc="1">
                <a:noAutofit/>
              </a:bodyPr>
              <a:lstStyle/>
              <a:p>
                <a:pPr marL="0" marR="0" lvl="0" indent="0" algn="ctr" defTabSz="91440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GB" sz="1800" b="0" i="0" u="none" strike="noStrike" kern="1200" cap="none" spc="0" baseline="0">
                  <a:solidFill>
                    <a:srgbClr val="FFFFFF"/>
                  </a:solidFill>
                  <a:uFillTx/>
                  <a:latin typeface="VeluxForOffice"/>
                </a:endParaRPr>
              </a:p>
            </p:txBody>
          </p:sp>
          <p:grpSp>
            <p:nvGrpSpPr>
              <p:cNvPr id="150" name="Group 26">
                <a:extLst>
                  <a:ext uri="{FF2B5EF4-FFF2-40B4-BE49-F238E27FC236}">
                    <a16:creationId xmlns:a16="http://schemas.microsoft.com/office/drawing/2014/main" id="{41DD24B1-107D-FAB1-633D-D7C75C5F826F}"/>
                  </a:ext>
                </a:extLst>
              </p:cNvPr>
              <p:cNvGrpSpPr/>
              <p:nvPr/>
            </p:nvGrpSpPr>
            <p:grpSpPr>
              <a:xfrm>
                <a:off x="1027557" y="5824389"/>
                <a:ext cx="364378" cy="248443"/>
                <a:chOff x="1027557" y="5824389"/>
                <a:chExt cx="364378" cy="248443"/>
              </a:xfrm>
            </p:grpSpPr>
            <p:sp>
              <p:nvSpPr>
                <p:cNvPr id="151" name="Oval 30">
                  <a:extLst>
                    <a:ext uri="{FF2B5EF4-FFF2-40B4-BE49-F238E27FC236}">
                      <a16:creationId xmlns:a16="http://schemas.microsoft.com/office/drawing/2014/main" id="{DBFC4DD9-43DB-0955-B5B7-523D24698694}"/>
                    </a:ext>
                  </a:extLst>
                </p:cNvPr>
                <p:cNvSpPr/>
                <p:nvPr/>
              </p:nvSpPr>
              <p:spPr>
                <a:xfrm>
                  <a:off x="1063410" y="5969642"/>
                  <a:ext cx="103190" cy="103190"/>
                </a:xfrm>
                <a:custGeom>
                  <a:avLst/>
                  <a:gdLst>
                    <a:gd name="f0" fmla="val 21600000"/>
                    <a:gd name="f1" fmla="val 10800000"/>
                    <a:gd name="f2" fmla="val 5400000"/>
                    <a:gd name="f3" fmla="val 180"/>
                    <a:gd name="f4" fmla="val w"/>
                    <a:gd name="f5" fmla="val h"/>
                    <a:gd name="f6" fmla="val ss"/>
                    <a:gd name="f7" fmla="val 0"/>
                    <a:gd name="f8" fmla="*/ 5419351 1 1725033"/>
                    <a:gd name="f9" fmla="+- 0 0 -360"/>
                    <a:gd name="f10" fmla="+- 0 0 -180"/>
                    <a:gd name="f11" fmla="abs f4"/>
                    <a:gd name="f12" fmla="abs f5"/>
                    <a:gd name="f13" fmla="abs f6"/>
                    <a:gd name="f14" fmla="+- 2700000 f2 0"/>
                    <a:gd name="f15" fmla="*/ f9 f1 1"/>
                    <a:gd name="f16" fmla="*/ f10 f1 1"/>
                    <a:gd name="f17" fmla="?: f11 f4 1"/>
                    <a:gd name="f18" fmla="?: f12 f5 1"/>
                    <a:gd name="f19" fmla="?: f13 f6 1"/>
                    <a:gd name="f20" fmla="+- f14 0 f2"/>
                    <a:gd name="f21" fmla="*/ f15 1 f3"/>
                    <a:gd name="f22" fmla="*/ f16 1 f3"/>
                    <a:gd name="f23" fmla="*/ f17 1 21600"/>
                    <a:gd name="f24" fmla="*/ f18 1 21600"/>
                    <a:gd name="f25" fmla="*/ 21600 f17 1"/>
                    <a:gd name="f26" fmla="*/ 21600 f18 1"/>
                    <a:gd name="f27" fmla="+- f20 f2 0"/>
                    <a:gd name="f28" fmla="+- f21 0 f2"/>
                    <a:gd name="f29" fmla="+- f22 0 f2"/>
                    <a:gd name="f30" fmla="min f24 f23"/>
                    <a:gd name="f31" fmla="*/ f25 1 f19"/>
                    <a:gd name="f32" fmla="*/ f26 1 f19"/>
                    <a:gd name="f33" fmla="*/ f27 f8 1"/>
                    <a:gd name="f34" fmla="val f31"/>
                    <a:gd name="f35" fmla="val f32"/>
                    <a:gd name="f36" fmla="*/ f33 1 f1"/>
                    <a:gd name="f37" fmla="*/ f7 f30 1"/>
                    <a:gd name="f38" fmla="+- f35 0 f7"/>
                    <a:gd name="f39" fmla="+- f34 0 f7"/>
                    <a:gd name="f40" fmla="+- 0 0 f36"/>
                    <a:gd name="f41" fmla="*/ f38 1 2"/>
                    <a:gd name="f42" fmla="*/ f39 1 2"/>
                    <a:gd name="f43" fmla="+- 0 0 f40"/>
                    <a:gd name="f44" fmla="+- f7 f41 0"/>
                    <a:gd name="f45" fmla="+- f7 f42 0"/>
                    <a:gd name="f46" fmla="*/ f43 f1 1"/>
                    <a:gd name="f47" fmla="*/ f42 f30 1"/>
                    <a:gd name="f48" fmla="*/ f41 f30 1"/>
                    <a:gd name="f49" fmla="*/ f46 1 f8"/>
                    <a:gd name="f50" fmla="*/ f44 f30 1"/>
                    <a:gd name="f51" fmla="+- f49 0 f2"/>
                    <a:gd name="f52" fmla="cos 1 f51"/>
                    <a:gd name="f53" fmla="sin 1 f51"/>
                    <a:gd name="f54" fmla="+- 0 0 f52"/>
                    <a:gd name="f55" fmla="+- 0 0 f53"/>
                    <a:gd name="f56" fmla="+- 0 0 f54"/>
                    <a:gd name="f57" fmla="+- 0 0 f55"/>
                    <a:gd name="f58" fmla="val f56"/>
                    <a:gd name="f59" fmla="val f57"/>
                    <a:gd name="f60" fmla="*/ f58 f42 1"/>
                    <a:gd name="f61" fmla="*/ f59 f41 1"/>
                    <a:gd name="f62" fmla="+- f45 0 f60"/>
                    <a:gd name="f63" fmla="+- f45 f60 0"/>
                    <a:gd name="f64" fmla="+- f44 0 f61"/>
                    <a:gd name="f65" fmla="+- f44 f61 0"/>
                    <a:gd name="f66" fmla="*/ f62 f30 1"/>
                    <a:gd name="f67" fmla="*/ f64 f30 1"/>
                    <a:gd name="f68" fmla="*/ f63 f30 1"/>
                    <a:gd name="f69" fmla="*/ f65 f30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8">
                      <a:pos x="f66" y="f67"/>
                    </a:cxn>
                    <a:cxn ang="f29">
                      <a:pos x="f66" y="f69"/>
                    </a:cxn>
                    <a:cxn ang="f29">
                      <a:pos x="f68" y="f69"/>
                    </a:cxn>
                    <a:cxn ang="f28">
                      <a:pos x="f68" y="f67"/>
                    </a:cxn>
                  </a:cxnLst>
                  <a:rect l="f66" t="f67" r="f68" b="f69"/>
                  <a:pathLst>
                    <a:path>
                      <a:moveTo>
                        <a:pt x="f37" y="f50"/>
                      </a:moveTo>
                      <a:arcTo wR="f47" hR="f48" stAng="f1" swAng="f0"/>
                      <a:close/>
                    </a:path>
                  </a:pathLst>
                </a:custGeom>
                <a:noFill/>
                <a:ln w="12701" cap="sq">
                  <a:solidFill>
                    <a:srgbClr val="FFFFFF"/>
                  </a:solidFill>
                  <a:custDash>
                    <a:ds d="100000" sp="100000"/>
                  </a:custDash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52" name="Freeform: Shape 31">
                  <a:extLst>
                    <a:ext uri="{FF2B5EF4-FFF2-40B4-BE49-F238E27FC236}">
                      <a16:creationId xmlns:a16="http://schemas.microsoft.com/office/drawing/2014/main" id="{7E69BEC0-54FF-2942-61A9-8C3DD8D4A14B}"/>
                    </a:ext>
                  </a:extLst>
                </p:cNvPr>
                <p:cNvSpPr/>
                <p:nvPr/>
              </p:nvSpPr>
              <p:spPr>
                <a:xfrm>
                  <a:off x="1027557" y="5824389"/>
                  <a:ext cx="360035" cy="130192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4565650"/>
                    <a:gd name="f7" fmla="val 1651000"/>
                    <a:gd name="f8" fmla="val 927100"/>
                    <a:gd name="f9" fmla="val 342900"/>
                    <a:gd name="f10" fmla="val 304800"/>
                    <a:gd name="f11" fmla="val 2914650"/>
                    <a:gd name="f12" fmla="val 292100"/>
                    <a:gd name="f13" fmla="val 3060700"/>
                    <a:gd name="f14" fmla="val 4470400"/>
                    <a:gd name="f15" fmla="val 190500"/>
                    <a:gd name="f16" fmla="val 323850"/>
                    <a:gd name="f17" fmla="val 3232150"/>
                    <a:gd name="f18" fmla="val 336550"/>
                    <a:gd name="f19" fmla="val 2711450"/>
                    <a:gd name="f20" fmla="val 2603500"/>
                    <a:gd name="f21" fmla="val 1612900"/>
                    <a:gd name="f22" fmla="val 165100"/>
                    <a:gd name="f23" fmla="val 933450"/>
                    <a:gd name="f24" fmla="val 114300"/>
                    <a:gd name="f25" fmla="val 1022350"/>
                    <a:gd name="f26" fmla="+- 0 0 -90"/>
                    <a:gd name="f27" fmla="*/ f3 1 4565650"/>
                    <a:gd name="f28" fmla="*/ f4 1 1651000"/>
                    <a:gd name="f29" fmla="+- f7 0 f5"/>
                    <a:gd name="f30" fmla="+- f6 0 f5"/>
                    <a:gd name="f31" fmla="*/ f26 f0 1"/>
                    <a:gd name="f32" fmla="*/ f30 1 4565650"/>
                    <a:gd name="f33" fmla="*/ f29 1 1651000"/>
                    <a:gd name="f34" fmla="*/ 0 f30 1"/>
                    <a:gd name="f35" fmla="*/ 927100 f29 1"/>
                    <a:gd name="f36" fmla="*/ 342900 f30 1"/>
                    <a:gd name="f37" fmla="*/ 304800 f29 1"/>
                    <a:gd name="f38" fmla="*/ 2914650 f30 1"/>
                    <a:gd name="f39" fmla="*/ 292100 f29 1"/>
                    <a:gd name="f40" fmla="*/ 3060700 f30 1"/>
                    <a:gd name="f41" fmla="*/ 0 f29 1"/>
                    <a:gd name="f42" fmla="*/ 4470400 f30 1"/>
                    <a:gd name="f43" fmla="*/ 190500 f29 1"/>
                    <a:gd name="f44" fmla="*/ 4565650 f30 1"/>
                    <a:gd name="f45" fmla="*/ 323850 f29 1"/>
                    <a:gd name="f46" fmla="*/ 3232150 f30 1"/>
                    <a:gd name="f47" fmla="*/ 336550 f29 1"/>
                    <a:gd name="f48" fmla="*/ 2711450 f30 1"/>
                    <a:gd name="f49" fmla="*/ 1651000 f29 1"/>
                    <a:gd name="f50" fmla="*/ 2603500 f30 1"/>
                    <a:gd name="f51" fmla="*/ 1612900 f29 1"/>
                    <a:gd name="f52" fmla="*/ 165100 f30 1"/>
                    <a:gd name="f53" fmla="*/ 933450 f29 1"/>
                    <a:gd name="f54" fmla="*/ 114300 f30 1"/>
                    <a:gd name="f55" fmla="*/ 1022350 f29 1"/>
                    <a:gd name="f56" fmla="*/ f31 1 f2"/>
                    <a:gd name="f57" fmla="*/ f34 1 4565650"/>
                    <a:gd name="f58" fmla="*/ f35 1 1651000"/>
                    <a:gd name="f59" fmla="*/ f36 1 4565650"/>
                    <a:gd name="f60" fmla="*/ f37 1 1651000"/>
                    <a:gd name="f61" fmla="*/ f38 1 4565650"/>
                    <a:gd name="f62" fmla="*/ f39 1 1651000"/>
                    <a:gd name="f63" fmla="*/ f40 1 4565650"/>
                    <a:gd name="f64" fmla="*/ f41 1 1651000"/>
                    <a:gd name="f65" fmla="*/ f42 1 4565650"/>
                    <a:gd name="f66" fmla="*/ f43 1 1651000"/>
                    <a:gd name="f67" fmla="*/ f44 1 4565650"/>
                    <a:gd name="f68" fmla="*/ f45 1 1651000"/>
                    <a:gd name="f69" fmla="*/ f46 1 4565650"/>
                    <a:gd name="f70" fmla="*/ f47 1 1651000"/>
                    <a:gd name="f71" fmla="*/ f48 1 4565650"/>
                    <a:gd name="f72" fmla="*/ f49 1 1651000"/>
                    <a:gd name="f73" fmla="*/ f50 1 4565650"/>
                    <a:gd name="f74" fmla="*/ f51 1 1651000"/>
                    <a:gd name="f75" fmla="*/ f52 1 4565650"/>
                    <a:gd name="f76" fmla="*/ f53 1 1651000"/>
                    <a:gd name="f77" fmla="*/ f54 1 4565650"/>
                    <a:gd name="f78" fmla="*/ f55 1 1651000"/>
                    <a:gd name="f79" fmla="*/ f5 1 f32"/>
                    <a:gd name="f80" fmla="*/ f6 1 f32"/>
                    <a:gd name="f81" fmla="*/ f5 1 f33"/>
                    <a:gd name="f82" fmla="*/ f7 1 f33"/>
                    <a:gd name="f83" fmla="+- f56 0 f1"/>
                    <a:gd name="f84" fmla="*/ f57 1 f32"/>
                    <a:gd name="f85" fmla="*/ f58 1 f33"/>
                    <a:gd name="f86" fmla="*/ f59 1 f32"/>
                    <a:gd name="f87" fmla="*/ f60 1 f33"/>
                    <a:gd name="f88" fmla="*/ f61 1 f32"/>
                    <a:gd name="f89" fmla="*/ f62 1 f33"/>
                    <a:gd name="f90" fmla="*/ f63 1 f32"/>
                    <a:gd name="f91" fmla="*/ f64 1 f33"/>
                    <a:gd name="f92" fmla="*/ f65 1 f32"/>
                    <a:gd name="f93" fmla="*/ f66 1 f33"/>
                    <a:gd name="f94" fmla="*/ f67 1 f32"/>
                    <a:gd name="f95" fmla="*/ f68 1 f33"/>
                    <a:gd name="f96" fmla="*/ f69 1 f32"/>
                    <a:gd name="f97" fmla="*/ f70 1 f33"/>
                    <a:gd name="f98" fmla="*/ f71 1 f32"/>
                    <a:gd name="f99" fmla="*/ f72 1 f33"/>
                    <a:gd name="f100" fmla="*/ f73 1 f32"/>
                    <a:gd name="f101" fmla="*/ f74 1 f33"/>
                    <a:gd name="f102" fmla="*/ f75 1 f32"/>
                    <a:gd name="f103" fmla="*/ f76 1 f33"/>
                    <a:gd name="f104" fmla="*/ f77 1 f32"/>
                    <a:gd name="f105" fmla="*/ f78 1 f33"/>
                    <a:gd name="f106" fmla="*/ f79 f27 1"/>
                    <a:gd name="f107" fmla="*/ f80 f27 1"/>
                    <a:gd name="f108" fmla="*/ f82 f28 1"/>
                    <a:gd name="f109" fmla="*/ f81 f28 1"/>
                    <a:gd name="f110" fmla="*/ f84 f27 1"/>
                    <a:gd name="f111" fmla="*/ f85 f28 1"/>
                    <a:gd name="f112" fmla="*/ f86 f27 1"/>
                    <a:gd name="f113" fmla="*/ f87 f28 1"/>
                    <a:gd name="f114" fmla="*/ f88 f27 1"/>
                    <a:gd name="f115" fmla="*/ f89 f28 1"/>
                    <a:gd name="f116" fmla="*/ f90 f27 1"/>
                    <a:gd name="f117" fmla="*/ f91 f28 1"/>
                    <a:gd name="f118" fmla="*/ f92 f27 1"/>
                    <a:gd name="f119" fmla="*/ f93 f28 1"/>
                    <a:gd name="f120" fmla="*/ f94 f27 1"/>
                    <a:gd name="f121" fmla="*/ f95 f28 1"/>
                    <a:gd name="f122" fmla="*/ f96 f27 1"/>
                    <a:gd name="f123" fmla="*/ f97 f28 1"/>
                    <a:gd name="f124" fmla="*/ f98 f27 1"/>
                    <a:gd name="f125" fmla="*/ f99 f28 1"/>
                    <a:gd name="f126" fmla="*/ f100 f27 1"/>
                    <a:gd name="f127" fmla="*/ f101 f28 1"/>
                    <a:gd name="f128" fmla="*/ f102 f27 1"/>
                    <a:gd name="f129" fmla="*/ f103 f28 1"/>
                    <a:gd name="f130" fmla="*/ f104 f27 1"/>
                    <a:gd name="f131" fmla="*/ f105 f28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83">
                      <a:pos x="f110" y="f111"/>
                    </a:cxn>
                    <a:cxn ang="f83">
                      <a:pos x="f110" y="f111"/>
                    </a:cxn>
                    <a:cxn ang="f83">
                      <a:pos x="f112" y="f113"/>
                    </a:cxn>
                    <a:cxn ang="f83">
                      <a:pos x="f114" y="f115"/>
                    </a:cxn>
                    <a:cxn ang="f83">
                      <a:pos x="f116" y="f117"/>
                    </a:cxn>
                    <a:cxn ang="f83">
                      <a:pos x="f118" y="f119"/>
                    </a:cxn>
                    <a:cxn ang="f83">
                      <a:pos x="f120" y="f121"/>
                    </a:cxn>
                    <a:cxn ang="f83">
                      <a:pos x="f122" y="f123"/>
                    </a:cxn>
                    <a:cxn ang="f83">
                      <a:pos x="f124" y="f125"/>
                    </a:cxn>
                    <a:cxn ang="f83">
                      <a:pos x="f126" y="f127"/>
                    </a:cxn>
                    <a:cxn ang="f83">
                      <a:pos x="f128" y="f129"/>
                    </a:cxn>
                    <a:cxn ang="f83">
                      <a:pos x="f130" y="f131"/>
                    </a:cxn>
                    <a:cxn ang="f83">
                      <a:pos x="f110" y="f111"/>
                    </a:cxn>
                  </a:cxnLst>
                  <a:rect l="f106" t="f109" r="f107" b="f108"/>
                  <a:pathLst>
                    <a:path w="4565650" h="1651000">
                      <a:moveTo>
                        <a:pt x="f5" y="f8"/>
                      </a:moveTo>
                      <a:lnTo>
                        <a:pt x="f5" y="f8"/>
                      </a:lnTo>
                      <a:lnTo>
                        <a:pt x="f9" y="f10"/>
                      </a:lnTo>
                      <a:lnTo>
                        <a:pt x="f11" y="f12"/>
                      </a:lnTo>
                      <a:lnTo>
                        <a:pt x="f13" y="f5"/>
                      </a:lnTo>
                      <a:lnTo>
                        <a:pt x="f14" y="f15"/>
                      </a:lnTo>
                      <a:lnTo>
                        <a:pt x="f6" y="f16"/>
                      </a:lnTo>
                      <a:lnTo>
                        <a:pt x="f17" y="f18"/>
                      </a:lnTo>
                      <a:lnTo>
                        <a:pt x="f19" y="f7"/>
                      </a:lnTo>
                      <a:lnTo>
                        <a:pt x="f20" y="f21"/>
                      </a:lnTo>
                      <a:lnTo>
                        <a:pt x="f22" y="f23"/>
                      </a:lnTo>
                      <a:lnTo>
                        <a:pt x="f24" y="f25"/>
                      </a:lnTo>
                      <a:lnTo>
                        <a:pt x="f5" y="f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1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53" name="Freeform: Shape 32">
                  <a:extLst>
                    <a:ext uri="{FF2B5EF4-FFF2-40B4-BE49-F238E27FC236}">
                      <a16:creationId xmlns:a16="http://schemas.microsoft.com/office/drawing/2014/main" id="{615E08D2-7793-EC41-4822-6F638E7F2016}"/>
                    </a:ext>
                  </a:extLst>
                </p:cNvPr>
                <p:cNvSpPr/>
                <p:nvPr/>
              </p:nvSpPr>
              <p:spPr>
                <a:xfrm>
                  <a:off x="1149574" y="5872633"/>
                  <a:ext cx="242361" cy="153226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3073400"/>
                    <a:gd name="f7" fmla="val 1943100"/>
                    <a:gd name="f8" fmla="val 1155700"/>
                    <a:gd name="f9" fmla="val 114300"/>
                    <a:gd name="f10" fmla="val 971550"/>
                    <a:gd name="f11" fmla="val 1295400"/>
                    <a:gd name="f12" fmla="val 1320800"/>
                    <a:gd name="f13" fmla="val 1644650"/>
                    <a:gd name="f14" fmla="val 444500"/>
                    <a:gd name="f15" fmla="val 1771650"/>
                    <a:gd name="f16" fmla="val 476250"/>
                    <a:gd name="f17" fmla="val 1949450"/>
                    <a:gd name="f18" fmla="val 2622550"/>
                    <a:gd name="f19" fmla="val 6350"/>
                    <a:gd name="f20" fmla="val 2838450"/>
                    <a:gd name="f21" fmla="val 781050"/>
                    <a:gd name="f22" fmla="val 844550"/>
                    <a:gd name="f23" fmla="val 3071283"/>
                    <a:gd name="f24" fmla="val 1210733"/>
                    <a:gd name="f25" fmla="val 3069167"/>
                    <a:gd name="f26" fmla="val 1576917"/>
                    <a:gd name="f27" fmla="val 3067050"/>
                    <a:gd name="f28" fmla="val 2863850"/>
                    <a:gd name="f29" fmla="+- 0 0 -90"/>
                    <a:gd name="f30" fmla="*/ f3 1 3073400"/>
                    <a:gd name="f31" fmla="*/ f4 1 1943100"/>
                    <a:gd name="f32" fmla="+- f7 0 f5"/>
                    <a:gd name="f33" fmla="+- f6 0 f5"/>
                    <a:gd name="f34" fmla="*/ f29 f0 1"/>
                    <a:gd name="f35" fmla="*/ f33 1 3073400"/>
                    <a:gd name="f36" fmla="*/ f32 1 1943100"/>
                    <a:gd name="f37" fmla="*/ 0 f33 1"/>
                    <a:gd name="f38" fmla="*/ 1155700 f32 1"/>
                    <a:gd name="f39" fmla="*/ 114300 f33 1"/>
                    <a:gd name="f40" fmla="*/ 971550 f32 1"/>
                    <a:gd name="f41" fmla="*/ 1295400 f33 1"/>
                    <a:gd name="f42" fmla="*/ 1320800 f32 1"/>
                    <a:gd name="f43" fmla="*/ 1644650 f33 1"/>
                    <a:gd name="f44" fmla="*/ 444500 f32 1"/>
                    <a:gd name="f45" fmla="*/ 1771650 f33 1"/>
                    <a:gd name="f46" fmla="*/ 476250 f32 1"/>
                    <a:gd name="f47" fmla="*/ 1949450 f33 1"/>
                    <a:gd name="f48" fmla="*/ 0 f32 1"/>
                    <a:gd name="f49" fmla="*/ 2622550 f33 1"/>
                    <a:gd name="f50" fmla="*/ 6350 f32 1"/>
                    <a:gd name="f51" fmla="*/ 2838450 f33 1"/>
                    <a:gd name="f52" fmla="*/ 781050 f32 1"/>
                    <a:gd name="f53" fmla="*/ 3073400 f33 1"/>
                    <a:gd name="f54" fmla="*/ 844550 f32 1"/>
                    <a:gd name="f55" fmla="*/ 3067050 f33 1"/>
                    <a:gd name="f56" fmla="*/ 1943100 f32 1"/>
                    <a:gd name="f57" fmla="*/ 2863850 f33 1"/>
                    <a:gd name="f58" fmla="*/ f34 1 f2"/>
                    <a:gd name="f59" fmla="*/ f37 1 3073400"/>
                    <a:gd name="f60" fmla="*/ f38 1 1943100"/>
                    <a:gd name="f61" fmla="*/ f39 1 3073400"/>
                    <a:gd name="f62" fmla="*/ f40 1 1943100"/>
                    <a:gd name="f63" fmla="*/ f41 1 3073400"/>
                    <a:gd name="f64" fmla="*/ f42 1 1943100"/>
                    <a:gd name="f65" fmla="*/ f43 1 3073400"/>
                    <a:gd name="f66" fmla="*/ f44 1 1943100"/>
                    <a:gd name="f67" fmla="*/ f45 1 3073400"/>
                    <a:gd name="f68" fmla="*/ f46 1 1943100"/>
                    <a:gd name="f69" fmla="*/ f47 1 3073400"/>
                    <a:gd name="f70" fmla="*/ f48 1 1943100"/>
                    <a:gd name="f71" fmla="*/ f49 1 3073400"/>
                    <a:gd name="f72" fmla="*/ f50 1 1943100"/>
                    <a:gd name="f73" fmla="*/ f51 1 3073400"/>
                    <a:gd name="f74" fmla="*/ f52 1 1943100"/>
                    <a:gd name="f75" fmla="*/ f53 1 3073400"/>
                    <a:gd name="f76" fmla="*/ f54 1 1943100"/>
                    <a:gd name="f77" fmla="*/ f55 1 3073400"/>
                    <a:gd name="f78" fmla="*/ f56 1 1943100"/>
                    <a:gd name="f79" fmla="*/ f57 1 3073400"/>
                    <a:gd name="f80" fmla="*/ f5 1 f35"/>
                    <a:gd name="f81" fmla="*/ f6 1 f35"/>
                    <a:gd name="f82" fmla="*/ f5 1 f36"/>
                    <a:gd name="f83" fmla="*/ f7 1 f36"/>
                    <a:gd name="f84" fmla="+- f58 0 f1"/>
                    <a:gd name="f85" fmla="*/ f59 1 f35"/>
                    <a:gd name="f86" fmla="*/ f60 1 f36"/>
                    <a:gd name="f87" fmla="*/ f61 1 f35"/>
                    <a:gd name="f88" fmla="*/ f62 1 f36"/>
                    <a:gd name="f89" fmla="*/ f63 1 f35"/>
                    <a:gd name="f90" fmla="*/ f64 1 f36"/>
                    <a:gd name="f91" fmla="*/ f65 1 f35"/>
                    <a:gd name="f92" fmla="*/ f66 1 f36"/>
                    <a:gd name="f93" fmla="*/ f67 1 f35"/>
                    <a:gd name="f94" fmla="*/ f68 1 f36"/>
                    <a:gd name="f95" fmla="*/ f69 1 f35"/>
                    <a:gd name="f96" fmla="*/ f70 1 f36"/>
                    <a:gd name="f97" fmla="*/ f71 1 f35"/>
                    <a:gd name="f98" fmla="*/ f72 1 f36"/>
                    <a:gd name="f99" fmla="*/ f73 1 f35"/>
                    <a:gd name="f100" fmla="*/ f74 1 f36"/>
                    <a:gd name="f101" fmla="*/ f75 1 f35"/>
                    <a:gd name="f102" fmla="*/ f76 1 f36"/>
                    <a:gd name="f103" fmla="*/ f77 1 f35"/>
                    <a:gd name="f104" fmla="*/ f78 1 f36"/>
                    <a:gd name="f105" fmla="*/ f79 1 f35"/>
                    <a:gd name="f106" fmla="*/ f80 f30 1"/>
                    <a:gd name="f107" fmla="*/ f81 f30 1"/>
                    <a:gd name="f108" fmla="*/ f83 f31 1"/>
                    <a:gd name="f109" fmla="*/ f82 f31 1"/>
                    <a:gd name="f110" fmla="*/ f85 f30 1"/>
                    <a:gd name="f111" fmla="*/ f86 f31 1"/>
                    <a:gd name="f112" fmla="*/ f87 f30 1"/>
                    <a:gd name="f113" fmla="*/ f88 f31 1"/>
                    <a:gd name="f114" fmla="*/ f89 f30 1"/>
                    <a:gd name="f115" fmla="*/ f90 f31 1"/>
                    <a:gd name="f116" fmla="*/ f91 f30 1"/>
                    <a:gd name="f117" fmla="*/ f92 f31 1"/>
                    <a:gd name="f118" fmla="*/ f93 f30 1"/>
                    <a:gd name="f119" fmla="*/ f94 f31 1"/>
                    <a:gd name="f120" fmla="*/ f95 f30 1"/>
                    <a:gd name="f121" fmla="*/ f96 f31 1"/>
                    <a:gd name="f122" fmla="*/ f97 f30 1"/>
                    <a:gd name="f123" fmla="*/ f98 f31 1"/>
                    <a:gd name="f124" fmla="*/ f99 f30 1"/>
                    <a:gd name="f125" fmla="*/ f100 f31 1"/>
                    <a:gd name="f126" fmla="*/ f101 f30 1"/>
                    <a:gd name="f127" fmla="*/ f102 f31 1"/>
                    <a:gd name="f128" fmla="*/ f103 f30 1"/>
                    <a:gd name="f129" fmla="*/ f104 f31 1"/>
                    <a:gd name="f130" fmla="*/ f105 f30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84">
                      <a:pos x="f110" y="f111"/>
                    </a:cxn>
                    <a:cxn ang="f84">
                      <a:pos x="f112" y="f113"/>
                    </a:cxn>
                    <a:cxn ang="f84">
                      <a:pos x="f114" y="f115"/>
                    </a:cxn>
                    <a:cxn ang="f84">
                      <a:pos x="f116" y="f117"/>
                    </a:cxn>
                    <a:cxn ang="f84">
                      <a:pos x="f118" y="f119"/>
                    </a:cxn>
                    <a:cxn ang="f84">
                      <a:pos x="f120" y="f121"/>
                    </a:cxn>
                    <a:cxn ang="f84">
                      <a:pos x="f122" y="f123"/>
                    </a:cxn>
                    <a:cxn ang="f84">
                      <a:pos x="f124" y="f125"/>
                    </a:cxn>
                    <a:cxn ang="f84">
                      <a:pos x="f126" y="f127"/>
                    </a:cxn>
                    <a:cxn ang="f84">
                      <a:pos x="f128" y="f129"/>
                    </a:cxn>
                    <a:cxn ang="f84">
                      <a:pos x="f130" y="f129"/>
                    </a:cxn>
                  </a:cxnLst>
                  <a:rect l="f106" t="f109" r="f107" b="f108"/>
                  <a:pathLst>
                    <a:path w="3073400" h="1943100">
                      <a:moveTo>
                        <a:pt x="f5" y="f8"/>
                      </a:moveTo>
                      <a:lnTo>
                        <a:pt x="f9" y="f10"/>
                      </a:lnTo>
                      <a:lnTo>
                        <a:pt x="f11" y="f12"/>
                      </a:lnTo>
                      <a:lnTo>
                        <a:pt x="f13" y="f14"/>
                      </a:lnTo>
                      <a:lnTo>
                        <a:pt x="f15" y="f16"/>
                      </a:lnTo>
                      <a:lnTo>
                        <a:pt x="f17" y="f5"/>
                      </a:lnTo>
                      <a:lnTo>
                        <a:pt x="f18" y="f19"/>
                      </a:lnTo>
                      <a:lnTo>
                        <a:pt x="f20" y="f21"/>
                      </a:lnTo>
                      <a:lnTo>
                        <a:pt x="f6" y="f22"/>
                      </a:lnTo>
                      <a:cubicBezTo>
                        <a:pt x="f23" y="f24"/>
                        <a:pt x="f25" y="f26"/>
                        <a:pt x="f27" y="f7"/>
                      </a:cubicBezTo>
                      <a:lnTo>
                        <a:pt x="f28" y="f7"/>
                      </a:lnTo>
                    </a:path>
                  </a:pathLst>
                </a:custGeom>
                <a:noFill/>
                <a:ln w="12701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cxnSp>
              <p:nvCxnSpPr>
                <p:cNvPr id="154" name="Straight Connector 33">
                  <a:extLst>
                    <a:ext uri="{FF2B5EF4-FFF2-40B4-BE49-F238E27FC236}">
                      <a16:creationId xmlns:a16="http://schemas.microsoft.com/office/drawing/2014/main" id="{93FB33C0-0171-FCCB-DABF-F55ADA9F5CAE}"/>
                    </a:ext>
                  </a:extLst>
                </p:cNvPr>
                <p:cNvCxnSpPr/>
                <p:nvPr/>
              </p:nvCxnSpPr>
              <p:spPr>
                <a:xfrm flipH="1">
                  <a:off x="1184906" y="6022851"/>
                  <a:ext cx="58357" cy="402"/>
                </a:xfrm>
                <a:prstGeom prst="straightConnector1">
                  <a:avLst/>
                </a:prstGeom>
                <a:noFill/>
                <a:ln w="12701" cap="rnd">
                  <a:solidFill>
                    <a:srgbClr val="FFFFFF"/>
                  </a:solidFill>
                  <a:prstDash val="solid"/>
                  <a:round/>
                </a:ln>
              </p:spPr>
            </p:cxnSp>
            <p:sp>
              <p:nvSpPr>
                <p:cNvPr id="155" name="Freeform: Shape 34">
                  <a:extLst>
                    <a:ext uri="{FF2B5EF4-FFF2-40B4-BE49-F238E27FC236}">
                      <a16:creationId xmlns:a16="http://schemas.microsoft.com/office/drawing/2014/main" id="{8CA00482-3F31-BA1C-50A8-201A9AB815E3}"/>
                    </a:ext>
                  </a:extLst>
                </p:cNvPr>
                <p:cNvSpPr/>
                <p:nvPr/>
              </p:nvSpPr>
              <p:spPr>
                <a:xfrm>
                  <a:off x="1307527" y="5891479"/>
                  <a:ext cx="48984" cy="37526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666750"/>
                    <a:gd name="f7" fmla="val 577850"/>
                    <a:gd name="f8" fmla="val 50800"/>
                    <a:gd name="f9" fmla="val 12700"/>
                    <a:gd name="f10" fmla="val 533400"/>
                    <a:gd name="f11" fmla="val 381000"/>
                    <a:gd name="f12" fmla="+- 0 0 -90"/>
                    <a:gd name="f13" fmla="*/ f3 1 666750"/>
                    <a:gd name="f14" fmla="*/ f4 1 577850"/>
                    <a:gd name="f15" fmla="+- f7 0 f5"/>
                    <a:gd name="f16" fmla="+- f6 0 f5"/>
                    <a:gd name="f17" fmla="*/ f12 f0 1"/>
                    <a:gd name="f18" fmla="*/ f16 1 666750"/>
                    <a:gd name="f19" fmla="*/ f15 1 577850"/>
                    <a:gd name="f20" fmla="*/ 50800 f16 1"/>
                    <a:gd name="f21" fmla="*/ 12700 f15 1"/>
                    <a:gd name="f22" fmla="*/ 533400 f16 1"/>
                    <a:gd name="f23" fmla="*/ 0 f15 1"/>
                    <a:gd name="f24" fmla="*/ 666750 f16 1"/>
                    <a:gd name="f25" fmla="*/ 577850 f15 1"/>
                    <a:gd name="f26" fmla="*/ 0 f16 1"/>
                    <a:gd name="f27" fmla="*/ 381000 f15 1"/>
                    <a:gd name="f28" fmla="*/ f17 1 f2"/>
                    <a:gd name="f29" fmla="*/ f20 1 666750"/>
                    <a:gd name="f30" fmla="*/ f21 1 577850"/>
                    <a:gd name="f31" fmla="*/ f22 1 666750"/>
                    <a:gd name="f32" fmla="*/ f23 1 577850"/>
                    <a:gd name="f33" fmla="*/ f24 1 666750"/>
                    <a:gd name="f34" fmla="*/ f25 1 577850"/>
                    <a:gd name="f35" fmla="*/ f26 1 666750"/>
                    <a:gd name="f36" fmla="*/ f27 1 577850"/>
                    <a:gd name="f37" fmla="*/ f5 1 f18"/>
                    <a:gd name="f38" fmla="*/ f6 1 f18"/>
                    <a:gd name="f39" fmla="*/ f5 1 f19"/>
                    <a:gd name="f40" fmla="*/ f7 1 f19"/>
                    <a:gd name="f41" fmla="+- f28 0 f1"/>
                    <a:gd name="f42" fmla="*/ f29 1 f18"/>
                    <a:gd name="f43" fmla="*/ f30 1 f19"/>
                    <a:gd name="f44" fmla="*/ f31 1 f18"/>
                    <a:gd name="f45" fmla="*/ f32 1 f19"/>
                    <a:gd name="f46" fmla="*/ f33 1 f18"/>
                    <a:gd name="f47" fmla="*/ f34 1 f19"/>
                    <a:gd name="f48" fmla="*/ f35 1 f18"/>
                    <a:gd name="f49" fmla="*/ f36 1 f19"/>
                    <a:gd name="f50" fmla="*/ f37 f13 1"/>
                    <a:gd name="f51" fmla="*/ f38 f13 1"/>
                    <a:gd name="f52" fmla="*/ f40 f14 1"/>
                    <a:gd name="f53" fmla="*/ f39 f14 1"/>
                    <a:gd name="f54" fmla="*/ f42 f13 1"/>
                    <a:gd name="f55" fmla="*/ f43 f14 1"/>
                    <a:gd name="f56" fmla="*/ f44 f13 1"/>
                    <a:gd name="f57" fmla="*/ f45 f14 1"/>
                    <a:gd name="f58" fmla="*/ f46 f13 1"/>
                    <a:gd name="f59" fmla="*/ f47 f14 1"/>
                    <a:gd name="f60" fmla="*/ f48 f13 1"/>
                    <a:gd name="f61" fmla="*/ f49 f14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41">
                      <a:pos x="f54" y="f55"/>
                    </a:cxn>
                    <a:cxn ang="f41">
                      <a:pos x="f56" y="f57"/>
                    </a:cxn>
                    <a:cxn ang="f41">
                      <a:pos x="f58" y="f59"/>
                    </a:cxn>
                    <a:cxn ang="f41">
                      <a:pos x="f60" y="f61"/>
                    </a:cxn>
                    <a:cxn ang="f41">
                      <a:pos x="f54" y="f55"/>
                    </a:cxn>
                  </a:cxnLst>
                  <a:rect l="f50" t="f53" r="f51" b="f52"/>
                  <a:pathLst>
                    <a:path w="666750" h="577850">
                      <a:moveTo>
                        <a:pt x="f8" y="f9"/>
                      </a:moveTo>
                      <a:lnTo>
                        <a:pt x="f10" y="f5"/>
                      </a:lnTo>
                      <a:lnTo>
                        <a:pt x="f6" y="f7"/>
                      </a:lnTo>
                      <a:lnTo>
                        <a:pt x="f5" y="f11"/>
                      </a:lnTo>
                      <a:lnTo>
                        <a:pt x="f8" y="f9"/>
                      </a:lnTo>
                      <a:close/>
                    </a:path>
                  </a:pathLst>
                </a:custGeom>
                <a:noFill/>
                <a:ln w="12701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56" name="Oval 35">
                  <a:extLst>
                    <a:ext uri="{FF2B5EF4-FFF2-40B4-BE49-F238E27FC236}">
                      <a16:creationId xmlns:a16="http://schemas.microsoft.com/office/drawing/2014/main" id="{797278C3-D04B-B04C-1D64-4B09E11D763F}"/>
                    </a:ext>
                  </a:extLst>
                </p:cNvPr>
                <p:cNvSpPr/>
                <p:nvPr/>
              </p:nvSpPr>
              <p:spPr>
                <a:xfrm>
                  <a:off x="1072838" y="5979746"/>
                  <a:ext cx="82981" cy="82981"/>
                </a:xfrm>
                <a:custGeom>
                  <a:avLst/>
                  <a:gdLst>
                    <a:gd name="f0" fmla="val 21600000"/>
                    <a:gd name="f1" fmla="val 10800000"/>
                    <a:gd name="f2" fmla="val 5400000"/>
                    <a:gd name="f3" fmla="val 180"/>
                    <a:gd name="f4" fmla="val w"/>
                    <a:gd name="f5" fmla="val h"/>
                    <a:gd name="f6" fmla="val ss"/>
                    <a:gd name="f7" fmla="val 0"/>
                    <a:gd name="f8" fmla="*/ 5419351 1 1725033"/>
                    <a:gd name="f9" fmla="+- 0 0 -360"/>
                    <a:gd name="f10" fmla="+- 0 0 -180"/>
                    <a:gd name="f11" fmla="abs f4"/>
                    <a:gd name="f12" fmla="abs f5"/>
                    <a:gd name="f13" fmla="abs f6"/>
                    <a:gd name="f14" fmla="+- 2700000 f2 0"/>
                    <a:gd name="f15" fmla="*/ f9 f1 1"/>
                    <a:gd name="f16" fmla="*/ f10 f1 1"/>
                    <a:gd name="f17" fmla="?: f11 f4 1"/>
                    <a:gd name="f18" fmla="?: f12 f5 1"/>
                    <a:gd name="f19" fmla="?: f13 f6 1"/>
                    <a:gd name="f20" fmla="+- f14 0 f2"/>
                    <a:gd name="f21" fmla="*/ f15 1 f3"/>
                    <a:gd name="f22" fmla="*/ f16 1 f3"/>
                    <a:gd name="f23" fmla="*/ f17 1 21600"/>
                    <a:gd name="f24" fmla="*/ f18 1 21600"/>
                    <a:gd name="f25" fmla="*/ 21600 f17 1"/>
                    <a:gd name="f26" fmla="*/ 21600 f18 1"/>
                    <a:gd name="f27" fmla="+- f20 f2 0"/>
                    <a:gd name="f28" fmla="+- f21 0 f2"/>
                    <a:gd name="f29" fmla="+- f22 0 f2"/>
                    <a:gd name="f30" fmla="min f24 f23"/>
                    <a:gd name="f31" fmla="*/ f25 1 f19"/>
                    <a:gd name="f32" fmla="*/ f26 1 f19"/>
                    <a:gd name="f33" fmla="*/ f27 f8 1"/>
                    <a:gd name="f34" fmla="val f31"/>
                    <a:gd name="f35" fmla="val f32"/>
                    <a:gd name="f36" fmla="*/ f33 1 f1"/>
                    <a:gd name="f37" fmla="*/ f7 f30 1"/>
                    <a:gd name="f38" fmla="+- f35 0 f7"/>
                    <a:gd name="f39" fmla="+- f34 0 f7"/>
                    <a:gd name="f40" fmla="+- 0 0 f36"/>
                    <a:gd name="f41" fmla="*/ f38 1 2"/>
                    <a:gd name="f42" fmla="*/ f39 1 2"/>
                    <a:gd name="f43" fmla="+- 0 0 f40"/>
                    <a:gd name="f44" fmla="+- f7 f41 0"/>
                    <a:gd name="f45" fmla="+- f7 f42 0"/>
                    <a:gd name="f46" fmla="*/ f43 f1 1"/>
                    <a:gd name="f47" fmla="*/ f42 f30 1"/>
                    <a:gd name="f48" fmla="*/ f41 f30 1"/>
                    <a:gd name="f49" fmla="*/ f46 1 f8"/>
                    <a:gd name="f50" fmla="*/ f44 f30 1"/>
                    <a:gd name="f51" fmla="+- f49 0 f2"/>
                    <a:gd name="f52" fmla="cos 1 f51"/>
                    <a:gd name="f53" fmla="sin 1 f51"/>
                    <a:gd name="f54" fmla="+- 0 0 f52"/>
                    <a:gd name="f55" fmla="+- 0 0 f53"/>
                    <a:gd name="f56" fmla="+- 0 0 f54"/>
                    <a:gd name="f57" fmla="+- 0 0 f55"/>
                    <a:gd name="f58" fmla="val f56"/>
                    <a:gd name="f59" fmla="val f57"/>
                    <a:gd name="f60" fmla="*/ f58 f42 1"/>
                    <a:gd name="f61" fmla="*/ f59 f41 1"/>
                    <a:gd name="f62" fmla="+- f45 0 f60"/>
                    <a:gd name="f63" fmla="+- f45 f60 0"/>
                    <a:gd name="f64" fmla="+- f44 0 f61"/>
                    <a:gd name="f65" fmla="+- f44 f61 0"/>
                    <a:gd name="f66" fmla="*/ f62 f30 1"/>
                    <a:gd name="f67" fmla="*/ f64 f30 1"/>
                    <a:gd name="f68" fmla="*/ f63 f30 1"/>
                    <a:gd name="f69" fmla="*/ f65 f30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8">
                      <a:pos x="f66" y="f67"/>
                    </a:cxn>
                    <a:cxn ang="f29">
                      <a:pos x="f66" y="f69"/>
                    </a:cxn>
                    <a:cxn ang="f29">
                      <a:pos x="f68" y="f69"/>
                    </a:cxn>
                    <a:cxn ang="f28">
                      <a:pos x="f68" y="f67"/>
                    </a:cxn>
                  </a:cxnLst>
                  <a:rect l="f66" t="f67" r="f68" b="f69"/>
                  <a:pathLst>
                    <a:path>
                      <a:moveTo>
                        <a:pt x="f37" y="f50"/>
                      </a:moveTo>
                      <a:arcTo wR="f47" hR="f48" stAng="f1" swAng="f0"/>
                      <a:close/>
                    </a:path>
                  </a:pathLst>
                </a:custGeom>
                <a:noFill/>
                <a:ln w="25402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57" name="Oval 36">
                  <a:extLst>
                    <a:ext uri="{FF2B5EF4-FFF2-40B4-BE49-F238E27FC236}">
                      <a16:creationId xmlns:a16="http://schemas.microsoft.com/office/drawing/2014/main" id="{CC5B5199-0586-3AC0-C467-4D2D202F8727}"/>
                    </a:ext>
                  </a:extLst>
                </p:cNvPr>
                <p:cNvSpPr/>
                <p:nvPr/>
              </p:nvSpPr>
              <p:spPr>
                <a:xfrm>
                  <a:off x="1257537" y="5969642"/>
                  <a:ext cx="103190" cy="103190"/>
                </a:xfrm>
                <a:custGeom>
                  <a:avLst/>
                  <a:gdLst>
                    <a:gd name="f0" fmla="val 21600000"/>
                    <a:gd name="f1" fmla="val 10800000"/>
                    <a:gd name="f2" fmla="val 5400000"/>
                    <a:gd name="f3" fmla="val 180"/>
                    <a:gd name="f4" fmla="val w"/>
                    <a:gd name="f5" fmla="val h"/>
                    <a:gd name="f6" fmla="val ss"/>
                    <a:gd name="f7" fmla="val 0"/>
                    <a:gd name="f8" fmla="*/ 5419351 1 1725033"/>
                    <a:gd name="f9" fmla="+- 0 0 -360"/>
                    <a:gd name="f10" fmla="+- 0 0 -180"/>
                    <a:gd name="f11" fmla="abs f4"/>
                    <a:gd name="f12" fmla="abs f5"/>
                    <a:gd name="f13" fmla="abs f6"/>
                    <a:gd name="f14" fmla="+- 2700000 f2 0"/>
                    <a:gd name="f15" fmla="*/ f9 f1 1"/>
                    <a:gd name="f16" fmla="*/ f10 f1 1"/>
                    <a:gd name="f17" fmla="?: f11 f4 1"/>
                    <a:gd name="f18" fmla="?: f12 f5 1"/>
                    <a:gd name="f19" fmla="?: f13 f6 1"/>
                    <a:gd name="f20" fmla="+- f14 0 f2"/>
                    <a:gd name="f21" fmla="*/ f15 1 f3"/>
                    <a:gd name="f22" fmla="*/ f16 1 f3"/>
                    <a:gd name="f23" fmla="*/ f17 1 21600"/>
                    <a:gd name="f24" fmla="*/ f18 1 21600"/>
                    <a:gd name="f25" fmla="*/ 21600 f17 1"/>
                    <a:gd name="f26" fmla="*/ 21600 f18 1"/>
                    <a:gd name="f27" fmla="+- f20 f2 0"/>
                    <a:gd name="f28" fmla="+- f21 0 f2"/>
                    <a:gd name="f29" fmla="+- f22 0 f2"/>
                    <a:gd name="f30" fmla="min f24 f23"/>
                    <a:gd name="f31" fmla="*/ f25 1 f19"/>
                    <a:gd name="f32" fmla="*/ f26 1 f19"/>
                    <a:gd name="f33" fmla="*/ f27 f8 1"/>
                    <a:gd name="f34" fmla="val f31"/>
                    <a:gd name="f35" fmla="val f32"/>
                    <a:gd name="f36" fmla="*/ f33 1 f1"/>
                    <a:gd name="f37" fmla="*/ f7 f30 1"/>
                    <a:gd name="f38" fmla="+- f35 0 f7"/>
                    <a:gd name="f39" fmla="+- f34 0 f7"/>
                    <a:gd name="f40" fmla="+- 0 0 f36"/>
                    <a:gd name="f41" fmla="*/ f38 1 2"/>
                    <a:gd name="f42" fmla="*/ f39 1 2"/>
                    <a:gd name="f43" fmla="+- 0 0 f40"/>
                    <a:gd name="f44" fmla="+- f7 f41 0"/>
                    <a:gd name="f45" fmla="+- f7 f42 0"/>
                    <a:gd name="f46" fmla="*/ f43 f1 1"/>
                    <a:gd name="f47" fmla="*/ f42 f30 1"/>
                    <a:gd name="f48" fmla="*/ f41 f30 1"/>
                    <a:gd name="f49" fmla="*/ f46 1 f8"/>
                    <a:gd name="f50" fmla="*/ f44 f30 1"/>
                    <a:gd name="f51" fmla="+- f49 0 f2"/>
                    <a:gd name="f52" fmla="cos 1 f51"/>
                    <a:gd name="f53" fmla="sin 1 f51"/>
                    <a:gd name="f54" fmla="+- 0 0 f52"/>
                    <a:gd name="f55" fmla="+- 0 0 f53"/>
                    <a:gd name="f56" fmla="+- 0 0 f54"/>
                    <a:gd name="f57" fmla="+- 0 0 f55"/>
                    <a:gd name="f58" fmla="val f56"/>
                    <a:gd name="f59" fmla="val f57"/>
                    <a:gd name="f60" fmla="*/ f58 f42 1"/>
                    <a:gd name="f61" fmla="*/ f59 f41 1"/>
                    <a:gd name="f62" fmla="+- f45 0 f60"/>
                    <a:gd name="f63" fmla="+- f45 f60 0"/>
                    <a:gd name="f64" fmla="+- f44 0 f61"/>
                    <a:gd name="f65" fmla="+- f44 f61 0"/>
                    <a:gd name="f66" fmla="*/ f62 f30 1"/>
                    <a:gd name="f67" fmla="*/ f64 f30 1"/>
                    <a:gd name="f68" fmla="*/ f63 f30 1"/>
                    <a:gd name="f69" fmla="*/ f65 f30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8">
                      <a:pos x="f66" y="f67"/>
                    </a:cxn>
                    <a:cxn ang="f29">
                      <a:pos x="f66" y="f69"/>
                    </a:cxn>
                    <a:cxn ang="f29">
                      <a:pos x="f68" y="f69"/>
                    </a:cxn>
                    <a:cxn ang="f28">
                      <a:pos x="f68" y="f67"/>
                    </a:cxn>
                  </a:cxnLst>
                  <a:rect l="f66" t="f67" r="f68" b="f69"/>
                  <a:pathLst>
                    <a:path>
                      <a:moveTo>
                        <a:pt x="f37" y="f50"/>
                      </a:moveTo>
                      <a:arcTo wR="f47" hR="f48" stAng="f1" swAng="f0"/>
                      <a:close/>
                    </a:path>
                  </a:pathLst>
                </a:custGeom>
                <a:noFill/>
                <a:ln w="12701" cap="sq">
                  <a:solidFill>
                    <a:srgbClr val="FFFFFF"/>
                  </a:solidFill>
                  <a:custDash>
                    <a:ds d="100000" sp="100000"/>
                  </a:custDash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58" name="Oval 37">
                  <a:extLst>
                    <a:ext uri="{FF2B5EF4-FFF2-40B4-BE49-F238E27FC236}">
                      <a16:creationId xmlns:a16="http://schemas.microsoft.com/office/drawing/2014/main" id="{8E967572-DD5B-6B0E-1488-2FBCE67DF40B}"/>
                    </a:ext>
                  </a:extLst>
                </p:cNvPr>
                <p:cNvSpPr/>
                <p:nvPr/>
              </p:nvSpPr>
              <p:spPr>
                <a:xfrm>
                  <a:off x="1266965" y="5979746"/>
                  <a:ext cx="82981" cy="82981"/>
                </a:xfrm>
                <a:custGeom>
                  <a:avLst/>
                  <a:gdLst>
                    <a:gd name="f0" fmla="val 21600000"/>
                    <a:gd name="f1" fmla="val 10800000"/>
                    <a:gd name="f2" fmla="val 5400000"/>
                    <a:gd name="f3" fmla="val 180"/>
                    <a:gd name="f4" fmla="val w"/>
                    <a:gd name="f5" fmla="val h"/>
                    <a:gd name="f6" fmla="val ss"/>
                    <a:gd name="f7" fmla="val 0"/>
                    <a:gd name="f8" fmla="*/ 5419351 1 1725033"/>
                    <a:gd name="f9" fmla="+- 0 0 -360"/>
                    <a:gd name="f10" fmla="+- 0 0 -180"/>
                    <a:gd name="f11" fmla="abs f4"/>
                    <a:gd name="f12" fmla="abs f5"/>
                    <a:gd name="f13" fmla="abs f6"/>
                    <a:gd name="f14" fmla="+- 2700000 f2 0"/>
                    <a:gd name="f15" fmla="*/ f9 f1 1"/>
                    <a:gd name="f16" fmla="*/ f10 f1 1"/>
                    <a:gd name="f17" fmla="?: f11 f4 1"/>
                    <a:gd name="f18" fmla="?: f12 f5 1"/>
                    <a:gd name="f19" fmla="?: f13 f6 1"/>
                    <a:gd name="f20" fmla="+- f14 0 f2"/>
                    <a:gd name="f21" fmla="*/ f15 1 f3"/>
                    <a:gd name="f22" fmla="*/ f16 1 f3"/>
                    <a:gd name="f23" fmla="*/ f17 1 21600"/>
                    <a:gd name="f24" fmla="*/ f18 1 21600"/>
                    <a:gd name="f25" fmla="*/ 21600 f17 1"/>
                    <a:gd name="f26" fmla="*/ 21600 f18 1"/>
                    <a:gd name="f27" fmla="+- f20 f2 0"/>
                    <a:gd name="f28" fmla="+- f21 0 f2"/>
                    <a:gd name="f29" fmla="+- f22 0 f2"/>
                    <a:gd name="f30" fmla="min f24 f23"/>
                    <a:gd name="f31" fmla="*/ f25 1 f19"/>
                    <a:gd name="f32" fmla="*/ f26 1 f19"/>
                    <a:gd name="f33" fmla="*/ f27 f8 1"/>
                    <a:gd name="f34" fmla="val f31"/>
                    <a:gd name="f35" fmla="val f32"/>
                    <a:gd name="f36" fmla="*/ f33 1 f1"/>
                    <a:gd name="f37" fmla="*/ f7 f30 1"/>
                    <a:gd name="f38" fmla="+- f35 0 f7"/>
                    <a:gd name="f39" fmla="+- f34 0 f7"/>
                    <a:gd name="f40" fmla="+- 0 0 f36"/>
                    <a:gd name="f41" fmla="*/ f38 1 2"/>
                    <a:gd name="f42" fmla="*/ f39 1 2"/>
                    <a:gd name="f43" fmla="+- 0 0 f40"/>
                    <a:gd name="f44" fmla="+- f7 f41 0"/>
                    <a:gd name="f45" fmla="+- f7 f42 0"/>
                    <a:gd name="f46" fmla="*/ f43 f1 1"/>
                    <a:gd name="f47" fmla="*/ f42 f30 1"/>
                    <a:gd name="f48" fmla="*/ f41 f30 1"/>
                    <a:gd name="f49" fmla="*/ f46 1 f8"/>
                    <a:gd name="f50" fmla="*/ f44 f30 1"/>
                    <a:gd name="f51" fmla="+- f49 0 f2"/>
                    <a:gd name="f52" fmla="cos 1 f51"/>
                    <a:gd name="f53" fmla="sin 1 f51"/>
                    <a:gd name="f54" fmla="+- 0 0 f52"/>
                    <a:gd name="f55" fmla="+- 0 0 f53"/>
                    <a:gd name="f56" fmla="+- 0 0 f54"/>
                    <a:gd name="f57" fmla="+- 0 0 f55"/>
                    <a:gd name="f58" fmla="val f56"/>
                    <a:gd name="f59" fmla="val f57"/>
                    <a:gd name="f60" fmla="*/ f58 f42 1"/>
                    <a:gd name="f61" fmla="*/ f59 f41 1"/>
                    <a:gd name="f62" fmla="+- f45 0 f60"/>
                    <a:gd name="f63" fmla="+- f45 f60 0"/>
                    <a:gd name="f64" fmla="+- f44 0 f61"/>
                    <a:gd name="f65" fmla="+- f44 f61 0"/>
                    <a:gd name="f66" fmla="*/ f62 f30 1"/>
                    <a:gd name="f67" fmla="*/ f64 f30 1"/>
                    <a:gd name="f68" fmla="*/ f63 f30 1"/>
                    <a:gd name="f69" fmla="*/ f65 f30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28">
                      <a:pos x="f66" y="f67"/>
                    </a:cxn>
                    <a:cxn ang="f29">
                      <a:pos x="f66" y="f69"/>
                    </a:cxn>
                    <a:cxn ang="f29">
                      <a:pos x="f68" y="f69"/>
                    </a:cxn>
                    <a:cxn ang="f28">
                      <a:pos x="f68" y="f67"/>
                    </a:cxn>
                  </a:cxnLst>
                  <a:rect l="f66" t="f67" r="f68" b="f69"/>
                  <a:pathLst>
                    <a:path>
                      <a:moveTo>
                        <a:pt x="f37" y="f50"/>
                      </a:moveTo>
                      <a:arcTo wR="f47" hR="f48" stAng="f1" swAng="f0"/>
                      <a:close/>
                    </a:path>
                  </a:pathLst>
                </a:custGeom>
                <a:noFill/>
                <a:ln w="25402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</p:grpSp>
          <p:grpSp>
            <p:nvGrpSpPr>
              <p:cNvPr id="159" name="Group 27">
                <a:extLst>
                  <a:ext uri="{FF2B5EF4-FFF2-40B4-BE49-F238E27FC236}">
                    <a16:creationId xmlns:a16="http://schemas.microsoft.com/office/drawing/2014/main" id="{53C66B89-C480-5FCB-684D-541C5EE24C09}"/>
                  </a:ext>
                </a:extLst>
              </p:cNvPr>
              <p:cNvGrpSpPr/>
              <p:nvPr/>
            </p:nvGrpSpPr>
            <p:grpSpPr>
              <a:xfrm>
                <a:off x="416545" y="5460933"/>
                <a:ext cx="585307" cy="581448"/>
                <a:chOff x="416545" y="5460933"/>
                <a:chExt cx="585307" cy="581448"/>
              </a:xfrm>
            </p:grpSpPr>
            <p:sp>
              <p:nvSpPr>
                <p:cNvPr id="160" name="Freeform: Shape 28">
                  <a:extLst>
                    <a:ext uri="{FF2B5EF4-FFF2-40B4-BE49-F238E27FC236}">
                      <a16:creationId xmlns:a16="http://schemas.microsoft.com/office/drawing/2014/main" id="{B10B5F3A-08D1-94C3-8F18-F855D9A13A53}"/>
                    </a:ext>
                  </a:extLst>
                </p:cNvPr>
                <p:cNvSpPr/>
                <p:nvPr/>
              </p:nvSpPr>
              <p:spPr>
                <a:xfrm>
                  <a:off x="416545" y="5460933"/>
                  <a:ext cx="585307" cy="581448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569167"/>
                    <a:gd name="f7" fmla="val 421458"/>
                    <a:gd name="f8" fmla="val 3110"/>
                    <a:gd name="f9" fmla="val 419125"/>
                    <a:gd name="f10" fmla="val 6220"/>
                    <a:gd name="f11" fmla="val 416793"/>
                    <a:gd name="f12" fmla="val 27991"/>
                    <a:gd name="f13" fmla="val 346813"/>
                    <a:gd name="f14" fmla="val 49762"/>
                    <a:gd name="f15" fmla="val 276833"/>
                    <a:gd name="f16" fmla="val 96416"/>
                    <a:gd name="f17" fmla="val 23351"/>
                    <a:gd name="f18" fmla="val 130628"/>
                    <a:gd name="f19" fmla="val 1580"/>
                    <a:gd name="f20" fmla="val 164840"/>
                    <a:gd name="f21" fmla="+- 0 0 20192"/>
                    <a:gd name="f22" fmla="val 195943"/>
                    <a:gd name="f23" fmla="val 189747"/>
                    <a:gd name="f24" fmla="val 233265"/>
                    <a:gd name="f25" fmla="val 216184"/>
                    <a:gd name="f26" fmla="val 270587"/>
                    <a:gd name="f27" fmla="val 242621"/>
                    <a:gd name="f28" fmla="val 321906"/>
                    <a:gd name="f29" fmla="val 153981"/>
                    <a:gd name="f30" fmla="val 354563"/>
                    <a:gd name="f31" fmla="val 160201"/>
                    <a:gd name="f32" fmla="val 387220"/>
                    <a:gd name="f33" fmla="val 166421"/>
                    <a:gd name="f34" fmla="val 401216"/>
                    <a:gd name="f35" fmla="val 239511"/>
                    <a:gd name="f36" fmla="val 429208"/>
                    <a:gd name="f37" fmla="val 253507"/>
                    <a:gd name="f38" fmla="val 457200"/>
                    <a:gd name="f39" fmla="val 267503"/>
                    <a:gd name="f40" fmla="val 499187"/>
                    <a:gd name="f41" fmla="val 223960"/>
                    <a:gd name="f42" fmla="val 522514"/>
                    <a:gd name="f43" fmla="val 244176"/>
                    <a:gd name="f44" fmla="val 545841"/>
                    <a:gd name="f45" fmla="val 264392"/>
                    <a:gd name="f46" fmla="val 557504"/>
                    <a:gd name="f47" fmla="val 319598"/>
                    <a:gd name="f48" fmla="val 374805"/>
                    <a:gd name="f49" fmla="+- 0 0 -90"/>
                    <a:gd name="f50" fmla="*/ f3 1 569167"/>
                    <a:gd name="f51" fmla="*/ f4 1 421458"/>
                    <a:gd name="f52" fmla="+- f7 0 f5"/>
                    <a:gd name="f53" fmla="+- f6 0 f5"/>
                    <a:gd name="f54" fmla="*/ f49 f0 1"/>
                    <a:gd name="f55" fmla="*/ f53 1 569167"/>
                    <a:gd name="f56" fmla="*/ f52 1 421458"/>
                    <a:gd name="f57" fmla="*/ 0 f53 1"/>
                    <a:gd name="f58" fmla="*/ 421458 f52 1"/>
                    <a:gd name="f59" fmla="*/ 27991 f53 1"/>
                    <a:gd name="f60" fmla="*/ 346813 f52 1"/>
                    <a:gd name="f61" fmla="*/ 130628 f53 1"/>
                    <a:gd name="f62" fmla="*/ 1580 f52 1"/>
                    <a:gd name="f63" fmla="*/ 233265 f53 1"/>
                    <a:gd name="f64" fmla="*/ 216184 f52 1"/>
                    <a:gd name="f65" fmla="*/ 354563 f53 1"/>
                    <a:gd name="f66" fmla="*/ 160201 f52 1"/>
                    <a:gd name="f67" fmla="*/ 429208 f53 1"/>
                    <a:gd name="f68" fmla="*/ 253507 f52 1"/>
                    <a:gd name="f69" fmla="*/ 522514 f53 1"/>
                    <a:gd name="f70" fmla="*/ 244176 f52 1"/>
                    <a:gd name="f71" fmla="*/ 569167 f53 1"/>
                    <a:gd name="f72" fmla="*/ 374805 f52 1"/>
                    <a:gd name="f73" fmla="*/ f54 1 f2"/>
                    <a:gd name="f74" fmla="*/ f57 1 569167"/>
                    <a:gd name="f75" fmla="*/ f58 1 421458"/>
                    <a:gd name="f76" fmla="*/ f59 1 569167"/>
                    <a:gd name="f77" fmla="*/ f60 1 421458"/>
                    <a:gd name="f78" fmla="*/ f61 1 569167"/>
                    <a:gd name="f79" fmla="*/ f62 1 421458"/>
                    <a:gd name="f80" fmla="*/ f63 1 569167"/>
                    <a:gd name="f81" fmla="*/ f64 1 421458"/>
                    <a:gd name="f82" fmla="*/ f65 1 569167"/>
                    <a:gd name="f83" fmla="*/ f66 1 421458"/>
                    <a:gd name="f84" fmla="*/ f67 1 569167"/>
                    <a:gd name="f85" fmla="*/ f68 1 421458"/>
                    <a:gd name="f86" fmla="*/ f69 1 569167"/>
                    <a:gd name="f87" fmla="*/ f70 1 421458"/>
                    <a:gd name="f88" fmla="*/ f71 1 569167"/>
                    <a:gd name="f89" fmla="*/ f72 1 421458"/>
                    <a:gd name="f90" fmla="*/ f5 1 f55"/>
                    <a:gd name="f91" fmla="*/ f6 1 f55"/>
                    <a:gd name="f92" fmla="*/ f5 1 f56"/>
                    <a:gd name="f93" fmla="*/ f7 1 f56"/>
                    <a:gd name="f94" fmla="+- f73 0 f1"/>
                    <a:gd name="f95" fmla="*/ f74 1 f55"/>
                    <a:gd name="f96" fmla="*/ f75 1 f56"/>
                    <a:gd name="f97" fmla="*/ f76 1 f55"/>
                    <a:gd name="f98" fmla="*/ f77 1 f56"/>
                    <a:gd name="f99" fmla="*/ f78 1 f55"/>
                    <a:gd name="f100" fmla="*/ f79 1 f56"/>
                    <a:gd name="f101" fmla="*/ f80 1 f55"/>
                    <a:gd name="f102" fmla="*/ f81 1 f56"/>
                    <a:gd name="f103" fmla="*/ f82 1 f55"/>
                    <a:gd name="f104" fmla="*/ f83 1 f56"/>
                    <a:gd name="f105" fmla="*/ f84 1 f55"/>
                    <a:gd name="f106" fmla="*/ f85 1 f56"/>
                    <a:gd name="f107" fmla="*/ f86 1 f55"/>
                    <a:gd name="f108" fmla="*/ f87 1 f56"/>
                    <a:gd name="f109" fmla="*/ f88 1 f55"/>
                    <a:gd name="f110" fmla="*/ f89 1 f56"/>
                    <a:gd name="f111" fmla="*/ f90 f50 1"/>
                    <a:gd name="f112" fmla="*/ f91 f50 1"/>
                    <a:gd name="f113" fmla="*/ f93 f51 1"/>
                    <a:gd name="f114" fmla="*/ f92 f51 1"/>
                    <a:gd name="f115" fmla="*/ f95 f50 1"/>
                    <a:gd name="f116" fmla="*/ f96 f51 1"/>
                    <a:gd name="f117" fmla="*/ f97 f50 1"/>
                    <a:gd name="f118" fmla="*/ f98 f51 1"/>
                    <a:gd name="f119" fmla="*/ f99 f50 1"/>
                    <a:gd name="f120" fmla="*/ f100 f51 1"/>
                    <a:gd name="f121" fmla="*/ f101 f50 1"/>
                    <a:gd name="f122" fmla="*/ f102 f51 1"/>
                    <a:gd name="f123" fmla="*/ f103 f50 1"/>
                    <a:gd name="f124" fmla="*/ f104 f51 1"/>
                    <a:gd name="f125" fmla="*/ f105 f50 1"/>
                    <a:gd name="f126" fmla="*/ f106 f51 1"/>
                    <a:gd name="f127" fmla="*/ f107 f50 1"/>
                    <a:gd name="f128" fmla="*/ f108 f51 1"/>
                    <a:gd name="f129" fmla="*/ f109 f50 1"/>
                    <a:gd name="f130" fmla="*/ f110 f51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94">
                      <a:pos x="f115" y="f116"/>
                    </a:cxn>
                    <a:cxn ang="f94">
                      <a:pos x="f117" y="f118"/>
                    </a:cxn>
                    <a:cxn ang="f94">
                      <a:pos x="f119" y="f120"/>
                    </a:cxn>
                    <a:cxn ang="f94">
                      <a:pos x="f121" y="f122"/>
                    </a:cxn>
                    <a:cxn ang="f94">
                      <a:pos x="f123" y="f124"/>
                    </a:cxn>
                    <a:cxn ang="f94">
                      <a:pos x="f125" y="f126"/>
                    </a:cxn>
                    <a:cxn ang="f94">
                      <a:pos x="f127" y="f128"/>
                    </a:cxn>
                    <a:cxn ang="f94">
                      <a:pos x="f129" y="f130"/>
                    </a:cxn>
                  </a:cxnLst>
                  <a:rect l="f111" t="f114" r="f112" b="f113"/>
                  <a:pathLst>
                    <a:path w="569167" h="421458">
                      <a:moveTo>
                        <a:pt x="f5" y="f7"/>
                      </a:moveTo>
                      <a:cubicBezTo>
                        <a:pt x="f8" y="f9"/>
                        <a:pt x="f10" y="f11"/>
                        <a:pt x="f12" y="f13"/>
                      </a:cubicBezTo>
                      <a:cubicBezTo>
                        <a:pt x="f14" y="f15"/>
                        <a:pt x="f16" y="f17"/>
                        <a:pt x="f18" y="f19"/>
                      </a:cubicBezTo>
                      <a:cubicBezTo>
                        <a:pt x="f20" y="f21"/>
                        <a:pt x="f22" y="f23"/>
                        <a:pt x="f24" y="f25"/>
                      </a:cubicBezTo>
                      <a:cubicBezTo>
                        <a:pt x="f26" y="f27"/>
                        <a:pt x="f28" y="f29"/>
                        <a:pt x="f30" y="f31"/>
                      </a:cubicBezTo>
                      <a:cubicBezTo>
                        <a:pt x="f32" y="f33"/>
                        <a:pt x="f34" y="f35"/>
                        <a:pt x="f36" y="f37"/>
                      </a:cubicBezTo>
                      <a:cubicBezTo>
                        <a:pt x="f38" y="f39"/>
                        <a:pt x="f40" y="f41"/>
                        <a:pt x="f42" y="f43"/>
                      </a:cubicBezTo>
                      <a:cubicBezTo>
                        <a:pt x="f44" y="f45"/>
                        <a:pt x="f46" y="f47"/>
                        <a:pt x="f6" y="f48"/>
                      </a:cubicBezTo>
                    </a:path>
                  </a:pathLst>
                </a:custGeom>
                <a:noFill/>
                <a:ln w="38103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18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  <p:sp>
              <p:nvSpPr>
                <p:cNvPr id="161" name="Freeform: Shape 29">
                  <a:extLst>
                    <a:ext uri="{FF2B5EF4-FFF2-40B4-BE49-F238E27FC236}">
                      <a16:creationId xmlns:a16="http://schemas.microsoft.com/office/drawing/2014/main" id="{1F0D93FD-4F5C-5AC3-7AE3-6422C7574F97}"/>
                    </a:ext>
                  </a:extLst>
                </p:cNvPr>
                <p:cNvSpPr/>
                <p:nvPr/>
              </p:nvSpPr>
              <p:spPr>
                <a:xfrm>
                  <a:off x="513618" y="5474558"/>
                  <a:ext cx="86932" cy="170873"/>
                </a:xfrm>
                <a:custGeom>
                  <a:avLst/>
                  <a:gdLst>
                    <a:gd name="f0" fmla="val 10800000"/>
                    <a:gd name="f1" fmla="val 5400000"/>
                    <a:gd name="f2" fmla="val 180"/>
                    <a:gd name="f3" fmla="val w"/>
                    <a:gd name="f4" fmla="val h"/>
                    <a:gd name="f5" fmla="val 0"/>
                    <a:gd name="f6" fmla="val 62838"/>
                    <a:gd name="f7" fmla="val 123509"/>
                    <a:gd name="f8" fmla="val 30336"/>
                    <a:gd name="f9" fmla="val 78006"/>
                    <a:gd name="f10" fmla="val 45504"/>
                    <a:gd name="f11" fmla="val 23835"/>
                    <a:gd name="f12" fmla="val 106175"/>
                    <a:gd name="f13" fmla="val 88840"/>
                    <a:gd name="f14" fmla="+- 0 0 -90"/>
                    <a:gd name="f15" fmla="*/ f3 1 62838"/>
                    <a:gd name="f16" fmla="*/ f4 1 123509"/>
                    <a:gd name="f17" fmla="+- f7 0 f5"/>
                    <a:gd name="f18" fmla="+- f6 0 f5"/>
                    <a:gd name="f19" fmla="*/ f14 f0 1"/>
                    <a:gd name="f20" fmla="*/ f18 1 62838"/>
                    <a:gd name="f21" fmla="*/ f17 1 123509"/>
                    <a:gd name="f22" fmla="*/ 30336 f18 1"/>
                    <a:gd name="f23" fmla="*/ 0 f17 1"/>
                    <a:gd name="f24" fmla="*/ 62838 f18 1"/>
                    <a:gd name="f25" fmla="*/ 78006 f17 1"/>
                    <a:gd name="f26" fmla="*/ 45504 f18 1"/>
                    <a:gd name="f27" fmla="*/ 123509 f17 1"/>
                    <a:gd name="f28" fmla="*/ 23835 f18 1"/>
                    <a:gd name="f29" fmla="*/ 106175 f17 1"/>
                    <a:gd name="f30" fmla="*/ 0 f18 1"/>
                    <a:gd name="f31" fmla="*/ 88840 f17 1"/>
                    <a:gd name="f32" fmla="*/ f19 1 f2"/>
                    <a:gd name="f33" fmla="*/ f22 1 62838"/>
                    <a:gd name="f34" fmla="*/ f23 1 123509"/>
                    <a:gd name="f35" fmla="*/ f24 1 62838"/>
                    <a:gd name="f36" fmla="*/ f25 1 123509"/>
                    <a:gd name="f37" fmla="*/ f26 1 62838"/>
                    <a:gd name="f38" fmla="*/ f27 1 123509"/>
                    <a:gd name="f39" fmla="*/ f28 1 62838"/>
                    <a:gd name="f40" fmla="*/ f29 1 123509"/>
                    <a:gd name="f41" fmla="*/ f30 1 62838"/>
                    <a:gd name="f42" fmla="*/ f31 1 123509"/>
                    <a:gd name="f43" fmla="*/ f5 1 f20"/>
                    <a:gd name="f44" fmla="*/ f6 1 f20"/>
                    <a:gd name="f45" fmla="*/ f5 1 f21"/>
                    <a:gd name="f46" fmla="*/ f7 1 f21"/>
                    <a:gd name="f47" fmla="+- f32 0 f1"/>
                    <a:gd name="f48" fmla="*/ f33 1 f20"/>
                    <a:gd name="f49" fmla="*/ f34 1 f21"/>
                    <a:gd name="f50" fmla="*/ f35 1 f20"/>
                    <a:gd name="f51" fmla="*/ f36 1 f21"/>
                    <a:gd name="f52" fmla="*/ f37 1 f20"/>
                    <a:gd name="f53" fmla="*/ f38 1 f21"/>
                    <a:gd name="f54" fmla="*/ f39 1 f20"/>
                    <a:gd name="f55" fmla="*/ f40 1 f21"/>
                    <a:gd name="f56" fmla="*/ f41 1 f20"/>
                    <a:gd name="f57" fmla="*/ f42 1 f21"/>
                    <a:gd name="f58" fmla="*/ f43 f15 1"/>
                    <a:gd name="f59" fmla="*/ f44 f15 1"/>
                    <a:gd name="f60" fmla="*/ f46 f16 1"/>
                    <a:gd name="f61" fmla="*/ f45 f16 1"/>
                    <a:gd name="f62" fmla="*/ f48 f15 1"/>
                    <a:gd name="f63" fmla="*/ f49 f16 1"/>
                    <a:gd name="f64" fmla="*/ f50 f15 1"/>
                    <a:gd name="f65" fmla="*/ f51 f16 1"/>
                    <a:gd name="f66" fmla="*/ f52 f15 1"/>
                    <a:gd name="f67" fmla="*/ f53 f16 1"/>
                    <a:gd name="f68" fmla="*/ f54 f15 1"/>
                    <a:gd name="f69" fmla="*/ f55 f16 1"/>
                    <a:gd name="f70" fmla="*/ f56 f15 1"/>
                    <a:gd name="f71" fmla="*/ f57 f16 1"/>
                  </a:gdLst>
                  <a:ahLst/>
                  <a:cxnLst>
                    <a:cxn ang="3cd4">
                      <a:pos x="hc" y="t"/>
                    </a:cxn>
                    <a:cxn ang="0">
                      <a:pos x="r" y="vc"/>
                    </a:cxn>
                    <a:cxn ang="cd4">
                      <a:pos x="hc" y="b"/>
                    </a:cxn>
                    <a:cxn ang="cd2">
                      <a:pos x="l" y="vc"/>
                    </a:cxn>
                    <a:cxn ang="f47">
                      <a:pos x="f62" y="f63"/>
                    </a:cxn>
                    <a:cxn ang="f47">
                      <a:pos x="f64" y="f65"/>
                    </a:cxn>
                    <a:cxn ang="f47">
                      <a:pos x="f66" y="f67"/>
                    </a:cxn>
                    <a:cxn ang="f47">
                      <a:pos x="f68" y="f69"/>
                    </a:cxn>
                    <a:cxn ang="f47">
                      <a:pos x="f70" y="f71"/>
                    </a:cxn>
                    <a:cxn ang="f47">
                      <a:pos x="f62" y="f63"/>
                    </a:cxn>
                  </a:cxnLst>
                  <a:rect l="f58" t="f61" r="f59" b="f60"/>
                  <a:pathLst>
                    <a:path w="62838" h="123509">
                      <a:moveTo>
                        <a:pt x="f8" y="f5"/>
                      </a:moveTo>
                      <a:lnTo>
                        <a:pt x="f6" y="f9"/>
                      </a:lnTo>
                      <a:lnTo>
                        <a:pt x="f10" y="f7"/>
                      </a:lnTo>
                      <a:lnTo>
                        <a:pt x="f11" y="f12"/>
                      </a:lnTo>
                      <a:lnTo>
                        <a:pt x="f5" y="f13"/>
                      </a:lnTo>
                      <a:lnTo>
                        <a:pt x="f8" y="f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38103" cap="rnd">
                  <a:solidFill>
                    <a:srgbClr val="FFFFFF"/>
                  </a:solidFill>
                  <a:prstDash val="solid"/>
                  <a:round/>
                </a:ln>
              </p:spPr>
              <p:txBody>
                <a:bodyPr vert="horz" wrap="square" lIns="91440" tIns="45720" rIns="91440" bIns="45720" anchor="ctr" anchorCtr="1" compatLnSpc="1">
                  <a:noAutofit/>
                </a:bodyPr>
                <a:lstStyle/>
                <a:p>
                  <a:pPr marL="0" marR="0" lvl="0" indent="0" algn="ctr" defTabSz="914400" rtl="0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None/>
                    <a:tabLst/>
                    <a:defRPr sz="1800" b="0" i="0" u="none" strike="noStrike" kern="0" cap="none" spc="0" baseline="0">
                      <a:solidFill>
                        <a:srgbClr val="000000"/>
                      </a:solidFill>
                      <a:uFillTx/>
                    </a:defRPr>
                  </a:pPr>
                  <a:endParaRPr lang="en-GB" sz="2000" b="0" i="0" u="none" strike="noStrike" kern="1200" cap="none" spc="0" baseline="0">
                    <a:solidFill>
                      <a:srgbClr val="FFFFFF"/>
                    </a:solidFill>
                    <a:uFillTx/>
                    <a:latin typeface="VeluxForOffice"/>
                  </a:endParaRPr>
                </a:p>
              </p:txBody>
            </p:sp>
          </p:grpSp>
        </p:grpSp>
        <p:pic>
          <p:nvPicPr>
            <p:cNvPr id="162" name="Graphic 22">
              <a:extLst>
                <a:ext uri="{FF2B5EF4-FFF2-40B4-BE49-F238E27FC236}">
                  <a16:creationId xmlns:a16="http://schemas.microsoft.com/office/drawing/2014/main" id="{D458F7DA-7DC7-5915-4D8E-D3AAE177B6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989423" y="5373919"/>
              <a:ext cx="839044" cy="839044"/>
            </a:xfrm>
            <a:prstGeom prst="rect">
              <a:avLst/>
            </a:prstGeom>
            <a:noFill/>
            <a:ln cap="flat">
              <a:noFill/>
            </a:ln>
          </p:spPr>
        </p:pic>
        <p:cxnSp>
          <p:nvCxnSpPr>
            <p:cNvPr id="163" name="Straight Arrow Connector 23">
              <a:extLst>
                <a:ext uri="{FF2B5EF4-FFF2-40B4-BE49-F238E27FC236}">
                  <a16:creationId xmlns:a16="http://schemas.microsoft.com/office/drawing/2014/main" id="{8C720FBC-E134-0634-7E14-7C4C7C8F6E28}"/>
                </a:ext>
              </a:extLst>
            </p:cNvPr>
            <p:cNvCxnSpPr/>
            <p:nvPr/>
          </p:nvCxnSpPr>
          <p:spPr>
            <a:xfrm>
              <a:off x="358773" y="6230227"/>
              <a:ext cx="11469685" cy="0"/>
            </a:xfrm>
            <a:prstGeom prst="straightConnector1">
              <a:avLst/>
            </a:prstGeom>
            <a:noFill/>
            <a:ln w="6345" cap="flat">
              <a:solidFill>
                <a:srgbClr val="70AD47"/>
              </a:solidFill>
              <a:prstDash val="solid"/>
              <a:miter/>
              <a:tailEnd type="arrow"/>
            </a:ln>
          </p:spPr>
        </p:cxn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" b="44"/>
          <a:stretch/>
        </p:blipFill>
        <p:spPr>
          <a:xfrm>
            <a:off x="0" y="0"/>
            <a:ext cx="12192000" cy="6858000"/>
          </a:xfr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pic>
      <p:sp>
        <p:nvSpPr>
          <p:cNvPr id="6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VELUX demonstration projec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9367FC-B839-4AA2-709C-104C840D96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292E62-ABCD-4E1A-9CD4-1F4D24B7AC52}" type="slidenum">
              <a:rPr kumimoji="0" lang="en-GB" sz="998" b="0" i="0" u="none" strike="noStrike" kern="1200" cap="none" spc="0" normalizeH="0" baseline="0" noProof="0" smtClean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98" b="0" i="0" u="none" strike="noStrike" kern="1200" cap="none" spc="0" normalizeH="0" baseline="0" noProof="0" dirty="0">
              <a:ln>
                <a:noFill/>
              </a:ln>
              <a:solidFill>
                <a:srgbClr val="28231F"/>
              </a:solidFill>
              <a:effectLst/>
              <a:uLnTx/>
              <a:uFillTx/>
              <a:latin typeface="VELUX Transform Office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7B219E-BF99-DF41-DD1C-4FFF00F61D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98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VELUX Group Present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A9C944-6060-CC3E-9E89-DB2ACB5FFC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E6982A-90E4-DAFE-A5E1-555282A8C71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11" name="Table 1"/>
          <p:cNvGraphicFramePr>
            <a:graphicFrameLocks noGrp="1"/>
          </p:cNvGraphicFramePr>
          <p:nvPr/>
        </p:nvGraphicFramePr>
        <p:xfrm>
          <a:off x="667337" y="1868697"/>
          <a:ext cx="1515551" cy="3368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64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91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2113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0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Torzhkovskaya Street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St Petersburg, Russia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392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0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Soltag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Copenhagen,Denmark</a:t>
                      </a: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03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Átika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Bilbao, Spain</a:t>
                      </a: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0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VELUXlab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Milan, Italy</a:t>
                      </a: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05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VELUX House, COP15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La Rochelle, France</a:t>
                      </a: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06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Home for Life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Aarhus, Denmark</a:t>
                      </a: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6392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07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Green Lighthouse</a:t>
                      </a:r>
                    </a:p>
                    <a:p>
                      <a:r>
                        <a:rPr lang="en-GB" sz="800" noProof="1"/>
                        <a:t>Copenhagen, Denmark</a:t>
                      </a:r>
                      <a:endParaRPr lang="en-GB" sz="8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17" name="Picture 0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00" y="1866132"/>
            <a:ext cx="252000" cy="279828"/>
          </a:xfrm>
          <a:prstGeom prst="rect">
            <a:avLst/>
          </a:prstGeom>
        </p:spPr>
      </p:pic>
      <p:pic>
        <p:nvPicPr>
          <p:cNvPr id="16" name="Picture 0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334" y="2380289"/>
            <a:ext cx="252875" cy="280800"/>
          </a:xfrm>
          <a:prstGeom prst="rect">
            <a:avLst/>
          </a:prstGeom>
        </p:spPr>
      </p:pic>
      <p:pic>
        <p:nvPicPr>
          <p:cNvPr id="15" name="Picture 0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670" y="2895418"/>
            <a:ext cx="252875" cy="280800"/>
          </a:xfrm>
          <a:prstGeom prst="rect">
            <a:avLst/>
          </a:prstGeom>
        </p:spPr>
      </p:pic>
      <p:pic>
        <p:nvPicPr>
          <p:cNvPr id="19" name="Picture 04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70" y="3410547"/>
            <a:ext cx="252875" cy="280800"/>
          </a:xfrm>
          <a:prstGeom prst="rect">
            <a:avLst/>
          </a:prstGeom>
        </p:spPr>
      </p:pic>
      <p:pic>
        <p:nvPicPr>
          <p:cNvPr id="21" name="Picture 0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70" y="3925677"/>
            <a:ext cx="252875" cy="280800"/>
          </a:xfrm>
          <a:prstGeom prst="rect">
            <a:avLst/>
          </a:prstGeom>
        </p:spPr>
      </p:pic>
      <p:pic>
        <p:nvPicPr>
          <p:cNvPr id="22" name="Picture 06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25" y="4440806"/>
            <a:ext cx="252875" cy="280800"/>
          </a:xfrm>
          <a:prstGeom prst="rect">
            <a:avLst/>
          </a:prstGeom>
        </p:spPr>
      </p:pic>
      <p:pic>
        <p:nvPicPr>
          <p:cNvPr id="23" name="Picture 07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154" y="4955937"/>
            <a:ext cx="252875" cy="28080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7657" y="1874123"/>
            <a:ext cx="252875" cy="280800"/>
          </a:xfrm>
          <a:prstGeom prst="rect">
            <a:avLst/>
          </a:prstGeom>
        </p:spPr>
      </p:pic>
      <p:graphicFrame>
        <p:nvGraphicFramePr>
          <p:cNvPr id="25" name="Table 2"/>
          <p:cNvGraphicFramePr>
            <a:graphicFrameLocks noGrp="1"/>
          </p:cNvGraphicFramePr>
          <p:nvPr/>
        </p:nvGraphicFramePr>
        <p:xfrm>
          <a:off x="2605879" y="1866901"/>
          <a:ext cx="1566018" cy="3703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2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7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6392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0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Sunlighthouse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Vienna, Austria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09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LichtAktiv Haus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Hamburg, Germany</a:t>
                      </a:r>
                      <a:endParaRPr lang="en-GB" sz="11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Maison Air et Lumière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Paris, France</a:t>
                      </a: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CarbonLight Homes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Kettering, UK</a:t>
                      </a: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Osram Culture Centre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Copenhagen, Denmark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7244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3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Guldberg School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Copenhagen, Denmark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7554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</a:pPr>
                      <a:r>
                        <a:rPr lang="en-GB" sz="1100" noProof="1"/>
                        <a:t> Albertslund Solar Prism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Albertslund, Denmark</a:t>
                      </a:r>
                    </a:p>
                    <a:p>
                      <a:pPr marL="0">
                        <a:spcBef>
                          <a:spcPts val="0"/>
                        </a:spcBef>
                      </a:pP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28" name="Picture 09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7960" y="2390090"/>
            <a:ext cx="252875" cy="280799"/>
          </a:xfrm>
          <a:prstGeom prst="rect">
            <a:avLst/>
          </a:prstGeom>
        </p:spPr>
      </p:pic>
      <p:pic>
        <p:nvPicPr>
          <p:cNvPr id="27" name="Picture 10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7658" y="2906056"/>
            <a:ext cx="252875" cy="280799"/>
          </a:xfrm>
          <a:prstGeom prst="rect">
            <a:avLst/>
          </a:prstGeom>
        </p:spPr>
      </p:pic>
      <p:pic>
        <p:nvPicPr>
          <p:cNvPr id="29" name="Picture 11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8828" y="3422022"/>
            <a:ext cx="252875" cy="280799"/>
          </a:xfrm>
          <a:prstGeom prst="rect">
            <a:avLst/>
          </a:prstGeom>
        </p:spPr>
      </p:pic>
      <p:pic>
        <p:nvPicPr>
          <p:cNvPr id="30" name="Picture 12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8124" y="3937988"/>
            <a:ext cx="252875" cy="280799"/>
          </a:xfrm>
          <a:prstGeom prst="rect">
            <a:avLst/>
          </a:prstGeom>
        </p:spPr>
      </p:pic>
      <p:pic>
        <p:nvPicPr>
          <p:cNvPr id="31" name="Picture 13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7959" y="4453954"/>
            <a:ext cx="252875" cy="280799"/>
          </a:xfrm>
          <a:prstGeom prst="rect">
            <a:avLst/>
          </a:prstGeom>
        </p:spPr>
      </p:pic>
      <p:pic>
        <p:nvPicPr>
          <p:cNvPr id="32" name="Picture 14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778" y="4969920"/>
            <a:ext cx="252875" cy="280799"/>
          </a:xfrm>
          <a:prstGeom prst="rect">
            <a:avLst/>
          </a:prstGeom>
        </p:spPr>
      </p:pic>
      <p:graphicFrame>
        <p:nvGraphicFramePr>
          <p:cNvPr id="33" name="Table 3"/>
          <p:cNvGraphicFramePr>
            <a:graphicFrameLocks noGrp="1"/>
          </p:cNvGraphicFramePr>
          <p:nvPr/>
        </p:nvGraphicFramePr>
        <p:xfrm>
          <a:off x="4603667" y="1874123"/>
          <a:ext cx="1669675" cy="3688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3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6392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5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Russian Active House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Moscow, Russia</a:t>
                      </a: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6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Solhuset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Hoersholm, Denmark</a:t>
                      </a: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7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ISOBO Aktiv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Stavanger, Norway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8344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Future Active House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Trondheim, Norway</a:t>
                      </a: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19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Smith Residence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St. Louis, USA</a:t>
                      </a:r>
                      <a:endParaRPr lang="en-GB" sz="800" b="1" noProof="1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2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De Poorters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Montfoort, the Netherlands</a:t>
                      </a: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2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Healthy Home townhouses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Stjoerdal, Norway</a:t>
                      </a: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5120">
                <a:tc>
                  <a:txBody>
                    <a:bodyPr/>
                    <a:lstStyle/>
                    <a:p>
                      <a:r>
                        <a:rPr lang="en-GB" sz="1100" b="1" i="1" noProof="1">
                          <a:solidFill>
                            <a:srgbClr val="FF0000"/>
                          </a:solidFill>
                        </a:rPr>
                        <a:t>2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ulti Comfort House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zerzhinsk</a:t>
                      </a: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Belarus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67092612"/>
                  </a:ext>
                </a:extLst>
              </a:tr>
            </a:tbl>
          </a:graphicData>
        </a:graphic>
      </p:graphicFrame>
      <p:graphicFrame>
        <p:nvGraphicFramePr>
          <p:cNvPr id="34" name="Table 34"/>
          <p:cNvGraphicFramePr>
            <a:graphicFrameLocks noGrp="1"/>
          </p:cNvGraphicFramePr>
          <p:nvPr/>
        </p:nvGraphicFramePr>
        <p:xfrm>
          <a:off x="6694353" y="1866940"/>
          <a:ext cx="1844355" cy="3657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87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55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6364">
                <a:tc>
                  <a:txBody>
                    <a:bodyPr/>
                    <a:lstStyle/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23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Great Gulf Thorold</a:t>
                      </a:r>
                    </a:p>
                    <a:p>
                      <a:r>
                        <a:rPr lang="en-GB" sz="800" noProof="1"/>
                        <a:t>Toronto, Canada</a:t>
                      </a:r>
                      <a:r>
                        <a:rPr lang="en-GB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1034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2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Optima House</a:t>
                      </a:r>
                    </a:p>
                    <a:p>
                      <a:r>
                        <a:rPr lang="en-GB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iev, Ukraine</a:t>
                      </a:r>
                    </a:p>
                    <a:p>
                      <a:endParaRPr lang="en-GB" sz="1100" kern="1200" noProof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25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Langebjerg School</a:t>
                      </a:r>
                    </a:p>
                    <a:p>
                      <a:r>
                        <a:rPr lang="en-GB" sz="800" noProof="1"/>
                        <a:t>Fredensborg, Denmark</a:t>
                      </a:r>
                      <a:br>
                        <a:rPr lang="en-GB" sz="800" noProof="1"/>
                      </a:b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3790">
                <a:tc>
                  <a:txBody>
                    <a:bodyPr/>
                    <a:lstStyle/>
                    <a:p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26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1"/>
                        <a:t>Green Solutions House</a:t>
                      </a:r>
                      <a:br>
                        <a:rPr lang="en-GB" sz="1100" noProof="1"/>
                      </a:br>
                      <a:r>
                        <a:rPr kumimoji="0" lang="en-GB" sz="8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oenne, Denmark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740">
                <a:tc>
                  <a:txBody>
                    <a:bodyPr/>
                    <a:lstStyle/>
                    <a:p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27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1"/>
                        <a:t>Solar Decathlon</a:t>
                      </a:r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Rome, Italy</a:t>
                      </a: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6520">
                <a:tc>
                  <a:txBody>
                    <a:bodyPr/>
                    <a:lstStyle/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28</a:t>
                      </a:r>
                    </a:p>
                    <a:p>
                      <a:endParaRPr lang="en-GB" sz="1050" b="1" i="1" noProof="1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LangFang Office</a:t>
                      </a:r>
                    </a:p>
                    <a:p>
                      <a:r>
                        <a:rPr kumimoji="0" lang="en-GB" sz="8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ijing, China</a:t>
                      </a:r>
                    </a:p>
                    <a:p>
                      <a:endParaRPr lang="en-GB" sz="1100" noProof="1"/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29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RenovActive </a:t>
                      </a:r>
                    </a:p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noProof="1"/>
                        <a:t>Brussels, Belgium</a:t>
                      </a:r>
                      <a:endParaRPr lang="en-GB" sz="800" noProof="1">
                        <a:solidFill>
                          <a:schemeClr val="tx1"/>
                        </a:solidFill>
                      </a:endParaRP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700">
                <a:tc>
                  <a:txBody>
                    <a:bodyPr/>
                    <a:lstStyle/>
                    <a:p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30</a:t>
                      </a:r>
                    </a:p>
                    <a:p>
                      <a:endParaRPr lang="en-GB" sz="1050" b="1" i="1" noProof="1">
                        <a:solidFill>
                          <a:srgbClr val="FF0000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Centennial Park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ronto, Canada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i="0" u="none" strike="noStrike" kern="1200" cap="none" spc="0" normalizeH="0" baseline="0" noProof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49463362"/>
                  </a:ext>
                </a:extLst>
              </a:tr>
            </a:tbl>
          </a:graphicData>
        </a:graphic>
      </p:graphicFrame>
      <p:sp>
        <p:nvSpPr>
          <p:cNvPr id="36" name="Spot 01"/>
          <p:cNvSpPr>
            <a:spLocks noChangeAspect="1"/>
          </p:cNvSpPr>
          <p:nvPr/>
        </p:nvSpPr>
        <p:spPr bwMode="auto">
          <a:xfrm>
            <a:off x="10707727" y="3454439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01</a:t>
            </a:r>
          </a:p>
        </p:txBody>
      </p:sp>
      <p:sp>
        <p:nvSpPr>
          <p:cNvPr id="48" name="Spot 03"/>
          <p:cNvSpPr>
            <a:spLocks noChangeAspect="1"/>
          </p:cNvSpPr>
          <p:nvPr/>
        </p:nvSpPr>
        <p:spPr bwMode="auto">
          <a:xfrm>
            <a:off x="8152999" y="5600527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03</a:t>
            </a:r>
          </a:p>
        </p:txBody>
      </p:sp>
      <p:sp>
        <p:nvSpPr>
          <p:cNvPr id="46" name="Spot 04"/>
          <p:cNvSpPr>
            <a:spLocks noChangeAspect="1"/>
          </p:cNvSpPr>
          <p:nvPr/>
        </p:nvSpPr>
        <p:spPr bwMode="auto">
          <a:xfrm>
            <a:off x="9140827" y="5269203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04</a:t>
            </a:r>
          </a:p>
        </p:txBody>
      </p:sp>
      <p:sp>
        <p:nvSpPr>
          <p:cNvPr id="45" name="Spot 05"/>
          <p:cNvSpPr>
            <a:spLocks noChangeAspect="1"/>
          </p:cNvSpPr>
          <p:nvPr/>
        </p:nvSpPr>
        <p:spPr bwMode="auto">
          <a:xfrm>
            <a:off x="8332111" y="5277875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05</a:t>
            </a:r>
          </a:p>
        </p:txBody>
      </p:sp>
      <p:sp>
        <p:nvSpPr>
          <p:cNvPr id="47" name="Spot 08"/>
          <p:cNvSpPr>
            <a:spLocks noChangeAspect="1"/>
          </p:cNvSpPr>
          <p:nvPr/>
        </p:nvSpPr>
        <p:spPr bwMode="auto">
          <a:xfrm>
            <a:off x="9654343" y="4987045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08</a:t>
            </a:r>
          </a:p>
        </p:txBody>
      </p:sp>
      <p:sp>
        <p:nvSpPr>
          <p:cNvPr id="42" name="Spot 09"/>
          <p:cNvSpPr>
            <a:spLocks noChangeAspect="1"/>
          </p:cNvSpPr>
          <p:nvPr/>
        </p:nvSpPr>
        <p:spPr bwMode="auto">
          <a:xfrm>
            <a:off x="9237624" y="4457673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09</a:t>
            </a:r>
          </a:p>
        </p:txBody>
      </p:sp>
      <p:sp>
        <p:nvSpPr>
          <p:cNvPr id="44" name="Spot 10"/>
          <p:cNvSpPr>
            <a:spLocks noChangeAspect="1"/>
          </p:cNvSpPr>
          <p:nvPr/>
        </p:nvSpPr>
        <p:spPr bwMode="auto">
          <a:xfrm>
            <a:off x="8599016" y="4911047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10</a:t>
            </a:r>
          </a:p>
        </p:txBody>
      </p:sp>
      <p:sp>
        <p:nvSpPr>
          <p:cNvPr id="40" name="Spot 11"/>
          <p:cNvSpPr>
            <a:spLocks noChangeAspect="1"/>
          </p:cNvSpPr>
          <p:nvPr/>
        </p:nvSpPr>
        <p:spPr bwMode="auto">
          <a:xfrm>
            <a:off x="8320536" y="4488771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11</a:t>
            </a:r>
          </a:p>
        </p:txBody>
      </p:sp>
      <p:sp>
        <p:nvSpPr>
          <p:cNvPr id="50" name="Spot 15"/>
          <p:cNvSpPr>
            <a:spLocks noChangeAspect="1"/>
          </p:cNvSpPr>
          <p:nvPr/>
        </p:nvSpPr>
        <p:spPr bwMode="auto">
          <a:xfrm>
            <a:off x="11441684" y="4054417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15</a:t>
            </a:r>
          </a:p>
        </p:txBody>
      </p:sp>
      <p:sp>
        <p:nvSpPr>
          <p:cNvPr id="39" name="Spot 17"/>
          <p:cNvSpPr>
            <a:spLocks noChangeAspect="1"/>
          </p:cNvSpPr>
          <p:nvPr/>
        </p:nvSpPr>
        <p:spPr bwMode="auto">
          <a:xfrm>
            <a:off x="8845627" y="3552027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17</a:t>
            </a:r>
          </a:p>
        </p:txBody>
      </p:sp>
      <p:sp>
        <p:nvSpPr>
          <p:cNvPr id="51" name="Spot 19"/>
          <p:cNvSpPr>
            <a:spLocks noChangeAspect="1"/>
          </p:cNvSpPr>
          <p:nvPr/>
        </p:nvSpPr>
        <p:spPr bwMode="auto">
          <a:xfrm>
            <a:off x="1189076" y="5910339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19</a:t>
            </a:r>
          </a:p>
        </p:txBody>
      </p:sp>
      <p:sp>
        <p:nvSpPr>
          <p:cNvPr id="38" name="Spot 18"/>
          <p:cNvSpPr>
            <a:spLocks noChangeAspect="1"/>
          </p:cNvSpPr>
          <p:nvPr/>
        </p:nvSpPr>
        <p:spPr bwMode="auto">
          <a:xfrm>
            <a:off x="9076571" y="2859467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18</a:t>
            </a:r>
          </a:p>
        </p:txBody>
      </p:sp>
      <p:sp>
        <p:nvSpPr>
          <p:cNvPr id="41" name="Spot 20"/>
          <p:cNvSpPr>
            <a:spLocks noChangeAspect="1"/>
          </p:cNvSpPr>
          <p:nvPr/>
        </p:nvSpPr>
        <p:spPr bwMode="auto">
          <a:xfrm>
            <a:off x="8775380" y="4470860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20</a:t>
            </a:r>
          </a:p>
        </p:txBody>
      </p:sp>
      <p:sp>
        <p:nvSpPr>
          <p:cNvPr id="37" name="Spot 21"/>
          <p:cNvSpPr>
            <a:spLocks noChangeAspect="1"/>
          </p:cNvSpPr>
          <p:nvPr/>
        </p:nvSpPr>
        <p:spPr bwMode="auto">
          <a:xfrm>
            <a:off x="9335732" y="2782224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21</a:t>
            </a:r>
          </a:p>
        </p:txBody>
      </p:sp>
      <p:sp>
        <p:nvSpPr>
          <p:cNvPr id="52" name="Spot 22"/>
          <p:cNvSpPr>
            <a:spLocks noChangeAspect="1"/>
          </p:cNvSpPr>
          <p:nvPr/>
        </p:nvSpPr>
        <p:spPr bwMode="auto">
          <a:xfrm>
            <a:off x="2099184" y="5414603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23</a:t>
            </a:r>
          </a:p>
        </p:txBody>
      </p:sp>
      <p:sp>
        <p:nvSpPr>
          <p:cNvPr id="49" name="Spot 25"/>
          <p:cNvSpPr>
            <a:spLocks noChangeAspect="1"/>
          </p:cNvSpPr>
          <p:nvPr/>
        </p:nvSpPr>
        <p:spPr bwMode="auto">
          <a:xfrm>
            <a:off x="9414964" y="5748455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27</a:t>
            </a:r>
          </a:p>
        </p:txBody>
      </p:sp>
      <p:sp>
        <p:nvSpPr>
          <p:cNvPr id="43" name="Spot 26"/>
          <p:cNvSpPr>
            <a:spLocks noChangeAspect="1"/>
          </p:cNvSpPr>
          <p:nvPr/>
        </p:nvSpPr>
        <p:spPr bwMode="auto">
          <a:xfrm>
            <a:off x="8726263" y="4708525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29</a:t>
            </a:r>
          </a:p>
        </p:txBody>
      </p:sp>
      <p:sp>
        <p:nvSpPr>
          <p:cNvPr id="53" name="Spot 02-06-07-12-13-14-16-23-24"/>
          <p:cNvSpPr>
            <a:spLocks noChangeAspect="1"/>
          </p:cNvSpPr>
          <p:nvPr/>
        </p:nvSpPr>
        <p:spPr bwMode="auto">
          <a:xfrm>
            <a:off x="9080214" y="3814979"/>
            <a:ext cx="598481" cy="6228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02, 06, 07,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12, 13, 14,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28231F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16, 25, 26, 3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231F"/>
              </a:solidFill>
              <a:effectLst/>
              <a:uLnTx/>
              <a:uFillTx/>
              <a:latin typeface="VELUX Transform Office"/>
              <a:ea typeface="+mn-ea"/>
              <a:cs typeface="+mn-cs"/>
            </a:endParaRPr>
          </a:p>
        </p:txBody>
      </p:sp>
      <p:pic>
        <p:nvPicPr>
          <p:cNvPr id="12" name="Picture 15">
            <a:extLst>
              <a:ext uri="{FF2B5EF4-FFF2-40B4-BE49-F238E27FC236}">
                <a16:creationId xmlns:a16="http://schemas.microsoft.com/office/drawing/2014/main" id="{9F522270-52E4-889B-18A5-7FE7B220DDA7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1713" y="1866133"/>
            <a:ext cx="251999" cy="279827"/>
          </a:xfrm>
          <a:prstGeom prst="rect">
            <a:avLst/>
          </a:prstGeom>
        </p:spPr>
      </p:pic>
      <p:pic>
        <p:nvPicPr>
          <p:cNvPr id="13" name="Picture 17">
            <a:extLst>
              <a:ext uri="{FF2B5EF4-FFF2-40B4-BE49-F238E27FC236}">
                <a16:creationId xmlns:a16="http://schemas.microsoft.com/office/drawing/2014/main" id="{8E5991AB-6DC8-45A8-EB4E-1A8D560EF95A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8321" y="2807701"/>
            <a:ext cx="252875" cy="280799"/>
          </a:xfrm>
          <a:prstGeom prst="rect">
            <a:avLst/>
          </a:prstGeom>
        </p:spPr>
      </p:pic>
      <p:pic>
        <p:nvPicPr>
          <p:cNvPr id="14" name="Picture 18">
            <a:extLst>
              <a:ext uri="{FF2B5EF4-FFF2-40B4-BE49-F238E27FC236}">
                <a16:creationId xmlns:a16="http://schemas.microsoft.com/office/drawing/2014/main" id="{25784567-DCCC-8B98-5257-F4E1F02AF0ED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810" y="3278971"/>
            <a:ext cx="252875" cy="280799"/>
          </a:xfrm>
          <a:prstGeom prst="rect">
            <a:avLst/>
          </a:prstGeom>
        </p:spPr>
      </p:pic>
      <p:pic>
        <p:nvPicPr>
          <p:cNvPr id="18" name="Picture 19">
            <a:extLst>
              <a:ext uri="{FF2B5EF4-FFF2-40B4-BE49-F238E27FC236}">
                <a16:creationId xmlns:a16="http://schemas.microsoft.com/office/drawing/2014/main" id="{7B536219-8EEB-04AA-1D51-E7BECAE3728B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673" y="3750241"/>
            <a:ext cx="252875" cy="280799"/>
          </a:xfrm>
          <a:prstGeom prst="rect">
            <a:avLst/>
          </a:prstGeom>
        </p:spPr>
      </p:pic>
      <p:pic>
        <p:nvPicPr>
          <p:cNvPr id="20" name="Picture 20">
            <a:extLst>
              <a:ext uri="{FF2B5EF4-FFF2-40B4-BE49-F238E27FC236}">
                <a16:creationId xmlns:a16="http://schemas.microsoft.com/office/drawing/2014/main" id="{B9A44D68-9B1F-EAA5-BDA5-390C80D0E2E1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674" y="4221511"/>
            <a:ext cx="252875" cy="280799"/>
          </a:xfrm>
          <a:prstGeom prst="rect">
            <a:avLst/>
          </a:prstGeom>
        </p:spPr>
      </p:pic>
      <p:pic>
        <p:nvPicPr>
          <p:cNvPr id="67" name="Picture 22">
            <a:extLst>
              <a:ext uri="{FF2B5EF4-FFF2-40B4-BE49-F238E27FC236}">
                <a16:creationId xmlns:a16="http://schemas.microsoft.com/office/drawing/2014/main" id="{98C7F821-6553-2D4F-1ED3-5DC4EA1AEE6C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669" y="2375491"/>
            <a:ext cx="251999" cy="253269"/>
          </a:xfrm>
          <a:prstGeom prst="rect">
            <a:avLst/>
          </a:prstGeom>
        </p:spPr>
      </p:pic>
      <p:pic>
        <p:nvPicPr>
          <p:cNvPr id="75" name="Picture 23">
            <a:extLst>
              <a:ext uri="{FF2B5EF4-FFF2-40B4-BE49-F238E27FC236}">
                <a16:creationId xmlns:a16="http://schemas.microsoft.com/office/drawing/2014/main" id="{03993AE7-EB26-97C4-1703-BD01B021BE6E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057" y="3261294"/>
            <a:ext cx="252875" cy="280799"/>
          </a:xfrm>
          <a:prstGeom prst="rect">
            <a:avLst/>
          </a:prstGeom>
        </p:spPr>
      </p:pic>
      <p:pic>
        <p:nvPicPr>
          <p:cNvPr id="76" name="Picture 24">
            <a:extLst>
              <a:ext uri="{FF2B5EF4-FFF2-40B4-BE49-F238E27FC236}">
                <a16:creationId xmlns:a16="http://schemas.microsoft.com/office/drawing/2014/main" id="{EBE205B6-6A33-DE73-3024-00A720A5D5E3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138" y="2807576"/>
            <a:ext cx="252875" cy="280799"/>
          </a:xfrm>
          <a:prstGeom prst="rect">
            <a:avLst/>
          </a:prstGeom>
        </p:spPr>
      </p:pic>
      <p:pic>
        <p:nvPicPr>
          <p:cNvPr id="127" name="Picture 25">
            <a:extLst>
              <a:ext uri="{FF2B5EF4-FFF2-40B4-BE49-F238E27FC236}">
                <a16:creationId xmlns:a16="http://schemas.microsoft.com/office/drawing/2014/main" id="{0CE7699C-5216-1555-C771-9ECE8BA1AA39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232" y="3723924"/>
            <a:ext cx="252875" cy="280799"/>
          </a:xfrm>
          <a:prstGeom prst="rect">
            <a:avLst/>
          </a:prstGeom>
        </p:spPr>
      </p:pic>
      <p:pic>
        <p:nvPicPr>
          <p:cNvPr id="1024" name="Picture 22">
            <a:extLst>
              <a:ext uri="{FF2B5EF4-FFF2-40B4-BE49-F238E27FC236}">
                <a16:creationId xmlns:a16="http://schemas.microsoft.com/office/drawing/2014/main" id="{AF5C0229-C97F-F2BB-B8C1-E7134B1A4667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933" y="4644057"/>
            <a:ext cx="251999" cy="279827"/>
          </a:xfrm>
          <a:prstGeom prst="rect">
            <a:avLst/>
          </a:prstGeom>
        </p:spPr>
      </p:pic>
      <p:pic>
        <p:nvPicPr>
          <p:cNvPr id="1025" name="Picture 21">
            <a:extLst>
              <a:ext uri="{FF2B5EF4-FFF2-40B4-BE49-F238E27FC236}">
                <a16:creationId xmlns:a16="http://schemas.microsoft.com/office/drawing/2014/main" id="{BBCCC16D-8661-86B4-2579-333C4F8AA1F3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496" y="1866940"/>
            <a:ext cx="252875" cy="298442"/>
          </a:xfrm>
          <a:prstGeom prst="rect">
            <a:avLst/>
          </a:prstGeom>
        </p:spPr>
      </p:pic>
      <p:pic>
        <p:nvPicPr>
          <p:cNvPr id="1026" name="Picture 26">
            <a:extLst>
              <a:ext uri="{FF2B5EF4-FFF2-40B4-BE49-F238E27FC236}">
                <a16:creationId xmlns:a16="http://schemas.microsoft.com/office/drawing/2014/main" id="{6FB875E6-C958-3D15-4A9D-51459C808559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4451" y="4692781"/>
            <a:ext cx="252875" cy="280799"/>
          </a:xfrm>
          <a:prstGeom prst="rect">
            <a:avLst/>
          </a:prstGeom>
        </p:spPr>
      </p:pic>
      <p:pic>
        <p:nvPicPr>
          <p:cNvPr id="1027" name="Picture 1026">
            <a:extLst>
              <a:ext uri="{FF2B5EF4-FFF2-40B4-BE49-F238E27FC236}">
                <a16:creationId xmlns:a16="http://schemas.microsoft.com/office/drawing/2014/main" id="{5AFC7A6A-58BF-6FDB-C179-5E152C3F642C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0378" y="5104062"/>
            <a:ext cx="262579" cy="293313"/>
          </a:xfrm>
          <a:prstGeom prst="rect">
            <a:avLst/>
          </a:prstGeom>
        </p:spPr>
      </p:pic>
      <p:pic>
        <p:nvPicPr>
          <p:cNvPr id="1029" name="Picture 24">
            <a:extLst>
              <a:ext uri="{FF2B5EF4-FFF2-40B4-BE49-F238E27FC236}">
                <a16:creationId xmlns:a16="http://schemas.microsoft.com/office/drawing/2014/main" id="{3A1C574F-7FC0-3E2F-69A2-0424283C7DD4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96" y="5164053"/>
            <a:ext cx="252875" cy="280799"/>
          </a:xfrm>
          <a:prstGeom prst="rect">
            <a:avLst/>
          </a:prstGeom>
        </p:spPr>
      </p:pic>
      <p:pic>
        <p:nvPicPr>
          <p:cNvPr id="1031" name="Picture 16">
            <a:extLst>
              <a:ext uri="{FF2B5EF4-FFF2-40B4-BE49-F238E27FC236}">
                <a16:creationId xmlns:a16="http://schemas.microsoft.com/office/drawing/2014/main" id="{206741B9-AC74-407C-F6A7-868A2678C76E}"/>
              </a:ext>
            </a:extLst>
          </p:cNvPr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8320" y="2336431"/>
            <a:ext cx="252875" cy="280799"/>
          </a:xfrm>
          <a:prstGeom prst="rect">
            <a:avLst/>
          </a:prstGeom>
        </p:spPr>
      </p:pic>
      <p:sp>
        <p:nvSpPr>
          <p:cNvPr id="2" name="Spot 08">
            <a:extLst>
              <a:ext uri="{FF2B5EF4-FFF2-40B4-BE49-F238E27FC236}">
                <a16:creationId xmlns:a16="http://schemas.microsoft.com/office/drawing/2014/main" id="{367B1F10-451F-850E-F13B-28978187039E}"/>
              </a:ext>
            </a:extLst>
          </p:cNvPr>
          <p:cNvSpPr>
            <a:spLocks noChangeAspect="1"/>
          </p:cNvSpPr>
          <p:nvPr/>
        </p:nvSpPr>
        <p:spPr bwMode="auto">
          <a:xfrm>
            <a:off x="10861359" y="4790030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2</a:t>
            </a: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4</a:t>
            </a:r>
          </a:p>
        </p:txBody>
      </p:sp>
      <p:sp>
        <p:nvSpPr>
          <p:cNvPr id="6" name="Spot 08">
            <a:extLst>
              <a:ext uri="{FF2B5EF4-FFF2-40B4-BE49-F238E27FC236}">
                <a16:creationId xmlns:a16="http://schemas.microsoft.com/office/drawing/2014/main" id="{EFC098C1-869C-C339-3877-796C1D9C7294}"/>
              </a:ext>
            </a:extLst>
          </p:cNvPr>
          <p:cNvSpPr>
            <a:spLocks noChangeAspect="1"/>
          </p:cNvSpPr>
          <p:nvPr/>
        </p:nvSpPr>
        <p:spPr bwMode="auto">
          <a:xfrm>
            <a:off x="10567212" y="4311789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2</a:t>
            </a: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2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98671F2F-45DF-C4F4-1E34-696287FD1D8F}"/>
              </a:ext>
            </a:extLst>
          </p:cNvPr>
          <p:cNvPicPr>
            <a:picLocks noChangeAspect="1"/>
          </p:cNvPicPr>
          <p:nvPr/>
        </p:nvPicPr>
        <p:blipFill rotWithShape="1"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584"/>
          <a:stretch/>
        </p:blipFill>
        <p:spPr>
          <a:xfrm>
            <a:off x="6197929" y="4126379"/>
            <a:ext cx="633230" cy="388906"/>
          </a:xfrm>
          <a:prstGeom prst="rect">
            <a:avLst/>
          </a:prstGeom>
        </p:spPr>
      </p:pic>
      <p:sp>
        <p:nvSpPr>
          <p:cNvPr id="7" name="Spot 22">
            <a:extLst>
              <a:ext uri="{FF2B5EF4-FFF2-40B4-BE49-F238E27FC236}">
                <a16:creationId xmlns:a16="http://schemas.microsoft.com/office/drawing/2014/main" id="{1569D70A-3BF3-FC72-A920-D1DA2C0BF3EF}"/>
              </a:ext>
            </a:extLst>
          </p:cNvPr>
          <p:cNvSpPr>
            <a:spLocks noChangeAspect="1"/>
          </p:cNvSpPr>
          <p:nvPr/>
        </p:nvSpPr>
        <p:spPr bwMode="auto">
          <a:xfrm>
            <a:off x="2293760" y="5292589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30</a:t>
            </a:r>
          </a:p>
        </p:txBody>
      </p:sp>
      <p:graphicFrame>
        <p:nvGraphicFramePr>
          <p:cNvPr id="10" name="Table 34">
            <a:extLst>
              <a:ext uri="{FF2B5EF4-FFF2-40B4-BE49-F238E27FC236}">
                <a16:creationId xmlns:a16="http://schemas.microsoft.com/office/drawing/2014/main" id="{3C4CEAAD-C1F6-72C8-5D6D-720CF0018198}"/>
              </a:ext>
            </a:extLst>
          </p:cNvPr>
          <p:cNvGraphicFramePr>
            <a:graphicFrameLocks noGrp="1"/>
          </p:cNvGraphicFramePr>
          <p:nvPr/>
        </p:nvGraphicFramePr>
        <p:xfrm>
          <a:off x="8608877" y="1866940"/>
          <a:ext cx="1958335" cy="960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29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54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6364">
                <a:tc>
                  <a:txBody>
                    <a:bodyPr/>
                    <a:lstStyle/>
                    <a:p>
                      <a:pPr marL="0" lvl="0" indent="0" algn="l" defTabSz="912573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31</a:t>
                      </a:r>
                    </a:p>
                  </a:txBody>
                  <a:tcPr marL="0" marR="0" marT="0" marB="0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100" b="0" i="0" u="none" strike="noStrike" noProof="1">
                          <a:latin typeface="VELUX Transform Office"/>
                        </a:rPr>
                        <a:t>RenovActive House Slovakia</a:t>
                      </a:r>
                    </a:p>
                    <a:p>
                      <a:pPr lvl="0">
                        <a:buNone/>
                      </a:pPr>
                      <a:endParaRPr lang="en-GB" sz="1100" b="0" i="0" u="none" strike="noStrike" noProof="1">
                        <a:latin typeface="VELUX Transform Office"/>
                      </a:endParaRPr>
                    </a:p>
                  </a:txBody>
                  <a:tcPr marL="0" marR="0" marT="0" marB="0"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lnTlToBr w="0">
                      <a:noFill/>
                    </a:lnTlToBr>
                    <a:lnBlToTr w="0"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96847804"/>
                  </a:ext>
                </a:extLst>
              </a:tr>
              <a:tr h="296364">
                <a:tc>
                  <a:txBody>
                    <a:bodyPr/>
                    <a:lstStyle/>
                    <a:p>
                      <a:pPr marL="0" marR="0" lvl="0" indent="0" algn="l" defTabSz="9125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1" noProof="1">
                          <a:solidFill>
                            <a:srgbClr val="FF0000"/>
                          </a:solidFill>
                        </a:rPr>
                        <a:t>3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noProof="1"/>
                        <a:t>Living Places Copenhagen</a:t>
                      </a:r>
                    </a:p>
                    <a:p>
                      <a:r>
                        <a:rPr lang="en-GB" sz="800" noProof="1"/>
                        <a:t>Copenhagen, Denmark</a:t>
                      </a:r>
                      <a:r>
                        <a:rPr lang="en-GB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endParaRPr lang="en-GB" sz="1100" b="1" noProof="1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10349"/>
                  </a:ext>
                </a:extLst>
              </a:tr>
            </a:tbl>
          </a:graphicData>
        </a:graphic>
      </p:graphicFrame>
      <p:pic>
        <p:nvPicPr>
          <p:cNvPr id="59" name="Picture 59" descr="A picture containing sky, outdoor, building, snow&#10;&#10;Description automatically generated">
            <a:extLst>
              <a:ext uri="{FF2B5EF4-FFF2-40B4-BE49-F238E27FC236}">
                <a16:creationId xmlns:a16="http://schemas.microsoft.com/office/drawing/2014/main" id="{C95CBDBC-06DD-0590-3B55-9678A562D233}"/>
              </a:ext>
            </a:extLst>
          </p:cNvPr>
          <p:cNvPicPr>
            <a:picLocks noChangeAspect="1"/>
          </p:cNvPicPr>
          <p:nvPr/>
        </p:nvPicPr>
        <p:blipFill rotWithShape="1">
          <a:blip r:embed="rId33"/>
          <a:srcRect l="-25774" t="-25341" r="112129" b="111585"/>
          <a:stretch/>
        </p:blipFill>
        <p:spPr>
          <a:xfrm>
            <a:off x="4206240" y="2286000"/>
            <a:ext cx="274232" cy="274442"/>
          </a:xfrm>
          <a:prstGeom prst="rect">
            <a:avLst/>
          </a:prstGeom>
        </p:spPr>
      </p:pic>
      <p:pic>
        <p:nvPicPr>
          <p:cNvPr id="60" name="Picture 25" descr="A picture containing sky, outdoor, building, snow&#10;&#10;Description automatically generated">
            <a:extLst>
              <a:ext uri="{FF2B5EF4-FFF2-40B4-BE49-F238E27FC236}">
                <a16:creationId xmlns:a16="http://schemas.microsoft.com/office/drawing/2014/main" id="{40DA8AD6-2724-9E41-1C8A-DD2DFDBACEF9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8304245" y="2372330"/>
            <a:ext cx="252875" cy="288759"/>
          </a:xfrm>
          <a:prstGeom prst="snip2SameRect">
            <a:avLst>
              <a:gd name="adj1" fmla="val 50000"/>
              <a:gd name="adj2" fmla="val 0"/>
            </a:avLst>
          </a:prstGeom>
        </p:spPr>
      </p:pic>
      <p:pic>
        <p:nvPicPr>
          <p:cNvPr id="35" name="Picture 34" descr="A picture containing sky, house, outdoor, building&#10;&#10;Description automatically generated">
            <a:extLst>
              <a:ext uri="{FF2B5EF4-FFF2-40B4-BE49-F238E27FC236}">
                <a16:creationId xmlns:a16="http://schemas.microsoft.com/office/drawing/2014/main" id="{0F958AF6-0BE5-D70C-2351-EB9EADD03E39}"/>
              </a:ext>
            </a:extLst>
          </p:cNvPr>
          <p:cNvPicPr>
            <a:picLocks noChangeAspect="1"/>
          </p:cNvPicPr>
          <p:nvPr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" t="13482" r="1" b="9955"/>
          <a:stretch/>
        </p:blipFill>
        <p:spPr>
          <a:xfrm>
            <a:off x="8312019" y="1896558"/>
            <a:ext cx="245101" cy="255194"/>
          </a:xfrm>
          <a:prstGeom prst="snip2SameRect">
            <a:avLst>
              <a:gd name="adj1" fmla="val 39637"/>
              <a:gd name="adj2" fmla="val 0"/>
            </a:avLst>
          </a:prstGeom>
        </p:spPr>
      </p:pic>
      <p:sp>
        <p:nvSpPr>
          <p:cNvPr id="54" name="Spot 08">
            <a:extLst>
              <a:ext uri="{FF2B5EF4-FFF2-40B4-BE49-F238E27FC236}">
                <a16:creationId xmlns:a16="http://schemas.microsoft.com/office/drawing/2014/main" id="{9625DDC3-0092-D0E9-D4A4-47BE68446770}"/>
              </a:ext>
            </a:extLst>
          </p:cNvPr>
          <p:cNvSpPr>
            <a:spLocks noChangeAspect="1"/>
          </p:cNvSpPr>
          <p:nvPr/>
        </p:nvSpPr>
        <p:spPr bwMode="auto">
          <a:xfrm>
            <a:off x="9976376" y="4900920"/>
            <a:ext cx="295200" cy="29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EE0000"/>
                </a:solidFill>
                <a:effectLst/>
                <a:uLnTx/>
                <a:uFillTx/>
                <a:latin typeface="VELUX Transform Office"/>
                <a:ea typeface="+mn-ea"/>
                <a:cs typeface="+mn-cs"/>
              </a:rPr>
              <a:t>3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5523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21473781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5" hidden="1">
            <a:extLst>
              <a:ext uri="{FF2B5EF4-FFF2-40B4-BE49-F238E27FC236}">
                <a16:creationId xmlns:a16="http://schemas.microsoft.com/office/drawing/2014/main" id="{30EBC8CA-8EB1-9BCA-95AB-0B21DD842BE1}"/>
              </a:ext>
            </a:extLst>
          </p:cNvPr>
          <p:cNvGraphicFramePr/>
          <p:nvPr/>
        </p:nvGraphicFramePr>
        <p:xfrm>
          <a:off x="1591" y="1591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8313" imgH="8313" progId="">
                  <p:embed/>
                </p:oleObj>
              </mc:Choice>
              <mc:Fallback>
                <p:oleObj r:id="rId3" imgW="8313" imgH="8313" progId="">
                  <p:embed/>
                  <p:pic>
                    <p:nvPicPr>
                      <p:cNvPr id="2" name="Object 25" hidden="1">
                        <a:extLst>
                          <a:ext uri="{FF2B5EF4-FFF2-40B4-BE49-F238E27FC236}">
                            <a16:creationId xmlns:a16="http://schemas.microsoft.com/office/drawing/2014/main" id="{30EBC8CA-8EB1-9BCA-95AB-0B21DD842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91" cy="1591"/>
                      </a:xfrm>
                      <a:prstGeom prst="rect">
                        <a:avLst/>
                      </a:prstGeom>
                      <a:noFill/>
                      <a:ln cap="flat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ct 2">
            <a:extLst>
              <a:ext uri="{FF2B5EF4-FFF2-40B4-BE49-F238E27FC236}">
                <a16:creationId xmlns:a16="http://schemas.microsoft.com/office/drawing/2014/main" id="{8FB8A48C-2885-8E36-4D8B-7BC80BCBED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03470" y="1178707"/>
            <a:ext cx="1339669" cy="92230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object 3">
            <a:extLst>
              <a:ext uri="{FF2B5EF4-FFF2-40B4-BE49-F238E27FC236}">
                <a16:creationId xmlns:a16="http://schemas.microsoft.com/office/drawing/2014/main" id="{0330D6C3-5A81-D8FB-0CDD-0983978169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03470" y="2857271"/>
            <a:ext cx="1376382" cy="106203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object 4">
            <a:extLst>
              <a:ext uri="{FF2B5EF4-FFF2-40B4-BE49-F238E27FC236}">
                <a16:creationId xmlns:a16="http://schemas.microsoft.com/office/drawing/2014/main" id="{CB9E3FB6-ECD5-1433-774D-E1E53B9F39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93897" y="4620801"/>
            <a:ext cx="1762853" cy="1062039"/>
          </a:xfrm>
          <a:prstGeom prst="rect">
            <a:avLst/>
          </a:prstGeom>
          <a:noFill/>
          <a:ln cap="flat">
            <a:noFill/>
          </a:ln>
        </p:spPr>
      </p:pic>
      <p:grpSp>
        <p:nvGrpSpPr>
          <p:cNvPr id="6" name="object 5">
            <a:extLst>
              <a:ext uri="{FF2B5EF4-FFF2-40B4-BE49-F238E27FC236}">
                <a16:creationId xmlns:a16="http://schemas.microsoft.com/office/drawing/2014/main" id="{F9AF719D-6A0B-D62B-C618-CD9B3E172105}"/>
              </a:ext>
            </a:extLst>
          </p:cNvPr>
          <p:cNvGrpSpPr/>
          <p:nvPr/>
        </p:nvGrpSpPr>
        <p:grpSpPr>
          <a:xfrm>
            <a:off x="3905128" y="1568452"/>
            <a:ext cx="3707654" cy="3711878"/>
            <a:chOff x="3905128" y="1568452"/>
            <a:chExt cx="3707654" cy="3711878"/>
          </a:xfrm>
        </p:grpSpPr>
        <p:pic>
          <p:nvPicPr>
            <p:cNvPr id="7" name="object 6">
              <a:extLst>
                <a:ext uri="{FF2B5EF4-FFF2-40B4-BE49-F238E27FC236}">
                  <a16:creationId xmlns:a16="http://schemas.microsoft.com/office/drawing/2014/main" id="{857A7185-4F54-8665-54AF-FE985E09F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906517" y="1574066"/>
              <a:ext cx="3704874" cy="3704874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8" name="object 7">
              <a:extLst>
                <a:ext uri="{FF2B5EF4-FFF2-40B4-BE49-F238E27FC236}">
                  <a16:creationId xmlns:a16="http://schemas.microsoft.com/office/drawing/2014/main" id="{43B83454-9439-DE84-97F3-A8B59ADAED21}"/>
                </a:ext>
              </a:extLst>
            </p:cNvPr>
            <p:cNvSpPr/>
            <p:nvPr/>
          </p:nvSpPr>
          <p:spPr>
            <a:xfrm>
              <a:off x="3947510" y="1568452"/>
              <a:ext cx="3623072" cy="3532199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5974715"/>
                <a:gd name="f4" fmla="val 5824855"/>
                <a:gd name="f5" fmla="val 2987207"/>
                <a:gd name="f6" fmla="val 3064074"/>
                <a:gd name="f7" fmla="val 591573"/>
                <a:gd name="f8" fmla="val 1153724"/>
                <a:gd name="f9" fmla="val 3746043"/>
                <a:gd name="f10" fmla="val 1657959"/>
                <a:gd name="f11" fmla="val 5824796"/>
                <a:gd name="f12" fmla="val 4316936"/>
                <a:gd name="f13" fmla="val 5824566"/>
                <a:gd name="f14" fmla="val 5974530"/>
                <a:gd name="f15" fmla="val 3745519"/>
                <a:gd name="f16" fmla="val 5382506"/>
                <a:gd name="f17" fmla="val 1153305"/>
                <a:gd name="f18" fmla="*/ f0 1 5974715"/>
                <a:gd name="f19" fmla="*/ f1 1 5824855"/>
                <a:gd name="f20" fmla="+- f4 0 f2"/>
                <a:gd name="f21" fmla="+- f3 0 f2"/>
                <a:gd name="f22" fmla="*/ f21 1 5974715"/>
                <a:gd name="f23" fmla="*/ f20 1 5824855"/>
                <a:gd name="f24" fmla="*/ f2 1 f22"/>
                <a:gd name="f25" fmla="*/ f3 1 f22"/>
                <a:gd name="f26" fmla="*/ f2 1 f23"/>
                <a:gd name="f27" fmla="*/ f4 1 f23"/>
                <a:gd name="f28" fmla="*/ f24 f18 1"/>
                <a:gd name="f29" fmla="*/ f25 f18 1"/>
                <a:gd name="f30" fmla="*/ f27 f19 1"/>
                <a:gd name="f31" fmla="*/ f26 f19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8" t="f31" r="f29" b="f30"/>
              <a:pathLst>
                <a:path w="5974715" h="5824855">
                  <a:moveTo>
                    <a:pt x="f5" y="f6"/>
                  </a:moveTo>
                  <a:lnTo>
                    <a:pt x="f5" y="f2"/>
                  </a:lnTo>
                </a:path>
                <a:path w="5974715" h="5824855">
                  <a:moveTo>
                    <a:pt x="f5" y="f6"/>
                  </a:moveTo>
                  <a:lnTo>
                    <a:pt x="f7" y="f8"/>
                  </a:lnTo>
                </a:path>
                <a:path w="5974715" h="5824855">
                  <a:moveTo>
                    <a:pt x="f5" y="f6"/>
                  </a:moveTo>
                  <a:lnTo>
                    <a:pt x="f2" y="f9"/>
                  </a:lnTo>
                </a:path>
                <a:path w="5974715" h="5824855">
                  <a:moveTo>
                    <a:pt x="f5" y="f6"/>
                  </a:moveTo>
                  <a:lnTo>
                    <a:pt x="f10" y="f11"/>
                  </a:lnTo>
                </a:path>
                <a:path w="5974715" h="5824855">
                  <a:moveTo>
                    <a:pt x="f5" y="f6"/>
                  </a:moveTo>
                  <a:lnTo>
                    <a:pt x="f12" y="f13"/>
                  </a:lnTo>
                </a:path>
                <a:path w="5974715" h="5824855">
                  <a:moveTo>
                    <a:pt x="f5" y="f6"/>
                  </a:moveTo>
                  <a:lnTo>
                    <a:pt x="f14" y="f15"/>
                  </a:lnTo>
                </a:path>
                <a:path w="5974715" h="5824855">
                  <a:moveTo>
                    <a:pt x="f5" y="f6"/>
                  </a:moveTo>
                  <a:lnTo>
                    <a:pt x="f16" y="f17"/>
                  </a:lnTo>
                </a:path>
              </a:pathLst>
            </a:custGeom>
            <a:noFill/>
            <a:ln w="3300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pic>
          <p:nvPicPr>
            <p:cNvPr id="9" name="object 8">
              <a:extLst>
                <a:ext uri="{FF2B5EF4-FFF2-40B4-BE49-F238E27FC236}">
                  <a16:creationId xmlns:a16="http://schemas.microsoft.com/office/drawing/2014/main" id="{FB686F14-AA96-B172-07ED-FD6B3626FF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05128" y="1572676"/>
              <a:ext cx="3707654" cy="3707654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10" name="object 9">
            <a:extLst>
              <a:ext uri="{FF2B5EF4-FFF2-40B4-BE49-F238E27FC236}">
                <a16:creationId xmlns:a16="http://schemas.microsoft.com/office/drawing/2014/main" id="{CF6BB19C-BF05-2549-7C04-FCFC657691C7}"/>
              </a:ext>
            </a:extLst>
          </p:cNvPr>
          <p:cNvGrpSpPr/>
          <p:nvPr/>
        </p:nvGrpSpPr>
        <p:grpSpPr>
          <a:xfrm>
            <a:off x="7858253" y="1154466"/>
            <a:ext cx="1194087" cy="2359664"/>
            <a:chOff x="7858253" y="1154466"/>
            <a:chExt cx="1194087" cy="2359664"/>
          </a:xfrm>
        </p:grpSpPr>
        <p:sp>
          <p:nvSpPr>
            <p:cNvPr id="11" name="object 10">
              <a:extLst>
                <a:ext uri="{FF2B5EF4-FFF2-40B4-BE49-F238E27FC236}">
                  <a16:creationId xmlns:a16="http://schemas.microsoft.com/office/drawing/2014/main" id="{6DDF4415-D072-F6DD-74F9-B2F7465BC742}"/>
                </a:ext>
              </a:extLst>
            </p:cNvPr>
            <p:cNvSpPr/>
            <p:nvPr/>
          </p:nvSpPr>
          <p:spPr>
            <a:xfrm>
              <a:off x="7881094" y="3514121"/>
              <a:ext cx="417021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417025"/>
                <a:gd name="f5" fmla="val 416842"/>
                <a:gd name="f6" fmla="abs f0"/>
                <a:gd name="f7" fmla="abs f1"/>
                <a:gd name="f8" fmla="abs f2"/>
                <a:gd name="f9" fmla="*/ f0 1 417025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417025"/>
                <a:gd name="f16" fmla="*/ f10 1 0"/>
                <a:gd name="f17" fmla="*/ f12 1 417025"/>
                <a:gd name="f18" fmla="*/ f13 1 21600"/>
                <a:gd name="f19" fmla="*/ 21600 f13 1"/>
                <a:gd name="f20" fmla="*/ 0 1 f15"/>
                <a:gd name="f21" fmla="*/ 417025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417025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10469" cap="flat">
              <a:solidFill>
                <a:srgbClr val="000000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2" name="object 11">
              <a:extLst>
                <a:ext uri="{FF2B5EF4-FFF2-40B4-BE49-F238E27FC236}">
                  <a16:creationId xmlns:a16="http://schemas.microsoft.com/office/drawing/2014/main" id="{634BBD70-DB14-BC39-A2EC-45C4DA348E14}"/>
                </a:ext>
              </a:extLst>
            </p:cNvPr>
            <p:cNvSpPr/>
            <p:nvPr/>
          </p:nvSpPr>
          <p:spPr>
            <a:xfrm>
              <a:off x="8314218" y="1180682"/>
              <a:ext cx="0" cy="2296799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296795"/>
                <a:gd name="f5" fmla="val 2296725"/>
                <a:gd name="f6" fmla="abs f0"/>
                <a:gd name="f7" fmla="abs f1"/>
                <a:gd name="f8" fmla="abs f2"/>
                <a:gd name="f9" fmla="*/ f1 1 2296795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296795"/>
                <a:gd name="f17" fmla="*/ f12 1 21600"/>
                <a:gd name="f18" fmla="*/ f13 1 2296795"/>
                <a:gd name="f19" fmla="*/ 21600 f12 1"/>
                <a:gd name="f20" fmla="*/ 0 1 f15"/>
                <a:gd name="f21" fmla="*/ 1 1 f15"/>
                <a:gd name="f22" fmla="*/ 0 1 f16"/>
                <a:gd name="f23" fmla="*/ 2296795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296795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10469" cap="flat">
              <a:solidFill>
                <a:srgbClr val="000000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3" name="object 12">
              <a:extLst>
                <a:ext uri="{FF2B5EF4-FFF2-40B4-BE49-F238E27FC236}">
                  <a16:creationId xmlns:a16="http://schemas.microsoft.com/office/drawing/2014/main" id="{2B8DDB16-8A4F-266B-71CF-7085935123FD}"/>
                </a:ext>
              </a:extLst>
            </p:cNvPr>
            <p:cNvSpPr/>
            <p:nvPr/>
          </p:nvSpPr>
          <p:spPr>
            <a:xfrm>
              <a:off x="8336694" y="1154466"/>
              <a:ext cx="699662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699663"/>
                <a:gd name="f5" fmla="val 699430"/>
                <a:gd name="f6" fmla="abs f0"/>
                <a:gd name="f7" fmla="abs f1"/>
                <a:gd name="f8" fmla="abs f2"/>
                <a:gd name="f9" fmla="*/ f0 1 699663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699663"/>
                <a:gd name="f16" fmla="*/ f10 1 0"/>
                <a:gd name="f17" fmla="*/ f12 1 699663"/>
                <a:gd name="f18" fmla="*/ f13 1 21600"/>
                <a:gd name="f19" fmla="*/ 21600 f13 1"/>
                <a:gd name="f20" fmla="*/ 0 1 f15"/>
                <a:gd name="f21" fmla="*/ 699663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699663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10469" cap="flat">
              <a:solidFill>
                <a:srgbClr val="000000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4" name="object 13">
              <a:extLst>
                <a:ext uri="{FF2B5EF4-FFF2-40B4-BE49-F238E27FC236}">
                  <a16:creationId xmlns:a16="http://schemas.microsoft.com/office/drawing/2014/main" id="{E5AC0051-5F8D-EA58-DED3-7A8C2ADB138D}"/>
                </a:ext>
              </a:extLst>
            </p:cNvPr>
            <p:cNvSpPr/>
            <p:nvPr/>
          </p:nvSpPr>
          <p:spPr>
            <a:xfrm>
              <a:off x="7858253" y="1154466"/>
              <a:ext cx="1194087" cy="2359664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969134"/>
                <a:gd name="f4" fmla="val 2359660"/>
                <a:gd name="f5" fmla="val 2359655"/>
                <a:gd name="f6" fmla="val 16041"/>
                <a:gd name="f7" fmla="val 735883"/>
                <a:gd name="f8" fmla="val 751924"/>
                <a:gd name="f9" fmla="val 2343928"/>
                <a:gd name="f10" fmla="val 15727"/>
                <a:gd name="f11" fmla="val 767767"/>
                <a:gd name="f12" fmla="val 1953008"/>
                <a:gd name="f13" fmla="val 1968851"/>
                <a:gd name="f14" fmla="*/ f0 1 1969134"/>
                <a:gd name="f15" fmla="*/ f1 1 2359660"/>
                <a:gd name="f16" fmla="+- f4 0 f2"/>
                <a:gd name="f17" fmla="+- f3 0 f2"/>
                <a:gd name="f18" fmla="*/ f17 1 1969134"/>
                <a:gd name="f19" fmla="*/ f16 1 2359660"/>
                <a:gd name="f20" fmla="*/ f2 1 f18"/>
                <a:gd name="f21" fmla="*/ f3 1 f18"/>
                <a:gd name="f22" fmla="*/ f2 1 f19"/>
                <a:gd name="f23" fmla="*/ f4 1 f19"/>
                <a:gd name="f24" fmla="*/ f20 f14 1"/>
                <a:gd name="f25" fmla="*/ f21 f14 1"/>
                <a:gd name="f26" fmla="*/ f23 f15 1"/>
                <a:gd name="f27" fmla="*/ f22 f15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4" t="f27" r="f25" b="f26"/>
              <a:pathLst>
                <a:path w="1969134" h="2359660">
                  <a:moveTo>
                    <a:pt x="f2" y="f5"/>
                  </a:moveTo>
                  <a:lnTo>
                    <a:pt x="f6" y="f5"/>
                  </a:lnTo>
                </a:path>
                <a:path w="1969134" h="2359660">
                  <a:moveTo>
                    <a:pt x="f7" y="f5"/>
                  </a:moveTo>
                  <a:lnTo>
                    <a:pt x="f8" y="f5"/>
                  </a:lnTo>
                  <a:lnTo>
                    <a:pt x="f8" y="f9"/>
                  </a:lnTo>
                </a:path>
                <a:path w="1969134" h="2359660">
                  <a:moveTo>
                    <a:pt x="f8" y="f10"/>
                  </a:moveTo>
                  <a:lnTo>
                    <a:pt x="f8" y="f2"/>
                  </a:lnTo>
                  <a:lnTo>
                    <a:pt x="f11" y="f2"/>
                  </a:lnTo>
                </a:path>
                <a:path w="1969134" h="2359660">
                  <a:moveTo>
                    <a:pt x="f12" y="f2"/>
                  </a:moveTo>
                  <a:lnTo>
                    <a:pt x="f13" y="f2"/>
                  </a:lnTo>
                </a:path>
              </a:pathLst>
            </a:custGeom>
            <a:noFill/>
            <a:ln w="1046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grpSp>
        <p:nvGrpSpPr>
          <p:cNvPr id="15" name="object 14">
            <a:extLst>
              <a:ext uri="{FF2B5EF4-FFF2-40B4-BE49-F238E27FC236}">
                <a16:creationId xmlns:a16="http://schemas.microsoft.com/office/drawing/2014/main" id="{089AD36E-A60E-BF56-C812-2E8CA84FE085}"/>
              </a:ext>
            </a:extLst>
          </p:cNvPr>
          <p:cNvGrpSpPr/>
          <p:nvPr/>
        </p:nvGrpSpPr>
        <p:grpSpPr>
          <a:xfrm>
            <a:off x="8314218" y="3514112"/>
            <a:ext cx="738259" cy="2149470"/>
            <a:chOff x="8314218" y="3514112"/>
            <a:chExt cx="738259" cy="2149470"/>
          </a:xfrm>
        </p:grpSpPr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E98F474F-3171-1352-8E07-BD19ACD5D9B7}"/>
                </a:ext>
              </a:extLst>
            </p:cNvPr>
            <p:cNvSpPr/>
            <p:nvPr/>
          </p:nvSpPr>
          <p:spPr>
            <a:xfrm>
              <a:off x="8333366" y="5663409"/>
              <a:ext cx="696580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696582"/>
                <a:gd name="f5" fmla="val 696426"/>
                <a:gd name="f6" fmla="abs f0"/>
                <a:gd name="f7" fmla="abs f1"/>
                <a:gd name="f8" fmla="abs f2"/>
                <a:gd name="f9" fmla="*/ f0 1 696582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696582"/>
                <a:gd name="f16" fmla="*/ f10 1 0"/>
                <a:gd name="f17" fmla="*/ f12 1 696582"/>
                <a:gd name="f18" fmla="*/ f13 1 21600"/>
                <a:gd name="f19" fmla="*/ 21600 f13 1"/>
                <a:gd name="f20" fmla="*/ 0 1 f15"/>
                <a:gd name="f21" fmla="*/ 696582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696582">
                  <a:moveTo>
                    <a:pt x="f5" y="f29"/>
                  </a:moveTo>
                  <a:lnTo>
                    <a:pt x="f3" y="f29"/>
                  </a:lnTo>
                </a:path>
              </a:pathLst>
            </a:custGeom>
            <a:noFill/>
            <a:ln w="10469" cap="flat">
              <a:solidFill>
                <a:srgbClr val="000000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7" name="object 16">
              <a:extLst>
                <a:ext uri="{FF2B5EF4-FFF2-40B4-BE49-F238E27FC236}">
                  <a16:creationId xmlns:a16="http://schemas.microsoft.com/office/drawing/2014/main" id="{6A6BE411-EEB4-DF7F-F76E-CDF7542C5307}"/>
                </a:ext>
              </a:extLst>
            </p:cNvPr>
            <p:cNvSpPr/>
            <p:nvPr/>
          </p:nvSpPr>
          <p:spPr>
            <a:xfrm>
              <a:off x="8317391" y="3540337"/>
              <a:ext cx="0" cy="2086605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2086610"/>
                <a:gd name="f5" fmla="val 2086387"/>
                <a:gd name="f6" fmla="abs f0"/>
                <a:gd name="f7" fmla="abs f1"/>
                <a:gd name="f8" fmla="abs f2"/>
                <a:gd name="f9" fmla="*/ f1 1 2086610"/>
                <a:gd name="f10" fmla="+- f4 0 f3"/>
                <a:gd name="f11" fmla="+- f3 0 f3"/>
                <a:gd name="f12" fmla="?: f6 f0 1"/>
                <a:gd name="f13" fmla="?: f7 f1 1"/>
                <a:gd name="f14" fmla="?: f8 f2 1"/>
                <a:gd name="f15" fmla="*/ f11 1 0"/>
                <a:gd name="f16" fmla="*/ f10 1 2086610"/>
                <a:gd name="f17" fmla="*/ f12 1 21600"/>
                <a:gd name="f18" fmla="*/ f13 1 2086610"/>
                <a:gd name="f19" fmla="*/ 21600 f12 1"/>
                <a:gd name="f20" fmla="*/ 0 1 f15"/>
                <a:gd name="f21" fmla="*/ 1 1 f15"/>
                <a:gd name="f22" fmla="*/ 0 1 f16"/>
                <a:gd name="f23" fmla="*/ 2086610 1 f16"/>
                <a:gd name="f24" fmla="min f18 f17"/>
                <a:gd name="f25" fmla="*/ f19 1 f14"/>
                <a:gd name="f26" fmla="*/ f23 f9 1"/>
                <a:gd name="f27" fmla="*/ f22 f9 1"/>
                <a:gd name="f28" fmla="val f25"/>
                <a:gd name="f29" fmla="*/ f3 f24 1"/>
                <a:gd name="f30" fmla="+- f28 0 f3"/>
                <a:gd name="f31" fmla="*/ f30 1 0"/>
                <a:gd name="f32" fmla="*/ f20 f31 1"/>
                <a:gd name="f33" fmla="*/ f21 f31 1"/>
                <a:gd name="f34" fmla="*/ f32 f24 1"/>
                <a:gd name="f35" fmla="*/ f33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34" t="f27" r="f35" b="f26"/>
              <a:pathLst>
                <a:path h="2086610">
                  <a:moveTo>
                    <a:pt x="f29" y="f5"/>
                  </a:moveTo>
                  <a:lnTo>
                    <a:pt x="f29" y="f3"/>
                  </a:lnTo>
                </a:path>
              </a:pathLst>
            </a:custGeom>
            <a:noFill/>
            <a:ln w="10469" cap="flat">
              <a:solidFill>
                <a:srgbClr val="000000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8" name="object 17">
              <a:extLst>
                <a:ext uri="{FF2B5EF4-FFF2-40B4-BE49-F238E27FC236}">
                  <a16:creationId xmlns:a16="http://schemas.microsoft.com/office/drawing/2014/main" id="{8067910E-00BB-E4EE-34E2-1E6E26320ED4}"/>
                </a:ext>
              </a:extLst>
            </p:cNvPr>
            <p:cNvSpPr/>
            <p:nvPr/>
          </p:nvSpPr>
          <p:spPr>
            <a:xfrm>
              <a:off x="8317391" y="3514112"/>
              <a:ext cx="735086" cy="2149470"/>
            </a:xfrm>
            <a:custGeom>
              <a:avLst/>
              <a:gdLst>
                <a:gd name="f0" fmla="val w"/>
                <a:gd name="f1" fmla="val h"/>
                <a:gd name="f2" fmla="val 0"/>
                <a:gd name="f3" fmla="val 1212215"/>
                <a:gd name="f4" fmla="val 2149475"/>
                <a:gd name="f5" fmla="val 1211690"/>
                <a:gd name="f6" fmla="val 2149295"/>
                <a:gd name="f7" fmla="val 1195900"/>
                <a:gd name="f8" fmla="val 15779"/>
                <a:gd name="f9" fmla="val 2133568"/>
                <a:gd name="f10" fmla="val 15727"/>
                <a:gd name="f11" fmla="*/ f0 1 1212215"/>
                <a:gd name="f12" fmla="*/ f1 1 2149475"/>
                <a:gd name="f13" fmla="+- f4 0 f2"/>
                <a:gd name="f14" fmla="+- f3 0 f2"/>
                <a:gd name="f15" fmla="*/ f14 1 1212215"/>
                <a:gd name="f16" fmla="*/ f13 1 2149475"/>
                <a:gd name="f17" fmla="*/ f2 1 f15"/>
                <a:gd name="f18" fmla="*/ f3 1 f15"/>
                <a:gd name="f19" fmla="*/ f2 1 f16"/>
                <a:gd name="f20" fmla="*/ f4 1 f16"/>
                <a:gd name="f21" fmla="*/ f17 f11 1"/>
                <a:gd name="f22" fmla="*/ f18 f11 1"/>
                <a:gd name="f23" fmla="*/ f20 f12 1"/>
                <a:gd name="f24" fmla="*/ f19 f12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1" t="f24" r="f22" b="f23"/>
              <a:pathLst>
                <a:path w="1212215" h="2149475">
                  <a:moveTo>
                    <a:pt x="f5" y="f6"/>
                  </a:moveTo>
                  <a:lnTo>
                    <a:pt x="f7" y="f6"/>
                  </a:lnTo>
                </a:path>
                <a:path w="1212215" h="2149475">
                  <a:moveTo>
                    <a:pt x="f8" y="f6"/>
                  </a:moveTo>
                  <a:lnTo>
                    <a:pt x="f2" y="f6"/>
                  </a:lnTo>
                  <a:lnTo>
                    <a:pt x="f2" y="f9"/>
                  </a:lnTo>
                </a:path>
                <a:path w="1212215" h="2149475">
                  <a:moveTo>
                    <a:pt x="f2" y="f10"/>
                  </a:moveTo>
                  <a:lnTo>
                    <a:pt x="f2" y="f2"/>
                  </a:lnTo>
                </a:path>
              </a:pathLst>
            </a:custGeom>
            <a:noFill/>
            <a:ln w="10469" cap="flat">
              <a:solidFill>
                <a:srgbClr val="000000"/>
              </a:solidFill>
              <a:prstDash val="solid"/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  <p:sp>
          <p:nvSpPr>
            <p:cNvPr id="19" name="object 18">
              <a:extLst>
                <a:ext uri="{FF2B5EF4-FFF2-40B4-BE49-F238E27FC236}">
                  <a16:creationId xmlns:a16="http://schemas.microsoft.com/office/drawing/2014/main" id="{271F08F5-C71A-7F94-3FC9-358D45BD4596}"/>
                </a:ext>
              </a:extLst>
            </p:cNvPr>
            <p:cNvSpPr/>
            <p:nvPr/>
          </p:nvSpPr>
          <p:spPr>
            <a:xfrm>
              <a:off x="8314218" y="3514121"/>
              <a:ext cx="738167" cy="0"/>
            </a:xfrm>
            <a:custGeom>
              <a:avLst/>
              <a:gdLst>
                <a:gd name="f0" fmla="val w"/>
                <a:gd name="f1" fmla="val h"/>
                <a:gd name="f2" fmla="val ss"/>
                <a:gd name="f3" fmla="val 0"/>
                <a:gd name="f4" fmla="val 738169"/>
                <a:gd name="f5" fmla="val 737946"/>
                <a:gd name="f6" fmla="abs f0"/>
                <a:gd name="f7" fmla="abs f1"/>
                <a:gd name="f8" fmla="abs f2"/>
                <a:gd name="f9" fmla="*/ f0 1 738169"/>
                <a:gd name="f10" fmla="+- f3 0 f3"/>
                <a:gd name="f11" fmla="+- f4 0 f3"/>
                <a:gd name="f12" fmla="?: f6 f0 1"/>
                <a:gd name="f13" fmla="?: f7 f1 1"/>
                <a:gd name="f14" fmla="?: f8 f2 1"/>
                <a:gd name="f15" fmla="*/ f11 1 738169"/>
                <a:gd name="f16" fmla="*/ f10 1 0"/>
                <a:gd name="f17" fmla="*/ f12 1 738169"/>
                <a:gd name="f18" fmla="*/ f13 1 21600"/>
                <a:gd name="f19" fmla="*/ 21600 f13 1"/>
                <a:gd name="f20" fmla="*/ 0 1 f15"/>
                <a:gd name="f21" fmla="*/ 738169 1 f15"/>
                <a:gd name="f22" fmla="*/ 0 1 f16"/>
                <a:gd name="f23" fmla="*/ 1 1 f16"/>
                <a:gd name="f24" fmla="min f18 f17"/>
                <a:gd name="f25" fmla="*/ f19 1 f14"/>
                <a:gd name="f26" fmla="*/ f20 f9 1"/>
                <a:gd name="f27" fmla="*/ f21 f9 1"/>
                <a:gd name="f28" fmla="val f25"/>
                <a:gd name="f29" fmla="*/ f3 f24 1"/>
                <a:gd name="f30" fmla="+- f28 0 f3"/>
                <a:gd name="f31" fmla="*/ f30 1 0"/>
                <a:gd name="f32" fmla="*/ f23 f31 1"/>
                <a:gd name="f33" fmla="*/ f22 f31 1"/>
                <a:gd name="f34" fmla="*/ f33 f24 1"/>
                <a:gd name="f35" fmla="*/ f32 f2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26" t="f34" r="f27" b="f35"/>
              <a:pathLst>
                <a:path w="738169">
                  <a:moveTo>
                    <a:pt x="f3" y="f29"/>
                  </a:moveTo>
                  <a:lnTo>
                    <a:pt x="f5" y="f29"/>
                  </a:lnTo>
                </a:path>
              </a:pathLst>
            </a:custGeom>
            <a:noFill/>
            <a:ln w="10469" cap="flat">
              <a:solidFill>
                <a:srgbClr val="000000"/>
              </a:solidFill>
              <a:custDash>
                <a:ds d="100000" sp="100000"/>
              </a:custDash>
              <a:miter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DK" sz="1092" b="0" i="0" u="none" strike="noStrike" kern="1200" cap="none" spc="0" baseline="0">
                <a:solidFill>
                  <a:srgbClr val="000000"/>
                </a:solidFill>
                <a:uFillTx/>
                <a:latin typeface="VeluxForOffice"/>
              </a:endParaRPr>
            </a:p>
          </p:txBody>
        </p:sp>
      </p:grp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F3A1EEEE-404B-3BDD-52E8-53A67F23409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11262043" y="212908"/>
            <a:ext cx="718956" cy="243943"/>
          </a:xfrm>
          <a:blipFill>
            <a:blip r:embed="rId10"/>
            <a:stretch>
              <a:fillRect/>
            </a:stretch>
          </a:blipFill>
        </p:spPr>
        <p:txBody>
          <a:bodyPr bIns="7196">
            <a:normAutofit fontScale="77500" lnSpcReduction="20000"/>
          </a:bodyPr>
          <a:lstStyle/>
          <a:p>
            <a:endParaRPr lang="en-DK"/>
          </a:p>
        </p:txBody>
      </p:sp>
      <p:sp>
        <p:nvSpPr>
          <p:cNvPr id="21" name="object 22">
            <a:extLst>
              <a:ext uri="{FF2B5EF4-FFF2-40B4-BE49-F238E27FC236}">
                <a16:creationId xmlns:a16="http://schemas.microsoft.com/office/drawing/2014/main" id="{500966E4-C5F8-8C33-2E82-3A63CDB4F319}"/>
              </a:ext>
            </a:extLst>
          </p:cNvPr>
          <p:cNvSpPr txBox="1"/>
          <p:nvPr/>
        </p:nvSpPr>
        <p:spPr>
          <a:xfrm>
            <a:off x="9354750" y="1056772"/>
            <a:ext cx="555260" cy="12252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1200" cap="none" spc="0" baseline="0">
                <a:solidFill>
                  <a:srgbClr val="000000"/>
                </a:solidFill>
                <a:uFillTx/>
                <a:latin typeface="Arial"/>
                <a:cs typeface="Arial"/>
              </a:rPr>
              <a:t>NEW</a:t>
            </a:r>
            <a:r>
              <a:rPr lang="en-US" sz="728" b="1" i="0" u="none" strike="noStrike" kern="1200" cap="none" spc="49" baseline="0">
                <a:solidFill>
                  <a:srgbClr val="000000"/>
                </a:solidFill>
                <a:uFillTx/>
                <a:latin typeface="Arial"/>
                <a:cs typeface="Arial"/>
              </a:rPr>
              <a:t> </a:t>
            </a:r>
            <a:r>
              <a:rPr lang="en-US" sz="728" b="1" i="0" u="none" strike="noStrike" kern="1200" cap="none" spc="-6" baseline="0">
                <a:solidFill>
                  <a:srgbClr val="000000"/>
                </a:solidFill>
                <a:uFillTx/>
                <a:latin typeface="Arial"/>
                <a:cs typeface="Arial"/>
              </a:rPr>
              <a:t>BUILD</a:t>
            </a:r>
            <a:endParaRPr lang="en-US" sz="72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22" name="object 23">
            <a:extLst>
              <a:ext uri="{FF2B5EF4-FFF2-40B4-BE49-F238E27FC236}">
                <a16:creationId xmlns:a16="http://schemas.microsoft.com/office/drawing/2014/main" id="{3F96B12C-503F-9936-5FED-7BDBDF2225A6}"/>
              </a:ext>
            </a:extLst>
          </p:cNvPr>
          <p:cNvSpPr txBox="1"/>
          <p:nvPr/>
        </p:nvSpPr>
        <p:spPr>
          <a:xfrm>
            <a:off x="9354750" y="2746958"/>
            <a:ext cx="636513" cy="12252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1200" cap="none" spc="-6" baseline="0">
                <a:solidFill>
                  <a:srgbClr val="000000"/>
                </a:solidFill>
                <a:uFillTx/>
                <a:latin typeface="Arial"/>
                <a:cs typeface="Arial"/>
              </a:rPr>
              <a:t>RENOVATION</a:t>
            </a:r>
            <a:endParaRPr lang="en-US" sz="72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23" name="object 24">
            <a:extLst>
              <a:ext uri="{FF2B5EF4-FFF2-40B4-BE49-F238E27FC236}">
                <a16:creationId xmlns:a16="http://schemas.microsoft.com/office/drawing/2014/main" id="{29AD9E23-0F49-7622-8A22-81C83DF5856A}"/>
              </a:ext>
            </a:extLst>
          </p:cNvPr>
          <p:cNvSpPr txBox="1"/>
          <p:nvPr/>
        </p:nvSpPr>
        <p:spPr>
          <a:xfrm>
            <a:off x="9354750" y="4548856"/>
            <a:ext cx="913375" cy="12252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0396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8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28" b="1" i="0" u="none" strike="noStrike" kern="1200" cap="none" spc="-6" baseline="0">
                <a:solidFill>
                  <a:srgbClr val="000000"/>
                </a:solidFill>
                <a:uFillTx/>
                <a:latin typeface="Arial"/>
                <a:cs typeface="Arial"/>
              </a:rPr>
              <a:t>TRANSFORMATION</a:t>
            </a:r>
            <a:endParaRPr lang="en-US" sz="728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/>
            </a:endParaRP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F47B4B8F-3469-44F2-96B3-42D0D3B19387}"/>
              </a:ext>
            </a:extLst>
          </p:cNvPr>
          <p:cNvSpPr txBox="1"/>
          <p:nvPr/>
        </p:nvSpPr>
        <p:spPr>
          <a:xfrm>
            <a:off x="358874" y="711933"/>
            <a:ext cx="4036783" cy="154794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Compass - a</a:t>
            </a:r>
            <a:r>
              <a:rPr lang="en-US" sz="2400" b="1" i="0" u="none" strike="noStrike" kern="1200" cap="none" spc="-64" baseline="0" dirty="0">
                <a:solidFill>
                  <a:srgbClr val="000000"/>
                </a:solidFill>
                <a:uFillTx/>
                <a:latin typeface="VeluxForOffice"/>
              </a:rPr>
              <a:t> </a:t>
            </a:r>
            <a:r>
              <a:rPr lang="en-US" sz="2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strategic</a:t>
            </a:r>
            <a:r>
              <a:rPr lang="en-US" sz="2400" b="1" i="0" u="none" strike="noStrike" kern="1200" cap="none" spc="-9" baseline="0" dirty="0">
                <a:solidFill>
                  <a:srgbClr val="000000"/>
                </a:solidFill>
                <a:uFillTx/>
                <a:latin typeface="VeluxForOffice"/>
              </a:rPr>
              <a:t> </a:t>
            </a:r>
            <a:r>
              <a:rPr lang="en-US" sz="2400" b="1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</a:rPr>
              <a:t>approach </a:t>
            </a:r>
            <a:r>
              <a:rPr lang="en-US" sz="2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for</a:t>
            </a:r>
            <a:r>
              <a:rPr lang="en-US" sz="2400" b="1" i="0" u="none" strike="noStrike" kern="1200" cap="none" spc="3" baseline="0" dirty="0">
                <a:solidFill>
                  <a:srgbClr val="000000"/>
                </a:solidFill>
                <a:uFillTx/>
                <a:latin typeface="VeluxForOffice"/>
              </a:rPr>
              <a:t> </a:t>
            </a:r>
            <a:r>
              <a:rPr lang="en-US" sz="2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both</a:t>
            </a:r>
            <a:r>
              <a:rPr lang="en-US" sz="2400" b="1" i="0" u="none" strike="noStrike" kern="1200" cap="none" spc="3" baseline="0" dirty="0">
                <a:solidFill>
                  <a:srgbClr val="000000"/>
                </a:solidFill>
                <a:uFillTx/>
                <a:latin typeface="VeluxForOffice"/>
              </a:rPr>
              <a:t> </a:t>
            </a:r>
            <a:r>
              <a:rPr lang="en-US" sz="2400" b="1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</a:rPr>
              <a:t>renovation </a:t>
            </a:r>
            <a:r>
              <a:rPr lang="en-US" sz="2400" b="1" i="0" u="none" strike="noStrike" kern="1200" cap="none" spc="0" baseline="0" dirty="0">
                <a:solidFill>
                  <a:srgbClr val="000000"/>
                </a:solidFill>
                <a:uFillTx/>
                <a:latin typeface="VeluxForOffice"/>
              </a:rPr>
              <a:t>and new </a:t>
            </a:r>
            <a:r>
              <a:rPr lang="en-US" sz="2400" b="1" i="0" u="none" strike="noStrike" kern="1200" cap="none" spc="-6" baseline="0" dirty="0">
                <a:solidFill>
                  <a:srgbClr val="000000"/>
                </a:solidFill>
                <a:uFillTx/>
                <a:latin typeface="VeluxForOffice"/>
              </a:rPr>
              <a:t>build</a:t>
            </a:r>
            <a:endParaRPr lang="en-GB" sz="2400" b="1" i="0" u="none" strike="noStrike" kern="1200" cap="all" spc="0" baseline="0" dirty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0793DFCC-5ECD-BD07-938C-20054C88FD80}"/>
              </a:ext>
            </a:extLst>
          </p:cNvPr>
          <p:cNvSpPr txBox="1"/>
          <p:nvPr/>
        </p:nvSpPr>
        <p:spPr>
          <a:xfrm>
            <a:off x="409705" y="2578813"/>
            <a:ext cx="3095372" cy="274614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2701" rIns="0" bIns="0" anchor="t" anchorCtr="0" compatLnSpc="1">
            <a:noAutofit/>
          </a:bodyPr>
          <a:lstStyle/>
          <a:p>
            <a:pPr marL="12701" marR="5084" lvl="0" indent="0" algn="l" defTabSz="914400" rtl="0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333333"/>
                </a:solidFill>
                <a:uFillTx/>
                <a:latin typeface="VeluxForOffice"/>
                <a:cs typeface="Trebuchet MS"/>
              </a:rPr>
              <a:t>The approach can be used for new build, transformation and renovations. It serves as a strategic way of thinking which outlines a clear framework to guide the building and development process.</a:t>
            </a:r>
          </a:p>
          <a:p>
            <a:pPr marL="12701" marR="5084" lvl="0" indent="0" algn="l" defTabSz="914400" rtl="0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00" b="0" i="0" u="none" strike="noStrike" kern="1200" cap="none" spc="0" baseline="0" dirty="0">
              <a:solidFill>
                <a:srgbClr val="333333"/>
              </a:solidFill>
              <a:uFillTx/>
              <a:latin typeface="VeluxForOffice"/>
              <a:cs typeface="Trebuchet MS"/>
            </a:endParaRPr>
          </a:p>
          <a:p>
            <a:pPr marL="12701" marR="5084" lvl="0" indent="0" algn="l" defTabSz="914400" rtl="0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400" b="0" i="0" u="none" strike="noStrike" kern="1200" cap="none" spc="0" baseline="0" dirty="0">
                <a:solidFill>
                  <a:srgbClr val="333333"/>
                </a:solidFill>
                <a:uFillTx/>
                <a:latin typeface="VeluxForOffice"/>
                <a:cs typeface="Trebuchet MS"/>
              </a:rPr>
              <a:t>Most of all, the Compass lays out a series of building principles to ensure quality and integrity throughout the entire design process.</a:t>
            </a:r>
          </a:p>
          <a:p>
            <a:pPr marL="12701" marR="5084" lvl="0" indent="0" algn="l" defTabSz="914400" rtl="0" fontAlgn="auto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400" b="0" i="0" u="none" strike="noStrike" kern="1200" cap="none" spc="0" baseline="0" dirty="0">
              <a:solidFill>
                <a:srgbClr val="333333"/>
              </a:solidFill>
              <a:uFillTx/>
              <a:latin typeface="VeluxForOffice"/>
              <a:cs typeface="Trebuchet MS"/>
            </a:endParaRPr>
          </a:p>
        </p:txBody>
      </p:sp>
      <p:grpSp>
        <p:nvGrpSpPr>
          <p:cNvPr id="26" name="Group 18">
            <a:extLst>
              <a:ext uri="{FF2B5EF4-FFF2-40B4-BE49-F238E27FC236}">
                <a16:creationId xmlns:a16="http://schemas.microsoft.com/office/drawing/2014/main" id="{E29CB18F-2DDC-AFB2-DBE0-F12662175AB3}"/>
              </a:ext>
            </a:extLst>
          </p:cNvPr>
          <p:cNvGrpSpPr/>
          <p:nvPr/>
        </p:nvGrpSpPr>
        <p:grpSpPr>
          <a:xfrm>
            <a:off x="3680642" y="1308497"/>
            <a:ext cx="4335399" cy="4335399"/>
            <a:chOff x="3680642" y="1308497"/>
            <a:chExt cx="4335399" cy="4335399"/>
          </a:xfrm>
        </p:grpSpPr>
        <p:pic>
          <p:nvPicPr>
            <p:cNvPr id="27" name="object 2">
              <a:extLst>
                <a:ext uri="{FF2B5EF4-FFF2-40B4-BE49-F238E27FC236}">
                  <a16:creationId xmlns:a16="http://schemas.microsoft.com/office/drawing/2014/main" id="{140E8083-AC72-FF41-3CE4-4FC41BFCE0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680642" y="1308497"/>
              <a:ext cx="4335399" cy="4335399"/>
            </a:xfrm>
            <a:prstGeom prst="rect">
              <a:avLst/>
            </a:prstGeom>
            <a:noFill/>
            <a:ln cap="flat">
              <a:noFill/>
            </a:ln>
          </p:spPr>
        </p:pic>
        <p:sp>
          <p:nvSpPr>
            <p:cNvPr id="28" name="object 3">
              <a:extLst>
                <a:ext uri="{FF2B5EF4-FFF2-40B4-BE49-F238E27FC236}">
                  <a16:creationId xmlns:a16="http://schemas.microsoft.com/office/drawing/2014/main" id="{D2789266-59D9-5C14-C8FB-50932811F511}"/>
                </a:ext>
              </a:extLst>
            </p:cNvPr>
            <p:cNvSpPr txBox="1"/>
            <p:nvPr/>
          </p:nvSpPr>
          <p:spPr>
            <a:xfrm>
              <a:off x="4907091" y="2895401"/>
              <a:ext cx="1882511" cy="1083271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0" tIns="33018" rIns="0" bIns="0" anchor="ctr" anchorCtr="1" compatLnSpc="1">
              <a:noAutofit/>
            </a:bodyPr>
            <a:lstStyle/>
            <a:p>
              <a:pPr marL="12701" marR="5084" lvl="0" indent="0" algn="ctr" defTabSz="914400" rtl="0" fontAlgn="auto" hangingPunct="1">
                <a:lnSpc>
                  <a:spcPts val="1800"/>
                </a:lnSpc>
                <a:spcBef>
                  <a:spcPts val="26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600" b="1" i="0" u="none" strike="noStrike" kern="1200" cap="none" spc="35" baseline="0">
                  <a:solidFill>
                    <a:srgbClr val="333333"/>
                  </a:solidFill>
                  <a:uFillTx/>
                  <a:latin typeface="Calibri"/>
                  <a:cs typeface="Calibri"/>
                </a:rPr>
                <a:t>The </a:t>
              </a:r>
              <a:r>
                <a:rPr lang="en-US" sz="1600" b="1" i="0" u="none" strike="noStrike" kern="1200" cap="none" spc="45" baseline="0">
                  <a:solidFill>
                    <a:srgbClr val="333333"/>
                  </a:solidFill>
                  <a:uFillTx/>
                  <a:latin typeface="Calibri"/>
                  <a:cs typeface="Calibri"/>
                </a:rPr>
                <a:t>compass </a:t>
              </a:r>
              <a:br>
                <a:rPr lang="en-US" sz="1600" b="1" i="0" u="none" strike="noStrike" kern="1200" cap="none" spc="45" baseline="0">
                  <a:solidFill>
                    <a:srgbClr val="333333"/>
                  </a:solidFill>
                  <a:uFillTx/>
                  <a:latin typeface="Calibri"/>
                  <a:cs typeface="Calibri"/>
                </a:rPr>
              </a:br>
              <a:r>
                <a:rPr lang="en-US" sz="1600" b="1" i="0" u="none" strike="noStrike" kern="1200" cap="none" spc="10" baseline="0">
                  <a:solidFill>
                    <a:srgbClr val="333333"/>
                  </a:solidFill>
                  <a:uFillTx/>
                  <a:latin typeface="Calibri"/>
                  <a:cs typeface="Calibri"/>
                </a:rPr>
                <a:t>model</a:t>
              </a:r>
              <a:endParaRPr lang="en-US" sz="16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  <a:cs typeface="Calibri"/>
              </a:endParaRPr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19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>
            <a:extLst>
              <a:ext uri="{FF2B5EF4-FFF2-40B4-BE49-F238E27FC236}">
                <a16:creationId xmlns:a16="http://schemas.microsoft.com/office/drawing/2014/main" id="{48DD41AE-D0B5-6380-E0BE-94EA3AFF54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" y="0"/>
            <a:ext cx="12191146" cy="685751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object 8">
            <a:extLst>
              <a:ext uri="{FF2B5EF4-FFF2-40B4-BE49-F238E27FC236}">
                <a16:creationId xmlns:a16="http://schemas.microsoft.com/office/drawing/2014/main" id="{67CE44D9-89CA-36B9-FF3F-96E5BE280981}"/>
              </a:ext>
            </a:extLst>
          </p:cNvPr>
          <p:cNvSpPr/>
          <p:nvPr/>
        </p:nvSpPr>
        <p:spPr>
          <a:xfrm>
            <a:off x="10969261" y="337148"/>
            <a:ext cx="896779" cy="297390"/>
          </a:xfrm>
          <a:prstGeom prst="rect">
            <a:avLst/>
          </a:prstGeom>
          <a:blipFill>
            <a:blip r:embed="rId3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3E100C-BEBA-2072-6A4F-21468F46CD47}"/>
              </a:ext>
            </a:extLst>
          </p:cNvPr>
          <p:cNvSpPr txBox="1"/>
          <p:nvPr/>
        </p:nvSpPr>
        <p:spPr>
          <a:xfrm>
            <a:off x="358874" y="7004221"/>
            <a:ext cx="489277" cy="2412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C741010-C10D-4127-86AF-7FAC24B0FEC5}" type="slidenum">
              <a:rPr/>
              <a:t>9</a:t>
            </a:fld>
            <a:endParaRPr lang="en-GB" sz="1000" b="0" i="0" u="none" strike="noStrike" kern="1200" cap="none" spc="0" baseline="0">
              <a:solidFill>
                <a:srgbClr val="B0B0B0"/>
              </a:solidFill>
              <a:uFillTx/>
              <a:latin typeface="VeluxForOffice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1B81EA7D-35A3-7E4F-D45B-136EED054A49}"/>
              </a:ext>
            </a:extLst>
          </p:cNvPr>
          <p:cNvSpPr/>
          <p:nvPr/>
        </p:nvSpPr>
        <p:spPr>
          <a:xfrm>
            <a:off x="10969608" y="336928"/>
            <a:ext cx="896843" cy="297408"/>
          </a:xfrm>
          <a:prstGeom prst="rect">
            <a:avLst/>
          </a:prstGeom>
          <a:blipFill>
            <a:blip r:embed="rId3">
              <a:alphaModFix/>
            </a:blip>
            <a:stretch>
              <a:fillRect/>
            </a:stretch>
          </a:blip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920E262E-4CC8-4661-6CF0-538F7B6C5ED7}"/>
              </a:ext>
            </a:extLst>
          </p:cNvPr>
          <p:cNvSpPr txBox="1"/>
          <p:nvPr/>
        </p:nvSpPr>
        <p:spPr>
          <a:xfrm>
            <a:off x="10947809" y="656539"/>
            <a:ext cx="940423" cy="26155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18864" rIns="0" bIns="0" anchor="t" anchorCtr="1" compatLnSpc="1">
            <a:spAutoFit/>
          </a:bodyPr>
          <a:lstStyle/>
          <a:p>
            <a:pPr marL="15014" marR="3081" lvl="0" indent="-7699" algn="ctr" defTabSz="914400" rtl="0" fontAlgn="auto" hangingPunct="1">
              <a:lnSpc>
                <a:spcPct val="100000"/>
              </a:lnSpc>
              <a:spcBef>
                <a:spcPts val="15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US</a:t>
            </a:r>
            <a:r>
              <a:rPr lang="en-GB" sz="788" b="0" i="0" u="none" strike="noStrike" kern="1200" cap="none" spc="-55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T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A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NAB</a:t>
            </a:r>
            <a:r>
              <a:rPr lang="en-GB" sz="788" b="0" i="0" u="none" strike="noStrike" kern="1200" cap="none" spc="-3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I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LITY  </a:t>
            </a:r>
            <a:r>
              <a:rPr lang="en-GB" sz="788" b="0" i="0" u="none" strike="noStrike" kern="1200" cap="none" spc="-6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STRATEGY</a:t>
            </a:r>
            <a:r>
              <a:rPr lang="en-GB" sz="788" b="0" i="0" u="none" strike="noStrike" kern="1200" cap="none" spc="-49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 </a:t>
            </a:r>
            <a:r>
              <a:rPr lang="en-GB" sz="788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2030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4CE7299E-5248-09CC-50AA-24E1DDC542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768" y="291894"/>
            <a:ext cx="638918" cy="613800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object 5">
            <a:extLst>
              <a:ext uri="{FF2B5EF4-FFF2-40B4-BE49-F238E27FC236}">
                <a16:creationId xmlns:a16="http://schemas.microsoft.com/office/drawing/2014/main" id="{6B23DDF3-3082-A31D-BB2E-29756D5F673F}"/>
              </a:ext>
            </a:extLst>
          </p:cNvPr>
          <p:cNvSpPr/>
          <p:nvPr/>
        </p:nvSpPr>
        <p:spPr>
          <a:xfrm>
            <a:off x="616131" y="3299539"/>
            <a:ext cx="3606128" cy="0"/>
          </a:xfrm>
          <a:custGeom>
            <a:avLst/>
            <a:gdLst>
              <a:gd name="f0" fmla="val w"/>
              <a:gd name="f1" fmla="val h"/>
              <a:gd name="f2" fmla="val ss"/>
              <a:gd name="f3" fmla="val 0"/>
              <a:gd name="f4" fmla="val 3606130"/>
              <a:gd name="f5" fmla="val 3605894"/>
              <a:gd name="f6" fmla="abs f0"/>
              <a:gd name="f7" fmla="abs f1"/>
              <a:gd name="f8" fmla="abs f2"/>
              <a:gd name="f9" fmla="*/ f0 1 3606130"/>
              <a:gd name="f10" fmla="+- f3 0 f3"/>
              <a:gd name="f11" fmla="+- f4 0 f3"/>
              <a:gd name="f12" fmla="?: f6 f0 1"/>
              <a:gd name="f13" fmla="?: f7 f1 1"/>
              <a:gd name="f14" fmla="?: f8 f2 1"/>
              <a:gd name="f15" fmla="*/ f11 1 3606130"/>
              <a:gd name="f16" fmla="*/ f10 1 0"/>
              <a:gd name="f17" fmla="*/ f12 1 3606130"/>
              <a:gd name="f18" fmla="*/ f13 1 21600"/>
              <a:gd name="f19" fmla="*/ 21600 f13 1"/>
              <a:gd name="f20" fmla="*/ 0 1 f15"/>
              <a:gd name="f21" fmla="*/ 3606130 1 f15"/>
              <a:gd name="f22" fmla="*/ 0 1 f16"/>
              <a:gd name="f23" fmla="*/ 1 1 f16"/>
              <a:gd name="f24" fmla="min f18 f17"/>
              <a:gd name="f25" fmla="*/ f19 1 f14"/>
              <a:gd name="f26" fmla="*/ f20 f9 1"/>
              <a:gd name="f27" fmla="*/ f21 f9 1"/>
              <a:gd name="f28" fmla="val f25"/>
              <a:gd name="f29" fmla="*/ f3 f24 1"/>
              <a:gd name="f30" fmla="+- f28 0 f3"/>
              <a:gd name="f31" fmla="*/ f30 1 0"/>
              <a:gd name="f32" fmla="*/ f23 f31 1"/>
              <a:gd name="f33" fmla="*/ f22 f31 1"/>
              <a:gd name="f34" fmla="*/ f33 f24 1"/>
              <a:gd name="f35" fmla="*/ f32 f2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26" t="f34" r="f27" b="f35"/>
            <a:pathLst>
              <a:path w="3606130">
                <a:moveTo>
                  <a:pt x="f3" y="f29"/>
                </a:moveTo>
                <a:lnTo>
                  <a:pt x="f5" y="f29"/>
                </a:lnTo>
              </a:path>
            </a:pathLst>
          </a:custGeom>
          <a:noFill/>
          <a:ln w="52358" cap="flat">
            <a:solidFill>
              <a:srgbClr val="FFFFFF"/>
            </a:solidFill>
            <a:prstDash val="solid"/>
            <a:miter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DK" sz="1092" b="0" i="0" u="none" strike="noStrike" kern="1200" cap="none" spc="0" baseline="0">
              <a:solidFill>
                <a:srgbClr val="000000"/>
              </a:solidFill>
              <a:uFillTx/>
              <a:latin typeface="VeluxForOffice"/>
            </a:endParaRPr>
          </a:p>
        </p:txBody>
      </p:sp>
      <p:sp>
        <p:nvSpPr>
          <p:cNvPr id="9" name="object 7">
            <a:extLst>
              <a:ext uri="{FF2B5EF4-FFF2-40B4-BE49-F238E27FC236}">
                <a16:creationId xmlns:a16="http://schemas.microsoft.com/office/drawing/2014/main" id="{145EDA9E-CD76-0CD3-E49C-F365B050AAC2}"/>
              </a:ext>
            </a:extLst>
          </p:cNvPr>
          <p:cNvSpPr txBox="1"/>
          <p:nvPr/>
        </p:nvSpPr>
        <p:spPr>
          <a:xfrm>
            <a:off x="909206" y="3022037"/>
            <a:ext cx="3481642" cy="20769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6931" rIns="0" bIns="0" anchor="t" anchorCtr="0" compatLnSpc="1">
            <a:spAutoFit/>
          </a:bodyPr>
          <a:lstStyle/>
          <a:p>
            <a:pPr marL="7699" marR="0" lvl="0" indent="0" algn="l" defTabSz="914400" rtl="0" fontAlgn="auto" hangingPunct="1">
              <a:lnSpc>
                <a:spcPct val="100000"/>
              </a:lnSpc>
              <a:spcBef>
                <a:spcPts val="55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304" b="0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PIONEER CLIMATE AND NATURE ACTION</a:t>
            </a:r>
          </a:p>
        </p:txBody>
      </p:sp>
      <p:pic>
        <p:nvPicPr>
          <p:cNvPr id="10" name="Picture 13">
            <a:extLst>
              <a:ext uri="{FF2B5EF4-FFF2-40B4-BE49-F238E27FC236}">
                <a16:creationId xmlns:a16="http://schemas.microsoft.com/office/drawing/2014/main" id="{9B95CF69-B01B-4C6B-F5E0-DD9D0F320C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240" y="3077961"/>
            <a:ext cx="443154" cy="443154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1" name="object 7">
            <a:extLst>
              <a:ext uri="{FF2B5EF4-FFF2-40B4-BE49-F238E27FC236}">
                <a16:creationId xmlns:a16="http://schemas.microsoft.com/office/drawing/2014/main" id="{7F9CE62A-99E0-193A-18E3-90E60E32315D}"/>
              </a:ext>
            </a:extLst>
          </p:cNvPr>
          <p:cNvSpPr txBox="1"/>
          <p:nvPr/>
        </p:nvSpPr>
        <p:spPr>
          <a:xfrm>
            <a:off x="548640" y="3489249"/>
            <a:ext cx="9715033" cy="307069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276459" rIns="0" bIns="0" anchor="t" anchorCtr="0" compatLnSpc="1">
            <a:spAutoFit/>
          </a:bodyPr>
          <a:lstStyle/>
          <a:p>
            <a:pPr marL="0" marR="10012" lvl="0" indent="0" algn="l" defTabSz="914400" rtl="0" fontAlgn="auto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600" b="1" i="0" u="none" strike="noStrike" kern="1200" cap="none" spc="0" baseline="0">
                <a:solidFill>
                  <a:srgbClr val="FFFFFF"/>
                </a:solidFill>
                <a:uFillTx/>
                <a:latin typeface="VELUXforOffice" pitchFamily="2"/>
                <a:cs typeface="Helvetica"/>
              </a:rPr>
              <a:t>LIVING PLACES</a:t>
            </a:r>
          </a:p>
          <a:p>
            <a:pPr marL="0" marR="10012" lvl="0" indent="0" algn="l" defTabSz="914400" rtl="0" fontAlgn="auto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00" b="1" i="0" u="none" strike="noStrike" kern="1200" cap="none" spc="0" baseline="0">
              <a:solidFill>
                <a:srgbClr val="FFFFFF"/>
              </a:solidFill>
              <a:uFillTx/>
              <a:latin typeface="VELUXforOffice" pitchFamily="2"/>
              <a:cs typeface="Helvetica"/>
            </a:endParaRPr>
          </a:p>
          <a:p>
            <a:pPr marL="0" marR="10012" lvl="0" indent="0" algn="l" defTabSz="914400" rtl="0" fontAlgn="auto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00" b="0" i="0" u="none" strike="noStrike" kern="1200" cap="none" spc="0" baseline="0">
              <a:solidFill>
                <a:srgbClr val="FFFFFF"/>
              </a:solidFill>
              <a:uFillTx/>
              <a:latin typeface="VELUXforOffice" pitchFamily="2"/>
              <a:cs typeface="Helvetica"/>
            </a:endParaRPr>
          </a:p>
          <a:p>
            <a:pPr marL="0" marR="10012" lvl="0" indent="0" algn="l" defTabSz="914400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000" b="0" i="0" u="none" strike="noStrike" kern="1200" cap="none" spc="0" baseline="0">
              <a:solidFill>
                <a:srgbClr val="FFFFFF"/>
              </a:solidFill>
              <a:uFillTx/>
              <a:latin typeface="VeluxForOffice"/>
            </a:endParaRPr>
          </a:p>
          <a:p>
            <a:pPr marL="0" marR="10012" lvl="0" indent="0" algn="l" defTabSz="914400" rtl="0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000" b="0" i="0" u="none" strike="noStrike" kern="1200" cap="none" spc="0" baseline="0">
                <a:solidFill>
                  <a:srgbClr val="FFFFFF"/>
                </a:solidFill>
                <a:uFillTx/>
                <a:latin typeface="VeluxForOffice"/>
              </a:rPr>
              <a:t> SUSTAINABLE LIVING ENVIRONMENTS FOR PEOPLE AND PLANET </a:t>
            </a:r>
            <a:endParaRPr lang="en-GB" sz="2000" b="0" i="0" u="none" strike="noStrike" kern="1200" cap="none" spc="0" baseline="0">
              <a:solidFill>
                <a:srgbClr val="FFFFFF"/>
              </a:solidFill>
              <a:uFillTx/>
              <a:latin typeface="VELUXforOffice" pitchFamily="2"/>
              <a:cs typeface="Helvetica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8118924664178103"/>
</p:tagLst>
</file>

<file path=ppt/theme/theme1.xml><?xml version="1.0" encoding="utf-8"?>
<a:theme xmlns:a="http://schemas.openxmlformats.org/drawingml/2006/main" name="VELUX 16 9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ELUX 16-9">
  <a:themeElements>
    <a:clrScheme name="VELUX">
      <a:dk1>
        <a:srgbClr val="28231F"/>
      </a:dk1>
      <a:lt1>
        <a:srgbClr val="FFFFFF"/>
      </a:lt1>
      <a:dk2>
        <a:srgbClr val="28231F"/>
      </a:dk2>
      <a:lt2>
        <a:srgbClr val="EBE6DE"/>
      </a:lt2>
      <a:accent1>
        <a:srgbClr val="EE0000"/>
      </a:accent1>
      <a:accent2>
        <a:srgbClr val="C6BFB7"/>
      </a:accent2>
      <a:accent3>
        <a:srgbClr val="5E8ED6"/>
      </a:accent3>
      <a:accent4>
        <a:srgbClr val="E3A6B0"/>
      </a:accent4>
      <a:accent5>
        <a:srgbClr val="A8C9E3"/>
      </a:accent5>
      <a:accent6>
        <a:srgbClr val="F8E0A0"/>
      </a:accent6>
      <a:hlink>
        <a:srgbClr val="5E8ED6"/>
      </a:hlink>
      <a:folHlink>
        <a:srgbClr val="5E8ED6"/>
      </a:folHlink>
    </a:clrScheme>
    <a:fontScheme name="VELUX 2022">
      <a:majorFont>
        <a:latin typeface="VELUX Transform Office"/>
        <a:ea typeface=""/>
        <a:cs typeface=""/>
      </a:majorFont>
      <a:minorFont>
        <a:latin typeface="VELUX Transform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en">
      <a:srgbClr val="B3C4C1"/>
    </a:custClr>
    <a:custClr name="Background Green">
      <a:srgbClr val="D9E1E0"/>
    </a:custClr>
    <a:custClr name="Light Purple">
      <a:srgbClr val="BBB9D2"/>
    </a:custClr>
    <a:custClr name="Background Purple">
      <a:srgbClr val="E3E2EC"/>
    </a:custClr>
    <a:custClr name="Background Yellow">
      <a:srgbClr val="F9EEDD"/>
    </a:custClr>
    <a:custClr name="Background Grey">
      <a:srgbClr val="F3F0EB"/>
    </a:custClr>
    <a:custClr name="Background Red">
      <a:srgbClr val="F2E1E1"/>
    </a:custClr>
    <a:custClr name="Background Blue">
      <a:srgbClr val="EDF0F5"/>
    </a:custClr>
    <a:custClr name="Professional Red">
      <a:srgbClr val="A11515"/>
    </a:custClr>
    <a:custClr name="Commercial Grey">
      <a:srgbClr val="454142"/>
    </a:custClr>
  </a:custClrLst>
  <a:extLst>
    <a:ext uri="{05A4C25C-085E-4340-85A3-A5531E510DB2}">
      <thm15:themeFamily xmlns:thm15="http://schemas.microsoft.com/office/thememl/2012/main" name="VELUX - 16SEP" id="{AC3B96CA-7C03-9D40-B363-08915FFB2745}" vid="{79223D81-C28D-E84A-BF32-5CE3C594DDAF}"/>
    </a:ext>
  </a:extLst>
</a:theme>
</file>

<file path=ppt/theme/theme3.xml><?xml version="1.0" encoding="utf-8"?>
<a:theme xmlns:a="http://schemas.openxmlformats.org/drawingml/2006/main" name="8_VELUX 16-9">
  <a:themeElements>
    <a:clrScheme name="VELUX">
      <a:dk1>
        <a:srgbClr val="000000"/>
      </a:dk1>
      <a:lt1>
        <a:srgbClr val="FFFFFF"/>
      </a:lt1>
      <a:dk2>
        <a:srgbClr val="000000"/>
      </a:dk2>
      <a:lt2>
        <a:srgbClr val="737371"/>
      </a:lt2>
      <a:accent1>
        <a:srgbClr val="FF0000"/>
      </a:accent1>
      <a:accent2>
        <a:srgbClr val="A9CAE4"/>
      </a:accent2>
      <a:accent3>
        <a:srgbClr val="E0E0DD"/>
      </a:accent3>
      <a:accent4>
        <a:srgbClr val="737373"/>
      </a:accent4>
      <a:accent5>
        <a:srgbClr val="CA6A75"/>
      </a:accent5>
      <a:accent6>
        <a:srgbClr val="456B99"/>
      </a:accent6>
      <a:hlink>
        <a:srgbClr val="192E4F"/>
      </a:hlink>
      <a:folHlink>
        <a:srgbClr val="456B99"/>
      </a:folHlink>
    </a:clrScheme>
    <a:fontScheme name="Velux">
      <a:majorFont>
        <a:latin typeface="VeluxForOffice"/>
        <a:ea typeface=""/>
        <a:cs typeface=""/>
      </a:majorFont>
      <a:minorFont>
        <a:latin typeface="VeluxFor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3909193C-9153-4917-A465-3D57483BCDA0}" vid="{68E4C466-DC86-41D9-9AF4-53E878391C0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37</Words>
  <Application>Microsoft Office PowerPoint</Application>
  <PresentationFormat>Widescreen</PresentationFormat>
  <Paragraphs>1064</Paragraphs>
  <Slides>31</Slides>
  <Notes>8</Notes>
  <HiddenSlides>2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1</vt:i4>
      </vt:variant>
    </vt:vector>
  </HeadingPairs>
  <TitlesOfParts>
    <vt:vector size="48" baseType="lpstr">
      <vt:lpstr>Steradian Light</vt:lpstr>
      <vt:lpstr>Steradian Medium</vt:lpstr>
      <vt:lpstr>Steradian Regular</vt:lpstr>
      <vt:lpstr>VeluxForOffice</vt:lpstr>
      <vt:lpstr>VeluxForOffice</vt:lpstr>
      <vt:lpstr>Arial</vt:lpstr>
      <vt:lpstr>Calibri</vt:lpstr>
      <vt:lpstr>Calibri Light</vt:lpstr>
      <vt:lpstr>Times New Roman</vt:lpstr>
      <vt:lpstr>Trebuchet MS</vt:lpstr>
      <vt:lpstr>VELUX Transform Office</vt:lpstr>
      <vt:lpstr>Verdana</vt:lpstr>
      <vt:lpstr>VELUX 16 9</vt:lpstr>
      <vt:lpstr>VELUX 16-9</vt:lpstr>
      <vt:lpstr>8_VELUX 16-9</vt:lpstr>
      <vt:lpstr>think-cell Slide</vt:lpstr>
      <vt:lpstr>Adobe 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ELUX demonstration projec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imple LCA comparison tool</vt:lpstr>
      <vt:lpstr>Simple LCA comparison tool - Benchmark house</vt:lpstr>
      <vt:lpstr>Simple LCA comparison tool - Living places Timber frame</vt:lpstr>
      <vt:lpstr>Simple LCA comparison tool - Living places C L T</vt:lpstr>
      <vt:lpstr>Life cycle phases</vt:lpstr>
      <vt:lpstr>Optimization on each component</vt:lpstr>
      <vt:lpstr>Preconditions</vt:lpstr>
      <vt:lpstr>PowerPoint Presentation</vt:lpstr>
      <vt:lpstr>Monitoring of the timber frame and CLT buildings of Living Places  </vt:lpstr>
      <vt:lpstr>Monitoring outcomes from the Active House IN-use assessment</vt:lpstr>
      <vt:lpstr>Monitoring outcomes from the Active House IN-use assessment </vt:lpstr>
      <vt:lpstr>Monitoring outcomes from the Active House IN-use assessment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ving Places</dc:title>
  <dc:creator>Ambra Guglietti</dc:creator>
  <cp:lastModifiedBy>Ambra Guglietti</cp:lastModifiedBy>
  <cp:revision>5</cp:revision>
  <cp:lastPrinted>2022-03-02T11:47:57Z</cp:lastPrinted>
  <dcterms:created xsi:type="dcterms:W3CDTF">2023-09-12T16:42:58Z</dcterms:created>
  <dcterms:modified xsi:type="dcterms:W3CDTF">2023-09-25T23:3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FDBDC38DDDE014A9066E30FEC6DC263</vt:lpwstr>
  </property>
  <property fmtid="{D5CDD505-2E9C-101B-9397-08002B2CF9AE}" pid="3" name="TemplafyTimeStamp">
    <vt:lpwstr>2023-03-02T09:35:50.9854281Z</vt:lpwstr>
  </property>
</Properties>
</file>